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8.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9.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0.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1.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3.xml" ContentType="application/vnd.openxmlformats-officedocument.theme+xml"/>
  <Override PartName="/ppt/tags/tag56.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4.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5.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6.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7.xml" ContentType="application/vnd.openxmlformats-officedocument.theme+xml"/>
  <Override PartName="/ppt/tags/tag83.xml" ContentType="application/vnd.openxmlformats-officedocument.presentationml.tags+xml"/>
  <Override PartName="/ppt/theme/theme18.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75" r:id="rId4"/>
    <p:sldMasterId id="2147484615" r:id="rId5"/>
    <p:sldMasterId id="2147484882" r:id="rId6"/>
    <p:sldMasterId id="2147484935" r:id="rId7"/>
    <p:sldMasterId id="2147484952" r:id="rId8"/>
    <p:sldMasterId id="2147485026" r:id="rId9"/>
    <p:sldMasterId id="2147485239" r:id="rId10"/>
    <p:sldMasterId id="2147485283" r:id="rId11"/>
    <p:sldMasterId id="2147485378" r:id="rId12"/>
    <p:sldMasterId id="2147485491" r:id="rId13"/>
    <p:sldMasterId id="2147485550" r:id="rId14"/>
    <p:sldMasterId id="2147485607" r:id="rId15"/>
    <p:sldMasterId id="2147485624" r:id="rId16"/>
    <p:sldMasterId id="2147485642" r:id="rId17"/>
    <p:sldMasterId id="2147485659" r:id="rId18"/>
    <p:sldMasterId id="2147485691" r:id="rId19"/>
    <p:sldMasterId id="2147485707" r:id="rId20"/>
  </p:sldMasterIdLst>
  <p:notesMasterIdLst>
    <p:notesMasterId r:id="rId39"/>
  </p:notesMasterIdLst>
  <p:sldIdLst>
    <p:sldId id="724" r:id="rId21"/>
    <p:sldId id="728" r:id="rId22"/>
    <p:sldId id="659" r:id="rId23"/>
    <p:sldId id="716" r:id="rId24"/>
    <p:sldId id="606" r:id="rId25"/>
    <p:sldId id="730" r:id="rId26"/>
    <p:sldId id="652" r:id="rId27"/>
    <p:sldId id="687" r:id="rId28"/>
    <p:sldId id="733" r:id="rId29"/>
    <p:sldId id="731" r:id="rId30"/>
    <p:sldId id="702" r:id="rId31"/>
    <p:sldId id="703" r:id="rId32"/>
    <p:sldId id="734" r:id="rId33"/>
    <p:sldId id="732" r:id="rId34"/>
    <p:sldId id="661" r:id="rId35"/>
    <p:sldId id="672" r:id="rId36"/>
    <p:sldId id="735" r:id="rId37"/>
    <p:sldId id="736" r:id="rId38"/>
  </p:sldIdLst>
  <p:sldSz cx="12192000" cy="6858000"/>
  <p:notesSz cx="7023100" cy="9309100"/>
  <p:custDataLst>
    <p:tags r:id="rId40"/>
  </p:custDataLst>
  <p:defaultTextStyle>
    <a:defPPr>
      <a:defRPr lang="en-US"/>
    </a:defPPr>
    <a:lvl1pPr marL="0" algn="l" defTabSz="914241" rtl="0" eaLnBrk="1" latinLnBrk="0" hangingPunct="1">
      <a:defRPr sz="1900" kern="1200">
        <a:solidFill>
          <a:schemeClr val="tx1"/>
        </a:solidFill>
        <a:latin typeface="+mn-lt"/>
        <a:ea typeface="+mn-ea"/>
        <a:cs typeface="+mn-cs"/>
      </a:defRPr>
    </a:lvl1pPr>
    <a:lvl2pPr marL="457119" algn="l" defTabSz="914241" rtl="0" eaLnBrk="1" latinLnBrk="0" hangingPunct="1">
      <a:defRPr sz="1900" kern="1200">
        <a:solidFill>
          <a:schemeClr val="tx1"/>
        </a:solidFill>
        <a:latin typeface="+mn-lt"/>
        <a:ea typeface="+mn-ea"/>
        <a:cs typeface="+mn-cs"/>
      </a:defRPr>
    </a:lvl2pPr>
    <a:lvl3pPr marL="914241" algn="l" defTabSz="914241" rtl="0" eaLnBrk="1" latinLnBrk="0" hangingPunct="1">
      <a:defRPr sz="1900" kern="1200">
        <a:solidFill>
          <a:schemeClr val="tx1"/>
        </a:solidFill>
        <a:latin typeface="+mn-lt"/>
        <a:ea typeface="+mn-ea"/>
        <a:cs typeface="+mn-cs"/>
      </a:defRPr>
    </a:lvl3pPr>
    <a:lvl4pPr marL="1371362" algn="l" defTabSz="914241" rtl="0" eaLnBrk="1" latinLnBrk="0" hangingPunct="1">
      <a:defRPr sz="1900" kern="1200">
        <a:solidFill>
          <a:schemeClr val="tx1"/>
        </a:solidFill>
        <a:latin typeface="+mn-lt"/>
        <a:ea typeface="+mn-ea"/>
        <a:cs typeface="+mn-cs"/>
      </a:defRPr>
    </a:lvl4pPr>
    <a:lvl5pPr marL="1828482" algn="l" defTabSz="914241" rtl="0" eaLnBrk="1" latinLnBrk="0" hangingPunct="1">
      <a:defRPr sz="1900" kern="1200">
        <a:solidFill>
          <a:schemeClr val="tx1"/>
        </a:solidFill>
        <a:latin typeface="+mn-lt"/>
        <a:ea typeface="+mn-ea"/>
        <a:cs typeface="+mn-cs"/>
      </a:defRPr>
    </a:lvl5pPr>
    <a:lvl6pPr marL="2285606" algn="l" defTabSz="914241" rtl="0" eaLnBrk="1" latinLnBrk="0" hangingPunct="1">
      <a:defRPr sz="1900" kern="1200">
        <a:solidFill>
          <a:schemeClr val="tx1"/>
        </a:solidFill>
        <a:latin typeface="+mn-lt"/>
        <a:ea typeface="+mn-ea"/>
        <a:cs typeface="+mn-cs"/>
      </a:defRPr>
    </a:lvl6pPr>
    <a:lvl7pPr marL="2742722" algn="l" defTabSz="914241" rtl="0" eaLnBrk="1" latinLnBrk="0" hangingPunct="1">
      <a:defRPr sz="1900" kern="1200">
        <a:solidFill>
          <a:schemeClr val="tx1"/>
        </a:solidFill>
        <a:latin typeface="+mn-lt"/>
        <a:ea typeface="+mn-ea"/>
        <a:cs typeface="+mn-cs"/>
      </a:defRPr>
    </a:lvl7pPr>
    <a:lvl8pPr marL="3199840" algn="l" defTabSz="914241" rtl="0" eaLnBrk="1" latinLnBrk="0" hangingPunct="1">
      <a:defRPr sz="1900" kern="1200">
        <a:solidFill>
          <a:schemeClr val="tx1"/>
        </a:solidFill>
        <a:latin typeface="+mn-lt"/>
        <a:ea typeface="+mn-ea"/>
        <a:cs typeface="+mn-cs"/>
      </a:defRPr>
    </a:lvl8pPr>
    <a:lvl9pPr marL="3656959" algn="l" defTabSz="914241"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guide id="3" orient="horz" pos="2564">
          <p15:clr>
            <a:srgbClr val="A4A3A4"/>
          </p15:clr>
        </p15:guide>
        <p15:guide id="4" pos="3830">
          <p15:clr>
            <a:srgbClr val="A4A3A4"/>
          </p15:clr>
        </p15:guide>
        <p15:guide id="5" orient="horz" pos="603">
          <p15:clr>
            <a:srgbClr val="A4A3A4"/>
          </p15:clr>
        </p15:guide>
        <p15:guide id="6" orient="horz" pos="4011">
          <p15:clr>
            <a:srgbClr val="A4A3A4"/>
          </p15:clr>
        </p15:guide>
        <p15:guide id="7" pos="3831">
          <p15:clr>
            <a:srgbClr val="A4A3A4"/>
          </p15:clr>
        </p15:guide>
        <p15:guide id="8" pos="260">
          <p15:clr>
            <a:srgbClr val="A4A3A4"/>
          </p15:clr>
        </p15:guide>
        <p15:guide id="9" pos="742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 Neault" initials="DN" lastIdx="8" clrIdx="0">
    <p:extLst/>
  </p:cmAuthor>
  <p:cmAuthor id="2" name="Bill Hubbell" initials="BH" lastIdx="1" clrIdx="1">
    <p:extLst>
      <p:ext uri="{19B8F6BF-5375-455C-9EA6-DF929625EA0E}">
        <p15:presenceInfo xmlns:p15="http://schemas.microsoft.com/office/powerpoint/2012/main" userId="S-1-5-21-124525095-708259637-1543119021-4923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66A0"/>
    <a:srgbClr val="8CB0D1"/>
    <a:srgbClr val="5E6886"/>
    <a:srgbClr val="5E83BD"/>
    <a:srgbClr val="90B2CC"/>
    <a:srgbClr val="F78553"/>
    <a:srgbClr val="BFBFBF"/>
    <a:srgbClr val="80C7F0"/>
    <a:srgbClr val="FFDA70"/>
    <a:srgbClr val="B1D1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62" autoAdjust="0"/>
    <p:restoredTop sz="78657" autoAdjust="0"/>
  </p:normalViewPr>
  <p:slideViewPr>
    <p:cSldViewPr snapToGrid="0">
      <p:cViewPr varScale="1">
        <p:scale>
          <a:sx n="74" d="100"/>
          <a:sy n="74" d="100"/>
        </p:scale>
        <p:origin x="449" y="31"/>
      </p:cViewPr>
      <p:guideLst>
        <p:guide orient="horz" pos="2160"/>
        <p:guide pos="3840"/>
        <p:guide orient="horz" pos="2564"/>
        <p:guide pos="3830"/>
        <p:guide orient="horz" pos="603"/>
        <p:guide orient="horz" pos="4011"/>
        <p:guide pos="3831"/>
        <p:guide pos="260"/>
        <p:guide pos="7425"/>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notesMaster" Target="notesMasters/notesMaster1.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20" Type="http://schemas.openxmlformats.org/officeDocument/2006/relationships/slideMaster" Target="slideMasters/slideMaster17.xml"/><Relationship Id="rId41"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5A7766EB-322B-43E7-B31E-A50C8D631743}" type="datetimeFigureOut">
              <a:rPr lang="en-US" smtClean="0"/>
              <a:t>6/29/2018</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2AB78016-34DE-4EBE-9333-9BE4059CF5F5}" type="slidenum">
              <a:rPr lang="en-US" smtClean="0"/>
              <a:t>‹#›</a:t>
            </a:fld>
            <a:endParaRPr lang="en-US"/>
          </a:p>
        </p:txBody>
      </p:sp>
    </p:spTree>
    <p:extLst>
      <p:ext uri="{BB962C8B-B14F-4D97-AF65-F5344CB8AC3E}">
        <p14:creationId xmlns:p14="http://schemas.microsoft.com/office/powerpoint/2010/main" val="208656498"/>
      </p:ext>
    </p:extLst>
  </p:cSld>
  <p:clrMap bg1="lt1" tx1="dk1" bg2="lt2" tx2="dk2" accent1="accent1" accent2="accent2" accent3="accent3" accent4="accent4" accent5="accent5" accent6="accent6" hlink="hlink" folHlink="folHlink"/>
  <p:notesStyle>
    <a:lvl1pPr marL="0" algn="l" defTabSz="914241" rtl="0" eaLnBrk="1" latinLnBrk="0" hangingPunct="1">
      <a:defRPr sz="1200" kern="1200">
        <a:solidFill>
          <a:schemeClr val="tx1"/>
        </a:solidFill>
        <a:latin typeface="+mn-lt"/>
        <a:ea typeface="+mn-ea"/>
        <a:cs typeface="+mn-cs"/>
      </a:defRPr>
    </a:lvl1pPr>
    <a:lvl2pPr marL="457119" algn="l" defTabSz="914241" rtl="0" eaLnBrk="1" latinLnBrk="0" hangingPunct="1">
      <a:defRPr sz="1200" kern="1200">
        <a:solidFill>
          <a:schemeClr val="tx1"/>
        </a:solidFill>
        <a:latin typeface="+mn-lt"/>
        <a:ea typeface="+mn-ea"/>
        <a:cs typeface="+mn-cs"/>
      </a:defRPr>
    </a:lvl2pPr>
    <a:lvl3pPr marL="914241" algn="l" defTabSz="914241" rtl="0" eaLnBrk="1" latinLnBrk="0" hangingPunct="1">
      <a:defRPr sz="1200" kern="1200">
        <a:solidFill>
          <a:schemeClr val="tx1"/>
        </a:solidFill>
        <a:latin typeface="+mn-lt"/>
        <a:ea typeface="+mn-ea"/>
        <a:cs typeface="+mn-cs"/>
      </a:defRPr>
    </a:lvl3pPr>
    <a:lvl4pPr marL="1371362" algn="l" defTabSz="914241" rtl="0" eaLnBrk="1" latinLnBrk="0" hangingPunct="1">
      <a:defRPr sz="1200" kern="1200">
        <a:solidFill>
          <a:schemeClr val="tx1"/>
        </a:solidFill>
        <a:latin typeface="+mn-lt"/>
        <a:ea typeface="+mn-ea"/>
        <a:cs typeface="+mn-cs"/>
      </a:defRPr>
    </a:lvl4pPr>
    <a:lvl5pPr marL="1828482" algn="l" defTabSz="914241" rtl="0" eaLnBrk="1" latinLnBrk="0" hangingPunct="1">
      <a:defRPr sz="1200" kern="1200">
        <a:solidFill>
          <a:schemeClr val="tx1"/>
        </a:solidFill>
        <a:latin typeface="+mn-lt"/>
        <a:ea typeface="+mn-ea"/>
        <a:cs typeface="+mn-cs"/>
      </a:defRPr>
    </a:lvl5pPr>
    <a:lvl6pPr marL="2285606" algn="l" defTabSz="914241" rtl="0" eaLnBrk="1" latinLnBrk="0" hangingPunct="1">
      <a:defRPr sz="1200" kern="1200">
        <a:solidFill>
          <a:schemeClr val="tx1"/>
        </a:solidFill>
        <a:latin typeface="+mn-lt"/>
        <a:ea typeface="+mn-ea"/>
        <a:cs typeface="+mn-cs"/>
      </a:defRPr>
    </a:lvl6pPr>
    <a:lvl7pPr marL="2742722" algn="l" defTabSz="914241" rtl="0" eaLnBrk="1" latinLnBrk="0" hangingPunct="1">
      <a:defRPr sz="1200" kern="1200">
        <a:solidFill>
          <a:schemeClr val="tx1"/>
        </a:solidFill>
        <a:latin typeface="+mn-lt"/>
        <a:ea typeface="+mn-ea"/>
        <a:cs typeface="+mn-cs"/>
      </a:defRPr>
    </a:lvl7pPr>
    <a:lvl8pPr marL="3199840" algn="l" defTabSz="914241" rtl="0" eaLnBrk="1" latinLnBrk="0" hangingPunct="1">
      <a:defRPr sz="1200" kern="1200">
        <a:solidFill>
          <a:schemeClr val="tx1"/>
        </a:solidFill>
        <a:latin typeface="+mn-lt"/>
        <a:ea typeface="+mn-ea"/>
        <a:cs typeface="+mn-cs"/>
      </a:defRPr>
    </a:lvl8pPr>
    <a:lvl9pPr marL="3656959" algn="l" defTabSz="9142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1830565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26"/>
            <a:r>
              <a:rPr lang="en-US" sz="1200" b="1" dirty="0">
                <a:solidFill>
                  <a:srgbClr val="505050"/>
                </a:solidFill>
                <a:ea typeface="Segoe UI" pitchFamily="34" charset="0"/>
                <a:cs typeface="Segoe UI" pitchFamily="34" charset="0"/>
              </a:rPr>
              <a:t>Skype for business </a:t>
            </a:r>
            <a:r>
              <a:rPr lang="en-US" sz="1200" dirty="0">
                <a:solidFill>
                  <a:srgbClr val="505050"/>
                </a:solidFill>
                <a:ea typeface="Segoe UI" pitchFamily="34" charset="0"/>
                <a:cs typeface="Segoe UI" pitchFamily="34" charset="0"/>
              </a:rPr>
              <a:t>provides phone and video conversations.</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Allows experts to connect and collaborate from anywhere</a:t>
            </a:r>
          </a:p>
          <a:p>
            <a:pPr marL="171399" indent="-171399" defTabSz="914126">
              <a:buFont typeface="Wingdings" pitchFamily="2" charset="2"/>
              <a:buChar char="§"/>
            </a:pPr>
            <a:endParaRPr lang="en-US" sz="1200" dirty="0">
              <a:solidFill>
                <a:srgbClr val="505050"/>
              </a:solidFill>
              <a:ea typeface="Segoe UI" pitchFamily="34" charset="0"/>
              <a:cs typeface="Segoe UI" pitchFamily="34" charset="0"/>
            </a:endParaRPr>
          </a:p>
          <a:p>
            <a:pPr defTabSz="914126"/>
            <a:r>
              <a:rPr lang="en-US" sz="1200" b="1" dirty="0">
                <a:solidFill>
                  <a:srgbClr val="505050"/>
                </a:solidFill>
                <a:ea typeface="Segoe UI" pitchFamily="34" charset="0"/>
                <a:cs typeface="Segoe UI" pitchFamily="34" charset="0"/>
              </a:rPr>
              <a:t>Office 365 </a:t>
            </a:r>
            <a:r>
              <a:rPr lang="en-US" sz="1200" b="0" dirty="0">
                <a:solidFill>
                  <a:srgbClr val="505050"/>
                </a:solidFill>
                <a:ea typeface="Segoe UI" pitchFamily="34" charset="0"/>
                <a:cs typeface="Segoe UI" pitchFamily="34" charset="0"/>
              </a:rPr>
              <a:t>c</a:t>
            </a:r>
            <a:r>
              <a:rPr lang="en-US" sz="1200" dirty="0">
                <a:solidFill>
                  <a:srgbClr val="505050"/>
                </a:solidFill>
                <a:ea typeface="Segoe UI" pitchFamily="34" charset="0"/>
                <a:cs typeface="Segoe UI" pitchFamily="34" charset="0"/>
              </a:rPr>
              <a:t>an be used from mobile devices and desktops (may be enabling technology behind kiosks)</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Enables collaboration via email and calendaring</a:t>
            </a:r>
          </a:p>
          <a:p>
            <a:pPr marL="0" marR="0" indent="0" algn="l" defTabSz="761787" rtl="0" eaLnBrk="1" fontAlgn="auto" latinLnBrk="0" hangingPunct="1">
              <a:lnSpc>
                <a:spcPct val="100000"/>
              </a:lnSpc>
              <a:spcBef>
                <a:spcPts val="0"/>
              </a:spcBef>
              <a:spcAft>
                <a:spcPts val="0"/>
              </a:spcAft>
              <a:buClrTx/>
              <a:buSzTx/>
              <a:buFontTx/>
              <a:buNone/>
              <a:tabLst/>
              <a:defRPr/>
            </a:pPr>
            <a:endParaRPr lang="en-US" u="none" baseline="0" dirty="0"/>
          </a:p>
          <a:p>
            <a:pPr defTabSz="914126"/>
            <a:r>
              <a:rPr lang="en-US" sz="1200" b="1" dirty="0">
                <a:solidFill>
                  <a:srgbClr val="505050"/>
                </a:solidFill>
                <a:ea typeface="Segoe UI" pitchFamily="34" charset="0"/>
                <a:cs typeface="Segoe UI" pitchFamily="34" charset="0"/>
              </a:rPr>
              <a:t>Dynamics CRM Online </a:t>
            </a:r>
            <a:r>
              <a:rPr lang="en-US" sz="1200" dirty="0">
                <a:solidFill>
                  <a:srgbClr val="505050"/>
                </a:solidFill>
                <a:ea typeface="Segoe UI" pitchFamily="34" charset="0"/>
                <a:cs typeface="Segoe UI" pitchFamily="34" charset="0"/>
              </a:rPr>
              <a:t>provides for </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customer interaction tracking </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360 degree view</a:t>
            </a:r>
          </a:p>
          <a:p>
            <a:pPr marL="0" marR="0" indent="0" algn="l" defTabSz="761787" rtl="0" eaLnBrk="1" fontAlgn="auto" latinLnBrk="0" hangingPunct="1">
              <a:lnSpc>
                <a:spcPct val="100000"/>
              </a:lnSpc>
              <a:spcBef>
                <a:spcPts val="0"/>
              </a:spcBef>
              <a:spcAft>
                <a:spcPts val="0"/>
              </a:spcAft>
              <a:buClrTx/>
              <a:buSzTx/>
              <a:buFontTx/>
              <a:buNone/>
              <a:tabLst/>
              <a:defRPr/>
            </a:pPr>
            <a:endParaRPr lang="en-US" u="none" baseline="0" dirty="0"/>
          </a:p>
          <a:p>
            <a:pPr defTabSz="914126"/>
            <a:r>
              <a:rPr lang="en-US" sz="1200" b="1" dirty="0">
                <a:solidFill>
                  <a:srgbClr val="505050"/>
                </a:solidFill>
                <a:ea typeface="Segoe UI" pitchFamily="34" charset="0"/>
                <a:cs typeface="Segoe UI" pitchFamily="34" charset="0"/>
              </a:rPr>
              <a:t>Azure ML </a:t>
            </a:r>
            <a:r>
              <a:rPr lang="en-US" sz="1200" dirty="0">
                <a:solidFill>
                  <a:srgbClr val="505050"/>
                </a:solidFill>
                <a:ea typeface="Segoe UI" pitchFamily="34" charset="0"/>
                <a:cs typeface="Segoe UI" pitchFamily="34" charset="0"/>
              </a:rPr>
              <a:t>provides for </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insightful cross/up sell (integrated into Dynamics CRM Online)</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Traffic analysis and staffing suggestions</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New product design and acceptance likelihood</a:t>
            </a:r>
          </a:p>
          <a:p>
            <a:pPr marL="0" marR="0" indent="0" algn="l" defTabSz="761787" rtl="0" eaLnBrk="1" fontAlgn="auto" latinLnBrk="0" hangingPunct="1">
              <a:lnSpc>
                <a:spcPct val="100000"/>
              </a:lnSpc>
              <a:spcBef>
                <a:spcPts val="0"/>
              </a:spcBef>
              <a:spcAft>
                <a:spcPts val="0"/>
              </a:spcAft>
              <a:buClrTx/>
              <a:buSzTx/>
              <a:buFontTx/>
              <a:buNone/>
              <a:tabLst/>
              <a:defRPr/>
            </a:pPr>
            <a:endParaRPr lang="en-US" u="none" baseline="0" dirty="0"/>
          </a:p>
          <a:p>
            <a:pPr defTabSz="914126"/>
            <a:r>
              <a:rPr lang="en-US" sz="1200" b="1" dirty="0" err="1">
                <a:solidFill>
                  <a:srgbClr val="505050"/>
                </a:solidFill>
                <a:ea typeface="Segoe UI" pitchFamily="34" charset="0"/>
                <a:cs typeface="Segoe UI" pitchFamily="34" charset="0"/>
              </a:rPr>
              <a:t>PowerBI</a:t>
            </a:r>
            <a:r>
              <a:rPr lang="en-US" sz="1200" dirty="0">
                <a:solidFill>
                  <a:srgbClr val="505050"/>
                </a:solidFill>
                <a:ea typeface="Segoe UI" pitchFamily="34" charset="0"/>
                <a:cs typeface="Segoe UI" pitchFamily="34" charset="0"/>
              </a:rPr>
              <a:t> review operational efficiency </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customer support effectiveness</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new market introduction effectiveness etc.</a:t>
            </a:r>
          </a:p>
          <a:p>
            <a:pPr marL="0" marR="0" indent="0" algn="l" defTabSz="761787" rtl="0" eaLnBrk="1" fontAlgn="auto" latinLnBrk="0" hangingPunct="1">
              <a:lnSpc>
                <a:spcPct val="100000"/>
              </a:lnSpc>
              <a:spcBef>
                <a:spcPts val="0"/>
              </a:spcBef>
              <a:spcAft>
                <a:spcPts val="0"/>
              </a:spcAft>
              <a:buClrTx/>
              <a:buSzTx/>
              <a:buFontTx/>
              <a:buNone/>
              <a:tabLst/>
              <a:defRPr/>
            </a:pPr>
            <a:endParaRPr lang="en-US" u="none" baseline="0" dirty="0"/>
          </a:p>
        </p:txBody>
      </p:sp>
      <p:sp>
        <p:nvSpPr>
          <p:cNvPr id="4" name="Slide Number Placeholder 3"/>
          <p:cNvSpPr>
            <a:spLocks noGrp="1"/>
          </p:cNvSpPr>
          <p:nvPr>
            <p:ph type="sldNum" sz="quarter" idx="10"/>
          </p:nvPr>
        </p:nvSpPr>
        <p:spPr/>
        <p:txBody>
          <a:bodyPr/>
          <a:lstStyle/>
          <a:p>
            <a:pPr>
              <a:defRPr/>
            </a:pPr>
            <a:fld id="{A5B258F2-B2E5-4175-B339-81AEE5988F5F}" type="slidenum">
              <a:rPr lang="en-US" sz="1800" kern="0" smtClean="0">
                <a:solidFill>
                  <a:srgbClr val="505050"/>
                </a:solidFill>
              </a:rPr>
              <a:pPr>
                <a:defRPr/>
              </a:pPr>
              <a:t>12</a:t>
            </a:fld>
            <a:endParaRPr lang="en-US" sz="1800" kern="0" dirty="0">
              <a:solidFill>
                <a:srgbClr val="505050"/>
              </a:solidFill>
            </a:endParaRPr>
          </a:p>
        </p:txBody>
      </p:sp>
    </p:spTree>
    <p:extLst>
      <p:ext uri="{BB962C8B-B14F-4D97-AF65-F5344CB8AC3E}">
        <p14:creationId xmlns:p14="http://schemas.microsoft.com/office/powerpoint/2010/main" val="2414500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23553179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15</a:t>
            </a:fld>
            <a:endParaRPr lang="en-US" dirty="0">
              <a:solidFill>
                <a:srgbClr val="505050"/>
              </a:solidFill>
            </a:endParaRPr>
          </a:p>
        </p:txBody>
      </p:sp>
    </p:spTree>
    <p:extLst>
      <p:ext uri="{BB962C8B-B14F-4D97-AF65-F5344CB8AC3E}">
        <p14:creationId xmlns:p14="http://schemas.microsoft.com/office/powerpoint/2010/main" val="21202207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126"/>
            <a:r>
              <a:rPr lang="en-US" sz="1200" b="1" dirty="0">
                <a:solidFill>
                  <a:srgbClr val="505050"/>
                </a:solidFill>
                <a:ea typeface="Segoe UI" pitchFamily="34" charset="0"/>
                <a:cs typeface="Segoe UI" pitchFamily="34" charset="0"/>
              </a:rPr>
              <a:t>Skype for business </a:t>
            </a:r>
            <a:r>
              <a:rPr lang="en-US" sz="1200" dirty="0">
                <a:solidFill>
                  <a:srgbClr val="505050"/>
                </a:solidFill>
                <a:ea typeface="Segoe UI" pitchFamily="34" charset="0"/>
                <a:cs typeface="Segoe UI" pitchFamily="34" charset="0"/>
              </a:rPr>
              <a:t>provides phone and video conversations.</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Allows experts to connect and collaborate from anywhere</a:t>
            </a:r>
          </a:p>
          <a:p>
            <a:pPr marL="171399" indent="-171399" defTabSz="914126">
              <a:buFont typeface="Wingdings" pitchFamily="2" charset="2"/>
              <a:buChar char="§"/>
            </a:pPr>
            <a:endParaRPr lang="en-US" sz="1200" dirty="0">
              <a:solidFill>
                <a:srgbClr val="505050"/>
              </a:solidFill>
              <a:ea typeface="Segoe UI" pitchFamily="34" charset="0"/>
              <a:cs typeface="Segoe UI" pitchFamily="34" charset="0"/>
            </a:endParaRPr>
          </a:p>
          <a:p>
            <a:pPr defTabSz="914126"/>
            <a:r>
              <a:rPr lang="en-US" sz="1200" b="1" dirty="0">
                <a:solidFill>
                  <a:srgbClr val="505050"/>
                </a:solidFill>
                <a:ea typeface="Segoe UI" pitchFamily="34" charset="0"/>
                <a:cs typeface="Segoe UI" pitchFamily="34" charset="0"/>
              </a:rPr>
              <a:t>Office 365 </a:t>
            </a:r>
            <a:r>
              <a:rPr lang="en-US" sz="1200" b="0" dirty="0">
                <a:solidFill>
                  <a:srgbClr val="505050"/>
                </a:solidFill>
                <a:ea typeface="Segoe UI" pitchFamily="34" charset="0"/>
                <a:cs typeface="Segoe UI" pitchFamily="34" charset="0"/>
              </a:rPr>
              <a:t>c</a:t>
            </a:r>
            <a:r>
              <a:rPr lang="en-US" sz="1200" dirty="0">
                <a:solidFill>
                  <a:srgbClr val="505050"/>
                </a:solidFill>
                <a:ea typeface="Segoe UI" pitchFamily="34" charset="0"/>
                <a:cs typeface="Segoe UI" pitchFamily="34" charset="0"/>
              </a:rPr>
              <a:t>an be used from mobile devices and desktops (may be enabling technology behind kiosks)</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Enables collaboration via email and calendaring</a:t>
            </a:r>
          </a:p>
          <a:p>
            <a:pPr marL="0" marR="0" indent="0" algn="l" defTabSz="761787" rtl="0" eaLnBrk="1" fontAlgn="auto" latinLnBrk="0" hangingPunct="1">
              <a:lnSpc>
                <a:spcPct val="100000"/>
              </a:lnSpc>
              <a:spcBef>
                <a:spcPts val="0"/>
              </a:spcBef>
              <a:spcAft>
                <a:spcPts val="0"/>
              </a:spcAft>
              <a:buClrTx/>
              <a:buSzTx/>
              <a:buFontTx/>
              <a:buNone/>
              <a:tabLst/>
              <a:defRPr/>
            </a:pPr>
            <a:endParaRPr lang="en-US" u="none" baseline="0" dirty="0"/>
          </a:p>
          <a:p>
            <a:pPr defTabSz="914126"/>
            <a:r>
              <a:rPr lang="en-US" sz="1200" b="1" dirty="0">
                <a:solidFill>
                  <a:srgbClr val="505050"/>
                </a:solidFill>
                <a:ea typeface="Segoe UI" pitchFamily="34" charset="0"/>
                <a:cs typeface="Segoe UI" pitchFamily="34" charset="0"/>
              </a:rPr>
              <a:t>Dynamics CRM Online </a:t>
            </a:r>
            <a:r>
              <a:rPr lang="en-US" sz="1200" dirty="0">
                <a:solidFill>
                  <a:srgbClr val="505050"/>
                </a:solidFill>
                <a:ea typeface="Segoe UI" pitchFamily="34" charset="0"/>
                <a:cs typeface="Segoe UI" pitchFamily="34" charset="0"/>
              </a:rPr>
              <a:t>provides for </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customer interaction tracking </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360 degree view</a:t>
            </a:r>
          </a:p>
          <a:p>
            <a:pPr marL="0" marR="0" indent="0" algn="l" defTabSz="761787" rtl="0" eaLnBrk="1" fontAlgn="auto" latinLnBrk="0" hangingPunct="1">
              <a:lnSpc>
                <a:spcPct val="100000"/>
              </a:lnSpc>
              <a:spcBef>
                <a:spcPts val="0"/>
              </a:spcBef>
              <a:spcAft>
                <a:spcPts val="0"/>
              </a:spcAft>
              <a:buClrTx/>
              <a:buSzTx/>
              <a:buFontTx/>
              <a:buNone/>
              <a:tabLst/>
              <a:defRPr/>
            </a:pPr>
            <a:endParaRPr lang="en-US" u="none" baseline="0" dirty="0"/>
          </a:p>
          <a:p>
            <a:pPr defTabSz="914126"/>
            <a:r>
              <a:rPr lang="en-US" sz="1200" b="1" dirty="0">
                <a:solidFill>
                  <a:srgbClr val="505050"/>
                </a:solidFill>
                <a:ea typeface="Segoe UI" pitchFamily="34" charset="0"/>
                <a:cs typeface="Segoe UI" pitchFamily="34" charset="0"/>
              </a:rPr>
              <a:t>Azure ML </a:t>
            </a:r>
            <a:r>
              <a:rPr lang="en-US" sz="1200" dirty="0">
                <a:solidFill>
                  <a:srgbClr val="505050"/>
                </a:solidFill>
                <a:ea typeface="Segoe UI" pitchFamily="34" charset="0"/>
                <a:cs typeface="Segoe UI" pitchFamily="34" charset="0"/>
              </a:rPr>
              <a:t>provides for </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insightful cross/up sell (integrated into Dynamics CRM Online)</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Traffic analysis and staffing suggestions</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New product design and acceptance likelihood</a:t>
            </a:r>
          </a:p>
          <a:p>
            <a:pPr marL="0" marR="0" indent="0" algn="l" defTabSz="761787" rtl="0" eaLnBrk="1" fontAlgn="auto" latinLnBrk="0" hangingPunct="1">
              <a:lnSpc>
                <a:spcPct val="100000"/>
              </a:lnSpc>
              <a:spcBef>
                <a:spcPts val="0"/>
              </a:spcBef>
              <a:spcAft>
                <a:spcPts val="0"/>
              </a:spcAft>
              <a:buClrTx/>
              <a:buSzTx/>
              <a:buFontTx/>
              <a:buNone/>
              <a:tabLst/>
              <a:defRPr/>
            </a:pPr>
            <a:endParaRPr lang="en-US" u="none" baseline="0" dirty="0"/>
          </a:p>
          <a:p>
            <a:pPr defTabSz="914126"/>
            <a:r>
              <a:rPr lang="en-US" sz="1200" b="1" dirty="0" err="1">
                <a:solidFill>
                  <a:srgbClr val="505050"/>
                </a:solidFill>
                <a:ea typeface="Segoe UI" pitchFamily="34" charset="0"/>
                <a:cs typeface="Segoe UI" pitchFamily="34" charset="0"/>
              </a:rPr>
              <a:t>PowerBI</a:t>
            </a:r>
            <a:r>
              <a:rPr lang="en-US" sz="1200" dirty="0">
                <a:solidFill>
                  <a:srgbClr val="505050"/>
                </a:solidFill>
                <a:ea typeface="Segoe UI" pitchFamily="34" charset="0"/>
                <a:cs typeface="Segoe UI" pitchFamily="34" charset="0"/>
              </a:rPr>
              <a:t> review operational efficiency </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customer support effectiveness</a:t>
            </a:r>
          </a:p>
          <a:p>
            <a:pPr marL="628461" lvl="1" indent="-171399" defTabSz="914126">
              <a:buFont typeface="Wingdings" pitchFamily="2" charset="2"/>
              <a:buChar char="§"/>
            </a:pPr>
            <a:r>
              <a:rPr lang="en-US" sz="1200" dirty="0">
                <a:solidFill>
                  <a:srgbClr val="505050"/>
                </a:solidFill>
                <a:ea typeface="Segoe UI" pitchFamily="34" charset="0"/>
                <a:cs typeface="Segoe UI" pitchFamily="34" charset="0"/>
              </a:rPr>
              <a:t>new market introduction effectiveness etc.</a:t>
            </a:r>
          </a:p>
          <a:p>
            <a:pPr marL="0" marR="0" indent="0" algn="l" defTabSz="761787" rtl="0" eaLnBrk="1" fontAlgn="auto" latinLnBrk="0" hangingPunct="1">
              <a:lnSpc>
                <a:spcPct val="100000"/>
              </a:lnSpc>
              <a:spcBef>
                <a:spcPts val="0"/>
              </a:spcBef>
              <a:spcAft>
                <a:spcPts val="0"/>
              </a:spcAft>
              <a:buClrTx/>
              <a:buSzTx/>
              <a:buFontTx/>
              <a:buNone/>
              <a:tabLst/>
              <a:defRPr/>
            </a:pPr>
            <a:endParaRPr lang="en-US" u="none" baseline="0" dirty="0"/>
          </a:p>
        </p:txBody>
      </p:sp>
      <p:sp>
        <p:nvSpPr>
          <p:cNvPr id="4" name="Slide Number Placeholder 3"/>
          <p:cNvSpPr>
            <a:spLocks noGrp="1"/>
          </p:cNvSpPr>
          <p:nvPr>
            <p:ph type="sldNum" sz="quarter" idx="10"/>
          </p:nvPr>
        </p:nvSpPr>
        <p:spPr/>
        <p:txBody>
          <a:bodyPr/>
          <a:lstStyle/>
          <a:p>
            <a:pPr>
              <a:defRPr/>
            </a:pPr>
            <a:fld id="{A5B258F2-B2E5-4175-B339-81AEE5988F5F}" type="slidenum">
              <a:rPr lang="en-US" sz="1800" kern="0" smtClean="0">
                <a:solidFill>
                  <a:srgbClr val="505050"/>
                </a:solidFill>
              </a:rPr>
              <a:pPr>
                <a:defRPr/>
              </a:pPr>
              <a:t>16</a:t>
            </a:fld>
            <a:endParaRPr lang="en-US" sz="1800" kern="0" dirty="0">
              <a:solidFill>
                <a:srgbClr val="505050"/>
              </a:solidFill>
            </a:endParaRPr>
          </a:p>
        </p:txBody>
      </p:sp>
    </p:spTree>
    <p:extLst>
      <p:ext uri="{BB962C8B-B14F-4D97-AF65-F5344CB8AC3E}">
        <p14:creationId xmlns:p14="http://schemas.microsoft.com/office/powerpoint/2010/main" val="12188651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543391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141031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3</a:t>
            </a:fld>
            <a:endParaRPr lang="en-US" dirty="0">
              <a:solidFill>
                <a:srgbClr val="505050"/>
              </a:solidFill>
            </a:endParaRPr>
          </a:p>
        </p:txBody>
      </p:sp>
    </p:spTree>
    <p:extLst>
      <p:ext uri="{BB962C8B-B14F-4D97-AF65-F5344CB8AC3E}">
        <p14:creationId xmlns:p14="http://schemas.microsoft.com/office/powerpoint/2010/main" val="3432623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Citizens want to connect with their communities in a number of ways.  They want to connect to government and the various agencies to share ideas and concerns, know what’s going on, receive services, and make request in a way that is frictionless and intuitive.  They want to connect/interact with the built environment and city</a:t>
            </a:r>
            <a:r>
              <a:rPr lang="en-IN" baseline="0" dirty="0"/>
              <a:t> services as part of a well-planned, efficient, and liveable environment.  Finally, they want to connect with fellow citizens to advance common interest, enjoy the public spaces, and feel part of a larger whole.</a:t>
            </a:r>
          </a:p>
          <a:p>
            <a:endParaRPr lang="en-IN" baseline="0" dirty="0"/>
          </a:p>
          <a:p>
            <a:r>
              <a:rPr lang="en-IN" baseline="0" dirty="0"/>
              <a:t>Microsoft </a:t>
            </a:r>
            <a:r>
              <a:rPr lang="en-IN" baseline="0" dirty="0" err="1"/>
              <a:t>citynext</a:t>
            </a:r>
            <a:r>
              <a:rPr lang="en-IN" baseline="0" dirty="0"/>
              <a:t> can:</a:t>
            </a:r>
          </a:p>
          <a:p>
            <a:endParaRPr lang="en-IN" baseline="0" dirty="0"/>
          </a:p>
          <a:p>
            <a:pPr marL="171450" indent="-171450">
              <a:buFont typeface="Arial" panose="020B0604020202020204" pitchFamily="34" charset="0"/>
              <a:buChar char="•"/>
            </a:pPr>
            <a:r>
              <a:rPr lang="en-IN" baseline="0" dirty="0"/>
              <a:t>Provide communities with the ability to listen and respond to their citizens via 311 and Social Listening/Sentiment Analysis solutions.  </a:t>
            </a:r>
          </a:p>
          <a:p>
            <a:pPr marL="171450" indent="-171450">
              <a:buFont typeface="Arial" panose="020B0604020202020204" pitchFamily="34" charset="0"/>
              <a:buChar char="•"/>
            </a:pPr>
            <a:r>
              <a:rPr lang="en-IN" baseline="0" dirty="0"/>
              <a:t>Provide Citizen Services solutions built on a CRM platform to create seamless, friction-free experiences that cross agency boundaries.  </a:t>
            </a:r>
          </a:p>
          <a:p>
            <a:pPr marL="171450" indent="-171450">
              <a:buFont typeface="Arial" panose="020B0604020202020204" pitchFamily="34" charset="0"/>
              <a:buChar char="•"/>
            </a:pPr>
            <a:r>
              <a:rPr lang="en-IN" baseline="0" dirty="0"/>
              <a:t>Provide sensor based Situational Awareness solutions to help communities optimize services, provide citizens with real-time/near real-time information, and create the data driven city.  </a:t>
            </a:r>
          </a:p>
          <a:p>
            <a:pPr marL="171450" indent="-171450">
              <a:buFont typeface="Arial" panose="020B0604020202020204" pitchFamily="34" charset="0"/>
              <a:buChar char="•"/>
            </a:pPr>
            <a:r>
              <a:rPr lang="en-IN" baseline="0" dirty="0"/>
              <a:t>Provide sensors and artificial intelligence, powered by user preference data, to create personalized experiences across the built environment.</a:t>
            </a:r>
            <a:endParaRPr lang="en-IN"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4</a:t>
            </a:fld>
            <a:endParaRPr lang="en-US" dirty="0">
              <a:solidFill>
                <a:srgbClr val="505050"/>
              </a:solidFill>
            </a:endParaRPr>
          </a:p>
        </p:txBody>
      </p:sp>
    </p:spTree>
    <p:extLst>
      <p:ext uri="{BB962C8B-B14F-4D97-AF65-F5344CB8AC3E}">
        <p14:creationId xmlns:p14="http://schemas.microsoft.com/office/powerpoint/2010/main" val="15430347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AB78016-34DE-4EBE-9333-9BE4059CF5F5}" type="slidenum">
              <a:rPr lang="en-US" smtClean="0"/>
              <a:t>5</a:t>
            </a:fld>
            <a:endParaRPr lang="en-US"/>
          </a:p>
        </p:txBody>
      </p:sp>
    </p:spTree>
    <p:extLst>
      <p:ext uri="{BB962C8B-B14F-4D97-AF65-F5344CB8AC3E}">
        <p14:creationId xmlns:p14="http://schemas.microsoft.com/office/powerpoint/2010/main" val="307193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625" lvl="1" indent="-174625" algn="l" defTabSz="913830" rtl="0" eaLnBrk="1" latinLnBrk="0" hangingPunct="1">
              <a:spcBef>
                <a:spcPts val="300"/>
              </a:spcBef>
              <a:buClr>
                <a:srgbClr val="595959">
                  <a:lumMod val="75000"/>
                </a:srgbClr>
              </a:buClr>
              <a:buFont typeface="Arial" pitchFamily="34" charset="0"/>
              <a:buChar char="•"/>
              <a:defRPr/>
            </a:pPr>
            <a:r>
              <a:rPr lang="en-US" sz="1600" kern="1200" dirty="0">
                <a:ln>
                  <a:solidFill>
                    <a:srgbClr val="FFFFFF">
                      <a:alpha val="0"/>
                    </a:srgbClr>
                  </a:solidFill>
                </a:ln>
              </a:rPr>
              <a:t>Service citizen requests</a:t>
            </a:r>
            <a:r>
              <a:rPr lang="en-US" sz="1600" kern="1200" baseline="0" dirty="0">
                <a:ln>
                  <a:solidFill>
                    <a:srgbClr val="FFFFFF">
                      <a:alpha val="0"/>
                    </a:srgbClr>
                  </a:solidFill>
                </a:ln>
              </a:rPr>
              <a:t> not involving financial transactions (such as payments or fees)</a:t>
            </a:r>
            <a:r>
              <a:rPr lang="en-US" sz="1600" kern="1200" dirty="0">
                <a:ln>
                  <a:solidFill>
                    <a:srgbClr val="FFFFFF">
                      <a:alpha val="0"/>
                    </a:srgbClr>
                  </a:solidFill>
                </a:ln>
              </a:rPr>
              <a:t>, provide information through multiple interaction points including self-service</a:t>
            </a:r>
            <a:r>
              <a:rPr lang="en-US" sz="1600" kern="1200" baseline="0" dirty="0">
                <a:ln>
                  <a:solidFill>
                    <a:srgbClr val="FFFFFF">
                      <a:alpha val="0"/>
                    </a:srgbClr>
                  </a:solidFill>
                </a:ln>
              </a:rPr>
              <a:t>, </a:t>
            </a:r>
            <a:r>
              <a:rPr lang="en-US" sz="1600" kern="1200" dirty="0">
                <a:ln>
                  <a:solidFill>
                    <a:srgbClr val="FFFFFF">
                      <a:alpha val="0"/>
                    </a:srgbClr>
                  </a:solidFill>
                </a:ln>
              </a:rPr>
              <a:t>manage back office processing, and allocate resources</a:t>
            </a:r>
          </a:p>
          <a:p>
            <a:pPr marL="174625" lvl="1" indent="-174625" algn="l" defTabSz="913830" rtl="0" eaLnBrk="1" latinLnBrk="0" hangingPunct="1">
              <a:spcBef>
                <a:spcPts val="300"/>
              </a:spcBef>
              <a:buClr>
                <a:srgbClr val="595959">
                  <a:lumMod val="75000"/>
                </a:srgbClr>
              </a:buClr>
              <a:buFont typeface="Arial" pitchFamily="34" charset="0"/>
              <a:buChar char="•"/>
              <a:defRPr/>
            </a:pPr>
            <a:r>
              <a:rPr lang="en-US" sz="1600" kern="1200" dirty="0">
                <a:ln>
                  <a:solidFill>
                    <a:srgbClr val="FFFFFF">
                      <a:alpha val="0"/>
                    </a:srgbClr>
                  </a:solidFill>
                </a:ln>
              </a:rPr>
              <a:t>Provide the highest level of service and information to citizens across multiple interaction points, such as self-service</a:t>
            </a:r>
            <a:r>
              <a:rPr lang="en-US" sz="1600" kern="1200" baseline="0" dirty="0">
                <a:ln>
                  <a:solidFill>
                    <a:srgbClr val="FFFFFF">
                      <a:alpha val="0"/>
                    </a:srgbClr>
                  </a:solidFill>
                </a:ln>
              </a:rPr>
              <a:t> portals, </a:t>
            </a:r>
            <a:r>
              <a:rPr lang="en-US" sz="1600" kern="1200" dirty="0">
                <a:ln>
                  <a:solidFill>
                    <a:srgbClr val="FFFFFF">
                      <a:alpha val="0"/>
                    </a:srgbClr>
                  </a:solidFill>
                </a:ln>
              </a:rPr>
              <a:t>contact centers, email, social media, apps, portals and all web-enabled devices</a:t>
            </a:r>
          </a:p>
          <a:p>
            <a:pPr marL="174625" lvl="1" indent="-174625" algn="l" defTabSz="913830" rtl="0" eaLnBrk="1" latinLnBrk="0" hangingPunct="1">
              <a:spcBef>
                <a:spcPts val="300"/>
              </a:spcBef>
              <a:buClr>
                <a:srgbClr val="595959">
                  <a:lumMod val="75000"/>
                </a:srgbClr>
              </a:buClr>
              <a:buFont typeface="Arial" pitchFamily="34" charset="0"/>
              <a:buChar char="•"/>
              <a:defRPr/>
            </a:pPr>
            <a:r>
              <a:rPr lang="en-US" sz="1600" kern="1200" dirty="0">
                <a:ln>
                  <a:solidFill>
                    <a:srgbClr val="FFFFFF">
                      <a:alpha val="0"/>
                    </a:srgbClr>
                  </a:solidFill>
                </a:ln>
              </a:rPr>
              <a:t>Interact with citizens’ digital lives</a:t>
            </a:r>
            <a:r>
              <a:rPr lang="en-US" sz="1600" kern="1200" baseline="0" dirty="0">
                <a:ln>
                  <a:solidFill>
                    <a:srgbClr val="FFFFFF">
                      <a:alpha val="0"/>
                    </a:srgbClr>
                  </a:solidFill>
                </a:ln>
              </a:rPr>
              <a:t>; </a:t>
            </a:r>
            <a:r>
              <a:rPr lang="en-US" sz="1600" kern="1200" dirty="0">
                <a:ln>
                  <a:solidFill>
                    <a:srgbClr val="FFFFFF">
                      <a:alpha val="0"/>
                    </a:srgbClr>
                  </a:solidFill>
                </a:ln>
              </a:rPr>
              <a:t>respond, act, and communicate</a:t>
            </a:r>
            <a:r>
              <a:rPr lang="en-US" sz="1600" kern="1200" baseline="0" dirty="0">
                <a:ln>
                  <a:solidFill>
                    <a:srgbClr val="FFFFFF">
                      <a:alpha val="0"/>
                    </a:srgbClr>
                  </a:solidFill>
                </a:ln>
              </a:rPr>
              <a:t> </a:t>
            </a:r>
            <a:r>
              <a:rPr lang="en-US" sz="1600" kern="1200" dirty="0">
                <a:ln>
                  <a:solidFill>
                    <a:srgbClr val="FFFFFF">
                      <a:alpha val="0"/>
                    </a:srgbClr>
                  </a:solidFill>
                </a:ln>
              </a:rPr>
              <a:t>in fundamentally new ways</a:t>
            </a:r>
            <a:endParaRPr lang="en-US" sz="1600" kern="1200" dirty="0">
              <a:ln>
                <a:solidFill>
                  <a:srgbClr val="FFFFFF">
                    <a:alpha val="0"/>
                  </a:srgbClr>
                </a:solidFill>
              </a:ln>
              <a:solidFill>
                <a:srgbClr val="595959">
                  <a:lumMod val="75000"/>
                </a:srgbClr>
              </a:solidFill>
              <a:latin typeface="+mn-lt"/>
              <a:ea typeface="+mn-ea"/>
              <a:cs typeface="+mn-cs"/>
            </a:endParaRPr>
          </a:p>
          <a:p>
            <a:endParaRPr lang="en-US" sz="800" dirty="0">
              <a:solidFill>
                <a:schemeClr val="bg1"/>
              </a:solidFill>
              <a:latin typeface="Segoe UI Light" panose="020B0502040204020203" pitchFamily="34" charset="0"/>
              <a:cs typeface="Segoe UI Light" panose="020B0502040204020203" pitchFamily="34" charset="0"/>
            </a:endParaRPr>
          </a:p>
          <a:p>
            <a:pPr rtl="0" eaLnBrk="1" fontAlgn="ctr" latinLnBrk="0" hangingPunct="1"/>
            <a:r>
              <a:rPr lang="en-US" sz="1200" b="1" i="0" u="none" strike="noStrike" kern="1200" dirty="0">
                <a:solidFill>
                  <a:schemeClr val="tx1"/>
                </a:solidFill>
                <a:effectLst/>
                <a:latin typeface="+mn-lt"/>
                <a:ea typeface="+mn-ea"/>
                <a:cs typeface="+mn-cs"/>
              </a:rPr>
              <a:t>Benefit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Improve a citizen’s ability to interact with government agencies</a:t>
            </a:r>
          </a:p>
          <a:p>
            <a:pPr rtl="0" eaLnBrk="1" fontAlgn="t" latinLnBrk="0" hangingPunct="1"/>
            <a:r>
              <a:rPr lang="en-US" sz="1200" b="0" i="0" u="none" strike="noStrike" kern="1200" dirty="0">
                <a:solidFill>
                  <a:schemeClr val="tx1"/>
                </a:solidFill>
                <a:effectLst/>
                <a:latin typeface="+mn-lt"/>
                <a:ea typeface="+mn-ea"/>
                <a:cs typeface="+mn-cs"/>
              </a:rPr>
              <a:t>Improve an agency’s response time to citizen inquiries and requests</a:t>
            </a:r>
          </a:p>
          <a:p>
            <a:pPr rtl="0" eaLnBrk="1" fontAlgn="t" latinLnBrk="0" hangingPunct="1"/>
            <a:r>
              <a:rPr lang="en-US" sz="1200" b="0" i="0" u="none" strike="noStrike" kern="1200" dirty="0">
                <a:solidFill>
                  <a:schemeClr val="tx1"/>
                </a:solidFill>
                <a:effectLst/>
                <a:latin typeface="+mn-lt"/>
                <a:ea typeface="+mn-ea"/>
                <a:cs typeface="+mn-cs"/>
              </a:rPr>
              <a:t>Increase citizen satisfaction and productivity from self-service citizen portals and knowledge bases</a:t>
            </a:r>
          </a:p>
          <a:p>
            <a:pPr rtl="0" eaLnBrk="1" fontAlgn="t" latinLnBrk="0" hangingPunct="1"/>
            <a:r>
              <a:rPr lang="en-US" sz="1200" b="0" i="0" u="none" strike="noStrike" kern="1200" dirty="0">
                <a:solidFill>
                  <a:schemeClr val="tx1"/>
                </a:solidFill>
                <a:effectLst/>
                <a:latin typeface="+mn-lt"/>
                <a:ea typeface="+mn-ea"/>
                <a:cs typeface="+mn-cs"/>
              </a:rPr>
              <a:t>Improve transparency by allowing citizens to easily view and track the progress of their interactions</a:t>
            </a:r>
          </a:p>
          <a:p>
            <a:pPr rtl="0" eaLnBrk="1" fontAlgn="t" latinLnBrk="0" hangingPunct="1"/>
            <a:r>
              <a:rPr lang="en-US" sz="1200" b="0" i="0" u="none" strike="noStrike" kern="1200" dirty="0">
                <a:solidFill>
                  <a:schemeClr val="tx1"/>
                </a:solidFill>
                <a:effectLst/>
                <a:latin typeface="+mn-lt"/>
                <a:ea typeface="+mn-ea"/>
                <a:cs typeface="+mn-cs"/>
              </a:rPr>
              <a:t>Deliver efficient, scalable, and security-enhanced real-time services</a:t>
            </a:r>
          </a:p>
          <a:p>
            <a:pPr rtl="0" eaLnBrk="1" fontAlgn="t" latinLnBrk="0" hangingPunct="1"/>
            <a:r>
              <a:rPr lang="en-US" sz="1200" b="0" i="0" u="none" strike="noStrike" kern="1200" dirty="0">
                <a:solidFill>
                  <a:schemeClr val="tx1"/>
                </a:solidFill>
                <a:effectLst/>
                <a:latin typeface="+mn-lt"/>
                <a:ea typeface="+mn-ea"/>
                <a:cs typeface="+mn-cs"/>
              </a:rPr>
              <a:t>Greater visibility and improved decision-making capability from management dashboards and reporting</a:t>
            </a:r>
          </a:p>
          <a:p>
            <a:endParaRPr lang="en-US" sz="800" dirty="0">
              <a:solidFill>
                <a:schemeClr val="bg1"/>
              </a:solidFill>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7</a:t>
            </a:fld>
            <a:endParaRPr lang="en-US" dirty="0">
              <a:solidFill>
                <a:srgbClr val="505050"/>
              </a:solidFill>
            </a:endParaRPr>
          </a:p>
        </p:txBody>
      </p:sp>
    </p:spTree>
    <p:extLst>
      <p:ext uri="{BB962C8B-B14F-4D97-AF65-F5344CB8AC3E}">
        <p14:creationId xmlns:p14="http://schemas.microsoft.com/office/powerpoint/2010/main" val="435948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61787" rtl="0" eaLnBrk="1" fontAlgn="auto" latinLnBrk="0" hangingPunct="1">
              <a:lnSpc>
                <a:spcPct val="100000"/>
              </a:lnSpc>
              <a:spcBef>
                <a:spcPts val="0"/>
              </a:spcBef>
              <a:spcAft>
                <a:spcPts val="0"/>
              </a:spcAft>
              <a:buClrTx/>
              <a:buSzTx/>
              <a:buFontTx/>
              <a:buNone/>
              <a:tabLst/>
              <a:defRPr/>
            </a:pPr>
            <a:r>
              <a:rPr lang="en-US" u="none" baseline="0" dirty="0"/>
              <a:t>Need some input here</a:t>
            </a:r>
          </a:p>
        </p:txBody>
      </p:sp>
      <p:sp>
        <p:nvSpPr>
          <p:cNvPr id="4" name="Slide Number Placeholder 3"/>
          <p:cNvSpPr>
            <a:spLocks noGrp="1"/>
          </p:cNvSpPr>
          <p:nvPr>
            <p:ph type="sldNum" sz="quarter" idx="10"/>
          </p:nvPr>
        </p:nvSpPr>
        <p:spPr/>
        <p:txBody>
          <a:bodyPr/>
          <a:lstStyle/>
          <a:p>
            <a:pPr>
              <a:defRPr/>
            </a:pPr>
            <a:fld id="{A5B258F2-B2E5-4175-B339-81AEE5988F5F}" type="slidenum">
              <a:rPr lang="en-US" sz="1800" kern="0" smtClean="0">
                <a:solidFill>
                  <a:srgbClr val="505050"/>
                </a:solidFill>
              </a:rPr>
              <a:pPr>
                <a:defRPr/>
              </a:pPr>
              <a:t>8</a:t>
            </a:fld>
            <a:endParaRPr lang="en-US" sz="1800" kern="0" dirty="0">
              <a:solidFill>
                <a:srgbClr val="505050"/>
              </a:solidFill>
            </a:endParaRPr>
          </a:p>
        </p:txBody>
      </p:sp>
    </p:spTree>
    <p:extLst>
      <p:ext uri="{BB962C8B-B14F-4D97-AF65-F5344CB8AC3E}">
        <p14:creationId xmlns:p14="http://schemas.microsoft.com/office/powerpoint/2010/main" val="1024663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846505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800" baseline="0"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11</a:t>
            </a:fld>
            <a:endParaRPr lang="en-US" dirty="0">
              <a:solidFill>
                <a:srgbClr val="505050"/>
              </a:solidFill>
            </a:endParaRPr>
          </a:p>
        </p:txBody>
      </p:sp>
    </p:spTree>
    <p:extLst>
      <p:ext uri="{BB962C8B-B14F-4D97-AF65-F5344CB8AC3E}">
        <p14:creationId xmlns:p14="http://schemas.microsoft.com/office/powerpoint/2010/main" val="37753591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8.emf"/><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tags" Target="../tags/tag26.xml"/><Relationship Id="rId11" Type="http://schemas.openxmlformats.org/officeDocument/2006/relationships/oleObject" Target="../embeddings/oleObject8.bin"/><Relationship Id="rId5" Type="http://schemas.openxmlformats.org/officeDocument/2006/relationships/tags" Target="../tags/tag25.xml"/><Relationship Id="rId10" Type="http://schemas.openxmlformats.org/officeDocument/2006/relationships/slideMaster" Target="../slideMasters/slideMaster9.xml"/><Relationship Id="rId4" Type="http://schemas.openxmlformats.org/officeDocument/2006/relationships/tags" Target="../tags/tag24.xml"/><Relationship Id="rId9" Type="http://schemas.openxmlformats.org/officeDocument/2006/relationships/tags" Target="../tags/tag2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image" Target="../media/image8.emf"/><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tags" Target="../tags/tag35.xml"/><Relationship Id="rId11" Type="http://schemas.openxmlformats.org/officeDocument/2006/relationships/oleObject" Target="../embeddings/oleObject10.bin"/><Relationship Id="rId5" Type="http://schemas.openxmlformats.org/officeDocument/2006/relationships/tags" Target="../tags/tag34.xml"/><Relationship Id="rId10" Type="http://schemas.openxmlformats.org/officeDocument/2006/relationships/slideMaster" Target="../slideMasters/slideMaster11.xml"/><Relationship Id="rId4" Type="http://schemas.openxmlformats.org/officeDocument/2006/relationships/tags" Target="../tags/tag33.xml"/><Relationship Id="rId9" Type="http://schemas.openxmlformats.org/officeDocument/2006/relationships/tags" Target="../tags/tag3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image" Target="../media/image1.png"/><Relationship Id="rId5" Type="http://schemas.openxmlformats.org/officeDocument/2006/relationships/image" Target="../media/image17.emf"/><Relationship Id="rId4" Type="http://schemas.openxmlformats.org/officeDocument/2006/relationships/oleObject" Target="../embeddings/oleObject12.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1.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7.emf"/><Relationship Id="rId4" Type="http://schemas.openxmlformats.org/officeDocument/2006/relationships/oleObject" Target="../embeddings/oleObject1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2.xml"/><Relationship Id="rId1" Type="http://schemas.openxmlformats.org/officeDocument/2006/relationships/vmlDrawing" Target="../drawings/vmlDrawing14.vml"/><Relationship Id="rId5" Type="http://schemas.openxmlformats.org/officeDocument/2006/relationships/image" Target="../media/image17.emf"/><Relationship Id="rId4" Type="http://schemas.openxmlformats.org/officeDocument/2006/relationships/oleObject" Target="../embeddings/oleObject14.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3.xml"/><Relationship Id="rId1" Type="http://schemas.openxmlformats.org/officeDocument/2006/relationships/vmlDrawing" Target="../drawings/vmlDrawing15.vml"/><Relationship Id="rId5" Type="http://schemas.openxmlformats.org/officeDocument/2006/relationships/image" Target="../media/image17.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4.xml"/><Relationship Id="rId1" Type="http://schemas.openxmlformats.org/officeDocument/2006/relationships/vmlDrawing" Target="../drawings/vmlDrawing16.vml"/><Relationship Id="rId5" Type="http://schemas.openxmlformats.org/officeDocument/2006/relationships/image" Target="../media/image17.emf"/><Relationship Id="rId4" Type="http://schemas.openxmlformats.org/officeDocument/2006/relationships/oleObject" Target="../embeddings/oleObject16.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5.xml"/><Relationship Id="rId1" Type="http://schemas.openxmlformats.org/officeDocument/2006/relationships/vmlDrawing" Target="../drawings/vmlDrawing17.vml"/><Relationship Id="rId5" Type="http://schemas.openxmlformats.org/officeDocument/2006/relationships/image" Target="../media/image17.emf"/><Relationship Id="rId4" Type="http://schemas.openxmlformats.org/officeDocument/2006/relationships/oleObject" Target="../embeddings/oleObject17.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6.xml"/><Relationship Id="rId1" Type="http://schemas.openxmlformats.org/officeDocument/2006/relationships/vmlDrawing" Target="../drawings/vmlDrawing18.vml"/><Relationship Id="rId5" Type="http://schemas.openxmlformats.org/officeDocument/2006/relationships/image" Target="../media/image17.emf"/><Relationship Id="rId4" Type="http://schemas.openxmlformats.org/officeDocument/2006/relationships/oleObject" Target="../embeddings/oleObject18.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7.xml"/><Relationship Id="rId1" Type="http://schemas.openxmlformats.org/officeDocument/2006/relationships/vmlDrawing" Target="../drawings/vmlDrawing19.vml"/><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8.xml"/><Relationship Id="rId1" Type="http://schemas.openxmlformats.org/officeDocument/2006/relationships/vmlDrawing" Target="../drawings/vmlDrawing20.vml"/><Relationship Id="rId5" Type="http://schemas.openxmlformats.org/officeDocument/2006/relationships/image" Target="../media/image17.emf"/><Relationship Id="rId4" Type="http://schemas.openxmlformats.org/officeDocument/2006/relationships/oleObject" Target="../embeddings/oleObject20.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9.xml"/><Relationship Id="rId1" Type="http://schemas.openxmlformats.org/officeDocument/2006/relationships/vmlDrawing" Target="../drawings/vmlDrawing21.vml"/><Relationship Id="rId5" Type="http://schemas.openxmlformats.org/officeDocument/2006/relationships/image" Target="../media/image17.emf"/><Relationship Id="rId4" Type="http://schemas.openxmlformats.org/officeDocument/2006/relationships/oleObject" Target="../embeddings/oleObject21.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xml"/><Relationship Id="rId1" Type="http://schemas.openxmlformats.org/officeDocument/2006/relationships/vmlDrawing" Target="../drawings/vmlDrawing22.vml"/><Relationship Id="rId5" Type="http://schemas.openxmlformats.org/officeDocument/2006/relationships/image" Target="../media/image17.emf"/><Relationship Id="rId4" Type="http://schemas.openxmlformats.org/officeDocument/2006/relationships/oleObject" Target="../embeddings/oleObject22.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xml"/><Relationship Id="rId1" Type="http://schemas.openxmlformats.org/officeDocument/2006/relationships/vmlDrawing" Target="../drawings/vmlDrawing23.vml"/><Relationship Id="rId5" Type="http://schemas.openxmlformats.org/officeDocument/2006/relationships/image" Target="../media/image17.emf"/><Relationship Id="rId4" Type="http://schemas.openxmlformats.org/officeDocument/2006/relationships/oleObject" Target="../embeddings/oleObject23.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xml"/><Relationship Id="rId1" Type="http://schemas.openxmlformats.org/officeDocument/2006/relationships/vmlDrawing" Target="../drawings/vmlDrawing24.vml"/><Relationship Id="rId5" Type="http://schemas.openxmlformats.org/officeDocument/2006/relationships/image" Target="../media/image17.emf"/><Relationship Id="rId4" Type="http://schemas.openxmlformats.org/officeDocument/2006/relationships/oleObject" Target="../embeddings/oleObject24.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xml"/><Relationship Id="rId1" Type="http://schemas.openxmlformats.org/officeDocument/2006/relationships/vmlDrawing" Target="../drawings/vmlDrawing25.vml"/><Relationship Id="rId5" Type="http://schemas.openxmlformats.org/officeDocument/2006/relationships/image" Target="../media/image17.emf"/><Relationship Id="rId4" Type="http://schemas.openxmlformats.org/officeDocument/2006/relationships/oleObject" Target="../embeddings/oleObject25.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xml"/><Relationship Id="rId1" Type="http://schemas.openxmlformats.org/officeDocument/2006/relationships/vmlDrawing" Target="../drawings/vmlDrawing26.vml"/><Relationship Id="rId5" Type="http://schemas.openxmlformats.org/officeDocument/2006/relationships/image" Target="../media/image17.emf"/><Relationship Id="rId4" Type="http://schemas.openxmlformats.org/officeDocument/2006/relationships/oleObject" Target="../embeddings/oleObject26.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8.png"/><Relationship Id="rId2" Type="http://schemas.openxmlformats.org/officeDocument/2006/relationships/tags" Target="../tags/tag55.xml"/><Relationship Id="rId1" Type="http://schemas.openxmlformats.org/officeDocument/2006/relationships/vmlDrawing" Target="../drawings/vmlDrawing27.vml"/><Relationship Id="rId6" Type="http://schemas.openxmlformats.org/officeDocument/2006/relationships/image" Target="../media/image4.png"/><Relationship Id="rId5" Type="http://schemas.openxmlformats.org/officeDocument/2006/relationships/image" Target="../media/image17.emf"/><Relationship Id="rId4" Type="http://schemas.openxmlformats.org/officeDocument/2006/relationships/oleObject" Target="../embeddings/oleObject27.bin"/></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xml"/><Relationship Id="rId1" Type="http://schemas.openxmlformats.org/officeDocument/2006/relationships/vmlDrawing" Target="../drawings/vmlDrawing28.vml"/><Relationship Id="rId5" Type="http://schemas.openxmlformats.org/officeDocument/2006/relationships/image" Target="../media/image17.emf"/><Relationship Id="rId4" Type="http://schemas.openxmlformats.org/officeDocument/2006/relationships/oleObject" Target="../embeddings/oleObject28.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png"/><Relationship Id="rId5" Type="http://schemas.openxmlformats.org/officeDocument/2006/relationships/image" Target="../media/image17.emf"/><Relationship Id="rId4" Type="http://schemas.openxmlformats.org/officeDocument/2006/relationships/oleObject" Target="../embeddings/oleObject30.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image" Target="../media/image3.png"/><Relationship Id="rId5" Type="http://schemas.openxmlformats.org/officeDocument/2006/relationships/image" Target="../media/image17.emf"/><Relationship Id="rId4" Type="http://schemas.openxmlformats.org/officeDocument/2006/relationships/oleObject" Target="../embeddings/oleObject3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xml"/><Relationship Id="rId1" Type="http://schemas.openxmlformats.org/officeDocument/2006/relationships/vmlDrawing" Target="../drawings/vmlDrawing32.vml"/><Relationship Id="rId5" Type="http://schemas.openxmlformats.org/officeDocument/2006/relationships/image" Target="../media/image17.emf"/><Relationship Id="rId4" Type="http://schemas.openxmlformats.org/officeDocument/2006/relationships/oleObject" Target="../embeddings/oleObject32.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xml"/><Relationship Id="rId1" Type="http://schemas.openxmlformats.org/officeDocument/2006/relationships/vmlDrawing" Target="../drawings/vmlDrawing33.vml"/><Relationship Id="rId5" Type="http://schemas.openxmlformats.org/officeDocument/2006/relationships/image" Target="../media/image17.emf"/><Relationship Id="rId4" Type="http://schemas.openxmlformats.org/officeDocument/2006/relationships/oleObject" Target="../embeddings/oleObject33.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xml"/><Relationship Id="rId1" Type="http://schemas.openxmlformats.org/officeDocument/2006/relationships/vmlDrawing" Target="../drawings/vmlDrawing34.vml"/><Relationship Id="rId5" Type="http://schemas.openxmlformats.org/officeDocument/2006/relationships/image" Target="../media/image17.emf"/><Relationship Id="rId4" Type="http://schemas.openxmlformats.org/officeDocument/2006/relationships/oleObject" Target="../embeddings/oleObject34.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17.emf"/><Relationship Id="rId4" Type="http://schemas.openxmlformats.org/officeDocument/2006/relationships/oleObject" Target="../embeddings/oleObject35.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4.xml"/><Relationship Id="rId1" Type="http://schemas.openxmlformats.org/officeDocument/2006/relationships/vmlDrawing" Target="../drawings/vmlDrawing36.vml"/><Relationship Id="rId5" Type="http://schemas.openxmlformats.org/officeDocument/2006/relationships/image" Target="../media/image17.emf"/><Relationship Id="rId4" Type="http://schemas.openxmlformats.org/officeDocument/2006/relationships/oleObject" Target="../embeddings/oleObject36.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5.xml"/><Relationship Id="rId1" Type="http://schemas.openxmlformats.org/officeDocument/2006/relationships/vmlDrawing" Target="../drawings/vmlDrawing37.vml"/><Relationship Id="rId5" Type="http://schemas.openxmlformats.org/officeDocument/2006/relationships/image" Target="../media/image17.emf"/><Relationship Id="rId4" Type="http://schemas.openxmlformats.org/officeDocument/2006/relationships/oleObject" Target="../embeddings/oleObject37.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6.xml"/><Relationship Id="rId1" Type="http://schemas.openxmlformats.org/officeDocument/2006/relationships/vmlDrawing" Target="../drawings/vmlDrawing38.vml"/><Relationship Id="rId5" Type="http://schemas.openxmlformats.org/officeDocument/2006/relationships/image" Target="../media/image17.emf"/><Relationship Id="rId4" Type="http://schemas.openxmlformats.org/officeDocument/2006/relationships/oleObject" Target="../embeddings/oleObject38.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39.vml"/><Relationship Id="rId5" Type="http://schemas.openxmlformats.org/officeDocument/2006/relationships/image" Target="../media/image17.emf"/><Relationship Id="rId4" Type="http://schemas.openxmlformats.org/officeDocument/2006/relationships/oleObject" Target="../embeddings/oleObject39.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40.vml"/><Relationship Id="rId5" Type="http://schemas.openxmlformats.org/officeDocument/2006/relationships/image" Target="../media/image17.emf"/><Relationship Id="rId4" Type="http://schemas.openxmlformats.org/officeDocument/2006/relationships/oleObject" Target="../embeddings/oleObject40.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41.vml"/><Relationship Id="rId5" Type="http://schemas.openxmlformats.org/officeDocument/2006/relationships/image" Target="../media/image17.emf"/><Relationship Id="rId4" Type="http://schemas.openxmlformats.org/officeDocument/2006/relationships/oleObject" Target="../embeddings/oleObject4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42.vml"/><Relationship Id="rId5" Type="http://schemas.openxmlformats.org/officeDocument/2006/relationships/image" Target="../media/image17.emf"/><Relationship Id="rId4" Type="http://schemas.openxmlformats.org/officeDocument/2006/relationships/oleObject" Target="../embeddings/oleObject42.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1.xml"/><Relationship Id="rId1" Type="http://schemas.openxmlformats.org/officeDocument/2006/relationships/vmlDrawing" Target="../drawings/vmlDrawing43.vml"/><Relationship Id="rId5" Type="http://schemas.openxmlformats.org/officeDocument/2006/relationships/image" Target="../media/image17.emf"/><Relationship Id="rId4" Type="http://schemas.openxmlformats.org/officeDocument/2006/relationships/oleObject" Target="../embeddings/oleObject43.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2.xml"/><Relationship Id="rId1" Type="http://schemas.openxmlformats.org/officeDocument/2006/relationships/vmlDrawing" Target="../drawings/vmlDrawing44.vml"/><Relationship Id="rId5" Type="http://schemas.openxmlformats.org/officeDocument/2006/relationships/image" Target="../media/image17.emf"/><Relationship Id="rId4" Type="http://schemas.openxmlformats.org/officeDocument/2006/relationships/oleObject" Target="../embeddings/oleObject44.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22.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4.png"/><Relationship Id="rId5" Type="http://schemas.openxmlformats.org/officeDocument/2006/relationships/image" Target="../media/image17.emf"/><Relationship Id="rId4" Type="http://schemas.openxmlformats.org/officeDocument/2006/relationships/oleObject" Target="../embeddings/oleObject45.bin"/></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15.xml"/><Relationship Id="rId4" Type="http://schemas.openxmlformats.org/officeDocument/2006/relationships/image" Target="../media/image26.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15.xml"/><Relationship Id="rId4" Type="http://schemas.openxmlformats.org/officeDocument/2006/relationships/image" Target="../media/image26.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15.xml"/><Relationship Id="rId4" Type="http://schemas.openxmlformats.org/officeDocument/2006/relationships/image" Target="../media/image26.pn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1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5.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png"/><Relationship Id="rId1" Type="http://schemas.openxmlformats.org/officeDocument/2006/relationships/slideMaster" Target="../slideMasters/slideMaster15.xml"/><Relationship Id="rId6" Type="http://schemas.openxmlformats.org/officeDocument/2006/relationships/image" Target="../media/image30.png"/><Relationship Id="rId5" Type="http://schemas.openxmlformats.org/officeDocument/2006/relationships/image" Target="../media/image23.png"/><Relationship Id="rId4" Type="http://schemas.openxmlformats.org/officeDocument/2006/relationships/image" Target="../media/image29.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png"/><Relationship Id="rId1" Type="http://schemas.openxmlformats.org/officeDocument/2006/relationships/slideMaster" Target="../slideMasters/slideMaster15.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3.png"/><Relationship Id="rId1" Type="http://schemas.openxmlformats.org/officeDocument/2006/relationships/slideMaster" Target="../slideMasters/slideMaster15.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28.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8.emf"/><Relationship Id="rId2" Type="http://schemas.openxmlformats.org/officeDocument/2006/relationships/tags" Target="../tags/tag75.xml"/><Relationship Id="rId1" Type="http://schemas.openxmlformats.org/officeDocument/2006/relationships/vmlDrawing" Target="../drawings/vmlDrawing47.vml"/><Relationship Id="rId6" Type="http://schemas.openxmlformats.org/officeDocument/2006/relationships/tags" Target="../tags/tag79.xml"/><Relationship Id="rId11" Type="http://schemas.openxmlformats.org/officeDocument/2006/relationships/oleObject" Target="../embeddings/oleObject47.bin"/><Relationship Id="rId5" Type="http://schemas.openxmlformats.org/officeDocument/2006/relationships/tags" Target="../tags/tag78.xml"/><Relationship Id="rId10" Type="http://schemas.openxmlformats.org/officeDocument/2006/relationships/slideMaster" Target="../slideMasters/slideMaster16.xml"/><Relationship Id="rId4" Type="http://schemas.openxmlformats.org/officeDocument/2006/relationships/tags" Target="../tags/tag77.xml"/><Relationship Id="rId9" Type="http://schemas.openxmlformats.org/officeDocument/2006/relationships/tags" Target="../tags/tag82.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8.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oleObject" Target="../embeddings/oleObject2.bin"/><Relationship Id="rId5" Type="http://schemas.openxmlformats.org/officeDocument/2006/relationships/tags" Target="../tags/tag6.xml"/><Relationship Id="rId10" Type="http://schemas.openxmlformats.org/officeDocument/2006/relationships/slideMaster" Target="../slideMasters/slideMaster2.xml"/><Relationship Id="rId4" Type="http://schemas.openxmlformats.org/officeDocument/2006/relationships/tags" Target="../tags/tag5.xml"/><Relationship Id="rId9" Type="http://schemas.openxmlformats.org/officeDocument/2006/relationships/tags" Target="../tags/tag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Master" Target="../slideMasters/slideMaster6.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tags" Target="../tags/tag18.xml"/><Relationship Id="rId11" Type="http://schemas.openxmlformats.org/officeDocument/2006/relationships/image" Target="../media/image8.emf"/><Relationship Id="rId5" Type="http://schemas.openxmlformats.org/officeDocument/2006/relationships/tags" Target="../tags/tag17.xml"/><Relationship Id="rId10" Type="http://schemas.openxmlformats.org/officeDocument/2006/relationships/oleObject" Target="../embeddings/oleObject6.bin"/><Relationship Id="rId4" Type="http://schemas.openxmlformats.org/officeDocument/2006/relationships/tags" Target="../tags/tag16.xml"/><Relationship Id="rId9"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Master" Target="../slideMasters/slideMaster7.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Tree>
    <p:extLst>
      <p:ext uri="{BB962C8B-B14F-4D97-AF65-F5344CB8AC3E}">
        <p14:creationId xmlns:p14="http://schemas.microsoft.com/office/powerpoint/2010/main" val="215595845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703914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075" y="228602"/>
            <a:ext cx="11161444" cy="609399"/>
          </a:xfrm>
        </p:spPr>
        <p:txBody>
          <a:bodyPr/>
          <a:lstStyle>
            <a:lvl1pPr>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Microsoft Confidential</a:t>
            </a:r>
            <a:endParaRPr lang="en-US" dirty="0"/>
          </a:p>
        </p:txBody>
      </p:sp>
      <p:sp>
        <p:nvSpPr>
          <p:cNvPr id="4" name="Slide Number Placeholder 3"/>
          <p:cNvSpPr>
            <a:spLocks noGrp="1"/>
          </p:cNvSpPr>
          <p:nvPr>
            <p:ph type="sldNum" sz="quarter" idx="11"/>
          </p:nvPr>
        </p:nvSpPr>
        <p:spPr/>
        <p:txBody>
          <a:bodyPr/>
          <a:lstStyle/>
          <a:p>
            <a:fld id="{71F47D9D-8D60-4698-A495-89D102E182A2}" type="slidenum">
              <a:rPr/>
              <a:pPr/>
              <a:t>‹#›</a:t>
            </a:fld>
            <a:endParaRPr dirty="0"/>
          </a:p>
        </p:txBody>
      </p:sp>
    </p:spTree>
    <p:extLst>
      <p:ext uri="{BB962C8B-B14F-4D97-AF65-F5344CB8AC3E}">
        <p14:creationId xmlns:p14="http://schemas.microsoft.com/office/powerpoint/2010/main" val="43571942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Microsoft Confidential</a:t>
            </a:r>
            <a:endParaRPr lang="en-US" dirty="0"/>
          </a:p>
        </p:txBody>
      </p:sp>
      <p:sp>
        <p:nvSpPr>
          <p:cNvPr id="3" name="Slide Number Placeholder 2"/>
          <p:cNvSpPr>
            <a:spLocks noGrp="1"/>
          </p:cNvSpPr>
          <p:nvPr>
            <p:ph type="sldNum" sz="quarter" idx="11"/>
          </p:nvPr>
        </p:nvSpPr>
        <p:spPr/>
        <p:txBody>
          <a:bodyPr/>
          <a:lstStyle/>
          <a:p>
            <a:fld id="{71F47D9D-8D60-4698-A495-89D102E182A2}" type="slidenum">
              <a:rPr/>
              <a:pPr/>
              <a:t>‹#›</a:t>
            </a:fld>
            <a:endParaRPr dirty="0"/>
          </a:p>
        </p:txBody>
      </p:sp>
    </p:spTree>
    <p:extLst>
      <p:ext uri="{BB962C8B-B14F-4D97-AF65-F5344CB8AC3E}">
        <p14:creationId xmlns:p14="http://schemas.microsoft.com/office/powerpoint/2010/main" val="360783895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4"/>
            <a:ext cx="11151917" cy="757131"/>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9257738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4"/>
            <a:ext cx="11151917" cy="757131"/>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8" y="1447803"/>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413226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48" y="1447803"/>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714754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6600854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70500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3"/>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634557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803"/>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4" y="6238876"/>
            <a:ext cx="12192001" cy="619125"/>
          </a:xfrm>
          <a:solidFill>
            <a:srgbClr val="FFFF99"/>
          </a:solidFill>
        </p:spPr>
        <p:txBody>
          <a:bodyPr wrap="square" lIns="152378" tIns="76189" rIns="152378" bIns="76189"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41499472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Title slide, image background">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263149"/>
          </a:xfrm>
          <a:prstGeom prst="rect">
            <a:avLst/>
          </a:prstGeom>
        </p:spPr>
        <p:txBody>
          <a:bodyPr vert="horz"/>
          <a:lstStyle>
            <a:lvl1pPr>
              <a:buFontTx/>
              <a:buNone/>
              <a:defRPr sz="1867">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287867" y="1219200"/>
            <a:ext cx="4876800" cy="2438400"/>
          </a:xfrm>
          <a:prstGeom prst="rect">
            <a:avLst/>
          </a:prstGeom>
          <a:noFill/>
        </p:spPr>
        <p:txBody>
          <a:bodyPr vert="horz" lIns="91426" tIns="45713">
            <a:normAutofit/>
          </a:bodyPr>
          <a:lstStyle>
            <a:lvl1pPr algn="l">
              <a:defRPr sz="4000">
                <a:solidFill>
                  <a:schemeClr val="bg2"/>
                </a:solidFill>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287868" y="3651805"/>
            <a:ext cx="2438400" cy="1219200"/>
          </a:xfrm>
          <a:prstGeom prst="rect">
            <a:avLst/>
          </a:prstGeom>
          <a:noFill/>
        </p:spPr>
        <p:txBody>
          <a:bodyPr vert="horz" lIns="91426" tIns="45713">
            <a:normAutofit/>
          </a:bodyPr>
          <a:lstStyle>
            <a:lvl1pPr marL="0" indent="0">
              <a:lnSpc>
                <a:spcPct val="100000"/>
              </a:lnSpc>
              <a:buFontTx/>
              <a:buNone/>
              <a:defRPr sz="1867" baseline="0">
                <a:solidFill>
                  <a:schemeClr val="accent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dirty="0"/>
              <a:t>Click to edit slide content</a:t>
            </a:r>
          </a:p>
        </p:txBody>
      </p:sp>
      <p:sp>
        <p:nvSpPr>
          <p:cNvPr id="3" name="Picture Placeholder 2"/>
          <p:cNvSpPr>
            <a:spLocks noGrp="1"/>
          </p:cNvSpPr>
          <p:nvPr>
            <p:ph type="pic" sz="quarter" idx="17"/>
          </p:nvPr>
        </p:nvSpPr>
        <p:spPr>
          <a:xfrm>
            <a:off x="101601" y="24386"/>
            <a:ext cx="1524000" cy="443199"/>
          </a:xfrm>
        </p:spPr>
        <p:txBody>
          <a:bodyPr/>
          <a:lstStyle/>
          <a:p>
            <a:endParaRPr lang="en-US" dirty="0"/>
          </a:p>
        </p:txBody>
      </p:sp>
    </p:spTree>
    <p:extLst>
      <p:ext uri="{BB962C8B-B14F-4D97-AF65-F5344CB8AC3E}">
        <p14:creationId xmlns:p14="http://schemas.microsoft.com/office/powerpoint/2010/main" val="153336859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9877195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Title slide, color backgroun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279341" y="1219200"/>
            <a:ext cx="4876800" cy="2438400"/>
          </a:xfrm>
          <a:prstGeom prst="rect">
            <a:avLst/>
          </a:prstGeom>
          <a:noFill/>
        </p:spPr>
        <p:txBody>
          <a:bodyPr vert="horz" lIns="182852" tIns="137138">
            <a:normAutofit/>
          </a:bodyPr>
          <a:lstStyle>
            <a:lvl1pPr algn="l">
              <a:defRPr sz="4000">
                <a:solidFill>
                  <a:schemeClr val="tx1"/>
                </a:solidFill>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279343" y="3651805"/>
            <a:ext cx="2438400" cy="1219200"/>
          </a:xfrm>
          <a:prstGeom prst="rect">
            <a:avLst/>
          </a:prstGeom>
          <a:noFill/>
        </p:spPr>
        <p:txBody>
          <a:bodyPr vert="horz" lIns="182852" tIns="137138">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dirty="0"/>
              <a:t>Click to edit slide content</a:t>
            </a:r>
          </a:p>
        </p:txBody>
      </p:sp>
      <p:sp>
        <p:nvSpPr>
          <p:cNvPr id="5" name="Picture Placeholder 2"/>
          <p:cNvSpPr>
            <a:spLocks noGrp="1"/>
          </p:cNvSpPr>
          <p:nvPr>
            <p:ph type="pic" sz="quarter" idx="17"/>
          </p:nvPr>
        </p:nvSpPr>
        <p:spPr>
          <a:xfrm>
            <a:off x="101601" y="24386"/>
            <a:ext cx="1524000" cy="443199"/>
          </a:xfrm>
        </p:spPr>
        <p:txBody>
          <a:bodyPr/>
          <a:lstStyle/>
          <a:p>
            <a:endParaRPr lang="en-US" dirty="0"/>
          </a:p>
        </p:txBody>
      </p:sp>
    </p:spTree>
    <p:extLst>
      <p:ext uri="{BB962C8B-B14F-4D97-AF65-F5344CB8AC3E}">
        <p14:creationId xmlns:p14="http://schemas.microsoft.com/office/powerpoint/2010/main" val="246849025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image background, right">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263149"/>
          </a:xfrm>
          <a:prstGeom prst="rect">
            <a:avLst/>
          </a:prstGeom>
        </p:spPr>
        <p:txBody>
          <a:bodyPr vert="horz"/>
          <a:lstStyle>
            <a:lvl1pPr>
              <a:buFontTx/>
              <a:buNone/>
              <a:defRPr sz="1867">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6998547" y="1219200"/>
            <a:ext cx="4876800" cy="2438400"/>
          </a:xfrm>
          <a:prstGeom prst="rect">
            <a:avLst/>
          </a:prstGeom>
          <a:noFill/>
        </p:spPr>
        <p:txBody>
          <a:bodyPr vert="horz" lIns="91426" tIns="45713">
            <a:normAutofit/>
          </a:bodyPr>
          <a:lstStyle>
            <a:lvl1pPr algn="l">
              <a:defRPr sz="4000">
                <a:solidFill>
                  <a:schemeClr val="bg2"/>
                </a:solidFill>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436947" y="3682285"/>
            <a:ext cx="2438400" cy="1219200"/>
          </a:xfrm>
          <a:prstGeom prst="rect">
            <a:avLst/>
          </a:prstGeom>
          <a:noFill/>
        </p:spPr>
        <p:txBody>
          <a:bodyPr vert="horz" lIns="91426" tIns="45713">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dirty="0"/>
              <a:t>Click to edit slide content</a:t>
            </a:r>
          </a:p>
        </p:txBody>
      </p:sp>
      <p:sp>
        <p:nvSpPr>
          <p:cNvPr id="7" name="Picture Placeholder 2"/>
          <p:cNvSpPr>
            <a:spLocks noGrp="1"/>
          </p:cNvSpPr>
          <p:nvPr>
            <p:ph type="pic" sz="quarter" idx="17"/>
          </p:nvPr>
        </p:nvSpPr>
        <p:spPr>
          <a:xfrm>
            <a:off x="10668000" y="2"/>
            <a:ext cx="1524000" cy="443199"/>
          </a:xfrm>
        </p:spPr>
        <p:txBody>
          <a:bodyPr/>
          <a:lstStyle/>
          <a:p>
            <a:endParaRPr lang="en-US" dirty="0"/>
          </a:p>
        </p:txBody>
      </p:sp>
    </p:spTree>
    <p:extLst>
      <p:ext uri="{BB962C8B-B14F-4D97-AF65-F5344CB8AC3E}">
        <p14:creationId xmlns:p14="http://schemas.microsoft.com/office/powerpoint/2010/main" val="54368030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color background, right">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7315200" y="1219200"/>
            <a:ext cx="4876800" cy="2438400"/>
          </a:xfrm>
          <a:prstGeom prst="rect">
            <a:avLst/>
          </a:prstGeom>
          <a:solidFill>
            <a:schemeClr val="accent1"/>
          </a:solidFill>
        </p:spPr>
        <p:txBody>
          <a:bodyPr vert="horz" lIns="182852" tIns="137138">
            <a:normAutofit/>
          </a:bodyPr>
          <a:lstStyle>
            <a:lvl1pPr algn="l">
              <a:defRPr sz="4000">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753600" y="3651805"/>
            <a:ext cx="2438400" cy="1219200"/>
          </a:xfrm>
          <a:prstGeom prst="rect">
            <a:avLst/>
          </a:prstGeom>
          <a:solidFill>
            <a:schemeClr val="accent2">
              <a:alpha val="89000"/>
            </a:schemeClr>
          </a:solidFill>
        </p:spPr>
        <p:txBody>
          <a:bodyPr vert="horz" lIns="182852" tIns="137138">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dirty="0"/>
              <a:t>Click to edit slide content</a:t>
            </a:r>
          </a:p>
        </p:txBody>
      </p:sp>
      <p:sp>
        <p:nvSpPr>
          <p:cNvPr id="5" name="Picture Placeholder 2"/>
          <p:cNvSpPr>
            <a:spLocks noGrp="1"/>
          </p:cNvSpPr>
          <p:nvPr>
            <p:ph type="pic" sz="quarter" idx="17"/>
          </p:nvPr>
        </p:nvSpPr>
        <p:spPr>
          <a:xfrm>
            <a:off x="10668000" y="2"/>
            <a:ext cx="1524000" cy="443199"/>
          </a:xfrm>
        </p:spPr>
        <p:txBody>
          <a:bodyPr/>
          <a:lstStyle/>
          <a:p>
            <a:endParaRPr lang="en-US" dirty="0"/>
          </a:p>
        </p:txBody>
      </p:sp>
    </p:spTree>
    <p:extLst>
      <p:ext uri="{BB962C8B-B14F-4D97-AF65-F5344CB8AC3E}">
        <p14:creationId xmlns:p14="http://schemas.microsoft.com/office/powerpoint/2010/main" val="354946384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slide, image background">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3297428"/>
            <a:ext cx="12192000" cy="263149"/>
          </a:xfrm>
          <a:prstGeom prst="rect">
            <a:avLst/>
          </a:prstGeom>
        </p:spPr>
        <p:txBody>
          <a:bodyPr vert="horz" anchor="ctr"/>
          <a:lstStyle>
            <a:lvl1pPr algn="r">
              <a:buFontTx/>
              <a:buNone/>
              <a:defRPr sz="1867">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91426" tIns="91426">
            <a:normAutofit/>
          </a:bodyPr>
          <a:lstStyle>
            <a:lvl1pPr algn="l">
              <a:defRPr sz="4000">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bg2">
              <a:alpha val="89000"/>
            </a:schemeClr>
          </a:solidFill>
        </p:spPr>
        <p:txBody>
          <a:bodyPr vert="horz" lIns="91426" tIns="91426">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dirty="0"/>
              <a:t>Click to edit slide content</a:t>
            </a:r>
          </a:p>
        </p:txBody>
      </p:sp>
      <p:sp>
        <p:nvSpPr>
          <p:cNvPr id="3" name="Picture Placeholder 2"/>
          <p:cNvSpPr>
            <a:spLocks noGrp="1"/>
          </p:cNvSpPr>
          <p:nvPr>
            <p:ph type="pic" sz="quarter" idx="17"/>
          </p:nvPr>
        </p:nvSpPr>
        <p:spPr>
          <a:xfrm>
            <a:off x="1" y="2"/>
            <a:ext cx="1219200" cy="443199"/>
          </a:xfrm>
        </p:spPr>
        <p:txBody>
          <a:bodyPr/>
          <a:lstStyle>
            <a:lvl1pPr>
              <a:defRPr>
                <a:solidFill>
                  <a:srgbClr val="000000"/>
                </a:solidFill>
              </a:defRPr>
            </a:lvl1pPr>
          </a:lstStyle>
          <a:p>
            <a:endParaRPr lang="en-US" dirty="0"/>
          </a:p>
        </p:txBody>
      </p:sp>
      <p:sp>
        <p:nvSpPr>
          <p:cNvPr id="6" name="Picture Placeholder 2"/>
          <p:cNvSpPr>
            <a:spLocks noGrp="1"/>
          </p:cNvSpPr>
          <p:nvPr>
            <p:ph type="pic" sz="quarter" idx="18"/>
          </p:nvPr>
        </p:nvSpPr>
        <p:spPr>
          <a:xfrm>
            <a:off x="10668000" y="2"/>
            <a:ext cx="1524000" cy="443199"/>
          </a:xfrm>
        </p:spPr>
        <p:txBody>
          <a:bodyPr/>
          <a:lstStyle>
            <a:lvl1pPr>
              <a:defRPr>
                <a:solidFill>
                  <a:srgbClr val="000000"/>
                </a:solidFill>
              </a:defRPr>
            </a:lvl1pPr>
          </a:lstStyle>
          <a:p>
            <a:endParaRPr lang="en-US" dirty="0"/>
          </a:p>
        </p:txBody>
      </p:sp>
    </p:spTree>
    <p:extLst>
      <p:ext uri="{BB962C8B-B14F-4D97-AF65-F5344CB8AC3E}">
        <p14:creationId xmlns:p14="http://schemas.microsoft.com/office/powerpoint/2010/main" val="53536252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slide, color backgroun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19200"/>
            <a:ext cx="4876800" cy="2438400"/>
          </a:xfrm>
          <a:prstGeom prst="rect">
            <a:avLst/>
          </a:prstGeom>
          <a:solidFill>
            <a:schemeClr val="accent1"/>
          </a:solidFill>
        </p:spPr>
        <p:txBody>
          <a:bodyPr vert="horz" lIns="91426" tIns="91426">
            <a:normAutofit/>
          </a:bodyPr>
          <a:lstStyle>
            <a:lvl1pPr algn="l">
              <a:defRPr sz="4000">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0" y="3651805"/>
            <a:ext cx="2438400" cy="1219200"/>
          </a:xfrm>
          <a:prstGeom prst="rect">
            <a:avLst/>
          </a:prstGeom>
          <a:solidFill>
            <a:schemeClr val="accent2">
              <a:alpha val="89000"/>
            </a:schemeClr>
          </a:solidFill>
        </p:spPr>
        <p:txBody>
          <a:bodyPr vert="horz" lIns="91426" tIns="91426">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dirty="0"/>
              <a:t>Click to edit slide content</a:t>
            </a:r>
          </a:p>
        </p:txBody>
      </p:sp>
      <p:sp>
        <p:nvSpPr>
          <p:cNvPr id="6" name="Picture Placeholder 2"/>
          <p:cNvSpPr>
            <a:spLocks noGrp="1"/>
          </p:cNvSpPr>
          <p:nvPr>
            <p:ph type="pic" sz="quarter" idx="17"/>
          </p:nvPr>
        </p:nvSpPr>
        <p:spPr>
          <a:xfrm>
            <a:off x="1" y="2"/>
            <a:ext cx="1219200" cy="443199"/>
          </a:xfrm>
        </p:spPr>
        <p:txBody>
          <a:bodyPr/>
          <a:lstStyle>
            <a:lvl1pPr>
              <a:defRPr>
                <a:solidFill>
                  <a:srgbClr val="000000"/>
                </a:solidFill>
              </a:defRPr>
            </a:lvl1pPr>
          </a:lstStyle>
          <a:p>
            <a:endParaRPr lang="en-US" dirty="0"/>
          </a:p>
        </p:txBody>
      </p:sp>
      <p:sp>
        <p:nvSpPr>
          <p:cNvPr id="7" name="Picture Placeholder 2"/>
          <p:cNvSpPr>
            <a:spLocks noGrp="1"/>
          </p:cNvSpPr>
          <p:nvPr>
            <p:ph type="pic" sz="quarter" idx="18"/>
          </p:nvPr>
        </p:nvSpPr>
        <p:spPr>
          <a:xfrm>
            <a:off x="10668000" y="2"/>
            <a:ext cx="1524000" cy="443199"/>
          </a:xfrm>
        </p:spPr>
        <p:txBody>
          <a:bodyPr/>
          <a:lstStyle>
            <a:lvl1pPr>
              <a:defRPr>
                <a:solidFill>
                  <a:srgbClr val="000000"/>
                </a:solidFill>
              </a:defRPr>
            </a:lvl1pPr>
          </a:lstStyle>
          <a:p>
            <a:endParaRPr lang="en-US" dirty="0"/>
          </a:p>
        </p:txBody>
      </p:sp>
      <p:pic>
        <p:nvPicPr>
          <p:cNvPr id="9" name="Picture 8"/>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2303" y="199928"/>
            <a:ext cx="1625600" cy="346569"/>
          </a:xfrm>
          <a:prstGeom prst="rect">
            <a:avLst/>
          </a:prstGeom>
          <a:noFill/>
        </p:spPr>
      </p:pic>
    </p:spTree>
    <p:extLst>
      <p:ext uri="{BB962C8B-B14F-4D97-AF65-F5344CB8AC3E}">
        <p14:creationId xmlns:p14="http://schemas.microsoft.com/office/powerpoint/2010/main" val="349893942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lide, image background, right">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3297428"/>
            <a:ext cx="12192000" cy="263149"/>
          </a:xfrm>
          <a:prstGeom prst="rect">
            <a:avLst/>
          </a:prstGeom>
        </p:spPr>
        <p:txBody>
          <a:bodyPr vert="horz" anchor="ctr"/>
          <a:lstStyle>
            <a:lvl1pPr>
              <a:buFontTx/>
              <a:buNone/>
              <a:defRPr sz="1867">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7315200" y="1219200"/>
            <a:ext cx="4876800" cy="2438400"/>
          </a:xfrm>
          <a:prstGeom prst="rect">
            <a:avLst/>
          </a:prstGeom>
          <a:solidFill>
            <a:schemeClr val="accent1">
              <a:alpha val="92000"/>
            </a:schemeClr>
          </a:solidFill>
        </p:spPr>
        <p:txBody>
          <a:bodyPr vert="horz" lIns="182852" tIns="137138">
            <a:normAutofit/>
          </a:bodyPr>
          <a:lstStyle>
            <a:lvl1pPr algn="l">
              <a:defRPr sz="4000">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753600" y="3651805"/>
            <a:ext cx="2438400" cy="1219200"/>
          </a:xfrm>
          <a:prstGeom prst="rect">
            <a:avLst/>
          </a:prstGeom>
          <a:solidFill>
            <a:schemeClr val="bg2">
              <a:alpha val="89000"/>
            </a:schemeClr>
          </a:solidFill>
        </p:spPr>
        <p:txBody>
          <a:bodyPr vert="horz" lIns="182852" tIns="137138">
            <a:normAutofit/>
          </a:bodyPr>
          <a:lstStyle>
            <a:lvl1pPr marL="0" indent="0">
              <a:lnSpc>
                <a:spcPct val="100000"/>
              </a:lnSpc>
              <a:buFontTx/>
              <a:buNone/>
              <a:defRPr sz="1867" baseline="0">
                <a:solidFill>
                  <a:schemeClr val="tx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dirty="0"/>
              <a:t>Click to edit slide content</a:t>
            </a:r>
          </a:p>
        </p:txBody>
      </p:sp>
      <p:sp>
        <p:nvSpPr>
          <p:cNvPr id="13" name="Picture Placeholder 2"/>
          <p:cNvSpPr>
            <a:spLocks noGrp="1"/>
          </p:cNvSpPr>
          <p:nvPr>
            <p:ph type="pic" sz="quarter" idx="17"/>
          </p:nvPr>
        </p:nvSpPr>
        <p:spPr>
          <a:xfrm>
            <a:off x="10972800" y="2"/>
            <a:ext cx="1219200" cy="443199"/>
          </a:xfrm>
        </p:spPr>
        <p:txBody>
          <a:bodyPr/>
          <a:lstStyle>
            <a:lvl1pPr>
              <a:defRPr>
                <a:solidFill>
                  <a:srgbClr val="000000"/>
                </a:solidFill>
              </a:defRPr>
            </a:lvl1pPr>
          </a:lstStyle>
          <a:p>
            <a:endParaRPr lang="en-US" dirty="0"/>
          </a:p>
        </p:txBody>
      </p:sp>
      <p:sp>
        <p:nvSpPr>
          <p:cNvPr id="14" name="Picture Placeholder 2"/>
          <p:cNvSpPr>
            <a:spLocks noGrp="1"/>
          </p:cNvSpPr>
          <p:nvPr>
            <p:ph type="pic" sz="quarter" idx="18"/>
          </p:nvPr>
        </p:nvSpPr>
        <p:spPr>
          <a:xfrm>
            <a:off x="101601" y="24386"/>
            <a:ext cx="1524000" cy="443199"/>
          </a:xfrm>
        </p:spPr>
        <p:txBody>
          <a:bodyPr/>
          <a:lstStyle>
            <a:lvl1pPr>
              <a:defRPr>
                <a:solidFill>
                  <a:srgbClr val="000000"/>
                </a:solidFill>
              </a:defRPr>
            </a:lvl1pPr>
          </a:lstStyle>
          <a:p>
            <a:endParaRPr lang="en-US" dirty="0"/>
          </a:p>
        </p:txBody>
      </p:sp>
    </p:spTree>
    <p:extLst>
      <p:ext uri="{BB962C8B-B14F-4D97-AF65-F5344CB8AC3E}">
        <p14:creationId xmlns:p14="http://schemas.microsoft.com/office/powerpoint/2010/main" val="126802490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lide, color background, right">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7315200" y="1219200"/>
            <a:ext cx="4876800" cy="2438400"/>
          </a:xfrm>
          <a:prstGeom prst="rect">
            <a:avLst/>
          </a:prstGeom>
          <a:solidFill>
            <a:schemeClr val="accent1"/>
          </a:solidFill>
        </p:spPr>
        <p:txBody>
          <a:bodyPr vert="horz" lIns="182852" tIns="137138">
            <a:normAutofit/>
          </a:bodyPr>
          <a:lstStyle>
            <a:lvl1pPr algn="l">
              <a:defRPr sz="4000">
                <a:latin typeface="Segoe UI Light" pitchFamily="34" charset="0"/>
                <a:cs typeface="Segoe UI Light" pitchFamily="34" charset="0"/>
              </a:defRPr>
            </a:lvl1pPr>
          </a:lstStyle>
          <a:p>
            <a:pPr lvl="0"/>
            <a:r>
              <a:rPr lang="en-US" dirty="0"/>
              <a:t>Click to edit slide content</a:t>
            </a:r>
          </a:p>
        </p:txBody>
      </p:sp>
      <p:sp>
        <p:nvSpPr>
          <p:cNvPr id="8" name="Text Placeholder 18"/>
          <p:cNvSpPr>
            <a:spLocks noGrp="1"/>
          </p:cNvSpPr>
          <p:nvPr>
            <p:ph type="body" sz="quarter" idx="16" hasCustomPrompt="1"/>
          </p:nvPr>
        </p:nvSpPr>
        <p:spPr>
          <a:xfrm>
            <a:off x="9753600" y="3651805"/>
            <a:ext cx="2438400" cy="1219200"/>
          </a:xfrm>
          <a:prstGeom prst="rect">
            <a:avLst/>
          </a:prstGeom>
          <a:solidFill>
            <a:schemeClr val="accent2">
              <a:alpha val="89000"/>
            </a:schemeClr>
          </a:solidFill>
        </p:spPr>
        <p:txBody>
          <a:bodyPr vert="horz" lIns="182852" tIns="137138">
            <a:normAutofit/>
          </a:bodyPr>
          <a:lstStyle>
            <a:lvl1pPr marL="0" indent="0">
              <a:lnSpc>
                <a:spcPct val="100000"/>
              </a:lnSpc>
              <a:buFontTx/>
              <a:buNone/>
              <a:defRPr sz="1867" baseline="0">
                <a:solidFill>
                  <a:schemeClr val="bg1"/>
                </a:solidFill>
                <a:latin typeface="+mn-lt"/>
              </a:defRPr>
            </a:lvl1pPr>
            <a:lvl2pPr marL="0" indent="0">
              <a:buFontTx/>
              <a:buNone/>
              <a:defRPr sz="1867" baseline="0">
                <a:latin typeface="Segoe Pro Light"/>
              </a:defRPr>
            </a:lvl2pPr>
            <a:lvl3pPr marL="0" indent="0">
              <a:buFontTx/>
              <a:buNone/>
              <a:defRPr sz="1867" baseline="0">
                <a:latin typeface="Segoe Pro Light"/>
              </a:defRPr>
            </a:lvl3pPr>
            <a:lvl4pPr marL="0" indent="0">
              <a:buFontTx/>
              <a:buNone/>
              <a:defRPr sz="1867" baseline="0">
                <a:latin typeface="Segoe Pro Light"/>
              </a:defRPr>
            </a:lvl4pPr>
            <a:lvl5pPr marL="0" indent="0">
              <a:buFontTx/>
              <a:buNone/>
              <a:defRPr sz="1867" baseline="0">
                <a:latin typeface="Segoe Pro Light"/>
              </a:defRPr>
            </a:lvl5pPr>
          </a:lstStyle>
          <a:p>
            <a:pPr lvl="0"/>
            <a:r>
              <a:rPr lang="en-US" dirty="0"/>
              <a:t>Click to edit slide content</a:t>
            </a:r>
          </a:p>
        </p:txBody>
      </p:sp>
      <p:sp>
        <p:nvSpPr>
          <p:cNvPr id="6" name="Picture Placeholder 2"/>
          <p:cNvSpPr>
            <a:spLocks noGrp="1"/>
          </p:cNvSpPr>
          <p:nvPr>
            <p:ph type="pic" sz="quarter" idx="17"/>
          </p:nvPr>
        </p:nvSpPr>
        <p:spPr>
          <a:xfrm>
            <a:off x="10972800" y="2"/>
            <a:ext cx="1219200" cy="443199"/>
          </a:xfrm>
        </p:spPr>
        <p:txBody>
          <a:bodyPr/>
          <a:lstStyle>
            <a:lvl1pPr>
              <a:defRPr>
                <a:solidFill>
                  <a:schemeClr val="tx1"/>
                </a:solidFill>
              </a:defRPr>
            </a:lvl1pPr>
          </a:lstStyle>
          <a:p>
            <a:endParaRPr lang="en-US" dirty="0"/>
          </a:p>
        </p:txBody>
      </p:sp>
      <p:sp>
        <p:nvSpPr>
          <p:cNvPr id="7" name="Picture Placeholder 2"/>
          <p:cNvSpPr>
            <a:spLocks noGrp="1"/>
          </p:cNvSpPr>
          <p:nvPr>
            <p:ph type="pic" sz="quarter" idx="18"/>
          </p:nvPr>
        </p:nvSpPr>
        <p:spPr>
          <a:xfrm>
            <a:off x="101601" y="24386"/>
            <a:ext cx="1524000" cy="443199"/>
          </a:xfrm>
        </p:spPr>
        <p:txBody>
          <a:bodyPr/>
          <a:lstStyle>
            <a:lvl1pPr>
              <a:defRPr>
                <a:solidFill>
                  <a:schemeClr val="tx1"/>
                </a:solidFill>
              </a:defRPr>
            </a:lvl1pPr>
          </a:lstStyle>
          <a:p>
            <a:endParaRPr lang="en-US" dirty="0"/>
          </a:p>
        </p:txBody>
      </p:sp>
    </p:spTree>
    <p:extLst>
      <p:ext uri="{BB962C8B-B14F-4D97-AF65-F5344CB8AC3E}">
        <p14:creationId xmlns:p14="http://schemas.microsoft.com/office/powerpoint/2010/main" val="240438458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content, large, dark">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592667" y="262474"/>
            <a:ext cx="10972800" cy="656591"/>
          </a:xfrm>
          <a:noFill/>
        </p:spPr>
        <p:txBody>
          <a:bodyPr lIns="0" tIns="0" rIns="0" bIns="0" anchor="ctr">
            <a:noAutofit/>
          </a:bodyPr>
          <a:lstStyle>
            <a:lvl1pPr>
              <a:defRPr sz="3733" baseline="0">
                <a:solidFill>
                  <a:schemeClr val="tx1"/>
                </a:solidFill>
                <a:latin typeface="+mn-lt"/>
              </a:defRPr>
            </a:lvl1pPr>
          </a:lstStyle>
          <a:p>
            <a:pPr lvl="0"/>
            <a:r>
              <a:rPr lang="en-US" dirty="0"/>
              <a:t>Click to edit slide content</a:t>
            </a:r>
          </a:p>
        </p:txBody>
      </p:sp>
      <p:sp>
        <p:nvSpPr>
          <p:cNvPr id="8" name="Slide Number Placeholder 3"/>
          <p:cNvSpPr>
            <a:spLocks noGrp="1"/>
          </p:cNvSpPr>
          <p:nvPr>
            <p:ph type="sldNum" sz="quarter" idx="11"/>
          </p:nvPr>
        </p:nvSpPr>
        <p:spPr>
          <a:xfrm>
            <a:off x="8746067" y="6356352"/>
            <a:ext cx="2844800" cy="365125"/>
          </a:xfrm>
          <a:prstGeom prst="rect">
            <a:avLst/>
          </a:prstGeom>
        </p:spPr>
        <p:txBody>
          <a:bodyPr lIns="91430" tIns="45715" rIns="91430" bIns="45715"/>
          <a:lstStyle>
            <a:lvl1pPr>
              <a:defRPr>
                <a:solidFill>
                  <a:schemeClr val="tx1"/>
                </a:solidFill>
                <a:latin typeface="+mn-lt"/>
              </a:defRPr>
            </a:lvl1pPr>
          </a:lstStyle>
          <a:p>
            <a:pPr defTabSz="609490"/>
            <a:fld id="{74A398B2-5A34-1A4A-811E-F4027282568C}" type="slidenum">
              <a:rPr lang="en-US" sz="2400" smtClean="0">
                <a:solidFill>
                  <a:srgbClr val="000000"/>
                </a:solidFill>
              </a:rPr>
              <a:pPr defTabSz="609490"/>
              <a:t>‹#›</a:t>
            </a:fld>
            <a:endParaRPr lang="en-US" sz="2400" dirty="0">
              <a:solidFill>
                <a:srgbClr val="000000"/>
              </a:solidFill>
            </a:endParaRPr>
          </a:p>
        </p:txBody>
      </p:sp>
      <p:sp>
        <p:nvSpPr>
          <p:cNvPr id="9" name="Text Placeholder 8"/>
          <p:cNvSpPr>
            <a:spLocks noGrp="1"/>
          </p:cNvSpPr>
          <p:nvPr>
            <p:ph type="body" sz="quarter" idx="12"/>
          </p:nvPr>
        </p:nvSpPr>
        <p:spPr>
          <a:xfrm>
            <a:off x="592667" y="918633"/>
            <a:ext cx="10972800" cy="487680"/>
          </a:xfrm>
        </p:spPr>
        <p:txBody>
          <a:bodyPr lIns="0" tIns="0" rIns="0" bIns="0" anchor="ctr">
            <a:noAutofit/>
          </a:bodyPr>
          <a:lstStyle>
            <a:lvl1pPr>
              <a:defRPr sz="2133">
                <a:solidFill>
                  <a:schemeClr val="tx1"/>
                </a:solidFill>
              </a:defRPr>
            </a:lvl1pPr>
          </a:lstStyle>
          <a:p>
            <a:pPr lvl="0"/>
            <a:endParaRPr lang="en-US" dirty="0"/>
          </a:p>
        </p:txBody>
      </p:sp>
    </p:spTree>
    <p:extLst>
      <p:ext uri="{BB962C8B-B14F-4D97-AF65-F5344CB8AC3E}">
        <p14:creationId xmlns:p14="http://schemas.microsoft.com/office/powerpoint/2010/main" val="375625380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content, large, light">
    <p:bg>
      <p:bgPr>
        <a:solidFill>
          <a:schemeClr val="tx1"/>
        </a:solidFill>
        <a:effectLst/>
      </p:bgPr>
    </p:bg>
    <p:spTree>
      <p:nvGrpSpPr>
        <p:cNvPr id="1" name=""/>
        <p:cNvGrpSpPr/>
        <p:nvPr/>
      </p:nvGrpSpPr>
      <p:grpSpPr>
        <a:xfrm>
          <a:off x="0" y="0"/>
          <a:ext cx="0" cy="0"/>
          <a:chOff x="0" y="0"/>
          <a:chExt cx="0" cy="0"/>
        </a:xfrm>
      </p:grpSpPr>
      <p:sp>
        <p:nvSpPr>
          <p:cNvPr id="14" name="Content Placeholder 13"/>
          <p:cNvSpPr>
            <a:spLocks noGrp="1"/>
          </p:cNvSpPr>
          <p:nvPr>
            <p:ph sz="quarter" idx="13" hasCustomPrompt="1"/>
          </p:nvPr>
        </p:nvSpPr>
        <p:spPr>
          <a:xfrm>
            <a:off x="292249" y="1483504"/>
            <a:ext cx="11594592" cy="4872848"/>
          </a:xfrm>
          <a:prstGeom prst="rect">
            <a:avLst/>
          </a:prstGeom>
        </p:spPr>
        <p:txBody>
          <a:bodyPr vert="horz" lIns="0" tIns="0" rIns="0" bIns="0">
            <a:normAutofit/>
          </a:bodyPr>
          <a:lstStyle>
            <a:lvl1pPr marL="0" indent="0">
              <a:spcBef>
                <a:spcPts val="400"/>
              </a:spcBef>
              <a:buFontTx/>
              <a:buNone/>
              <a:defRPr sz="4000" baseline="0">
                <a:solidFill>
                  <a:srgbClr val="3F3F3F"/>
                </a:solidFill>
                <a:latin typeface="Segoe UI Light" pitchFamily="34" charset="0"/>
              </a:defRPr>
            </a:lvl1pPr>
          </a:lstStyle>
          <a:p>
            <a:pPr lvl="0"/>
            <a:r>
              <a:rPr lang="en-US" dirty="0"/>
              <a:t>Click to edit slide content</a:t>
            </a:r>
          </a:p>
        </p:txBody>
      </p:sp>
      <p:sp>
        <p:nvSpPr>
          <p:cNvPr id="10" name="Title 1"/>
          <p:cNvSpPr>
            <a:spLocks noGrp="1"/>
          </p:cNvSpPr>
          <p:nvPr>
            <p:ph type="title" hasCustomPrompt="1"/>
          </p:nvPr>
        </p:nvSpPr>
        <p:spPr>
          <a:xfrm>
            <a:off x="287868" y="287153"/>
            <a:ext cx="11599333" cy="512448"/>
          </a:xfrm>
          <a:noFill/>
        </p:spPr>
        <p:txBody>
          <a:bodyPr lIns="0" tIns="0" rIns="0" bIns="0" anchor="ctr">
            <a:spAutoFit/>
          </a:bodyPr>
          <a:lstStyle>
            <a:lvl1pPr>
              <a:defRPr sz="3733" baseline="0">
                <a:solidFill>
                  <a:schemeClr val="bg2"/>
                </a:solidFill>
                <a:latin typeface="+mn-lt"/>
              </a:defRPr>
            </a:lvl1pPr>
          </a:lstStyle>
          <a:p>
            <a:pPr lvl="0"/>
            <a:r>
              <a:rPr lang="en-US" dirty="0"/>
              <a:t>Click to edit slide content</a:t>
            </a:r>
          </a:p>
        </p:txBody>
      </p:sp>
      <p:sp>
        <p:nvSpPr>
          <p:cNvPr id="11" name="Date Placeholder 2"/>
          <p:cNvSpPr>
            <a:spLocks noGrp="1"/>
          </p:cNvSpPr>
          <p:nvPr>
            <p:ph type="dt" sz="half" idx="10"/>
          </p:nvPr>
        </p:nvSpPr>
        <p:spPr>
          <a:xfrm>
            <a:off x="292248"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endParaRPr lang="en-US" sz="2400" dirty="0">
              <a:solidFill>
                <a:srgbClr val="FFFFFF">
                  <a:lumMod val="75000"/>
                  <a:lumOff val="25000"/>
                </a:srgbClr>
              </a:solidFill>
            </a:endParaRPr>
          </a:p>
        </p:txBody>
      </p:sp>
      <p:sp>
        <p:nvSpPr>
          <p:cNvPr id="12" name="Slide Number Placeholder 3"/>
          <p:cNvSpPr>
            <a:spLocks noGrp="1"/>
          </p:cNvSpPr>
          <p:nvPr>
            <p:ph type="sldNum" sz="quarter" idx="11"/>
          </p:nvPr>
        </p:nvSpPr>
        <p:spPr>
          <a:xfrm>
            <a:off x="9042400"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fld id="{74A398B2-5A34-1A4A-811E-F4027282568C}" type="slidenum">
              <a:rPr lang="en-US" sz="2400" smtClean="0">
                <a:solidFill>
                  <a:srgbClr val="FFFFFF">
                    <a:lumMod val="75000"/>
                    <a:lumOff val="25000"/>
                  </a:srgbClr>
                </a:solidFill>
              </a:rPr>
              <a:pPr defTabSz="609490"/>
              <a:t>‹#›</a:t>
            </a:fld>
            <a:endParaRPr lang="en-US" sz="2400" dirty="0">
              <a:solidFill>
                <a:srgbClr val="FFFFFF">
                  <a:lumMod val="75000"/>
                  <a:lumOff val="25000"/>
                </a:srgbClr>
              </a:solidFill>
            </a:endParaRPr>
          </a:p>
        </p:txBody>
      </p:sp>
      <p:sp>
        <p:nvSpPr>
          <p:cNvPr id="13" name="Text Placeholder 8"/>
          <p:cNvSpPr>
            <a:spLocks noGrp="1"/>
          </p:cNvSpPr>
          <p:nvPr>
            <p:ph type="body" sz="quarter" idx="12"/>
          </p:nvPr>
        </p:nvSpPr>
        <p:spPr>
          <a:xfrm>
            <a:off x="292249" y="838149"/>
            <a:ext cx="11594592" cy="328295"/>
          </a:xfrm>
        </p:spPr>
        <p:txBody>
          <a:bodyPr lIns="0" tIns="0" rIns="0" bIns="0" anchor="t">
            <a:spAutoFit/>
          </a:bodyPr>
          <a:lstStyle>
            <a:lvl1pPr>
              <a:lnSpc>
                <a:spcPct val="100000"/>
              </a:lnSpc>
              <a:defRPr sz="2133">
                <a:solidFill>
                  <a:schemeClr val="bg1">
                    <a:lumMod val="50000"/>
                    <a:lumOff val="50000"/>
                  </a:schemeClr>
                </a:solidFill>
              </a:defRPr>
            </a:lvl1pPr>
          </a:lstStyle>
          <a:p>
            <a:pPr lvl="0"/>
            <a:endParaRPr lang="en-US" dirty="0"/>
          </a:p>
        </p:txBody>
      </p:sp>
    </p:spTree>
    <p:extLst>
      <p:ext uri="{BB962C8B-B14F-4D97-AF65-F5344CB8AC3E}">
        <p14:creationId xmlns:p14="http://schemas.microsoft.com/office/powerpoint/2010/main" val="152925446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content, normal, dark">
    <p:spTree>
      <p:nvGrpSpPr>
        <p:cNvPr id="1" name=""/>
        <p:cNvGrpSpPr/>
        <p:nvPr/>
      </p:nvGrpSpPr>
      <p:grpSpPr>
        <a:xfrm>
          <a:off x="0" y="0"/>
          <a:ext cx="0" cy="0"/>
          <a:chOff x="0" y="0"/>
          <a:chExt cx="0" cy="0"/>
        </a:xfrm>
      </p:grpSpPr>
      <p:sp>
        <p:nvSpPr>
          <p:cNvPr id="14" name="Content Placeholder 13"/>
          <p:cNvSpPr>
            <a:spLocks noGrp="1"/>
          </p:cNvSpPr>
          <p:nvPr>
            <p:ph sz="quarter" idx="13" hasCustomPrompt="1"/>
          </p:nvPr>
        </p:nvSpPr>
        <p:spPr>
          <a:xfrm>
            <a:off x="592667" y="1488023"/>
            <a:ext cx="10998200" cy="4868335"/>
          </a:xfrm>
          <a:prstGeom prst="rect">
            <a:avLst/>
          </a:prstGeom>
        </p:spPr>
        <p:txBody>
          <a:bodyPr vert="horz" lIns="0" tIns="0" rIns="0" bIns="0">
            <a:noAutofit/>
          </a:bodyPr>
          <a:lstStyle>
            <a:lvl1pPr marL="0" indent="0">
              <a:spcBef>
                <a:spcPts val="400"/>
              </a:spcBef>
              <a:buFontTx/>
              <a:buNone/>
              <a:defRPr sz="1867" baseline="0">
                <a:solidFill>
                  <a:schemeClr val="tx1"/>
                </a:solidFill>
                <a:latin typeface="+mn-lt"/>
              </a:defRPr>
            </a:lvl1pPr>
          </a:lstStyle>
          <a:p>
            <a:pPr lvl="0"/>
            <a:r>
              <a:rPr lang="en-US" dirty="0"/>
              <a:t>Click to edit slide content</a:t>
            </a:r>
          </a:p>
        </p:txBody>
      </p:sp>
      <p:sp>
        <p:nvSpPr>
          <p:cNvPr id="7" name="Title 1"/>
          <p:cNvSpPr>
            <a:spLocks noGrp="1"/>
          </p:cNvSpPr>
          <p:nvPr>
            <p:ph type="title" hasCustomPrompt="1"/>
          </p:nvPr>
        </p:nvSpPr>
        <p:spPr>
          <a:xfrm>
            <a:off x="592667" y="262474"/>
            <a:ext cx="10972800" cy="656591"/>
          </a:xfrm>
          <a:noFill/>
        </p:spPr>
        <p:txBody>
          <a:bodyPr lIns="0" tIns="0" rIns="0" bIns="0" anchor="ctr">
            <a:noAutofit/>
          </a:bodyPr>
          <a:lstStyle>
            <a:lvl1pPr>
              <a:defRPr sz="3733" baseline="0">
                <a:solidFill>
                  <a:schemeClr val="tx1"/>
                </a:solidFill>
                <a:latin typeface="+mn-lt"/>
              </a:defRPr>
            </a:lvl1pPr>
          </a:lstStyle>
          <a:p>
            <a:pPr lvl="0"/>
            <a:r>
              <a:rPr lang="en-US" dirty="0"/>
              <a:t>Click to edit slide content</a:t>
            </a:r>
          </a:p>
        </p:txBody>
      </p:sp>
      <p:sp>
        <p:nvSpPr>
          <p:cNvPr id="8" name="Date Placeholder 2"/>
          <p:cNvSpPr>
            <a:spLocks noGrp="1"/>
          </p:cNvSpPr>
          <p:nvPr>
            <p:ph type="dt" sz="half" idx="10"/>
          </p:nvPr>
        </p:nvSpPr>
        <p:spPr>
          <a:xfrm>
            <a:off x="592667" y="6356352"/>
            <a:ext cx="2844800" cy="365125"/>
          </a:xfrm>
          <a:prstGeom prst="rect">
            <a:avLst/>
          </a:prstGeom>
        </p:spPr>
        <p:txBody>
          <a:bodyPr lIns="91430" tIns="45715" rIns="91430" bIns="45715"/>
          <a:lstStyle>
            <a:lvl1pPr>
              <a:defRPr>
                <a:solidFill>
                  <a:schemeClr val="tx1"/>
                </a:solidFill>
                <a:latin typeface="+mn-lt"/>
              </a:defRPr>
            </a:lvl1pPr>
          </a:lstStyle>
          <a:p>
            <a:pPr defTabSz="609490"/>
            <a:endParaRPr lang="en-US" sz="2400" dirty="0">
              <a:solidFill>
                <a:srgbClr val="000000"/>
              </a:solidFill>
            </a:endParaRPr>
          </a:p>
        </p:txBody>
      </p:sp>
      <p:sp>
        <p:nvSpPr>
          <p:cNvPr id="9" name="Slide Number Placeholder 3"/>
          <p:cNvSpPr>
            <a:spLocks noGrp="1"/>
          </p:cNvSpPr>
          <p:nvPr>
            <p:ph type="sldNum" sz="quarter" idx="11"/>
          </p:nvPr>
        </p:nvSpPr>
        <p:spPr>
          <a:xfrm>
            <a:off x="8746067" y="6356352"/>
            <a:ext cx="2844800" cy="365125"/>
          </a:xfrm>
          <a:prstGeom prst="rect">
            <a:avLst/>
          </a:prstGeom>
        </p:spPr>
        <p:txBody>
          <a:bodyPr lIns="91430" tIns="45715" rIns="91430" bIns="45715"/>
          <a:lstStyle>
            <a:lvl1pPr>
              <a:defRPr>
                <a:solidFill>
                  <a:schemeClr val="tx1"/>
                </a:solidFill>
                <a:latin typeface="+mn-lt"/>
              </a:defRPr>
            </a:lvl1pPr>
          </a:lstStyle>
          <a:p>
            <a:pPr defTabSz="609490"/>
            <a:fld id="{74A398B2-5A34-1A4A-811E-F4027282568C}" type="slidenum">
              <a:rPr lang="en-US" sz="2400" smtClean="0">
                <a:solidFill>
                  <a:srgbClr val="000000"/>
                </a:solidFill>
              </a:rPr>
              <a:pPr defTabSz="609490"/>
              <a:t>‹#›</a:t>
            </a:fld>
            <a:endParaRPr lang="en-US" sz="2400" dirty="0">
              <a:solidFill>
                <a:srgbClr val="000000"/>
              </a:solidFill>
            </a:endParaRPr>
          </a:p>
        </p:txBody>
      </p:sp>
      <p:sp>
        <p:nvSpPr>
          <p:cNvPr id="10" name="Text Placeholder 8"/>
          <p:cNvSpPr>
            <a:spLocks noGrp="1"/>
          </p:cNvSpPr>
          <p:nvPr>
            <p:ph type="body" sz="quarter" idx="12"/>
          </p:nvPr>
        </p:nvSpPr>
        <p:spPr>
          <a:xfrm>
            <a:off x="592667" y="918633"/>
            <a:ext cx="10972800" cy="487680"/>
          </a:xfrm>
        </p:spPr>
        <p:txBody>
          <a:bodyPr lIns="0" tIns="0" rIns="0" bIns="0" anchor="ctr">
            <a:noAutofit/>
          </a:bodyPr>
          <a:lstStyle>
            <a:lvl1pPr>
              <a:defRPr sz="2133">
                <a:solidFill>
                  <a:schemeClr val="tx1"/>
                </a:solidFill>
              </a:defRPr>
            </a:lvl1pPr>
          </a:lstStyle>
          <a:p>
            <a:pPr lvl="0"/>
            <a:endParaRPr lang="en-US" dirty="0"/>
          </a:p>
        </p:txBody>
      </p:sp>
    </p:spTree>
    <p:extLst>
      <p:ext uri="{BB962C8B-B14F-4D97-AF65-F5344CB8AC3E}">
        <p14:creationId xmlns:p14="http://schemas.microsoft.com/office/powerpoint/2010/main" val="23568460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91768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content, normal, light">
    <p:bg>
      <p:bgPr>
        <a:solidFill>
          <a:schemeClr val="tx1"/>
        </a:solidFill>
        <a:effectLst/>
      </p:bgPr>
    </p:bg>
    <p:spTree>
      <p:nvGrpSpPr>
        <p:cNvPr id="1" name=""/>
        <p:cNvGrpSpPr/>
        <p:nvPr/>
      </p:nvGrpSpPr>
      <p:grpSpPr>
        <a:xfrm>
          <a:off x="0" y="0"/>
          <a:ext cx="0" cy="0"/>
          <a:chOff x="0" y="0"/>
          <a:chExt cx="0" cy="0"/>
        </a:xfrm>
      </p:grpSpPr>
      <p:sp>
        <p:nvSpPr>
          <p:cNvPr id="14" name="Content Placeholder 13"/>
          <p:cNvSpPr>
            <a:spLocks noGrp="1"/>
          </p:cNvSpPr>
          <p:nvPr>
            <p:ph sz="quarter" idx="13" hasCustomPrompt="1"/>
          </p:nvPr>
        </p:nvSpPr>
        <p:spPr>
          <a:xfrm>
            <a:off x="287867" y="1488023"/>
            <a:ext cx="11594592" cy="4868335"/>
          </a:xfrm>
          <a:prstGeom prst="rect">
            <a:avLst/>
          </a:prstGeom>
        </p:spPr>
        <p:txBody>
          <a:bodyPr vert="horz" lIns="0" tIns="0" rIns="0" bIns="0">
            <a:normAutofit/>
          </a:bodyPr>
          <a:lstStyle>
            <a:lvl1pPr marL="0" indent="0">
              <a:spcBef>
                <a:spcPts val="400"/>
              </a:spcBef>
              <a:buFontTx/>
              <a:buNone/>
              <a:defRPr sz="1867" baseline="0">
                <a:solidFill>
                  <a:schemeClr val="bg1">
                    <a:lumMod val="75000"/>
                    <a:lumOff val="25000"/>
                  </a:schemeClr>
                </a:solidFill>
                <a:latin typeface="+mn-lt"/>
              </a:defRPr>
            </a:lvl1pPr>
          </a:lstStyle>
          <a:p>
            <a:pPr lvl="0"/>
            <a:r>
              <a:rPr lang="en-US" dirty="0"/>
              <a:t>Click to edit slide content</a:t>
            </a:r>
          </a:p>
        </p:txBody>
      </p:sp>
      <p:sp>
        <p:nvSpPr>
          <p:cNvPr id="11" name="Title 1"/>
          <p:cNvSpPr>
            <a:spLocks noGrp="1"/>
          </p:cNvSpPr>
          <p:nvPr>
            <p:ph type="title" hasCustomPrompt="1"/>
          </p:nvPr>
        </p:nvSpPr>
        <p:spPr>
          <a:xfrm>
            <a:off x="287868" y="287153"/>
            <a:ext cx="11599333" cy="512448"/>
          </a:xfrm>
          <a:noFill/>
        </p:spPr>
        <p:txBody>
          <a:bodyPr lIns="0" tIns="0" rIns="0" bIns="0" anchor="ctr">
            <a:spAutoFit/>
          </a:bodyPr>
          <a:lstStyle>
            <a:lvl1pPr>
              <a:defRPr sz="3733" baseline="0">
                <a:solidFill>
                  <a:schemeClr val="bg2"/>
                </a:solidFill>
                <a:latin typeface="+mn-lt"/>
              </a:defRPr>
            </a:lvl1pPr>
          </a:lstStyle>
          <a:p>
            <a:pPr lvl="0"/>
            <a:r>
              <a:rPr lang="en-US" dirty="0"/>
              <a:t>Click to edit slide content</a:t>
            </a:r>
          </a:p>
        </p:txBody>
      </p:sp>
      <p:sp>
        <p:nvSpPr>
          <p:cNvPr id="12" name="Date Placeholder 2"/>
          <p:cNvSpPr>
            <a:spLocks noGrp="1"/>
          </p:cNvSpPr>
          <p:nvPr>
            <p:ph type="dt" sz="half" idx="10"/>
          </p:nvPr>
        </p:nvSpPr>
        <p:spPr>
          <a:xfrm>
            <a:off x="292248"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endParaRPr lang="en-US" sz="2400" dirty="0">
              <a:solidFill>
                <a:srgbClr val="FFFFFF">
                  <a:lumMod val="75000"/>
                  <a:lumOff val="25000"/>
                </a:srgbClr>
              </a:solidFill>
            </a:endParaRPr>
          </a:p>
        </p:txBody>
      </p:sp>
      <p:sp>
        <p:nvSpPr>
          <p:cNvPr id="13" name="Slide Number Placeholder 3"/>
          <p:cNvSpPr>
            <a:spLocks noGrp="1"/>
          </p:cNvSpPr>
          <p:nvPr>
            <p:ph type="sldNum" sz="quarter" idx="11"/>
          </p:nvPr>
        </p:nvSpPr>
        <p:spPr>
          <a:xfrm>
            <a:off x="9042400"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fld id="{74A398B2-5A34-1A4A-811E-F4027282568C}" type="slidenum">
              <a:rPr lang="en-US" sz="2400" smtClean="0">
                <a:solidFill>
                  <a:srgbClr val="FFFFFF">
                    <a:lumMod val="75000"/>
                    <a:lumOff val="25000"/>
                  </a:srgbClr>
                </a:solidFill>
              </a:rPr>
              <a:pPr defTabSz="609490"/>
              <a:t>‹#›</a:t>
            </a:fld>
            <a:endParaRPr lang="en-US" sz="2400" dirty="0">
              <a:solidFill>
                <a:srgbClr val="FFFFFF">
                  <a:lumMod val="75000"/>
                  <a:lumOff val="25000"/>
                </a:srgbClr>
              </a:solidFill>
            </a:endParaRPr>
          </a:p>
        </p:txBody>
      </p:sp>
      <p:sp>
        <p:nvSpPr>
          <p:cNvPr id="15" name="Text Placeholder 8"/>
          <p:cNvSpPr>
            <a:spLocks noGrp="1"/>
          </p:cNvSpPr>
          <p:nvPr>
            <p:ph type="body" sz="quarter" idx="12"/>
          </p:nvPr>
        </p:nvSpPr>
        <p:spPr>
          <a:xfrm>
            <a:off x="292249" y="838149"/>
            <a:ext cx="11594592" cy="328295"/>
          </a:xfrm>
        </p:spPr>
        <p:txBody>
          <a:bodyPr lIns="0" tIns="0" rIns="0" bIns="0" anchor="t">
            <a:spAutoFit/>
          </a:bodyPr>
          <a:lstStyle>
            <a:lvl1pPr>
              <a:lnSpc>
                <a:spcPct val="100000"/>
              </a:lnSpc>
              <a:defRPr sz="2133">
                <a:solidFill>
                  <a:schemeClr val="bg1">
                    <a:lumMod val="50000"/>
                    <a:lumOff val="50000"/>
                  </a:schemeClr>
                </a:solidFill>
              </a:defRPr>
            </a:lvl1pPr>
          </a:lstStyle>
          <a:p>
            <a:pPr lvl="0"/>
            <a:endParaRPr lang="en-US" dirty="0"/>
          </a:p>
        </p:txBody>
      </p:sp>
    </p:spTree>
    <p:extLst>
      <p:ext uri="{BB962C8B-B14F-4D97-AF65-F5344CB8AC3E}">
        <p14:creationId xmlns:p14="http://schemas.microsoft.com/office/powerpoint/2010/main" val="316587840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ext content, normal, light">
    <p:bg>
      <p:bgPr>
        <a:solidFill>
          <a:schemeClr val="tx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87868" y="287153"/>
            <a:ext cx="11599333" cy="512448"/>
          </a:xfrm>
          <a:noFill/>
        </p:spPr>
        <p:txBody>
          <a:bodyPr lIns="0" tIns="0" rIns="0" bIns="0" anchor="ctr">
            <a:spAutoFit/>
          </a:bodyPr>
          <a:lstStyle>
            <a:lvl1pPr>
              <a:defRPr sz="3733" baseline="0">
                <a:solidFill>
                  <a:schemeClr val="bg2"/>
                </a:solidFill>
                <a:latin typeface="+mn-lt"/>
              </a:defRPr>
            </a:lvl1pPr>
          </a:lstStyle>
          <a:p>
            <a:pPr lvl="0"/>
            <a:r>
              <a:rPr lang="en-US" dirty="0"/>
              <a:t>Click to edit slide content</a:t>
            </a:r>
          </a:p>
        </p:txBody>
      </p:sp>
      <p:sp>
        <p:nvSpPr>
          <p:cNvPr id="11" name="Date Placeholder 2"/>
          <p:cNvSpPr>
            <a:spLocks noGrp="1"/>
          </p:cNvSpPr>
          <p:nvPr>
            <p:ph type="dt" sz="half" idx="10"/>
          </p:nvPr>
        </p:nvSpPr>
        <p:spPr>
          <a:xfrm>
            <a:off x="292248"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endParaRPr lang="en-US" sz="2400" dirty="0">
              <a:solidFill>
                <a:srgbClr val="FFFFFF">
                  <a:lumMod val="75000"/>
                  <a:lumOff val="25000"/>
                </a:srgbClr>
              </a:solidFill>
            </a:endParaRPr>
          </a:p>
        </p:txBody>
      </p:sp>
      <p:sp>
        <p:nvSpPr>
          <p:cNvPr id="12" name="Slide Number Placeholder 3"/>
          <p:cNvSpPr>
            <a:spLocks noGrp="1"/>
          </p:cNvSpPr>
          <p:nvPr>
            <p:ph type="sldNum" sz="quarter" idx="11"/>
          </p:nvPr>
        </p:nvSpPr>
        <p:spPr>
          <a:xfrm>
            <a:off x="9042400"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fld id="{74A398B2-5A34-1A4A-811E-F4027282568C}" type="slidenum">
              <a:rPr lang="en-US" sz="2400" smtClean="0">
                <a:solidFill>
                  <a:srgbClr val="FFFFFF">
                    <a:lumMod val="75000"/>
                    <a:lumOff val="25000"/>
                  </a:srgbClr>
                </a:solidFill>
              </a:rPr>
              <a:pPr defTabSz="609490"/>
              <a:t>‹#›</a:t>
            </a:fld>
            <a:endParaRPr lang="en-US" sz="2400" dirty="0">
              <a:solidFill>
                <a:srgbClr val="FFFFFF">
                  <a:lumMod val="75000"/>
                  <a:lumOff val="25000"/>
                </a:srgbClr>
              </a:solidFill>
            </a:endParaRPr>
          </a:p>
        </p:txBody>
      </p:sp>
      <p:sp>
        <p:nvSpPr>
          <p:cNvPr id="13" name="Text Placeholder 8"/>
          <p:cNvSpPr>
            <a:spLocks noGrp="1"/>
          </p:cNvSpPr>
          <p:nvPr>
            <p:ph type="body" sz="quarter" idx="12"/>
          </p:nvPr>
        </p:nvSpPr>
        <p:spPr>
          <a:xfrm>
            <a:off x="292249" y="838149"/>
            <a:ext cx="11594592" cy="328295"/>
          </a:xfrm>
        </p:spPr>
        <p:txBody>
          <a:bodyPr lIns="0" tIns="0" rIns="0" bIns="0" anchor="t">
            <a:spAutoFit/>
          </a:bodyPr>
          <a:lstStyle>
            <a:lvl1pPr>
              <a:lnSpc>
                <a:spcPct val="100000"/>
              </a:lnSpc>
              <a:defRPr sz="2133">
                <a:solidFill>
                  <a:schemeClr val="bg1">
                    <a:lumMod val="50000"/>
                    <a:lumOff val="50000"/>
                  </a:schemeClr>
                </a:solidFill>
              </a:defRPr>
            </a:lvl1pPr>
          </a:lstStyle>
          <a:p>
            <a:pPr lvl="0"/>
            <a:endParaRPr lang="en-US" dirty="0"/>
          </a:p>
        </p:txBody>
      </p:sp>
    </p:spTree>
    <p:extLst>
      <p:ext uri="{BB962C8B-B14F-4D97-AF65-F5344CB8AC3E}">
        <p14:creationId xmlns:p14="http://schemas.microsoft.com/office/powerpoint/2010/main" val="416028783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868" y="287153"/>
            <a:ext cx="11599333" cy="512448"/>
          </a:xfrm>
          <a:noFill/>
        </p:spPr>
        <p:txBody>
          <a:bodyPr lIns="0" tIns="0" rIns="0" bIns="0" anchor="ctr">
            <a:spAutoFit/>
          </a:bodyPr>
          <a:lstStyle>
            <a:lvl1pPr>
              <a:defRPr sz="3733" baseline="0">
                <a:solidFill>
                  <a:schemeClr val="bg2"/>
                </a:solidFill>
                <a:latin typeface="+mn-lt"/>
              </a:defRPr>
            </a:lvl1pPr>
          </a:lstStyle>
          <a:p>
            <a:pPr lvl="0"/>
            <a:r>
              <a:rPr lang="en-US" dirty="0"/>
              <a:t>Click to edit slide content</a:t>
            </a:r>
          </a:p>
        </p:txBody>
      </p:sp>
      <p:sp>
        <p:nvSpPr>
          <p:cNvPr id="3" name="Date Placeholder 2"/>
          <p:cNvSpPr>
            <a:spLocks noGrp="1"/>
          </p:cNvSpPr>
          <p:nvPr>
            <p:ph type="dt" sz="half" idx="10"/>
          </p:nvPr>
        </p:nvSpPr>
        <p:spPr>
          <a:xfrm>
            <a:off x="292248"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endParaRPr lang="en-US" sz="2400" dirty="0">
              <a:solidFill>
                <a:srgbClr val="FFFFFF">
                  <a:lumMod val="75000"/>
                  <a:lumOff val="25000"/>
                </a:srgbClr>
              </a:solidFill>
            </a:endParaRPr>
          </a:p>
        </p:txBody>
      </p:sp>
      <p:sp>
        <p:nvSpPr>
          <p:cNvPr id="4" name="Slide Number Placeholder 3"/>
          <p:cNvSpPr>
            <a:spLocks noGrp="1"/>
          </p:cNvSpPr>
          <p:nvPr>
            <p:ph type="sldNum" sz="quarter" idx="11"/>
          </p:nvPr>
        </p:nvSpPr>
        <p:spPr>
          <a:xfrm>
            <a:off x="9042400"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fld id="{74A398B2-5A34-1A4A-811E-F4027282568C}" type="slidenum">
              <a:rPr lang="en-US" sz="2400" smtClean="0">
                <a:solidFill>
                  <a:srgbClr val="FFFFFF">
                    <a:lumMod val="75000"/>
                    <a:lumOff val="25000"/>
                  </a:srgbClr>
                </a:solidFill>
              </a:rPr>
              <a:pPr defTabSz="609490"/>
              <a:t>‹#›</a:t>
            </a:fld>
            <a:endParaRPr lang="en-US" sz="2400" dirty="0">
              <a:solidFill>
                <a:srgbClr val="FFFFFF">
                  <a:lumMod val="75000"/>
                  <a:lumOff val="25000"/>
                </a:srgbClr>
              </a:solidFill>
            </a:endParaRPr>
          </a:p>
        </p:txBody>
      </p:sp>
    </p:spTree>
    <p:extLst>
      <p:ext uri="{BB962C8B-B14F-4D97-AF65-F5344CB8AC3E}">
        <p14:creationId xmlns:p14="http://schemas.microsoft.com/office/powerpoint/2010/main" val="739201801"/>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les with text and background image">
    <p:bg>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2"/>
            <a:ext cx="12192000" cy="443199"/>
          </a:xfrm>
        </p:spPr>
        <p:txBody>
          <a:bodyPr/>
          <a:lstStyle>
            <a:lvl1pPr>
              <a:defRPr>
                <a:solidFill>
                  <a:srgbClr val="3F3F3F"/>
                </a:solidFill>
              </a:defRPr>
            </a:lvl1pPr>
          </a:lstStyle>
          <a:p>
            <a:r>
              <a:rPr lang="en-US" dirty="0"/>
              <a:t>Drag picture to placeholder or click icon to add</a:t>
            </a:r>
          </a:p>
        </p:txBody>
      </p:sp>
      <p:sp>
        <p:nvSpPr>
          <p:cNvPr id="11" name="Text Placeholder 14"/>
          <p:cNvSpPr>
            <a:spLocks noGrp="1"/>
          </p:cNvSpPr>
          <p:nvPr>
            <p:ph type="body" sz="quarter" idx="12" hasCustomPrompt="1"/>
          </p:nvPr>
        </p:nvSpPr>
        <p:spPr>
          <a:xfrm>
            <a:off x="592667" y="4161791"/>
            <a:ext cx="2194560" cy="2194560"/>
          </a:xfrm>
          <a:solidFill>
            <a:schemeClr val="bg2">
              <a:alpha val="92000"/>
            </a:schemeClr>
          </a:solidFill>
        </p:spPr>
        <p:txBody>
          <a:bodyPr lIns="91426" tIns="45713">
            <a:normAutofit/>
          </a:bodyPr>
          <a:lstStyle>
            <a:lvl1pPr>
              <a:defRPr sz="1867">
                <a:solidFill>
                  <a:schemeClr val="tx1"/>
                </a:solidFill>
                <a:latin typeface="+mn-lt"/>
              </a:defRPr>
            </a:lvl1pPr>
            <a:lvl2pPr>
              <a:defRPr sz="1867">
                <a:solidFill>
                  <a:schemeClr val="tx1"/>
                </a:solidFill>
                <a:latin typeface="+mn-lt"/>
              </a:defRPr>
            </a:lvl2pPr>
            <a:lvl3pPr>
              <a:defRPr sz="1867">
                <a:solidFill>
                  <a:schemeClr val="tx1"/>
                </a:solidFill>
                <a:latin typeface="+mn-lt"/>
              </a:defRPr>
            </a:lvl3pPr>
            <a:lvl4pPr>
              <a:defRPr sz="1867">
                <a:solidFill>
                  <a:schemeClr val="tx1"/>
                </a:solidFill>
                <a:latin typeface="+mn-lt"/>
              </a:defRPr>
            </a:lvl4pPr>
            <a:lvl5pPr>
              <a:defRPr sz="1867">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4"/>
          <p:cNvSpPr>
            <a:spLocks noGrp="1"/>
          </p:cNvSpPr>
          <p:nvPr>
            <p:ph type="body" sz="quarter" idx="13" hasCustomPrompt="1"/>
          </p:nvPr>
        </p:nvSpPr>
        <p:spPr>
          <a:xfrm>
            <a:off x="2787228" y="4161794"/>
            <a:ext cx="2194560" cy="5053679"/>
          </a:xfrm>
          <a:solidFill>
            <a:schemeClr val="accent3">
              <a:alpha val="89000"/>
            </a:schemeClr>
          </a:solidFill>
        </p:spPr>
        <p:txBody>
          <a:bodyPr lIns="91426" tIns="45713"/>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4"/>
          <p:cNvSpPr>
            <a:spLocks noGrp="1"/>
          </p:cNvSpPr>
          <p:nvPr>
            <p:ph type="body" sz="quarter" idx="14" hasCustomPrompt="1"/>
          </p:nvPr>
        </p:nvSpPr>
        <p:spPr>
          <a:xfrm>
            <a:off x="4981787" y="4161794"/>
            <a:ext cx="2194560" cy="5053679"/>
          </a:xfrm>
          <a:solidFill>
            <a:schemeClr val="accent4">
              <a:alpha val="89000"/>
            </a:schemeClr>
          </a:solidFill>
        </p:spPr>
        <p:txBody>
          <a:bodyPr lIns="91426" tIns="45713"/>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4"/>
          <p:cNvSpPr>
            <a:spLocks noGrp="1"/>
          </p:cNvSpPr>
          <p:nvPr>
            <p:ph type="body" sz="quarter" idx="16" hasCustomPrompt="1"/>
          </p:nvPr>
        </p:nvSpPr>
        <p:spPr>
          <a:xfrm>
            <a:off x="7176348" y="4161794"/>
            <a:ext cx="2194560" cy="5053679"/>
          </a:xfrm>
          <a:solidFill>
            <a:schemeClr val="accent5">
              <a:alpha val="89000"/>
            </a:schemeClr>
          </a:solidFill>
        </p:spPr>
        <p:txBody>
          <a:bodyPr lIns="91426" tIns="45713"/>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7" hasCustomPrompt="1"/>
          </p:nvPr>
        </p:nvSpPr>
        <p:spPr>
          <a:xfrm>
            <a:off x="9370907" y="4161794"/>
            <a:ext cx="2194560" cy="5053679"/>
          </a:xfrm>
          <a:solidFill>
            <a:schemeClr val="accent6">
              <a:alpha val="89000"/>
            </a:schemeClr>
          </a:solidFill>
        </p:spPr>
        <p:txBody>
          <a:bodyPr lIns="91426" tIns="45713"/>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itle 1"/>
          <p:cNvSpPr>
            <a:spLocks noGrp="1"/>
          </p:cNvSpPr>
          <p:nvPr>
            <p:ph type="title" hasCustomPrompt="1"/>
          </p:nvPr>
        </p:nvSpPr>
        <p:spPr>
          <a:xfrm>
            <a:off x="592667" y="262474"/>
            <a:ext cx="10972800" cy="656591"/>
          </a:xfrm>
          <a:noFill/>
        </p:spPr>
        <p:txBody>
          <a:bodyPr lIns="0" tIns="0" rIns="0" bIns="0" anchor="ctr">
            <a:noAutofit/>
          </a:bodyPr>
          <a:lstStyle>
            <a:lvl1pPr>
              <a:defRPr sz="3733" baseline="0">
                <a:solidFill>
                  <a:schemeClr val="bg2"/>
                </a:solidFill>
                <a:latin typeface="+mn-lt"/>
              </a:defRPr>
            </a:lvl1pPr>
          </a:lstStyle>
          <a:p>
            <a:pPr lvl="0"/>
            <a:r>
              <a:rPr lang="en-US" dirty="0"/>
              <a:t>Click to edit slide content</a:t>
            </a:r>
          </a:p>
        </p:txBody>
      </p:sp>
      <p:sp>
        <p:nvSpPr>
          <p:cNvPr id="27" name="Date Placeholder 2"/>
          <p:cNvSpPr>
            <a:spLocks noGrp="1"/>
          </p:cNvSpPr>
          <p:nvPr>
            <p:ph type="dt" sz="half" idx="10"/>
          </p:nvPr>
        </p:nvSpPr>
        <p:spPr>
          <a:xfrm>
            <a:off x="5926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endParaRPr lang="en-US" sz="2400" dirty="0">
              <a:solidFill>
                <a:srgbClr val="FFFFFF">
                  <a:lumMod val="75000"/>
                  <a:lumOff val="25000"/>
                </a:srgbClr>
              </a:solidFill>
            </a:endParaRPr>
          </a:p>
        </p:txBody>
      </p:sp>
      <p:sp>
        <p:nvSpPr>
          <p:cNvPr id="28" name="Slide Number Placeholder 3"/>
          <p:cNvSpPr>
            <a:spLocks noGrp="1"/>
          </p:cNvSpPr>
          <p:nvPr>
            <p:ph type="sldNum" sz="quarter" idx="11"/>
          </p:nvPr>
        </p:nvSpPr>
        <p:spPr>
          <a:xfrm>
            <a:off x="87460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fld id="{74A398B2-5A34-1A4A-811E-F4027282568C}" type="slidenum">
              <a:rPr lang="en-US" sz="2400" smtClean="0">
                <a:solidFill>
                  <a:srgbClr val="FFFFFF">
                    <a:lumMod val="75000"/>
                    <a:lumOff val="25000"/>
                  </a:srgbClr>
                </a:solidFill>
              </a:rPr>
              <a:pPr defTabSz="609490"/>
              <a:t>‹#›</a:t>
            </a:fld>
            <a:endParaRPr lang="en-US" sz="2400" dirty="0">
              <a:solidFill>
                <a:srgbClr val="FFFFFF">
                  <a:lumMod val="75000"/>
                  <a:lumOff val="25000"/>
                </a:srgbClr>
              </a:solidFill>
            </a:endParaRPr>
          </a:p>
        </p:txBody>
      </p:sp>
      <p:sp>
        <p:nvSpPr>
          <p:cNvPr id="29" name="Text Placeholder 8"/>
          <p:cNvSpPr>
            <a:spLocks noGrp="1"/>
          </p:cNvSpPr>
          <p:nvPr>
            <p:ph type="body" sz="quarter" idx="18"/>
          </p:nvPr>
        </p:nvSpPr>
        <p:spPr>
          <a:xfrm>
            <a:off x="592667" y="918633"/>
            <a:ext cx="10972800" cy="487680"/>
          </a:xfrm>
        </p:spPr>
        <p:txBody>
          <a:bodyPr lIns="0" tIns="0" rIns="0" bIns="0" anchor="ctr">
            <a:noAutofit/>
          </a:bodyPr>
          <a:lstStyle>
            <a:lvl1pPr>
              <a:defRPr sz="2133">
                <a:solidFill>
                  <a:schemeClr val="bg1">
                    <a:lumMod val="50000"/>
                    <a:lumOff val="50000"/>
                  </a:schemeClr>
                </a:solidFill>
              </a:defRPr>
            </a:lvl1pPr>
          </a:lstStyle>
          <a:p>
            <a:pPr lvl="0"/>
            <a:endParaRPr lang="en-US" dirty="0"/>
          </a:p>
        </p:txBody>
      </p:sp>
    </p:spTree>
    <p:extLst>
      <p:ext uri="{BB962C8B-B14F-4D97-AF65-F5344CB8AC3E}">
        <p14:creationId xmlns:p14="http://schemas.microsoft.com/office/powerpoint/2010/main" val="322334784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Five-tiles text &amp; list/paragraph">
    <p:bg>
      <p:bgPr>
        <a:solidFill>
          <a:schemeClr val="tx1"/>
        </a:solidFill>
        <a:effectLst/>
      </p:bgPr>
    </p:bg>
    <p:spTree>
      <p:nvGrpSpPr>
        <p:cNvPr id="1" name=""/>
        <p:cNvGrpSpPr/>
        <p:nvPr/>
      </p:nvGrpSpPr>
      <p:grpSpPr>
        <a:xfrm>
          <a:off x="0" y="0"/>
          <a:ext cx="0" cy="0"/>
          <a:chOff x="0" y="0"/>
          <a:chExt cx="0" cy="0"/>
        </a:xfrm>
      </p:grpSpPr>
      <p:sp>
        <p:nvSpPr>
          <p:cNvPr id="10" name="Text Placeholder 6"/>
          <p:cNvSpPr>
            <a:spLocks noGrp="1"/>
          </p:cNvSpPr>
          <p:nvPr>
            <p:ph type="body" sz="quarter" idx="17" hasCustomPrompt="1"/>
          </p:nvPr>
        </p:nvSpPr>
        <p:spPr>
          <a:xfrm>
            <a:off x="592667" y="1488022"/>
            <a:ext cx="10972800" cy="2587351"/>
          </a:xfrm>
        </p:spPr>
        <p:txBody>
          <a:bodyPr lIns="91426" tIns="45713">
            <a:noAutofit/>
          </a:bodyPr>
          <a:lstStyle>
            <a:lvl1pPr>
              <a:defRPr sz="2667" baseline="0">
                <a:solidFill>
                  <a:schemeClr val="bg1">
                    <a:lumMod val="75000"/>
                    <a:lumOff val="25000"/>
                  </a:schemeClr>
                </a:solidFill>
              </a:defRPr>
            </a:lvl1pPr>
            <a:lvl2pPr>
              <a:defRPr sz="2667">
                <a:solidFill>
                  <a:schemeClr val="bg1">
                    <a:lumMod val="75000"/>
                    <a:lumOff val="25000"/>
                  </a:schemeClr>
                </a:solidFill>
              </a:defRPr>
            </a:lvl2pPr>
            <a:lvl3pPr>
              <a:defRPr sz="2667">
                <a:solidFill>
                  <a:schemeClr val="bg1">
                    <a:lumMod val="75000"/>
                    <a:lumOff val="25000"/>
                  </a:schemeClr>
                </a:solidFill>
              </a:defRPr>
            </a:lvl3pPr>
            <a:lvl4pPr>
              <a:defRPr sz="2667">
                <a:solidFill>
                  <a:schemeClr val="bg1">
                    <a:lumMod val="75000"/>
                    <a:lumOff val="25000"/>
                  </a:schemeClr>
                </a:solidFill>
              </a:defRPr>
            </a:lvl4pPr>
            <a:lvl5pPr>
              <a:defRPr sz="2667">
                <a:solidFill>
                  <a:schemeClr val="bg1">
                    <a:lumMod val="75000"/>
                    <a:lumOff val="25000"/>
                  </a:schemeClr>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4"/>
          <p:cNvSpPr>
            <a:spLocks noGrp="1"/>
          </p:cNvSpPr>
          <p:nvPr>
            <p:ph type="body" sz="quarter" idx="12" hasCustomPrompt="1"/>
          </p:nvPr>
        </p:nvSpPr>
        <p:spPr>
          <a:xfrm>
            <a:off x="592667" y="4161791"/>
            <a:ext cx="2194560" cy="2194560"/>
          </a:xfrm>
          <a:solidFill>
            <a:schemeClr val="bg2">
              <a:alpha val="92000"/>
            </a:schemeClr>
          </a:solidFill>
        </p:spPr>
        <p:txBody>
          <a:bodyPr lIns="91426" tIns="45713">
            <a:normAutofit/>
          </a:bodyPr>
          <a:lstStyle>
            <a:lvl1pPr>
              <a:defRPr sz="1867">
                <a:solidFill>
                  <a:schemeClr val="tx1"/>
                </a:solidFill>
                <a:latin typeface="+mn-lt"/>
              </a:defRPr>
            </a:lvl1pPr>
            <a:lvl2pPr>
              <a:defRPr sz="1867">
                <a:solidFill>
                  <a:schemeClr val="tx1"/>
                </a:solidFill>
                <a:latin typeface="+mn-lt"/>
              </a:defRPr>
            </a:lvl2pPr>
            <a:lvl3pPr>
              <a:defRPr sz="1867">
                <a:solidFill>
                  <a:schemeClr val="tx1"/>
                </a:solidFill>
                <a:latin typeface="+mn-lt"/>
              </a:defRPr>
            </a:lvl3pPr>
            <a:lvl4pPr>
              <a:defRPr sz="1867">
                <a:solidFill>
                  <a:schemeClr val="tx1"/>
                </a:solidFill>
                <a:latin typeface="+mn-lt"/>
              </a:defRPr>
            </a:lvl4pPr>
            <a:lvl5pPr>
              <a:defRPr sz="1867">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4"/>
          <p:cNvSpPr>
            <a:spLocks noGrp="1"/>
          </p:cNvSpPr>
          <p:nvPr>
            <p:ph type="body" sz="quarter" idx="13" hasCustomPrompt="1"/>
          </p:nvPr>
        </p:nvSpPr>
        <p:spPr>
          <a:xfrm>
            <a:off x="2787228" y="4161794"/>
            <a:ext cx="2194560" cy="5053679"/>
          </a:xfrm>
          <a:solidFill>
            <a:schemeClr val="accent3">
              <a:alpha val="89000"/>
            </a:schemeClr>
          </a:solidFill>
        </p:spPr>
        <p:txBody>
          <a:bodyPr lIns="91426" tIns="45713"/>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4"/>
          <p:cNvSpPr>
            <a:spLocks noGrp="1"/>
          </p:cNvSpPr>
          <p:nvPr>
            <p:ph type="body" sz="quarter" idx="14" hasCustomPrompt="1"/>
          </p:nvPr>
        </p:nvSpPr>
        <p:spPr>
          <a:xfrm>
            <a:off x="4981787" y="4161794"/>
            <a:ext cx="2194560" cy="5053679"/>
          </a:xfrm>
          <a:solidFill>
            <a:schemeClr val="accent4">
              <a:alpha val="89000"/>
            </a:schemeClr>
          </a:solidFill>
        </p:spPr>
        <p:txBody>
          <a:bodyPr lIns="91426" tIns="45713"/>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4"/>
          <p:cNvSpPr>
            <a:spLocks noGrp="1"/>
          </p:cNvSpPr>
          <p:nvPr>
            <p:ph type="body" sz="quarter" idx="16" hasCustomPrompt="1"/>
          </p:nvPr>
        </p:nvSpPr>
        <p:spPr>
          <a:xfrm>
            <a:off x="7176348" y="4161794"/>
            <a:ext cx="2194560" cy="5053679"/>
          </a:xfrm>
          <a:solidFill>
            <a:schemeClr val="accent5">
              <a:alpha val="89000"/>
            </a:schemeClr>
          </a:solidFill>
        </p:spPr>
        <p:txBody>
          <a:bodyPr lIns="91426" tIns="45713"/>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8" hasCustomPrompt="1"/>
          </p:nvPr>
        </p:nvSpPr>
        <p:spPr>
          <a:xfrm>
            <a:off x="9370907" y="4161794"/>
            <a:ext cx="2194560" cy="5053679"/>
          </a:xfrm>
          <a:solidFill>
            <a:schemeClr val="accent6">
              <a:alpha val="89000"/>
            </a:schemeClr>
          </a:solidFill>
        </p:spPr>
        <p:txBody>
          <a:bodyPr lIns="91426" tIns="45713"/>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hasCustomPrompt="1"/>
          </p:nvPr>
        </p:nvSpPr>
        <p:spPr>
          <a:xfrm>
            <a:off x="592667" y="262474"/>
            <a:ext cx="10972800" cy="656591"/>
          </a:xfrm>
          <a:noFill/>
        </p:spPr>
        <p:txBody>
          <a:bodyPr lIns="0" tIns="0" rIns="0" bIns="0" anchor="ctr">
            <a:noAutofit/>
          </a:bodyPr>
          <a:lstStyle>
            <a:lvl1pPr>
              <a:defRPr sz="3733" baseline="0">
                <a:solidFill>
                  <a:schemeClr val="bg2"/>
                </a:solidFill>
                <a:latin typeface="+mn-lt"/>
              </a:defRPr>
            </a:lvl1pPr>
          </a:lstStyle>
          <a:p>
            <a:pPr lvl="0"/>
            <a:r>
              <a:rPr lang="en-US" dirty="0"/>
              <a:t>Click to edit slide content</a:t>
            </a:r>
          </a:p>
        </p:txBody>
      </p:sp>
      <p:sp>
        <p:nvSpPr>
          <p:cNvPr id="17" name="Date Placeholder 2"/>
          <p:cNvSpPr>
            <a:spLocks noGrp="1"/>
          </p:cNvSpPr>
          <p:nvPr>
            <p:ph type="dt" sz="half" idx="10"/>
          </p:nvPr>
        </p:nvSpPr>
        <p:spPr>
          <a:xfrm>
            <a:off x="5926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endParaRPr lang="en-US" sz="2400" dirty="0">
              <a:solidFill>
                <a:srgbClr val="FFFFFF">
                  <a:lumMod val="75000"/>
                  <a:lumOff val="25000"/>
                </a:srgbClr>
              </a:solidFill>
            </a:endParaRPr>
          </a:p>
        </p:txBody>
      </p:sp>
      <p:sp>
        <p:nvSpPr>
          <p:cNvPr id="18" name="Slide Number Placeholder 3"/>
          <p:cNvSpPr>
            <a:spLocks noGrp="1"/>
          </p:cNvSpPr>
          <p:nvPr>
            <p:ph type="sldNum" sz="quarter" idx="11"/>
          </p:nvPr>
        </p:nvSpPr>
        <p:spPr>
          <a:xfrm>
            <a:off x="87460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fld id="{74A398B2-5A34-1A4A-811E-F4027282568C}" type="slidenum">
              <a:rPr lang="en-US" sz="2400" smtClean="0">
                <a:solidFill>
                  <a:srgbClr val="FFFFFF">
                    <a:lumMod val="75000"/>
                    <a:lumOff val="25000"/>
                  </a:srgbClr>
                </a:solidFill>
              </a:rPr>
              <a:pPr defTabSz="609490"/>
              <a:t>‹#›</a:t>
            </a:fld>
            <a:endParaRPr lang="en-US" sz="2400" dirty="0">
              <a:solidFill>
                <a:srgbClr val="FFFFFF">
                  <a:lumMod val="75000"/>
                  <a:lumOff val="25000"/>
                </a:srgbClr>
              </a:solidFill>
            </a:endParaRPr>
          </a:p>
        </p:txBody>
      </p:sp>
      <p:sp>
        <p:nvSpPr>
          <p:cNvPr id="20" name="Text Placeholder 8"/>
          <p:cNvSpPr>
            <a:spLocks noGrp="1"/>
          </p:cNvSpPr>
          <p:nvPr>
            <p:ph type="body" sz="quarter" idx="19"/>
          </p:nvPr>
        </p:nvSpPr>
        <p:spPr>
          <a:xfrm>
            <a:off x="592667" y="918633"/>
            <a:ext cx="10972800" cy="487680"/>
          </a:xfrm>
        </p:spPr>
        <p:txBody>
          <a:bodyPr lIns="0" tIns="0" rIns="0" bIns="0" anchor="ctr">
            <a:noAutofit/>
          </a:bodyPr>
          <a:lstStyle>
            <a:lvl1pPr>
              <a:defRPr sz="2133">
                <a:solidFill>
                  <a:schemeClr val="bg1">
                    <a:lumMod val="50000"/>
                    <a:lumOff val="50000"/>
                  </a:schemeClr>
                </a:solidFill>
              </a:defRPr>
            </a:lvl1pPr>
          </a:lstStyle>
          <a:p>
            <a:pPr lvl="0"/>
            <a:endParaRPr lang="en-US" dirty="0"/>
          </a:p>
        </p:txBody>
      </p:sp>
    </p:spTree>
    <p:extLst>
      <p:ext uri="{BB962C8B-B14F-4D97-AF65-F5344CB8AC3E}">
        <p14:creationId xmlns:p14="http://schemas.microsoft.com/office/powerpoint/2010/main" val="215332842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ive-tiles text">
    <p:bg>
      <p:bgPr>
        <a:solidFill>
          <a:schemeClr val="tx1"/>
        </a:solidFill>
        <a:effectLst/>
      </p:bgPr>
    </p:bg>
    <p:spTree>
      <p:nvGrpSpPr>
        <p:cNvPr id="1" name=""/>
        <p:cNvGrpSpPr/>
        <p:nvPr/>
      </p:nvGrpSpPr>
      <p:grpSpPr>
        <a:xfrm>
          <a:off x="0" y="0"/>
          <a:ext cx="0" cy="0"/>
          <a:chOff x="0" y="0"/>
          <a:chExt cx="0" cy="0"/>
        </a:xfrm>
      </p:grpSpPr>
      <p:sp>
        <p:nvSpPr>
          <p:cNvPr id="17" name="Text Placeholder 14"/>
          <p:cNvSpPr>
            <a:spLocks noGrp="1"/>
          </p:cNvSpPr>
          <p:nvPr>
            <p:ph type="body" sz="quarter" idx="12" hasCustomPrompt="1"/>
          </p:nvPr>
        </p:nvSpPr>
        <p:spPr>
          <a:xfrm>
            <a:off x="592667" y="4161791"/>
            <a:ext cx="2194560" cy="2194560"/>
          </a:xfrm>
          <a:solidFill>
            <a:schemeClr val="bg2">
              <a:alpha val="92000"/>
            </a:schemeClr>
          </a:solidFill>
        </p:spPr>
        <p:txBody>
          <a:bodyPr lIns="91426" tIns="45713">
            <a:normAutofit/>
          </a:bodyPr>
          <a:lstStyle>
            <a:lvl1pPr>
              <a:defRPr sz="1867">
                <a:solidFill>
                  <a:schemeClr val="tx1"/>
                </a:solidFill>
                <a:latin typeface="+mn-lt"/>
              </a:defRPr>
            </a:lvl1pPr>
            <a:lvl2pPr>
              <a:defRPr sz="1867">
                <a:solidFill>
                  <a:schemeClr val="tx1"/>
                </a:solidFill>
                <a:latin typeface="+mn-lt"/>
              </a:defRPr>
            </a:lvl2pPr>
            <a:lvl3pPr>
              <a:defRPr sz="1867">
                <a:solidFill>
                  <a:schemeClr val="tx1"/>
                </a:solidFill>
                <a:latin typeface="+mn-lt"/>
              </a:defRPr>
            </a:lvl3pPr>
            <a:lvl4pPr>
              <a:defRPr sz="1867">
                <a:solidFill>
                  <a:schemeClr val="tx1"/>
                </a:solidFill>
                <a:latin typeface="+mn-lt"/>
              </a:defRPr>
            </a:lvl4pPr>
            <a:lvl5pPr>
              <a:defRPr sz="1867">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3" hasCustomPrompt="1"/>
          </p:nvPr>
        </p:nvSpPr>
        <p:spPr>
          <a:xfrm>
            <a:off x="2787228" y="4161794"/>
            <a:ext cx="2194560" cy="5053679"/>
          </a:xfrm>
          <a:solidFill>
            <a:schemeClr val="accent3">
              <a:alpha val="89000"/>
            </a:schemeClr>
          </a:solidFill>
        </p:spPr>
        <p:txBody>
          <a:bodyPr lIns="91426" tIns="45713"/>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4"/>
          <p:cNvSpPr>
            <a:spLocks noGrp="1"/>
          </p:cNvSpPr>
          <p:nvPr>
            <p:ph type="body" sz="quarter" idx="14" hasCustomPrompt="1"/>
          </p:nvPr>
        </p:nvSpPr>
        <p:spPr>
          <a:xfrm>
            <a:off x="4981787" y="4161794"/>
            <a:ext cx="2194560" cy="5053679"/>
          </a:xfrm>
          <a:solidFill>
            <a:schemeClr val="accent4">
              <a:alpha val="89000"/>
            </a:schemeClr>
          </a:solidFill>
        </p:spPr>
        <p:txBody>
          <a:bodyPr lIns="91426" tIns="45713"/>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4"/>
          <p:cNvSpPr>
            <a:spLocks noGrp="1"/>
          </p:cNvSpPr>
          <p:nvPr>
            <p:ph type="body" sz="quarter" idx="16" hasCustomPrompt="1"/>
          </p:nvPr>
        </p:nvSpPr>
        <p:spPr>
          <a:xfrm>
            <a:off x="7176348" y="4161794"/>
            <a:ext cx="2194560" cy="5053679"/>
          </a:xfrm>
          <a:solidFill>
            <a:schemeClr val="accent5">
              <a:alpha val="89000"/>
            </a:schemeClr>
          </a:solidFill>
        </p:spPr>
        <p:txBody>
          <a:bodyPr lIns="91426" tIns="45713"/>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4"/>
          <p:cNvSpPr>
            <a:spLocks noGrp="1"/>
          </p:cNvSpPr>
          <p:nvPr>
            <p:ph type="body" sz="quarter" idx="18" hasCustomPrompt="1"/>
          </p:nvPr>
        </p:nvSpPr>
        <p:spPr>
          <a:xfrm>
            <a:off x="9370907" y="4161794"/>
            <a:ext cx="2194560" cy="5053679"/>
          </a:xfrm>
          <a:solidFill>
            <a:schemeClr val="accent6">
              <a:alpha val="89000"/>
            </a:schemeClr>
          </a:solidFill>
        </p:spPr>
        <p:txBody>
          <a:bodyPr lIns="91426" tIns="45713"/>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p:cNvSpPr>
            <a:spLocks noGrp="1"/>
          </p:cNvSpPr>
          <p:nvPr>
            <p:ph type="title" hasCustomPrompt="1"/>
          </p:nvPr>
        </p:nvSpPr>
        <p:spPr>
          <a:xfrm>
            <a:off x="592667" y="262474"/>
            <a:ext cx="10972800" cy="656591"/>
          </a:xfrm>
          <a:noFill/>
        </p:spPr>
        <p:txBody>
          <a:bodyPr lIns="0" tIns="0" rIns="0" bIns="0" anchor="ctr">
            <a:noAutofit/>
          </a:bodyPr>
          <a:lstStyle>
            <a:lvl1pPr>
              <a:defRPr sz="3733" baseline="0">
                <a:solidFill>
                  <a:schemeClr val="bg2"/>
                </a:solidFill>
                <a:latin typeface="+mn-lt"/>
              </a:defRPr>
            </a:lvl1pPr>
          </a:lstStyle>
          <a:p>
            <a:pPr lvl="0"/>
            <a:r>
              <a:rPr lang="en-US" dirty="0"/>
              <a:t>Click to edit slide content</a:t>
            </a:r>
          </a:p>
        </p:txBody>
      </p:sp>
      <p:sp>
        <p:nvSpPr>
          <p:cNvPr id="23" name="Date Placeholder 2"/>
          <p:cNvSpPr>
            <a:spLocks noGrp="1"/>
          </p:cNvSpPr>
          <p:nvPr>
            <p:ph type="dt" sz="half" idx="10"/>
          </p:nvPr>
        </p:nvSpPr>
        <p:spPr>
          <a:xfrm>
            <a:off x="5926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endParaRPr lang="en-US" sz="2400" dirty="0">
              <a:solidFill>
                <a:srgbClr val="FFFFFF">
                  <a:lumMod val="75000"/>
                  <a:lumOff val="25000"/>
                </a:srgbClr>
              </a:solidFill>
            </a:endParaRPr>
          </a:p>
        </p:txBody>
      </p:sp>
      <p:sp>
        <p:nvSpPr>
          <p:cNvPr id="24" name="Slide Number Placeholder 3"/>
          <p:cNvSpPr>
            <a:spLocks noGrp="1"/>
          </p:cNvSpPr>
          <p:nvPr>
            <p:ph type="sldNum" sz="quarter" idx="11"/>
          </p:nvPr>
        </p:nvSpPr>
        <p:spPr>
          <a:xfrm>
            <a:off x="87460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fld id="{74A398B2-5A34-1A4A-811E-F4027282568C}" type="slidenum">
              <a:rPr lang="en-US" sz="2400" smtClean="0">
                <a:solidFill>
                  <a:srgbClr val="FFFFFF">
                    <a:lumMod val="75000"/>
                    <a:lumOff val="25000"/>
                  </a:srgbClr>
                </a:solidFill>
              </a:rPr>
              <a:pPr defTabSz="609490"/>
              <a:t>‹#›</a:t>
            </a:fld>
            <a:endParaRPr lang="en-US" sz="2400" dirty="0">
              <a:solidFill>
                <a:srgbClr val="FFFFFF">
                  <a:lumMod val="75000"/>
                  <a:lumOff val="25000"/>
                </a:srgbClr>
              </a:solidFill>
            </a:endParaRPr>
          </a:p>
        </p:txBody>
      </p:sp>
      <p:sp>
        <p:nvSpPr>
          <p:cNvPr id="25" name="Text Placeholder 8"/>
          <p:cNvSpPr>
            <a:spLocks noGrp="1"/>
          </p:cNvSpPr>
          <p:nvPr>
            <p:ph type="body" sz="quarter" idx="19"/>
          </p:nvPr>
        </p:nvSpPr>
        <p:spPr>
          <a:xfrm>
            <a:off x="592667" y="918633"/>
            <a:ext cx="10972800" cy="487680"/>
          </a:xfrm>
        </p:spPr>
        <p:txBody>
          <a:bodyPr lIns="0" tIns="0" rIns="0" bIns="0" anchor="ctr">
            <a:noAutofit/>
          </a:bodyPr>
          <a:lstStyle>
            <a:lvl1pPr>
              <a:defRPr sz="2133">
                <a:solidFill>
                  <a:schemeClr val="bg1">
                    <a:lumMod val="50000"/>
                    <a:lumOff val="50000"/>
                  </a:schemeClr>
                </a:solidFill>
              </a:defRPr>
            </a:lvl1pPr>
          </a:lstStyle>
          <a:p>
            <a:pPr lvl="0"/>
            <a:endParaRPr lang="en-US" dirty="0"/>
          </a:p>
        </p:txBody>
      </p:sp>
    </p:spTree>
    <p:extLst>
      <p:ext uri="{BB962C8B-B14F-4D97-AF65-F5344CB8AC3E}">
        <p14:creationId xmlns:p14="http://schemas.microsoft.com/office/powerpoint/2010/main" val="246172602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tiles with text and background image">
    <p:bg>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2"/>
            <a:ext cx="12192000" cy="443199"/>
          </a:xfrm>
        </p:spPr>
        <p:txBody>
          <a:bodyPr/>
          <a:lstStyle>
            <a:lvl1pPr>
              <a:defRPr>
                <a:solidFill>
                  <a:srgbClr val="3F3F3F"/>
                </a:solidFill>
              </a:defRPr>
            </a:lvl1pPr>
          </a:lstStyle>
          <a:p>
            <a:r>
              <a:rPr lang="en-US" dirty="0"/>
              <a:t>Drag picture to placeholder or click icon to add</a:t>
            </a:r>
          </a:p>
        </p:txBody>
      </p:sp>
      <p:sp>
        <p:nvSpPr>
          <p:cNvPr id="3" name="Date Placeholder 2"/>
          <p:cNvSpPr>
            <a:spLocks noGrp="1"/>
          </p:cNvSpPr>
          <p:nvPr>
            <p:ph type="dt" sz="half" idx="10"/>
          </p:nvPr>
        </p:nvSpPr>
        <p:spPr>
          <a:xfrm>
            <a:off x="598292" y="6356352"/>
            <a:ext cx="2844800" cy="365125"/>
          </a:xfrm>
          <a:prstGeom prst="rect">
            <a:avLst/>
          </a:prstGeom>
        </p:spPr>
        <p:txBody>
          <a:bodyPr lIns="91430" tIns="45715" rIns="91430" bIns="45715"/>
          <a:lstStyle>
            <a:lvl1pPr>
              <a:defRPr>
                <a:solidFill>
                  <a:schemeClr val="bg1">
                    <a:lumMod val="75000"/>
                    <a:lumOff val="25000"/>
                  </a:schemeClr>
                </a:solidFill>
              </a:defRPr>
            </a:lvl1pPr>
          </a:lstStyle>
          <a:p>
            <a:pPr defTabSz="609490"/>
            <a:endParaRPr lang="en-US" sz="2400" dirty="0">
              <a:solidFill>
                <a:srgbClr val="FFFFFF">
                  <a:lumMod val="75000"/>
                  <a:lumOff val="25000"/>
                </a:srgbClr>
              </a:solidFill>
            </a:endParaRPr>
          </a:p>
        </p:txBody>
      </p:sp>
      <p:sp>
        <p:nvSpPr>
          <p:cNvPr id="4" name="Slide Number Placeholder 3"/>
          <p:cNvSpPr>
            <a:spLocks noGrp="1"/>
          </p:cNvSpPr>
          <p:nvPr>
            <p:ph type="sldNum" sz="quarter" idx="11"/>
          </p:nvPr>
        </p:nvSpPr>
        <p:spPr>
          <a:xfrm>
            <a:off x="8746067" y="6356352"/>
            <a:ext cx="2844800" cy="365125"/>
          </a:xfrm>
          <a:prstGeom prst="rect">
            <a:avLst/>
          </a:prstGeom>
        </p:spPr>
        <p:txBody>
          <a:bodyPr lIns="91430" tIns="45715" rIns="91430" bIns="45715"/>
          <a:lstStyle>
            <a:lvl1pPr>
              <a:defRPr>
                <a:solidFill>
                  <a:schemeClr val="bg1">
                    <a:lumMod val="75000"/>
                    <a:lumOff val="25000"/>
                  </a:schemeClr>
                </a:solidFill>
              </a:defRPr>
            </a:lvl1pPr>
          </a:lstStyle>
          <a:p>
            <a:pPr defTabSz="609490"/>
            <a:fld id="{74A398B2-5A34-1A4A-811E-F4027282568C}" type="slidenum">
              <a:rPr lang="en-US" sz="2400" smtClean="0">
                <a:solidFill>
                  <a:srgbClr val="FFFFFF">
                    <a:lumMod val="75000"/>
                    <a:lumOff val="25000"/>
                  </a:srgbClr>
                </a:solidFill>
              </a:rPr>
              <a:pPr defTabSz="609490"/>
              <a:t>‹#›</a:t>
            </a:fld>
            <a:endParaRPr lang="en-US" sz="2400" dirty="0">
              <a:solidFill>
                <a:srgbClr val="FFFFFF">
                  <a:lumMod val="75000"/>
                  <a:lumOff val="25000"/>
                </a:srgbClr>
              </a:solidFill>
            </a:endParaRPr>
          </a:p>
        </p:txBody>
      </p:sp>
      <p:sp>
        <p:nvSpPr>
          <p:cNvPr id="11" name="Text Placeholder 14"/>
          <p:cNvSpPr>
            <a:spLocks noGrp="1"/>
          </p:cNvSpPr>
          <p:nvPr>
            <p:ph type="body" sz="quarter" idx="12" hasCustomPrompt="1"/>
          </p:nvPr>
        </p:nvSpPr>
        <p:spPr>
          <a:xfrm>
            <a:off x="601135" y="3917954"/>
            <a:ext cx="2438400" cy="4207299"/>
          </a:xfrm>
          <a:solidFill>
            <a:schemeClr val="bg2">
              <a:alpha val="92000"/>
            </a:schemeClr>
          </a:solidFill>
        </p:spPr>
        <p:txBody>
          <a:bodyPr lIns="91426" tIns="45713" rIns="91426"/>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4"/>
          <p:cNvSpPr>
            <a:spLocks noGrp="1"/>
          </p:cNvSpPr>
          <p:nvPr>
            <p:ph type="body" sz="quarter" idx="13" hasCustomPrompt="1"/>
          </p:nvPr>
        </p:nvSpPr>
        <p:spPr>
          <a:xfrm>
            <a:off x="3039535" y="3917954"/>
            <a:ext cx="2438400" cy="4207299"/>
          </a:xfrm>
          <a:solidFill>
            <a:schemeClr val="accent2">
              <a:alpha val="89000"/>
            </a:schemeClr>
          </a:solidFill>
        </p:spPr>
        <p:txBody>
          <a:bodyPr lIns="91426" tIns="45713" rIns="91426"/>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4"/>
          <p:cNvSpPr>
            <a:spLocks noGrp="1"/>
          </p:cNvSpPr>
          <p:nvPr>
            <p:ph type="body" sz="quarter" idx="14" hasCustomPrompt="1"/>
          </p:nvPr>
        </p:nvSpPr>
        <p:spPr>
          <a:xfrm>
            <a:off x="5477935" y="3917954"/>
            <a:ext cx="2438400" cy="4207299"/>
          </a:xfrm>
          <a:solidFill>
            <a:schemeClr val="accent3">
              <a:alpha val="89000"/>
            </a:schemeClr>
          </a:solidFill>
        </p:spPr>
        <p:txBody>
          <a:bodyPr lIns="91426" tIns="45713" rIns="91426"/>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p:cNvSpPr>
            <a:spLocks noGrp="1"/>
          </p:cNvSpPr>
          <p:nvPr>
            <p:ph type="title" hasCustomPrompt="1"/>
          </p:nvPr>
        </p:nvSpPr>
        <p:spPr>
          <a:xfrm>
            <a:off x="592667" y="262474"/>
            <a:ext cx="10972800" cy="656591"/>
          </a:xfrm>
          <a:noFill/>
        </p:spPr>
        <p:txBody>
          <a:bodyPr lIns="0" tIns="0" rIns="0" bIns="0" anchor="ctr">
            <a:noAutofit/>
          </a:bodyPr>
          <a:lstStyle>
            <a:lvl1pPr>
              <a:defRPr sz="3733" baseline="0">
                <a:solidFill>
                  <a:schemeClr val="bg2"/>
                </a:solidFill>
                <a:latin typeface="+mn-lt"/>
              </a:defRPr>
            </a:lvl1pPr>
          </a:lstStyle>
          <a:p>
            <a:pPr lvl="0"/>
            <a:r>
              <a:rPr lang="en-US" dirty="0"/>
              <a:t>Click to edit slide content</a:t>
            </a:r>
          </a:p>
        </p:txBody>
      </p:sp>
      <p:sp>
        <p:nvSpPr>
          <p:cNvPr id="36" name="Text Placeholder 8"/>
          <p:cNvSpPr>
            <a:spLocks noGrp="1"/>
          </p:cNvSpPr>
          <p:nvPr>
            <p:ph type="body" sz="quarter" idx="21"/>
          </p:nvPr>
        </p:nvSpPr>
        <p:spPr>
          <a:xfrm>
            <a:off x="592667" y="918633"/>
            <a:ext cx="10972800" cy="487680"/>
          </a:xfrm>
        </p:spPr>
        <p:txBody>
          <a:bodyPr lIns="0" tIns="0" rIns="0" bIns="0" anchor="ctr">
            <a:noAutofit/>
          </a:bodyPr>
          <a:lstStyle>
            <a:lvl1pPr>
              <a:defRPr sz="2133">
                <a:solidFill>
                  <a:schemeClr val="bg1">
                    <a:lumMod val="50000"/>
                    <a:lumOff val="50000"/>
                  </a:schemeClr>
                </a:solidFill>
              </a:defRPr>
            </a:lvl1pPr>
          </a:lstStyle>
          <a:p>
            <a:pPr lvl="0"/>
            <a:endParaRPr lang="en-US" dirty="0"/>
          </a:p>
        </p:txBody>
      </p:sp>
    </p:spTree>
    <p:extLst>
      <p:ext uri="{BB962C8B-B14F-4D97-AF65-F5344CB8AC3E}">
        <p14:creationId xmlns:p14="http://schemas.microsoft.com/office/powerpoint/2010/main" val="189245900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Hero image with text">
    <p:bg>
      <p:bgPr>
        <a:solidFill>
          <a:schemeClr val="tx1"/>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2" hasCustomPrompt="1"/>
          </p:nvPr>
        </p:nvSpPr>
        <p:spPr>
          <a:xfrm>
            <a:off x="7916392" y="1488017"/>
            <a:ext cx="3657600" cy="2438400"/>
          </a:xfrm>
          <a:solidFill>
            <a:schemeClr val="bg2"/>
          </a:solidFill>
        </p:spPr>
        <p:txBody>
          <a:bodyPr rIns="182852">
            <a:normAutofit/>
          </a:bodyPr>
          <a:lstStyle>
            <a:lvl1pPr>
              <a:lnSpc>
                <a:spcPct val="100000"/>
              </a:lnSpc>
              <a:defRPr sz="1867" kern="800">
                <a:solidFill>
                  <a:schemeClr val="tx1"/>
                </a:solidFill>
              </a:defRPr>
            </a:lvl1pPr>
            <a:lvl2pPr>
              <a:lnSpc>
                <a:spcPct val="100000"/>
              </a:lnSpc>
              <a:defRPr sz="1867" kern="800">
                <a:solidFill>
                  <a:schemeClr val="tx1"/>
                </a:solidFill>
              </a:defRPr>
            </a:lvl2pPr>
            <a:lvl3pPr>
              <a:lnSpc>
                <a:spcPct val="100000"/>
              </a:lnSpc>
              <a:defRPr sz="1867" kern="800">
                <a:solidFill>
                  <a:schemeClr val="tx1"/>
                </a:solidFill>
              </a:defRPr>
            </a:lvl3pPr>
            <a:lvl4pPr>
              <a:lnSpc>
                <a:spcPct val="100000"/>
              </a:lnSpc>
              <a:defRPr sz="1867" kern="800">
                <a:solidFill>
                  <a:schemeClr val="tx1"/>
                </a:solidFill>
              </a:defRPr>
            </a:lvl4pPr>
            <a:lvl5pPr>
              <a:lnSpc>
                <a:spcPct val="100000"/>
              </a:lnSpc>
              <a:defRPr sz="1867" kern="800">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3" hasCustomPrompt="1"/>
          </p:nvPr>
        </p:nvSpPr>
        <p:spPr>
          <a:xfrm>
            <a:off x="7916392" y="3926417"/>
            <a:ext cx="3657600" cy="2438400"/>
          </a:xfrm>
          <a:solidFill>
            <a:schemeClr val="accent2"/>
          </a:solidFill>
        </p:spPr>
        <p:txBody>
          <a:bodyPr rIns="182852">
            <a:normAutofit/>
          </a:bodyPr>
          <a:lstStyle>
            <a:lvl1pPr>
              <a:lnSpc>
                <a:spcPct val="100000"/>
              </a:lnSpc>
              <a:defRPr sz="1867" kern="800">
                <a:solidFill>
                  <a:schemeClr val="bg1"/>
                </a:solidFill>
              </a:defRPr>
            </a:lvl1pPr>
            <a:lvl2pPr>
              <a:lnSpc>
                <a:spcPct val="100000"/>
              </a:lnSpc>
              <a:defRPr sz="1867" kern="800">
                <a:solidFill>
                  <a:schemeClr val="bg1"/>
                </a:solidFill>
              </a:defRPr>
            </a:lvl2pPr>
            <a:lvl3pPr>
              <a:lnSpc>
                <a:spcPct val="100000"/>
              </a:lnSpc>
              <a:defRPr sz="1867" kern="800">
                <a:solidFill>
                  <a:schemeClr val="bg1"/>
                </a:solidFill>
              </a:defRPr>
            </a:lvl3pPr>
            <a:lvl4pPr>
              <a:lnSpc>
                <a:spcPct val="100000"/>
              </a:lnSpc>
              <a:defRPr sz="1867" kern="800">
                <a:solidFill>
                  <a:schemeClr val="bg1"/>
                </a:solidFill>
              </a:defRPr>
            </a:lvl4pPr>
            <a:lvl5pPr>
              <a:lnSpc>
                <a:spcPct val="100000"/>
              </a:lnSpc>
              <a:defRPr sz="1867" kern="800">
                <a:solidFill>
                  <a:schemeClr val="bg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15" hasCustomPrompt="1"/>
          </p:nvPr>
        </p:nvSpPr>
        <p:spPr>
          <a:xfrm>
            <a:off x="601133" y="1488019"/>
            <a:ext cx="7315259" cy="2573012"/>
          </a:xfrm>
        </p:spPr>
        <p:txBody>
          <a:bodyPr/>
          <a:lstStyle>
            <a:lvl1pPr>
              <a:lnSpc>
                <a:spcPct val="120000"/>
              </a:lnSpc>
              <a:defRPr kern="800">
                <a:solidFill>
                  <a:srgbClr val="3F3F3F"/>
                </a:solidFill>
              </a:defRPr>
            </a:lvl1pPr>
            <a:lvl2pPr>
              <a:lnSpc>
                <a:spcPct val="120000"/>
              </a:lnSpc>
              <a:defRPr kern="800">
                <a:solidFill>
                  <a:srgbClr val="3F3F3F"/>
                </a:solidFill>
              </a:defRPr>
            </a:lvl2pPr>
            <a:lvl3pPr>
              <a:lnSpc>
                <a:spcPct val="120000"/>
              </a:lnSpc>
              <a:defRPr kern="800">
                <a:solidFill>
                  <a:srgbClr val="3F3F3F"/>
                </a:solidFill>
              </a:defRPr>
            </a:lvl3pPr>
            <a:lvl4pPr>
              <a:lnSpc>
                <a:spcPct val="120000"/>
              </a:lnSpc>
              <a:defRPr kern="800">
                <a:solidFill>
                  <a:srgbClr val="3F3F3F"/>
                </a:solidFill>
              </a:defRPr>
            </a:lvl4pPr>
            <a:lvl5pPr>
              <a:lnSpc>
                <a:spcPct val="120000"/>
              </a:lnSpc>
              <a:defRPr kern="800">
                <a:solidFill>
                  <a:srgbClr val="3F3F3F"/>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itle 1"/>
          <p:cNvSpPr>
            <a:spLocks noGrp="1"/>
          </p:cNvSpPr>
          <p:nvPr>
            <p:ph type="title" hasCustomPrompt="1"/>
          </p:nvPr>
        </p:nvSpPr>
        <p:spPr>
          <a:xfrm>
            <a:off x="592667" y="262474"/>
            <a:ext cx="10972800" cy="656591"/>
          </a:xfrm>
          <a:noFill/>
        </p:spPr>
        <p:txBody>
          <a:bodyPr lIns="0" tIns="0" rIns="0" bIns="0" anchor="ctr">
            <a:noAutofit/>
          </a:bodyPr>
          <a:lstStyle>
            <a:lvl1pPr>
              <a:defRPr sz="3733" baseline="0">
                <a:solidFill>
                  <a:schemeClr val="bg2"/>
                </a:solidFill>
                <a:latin typeface="+mn-lt"/>
              </a:defRPr>
            </a:lvl1pPr>
          </a:lstStyle>
          <a:p>
            <a:pPr lvl="0"/>
            <a:r>
              <a:rPr lang="en-US" dirty="0"/>
              <a:t>Click to edit slide content</a:t>
            </a:r>
          </a:p>
        </p:txBody>
      </p:sp>
      <p:sp>
        <p:nvSpPr>
          <p:cNvPr id="25" name="Date Placeholder 2"/>
          <p:cNvSpPr>
            <a:spLocks noGrp="1"/>
          </p:cNvSpPr>
          <p:nvPr>
            <p:ph type="dt" sz="half" idx="10"/>
          </p:nvPr>
        </p:nvSpPr>
        <p:spPr>
          <a:xfrm>
            <a:off x="5926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endParaRPr lang="en-US" sz="2400" dirty="0">
              <a:solidFill>
                <a:srgbClr val="FFFFFF">
                  <a:lumMod val="75000"/>
                  <a:lumOff val="25000"/>
                </a:srgbClr>
              </a:solidFill>
            </a:endParaRPr>
          </a:p>
        </p:txBody>
      </p:sp>
      <p:sp>
        <p:nvSpPr>
          <p:cNvPr id="26" name="Slide Number Placeholder 3"/>
          <p:cNvSpPr>
            <a:spLocks noGrp="1"/>
          </p:cNvSpPr>
          <p:nvPr>
            <p:ph type="sldNum" sz="quarter" idx="11"/>
          </p:nvPr>
        </p:nvSpPr>
        <p:spPr>
          <a:xfrm>
            <a:off x="87460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fld id="{74A398B2-5A34-1A4A-811E-F4027282568C}" type="slidenum">
              <a:rPr lang="en-US" sz="2400" smtClean="0">
                <a:solidFill>
                  <a:srgbClr val="FFFFFF">
                    <a:lumMod val="75000"/>
                    <a:lumOff val="25000"/>
                  </a:srgbClr>
                </a:solidFill>
              </a:rPr>
              <a:pPr defTabSz="609490"/>
              <a:t>‹#›</a:t>
            </a:fld>
            <a:endParaRPr lang="en-US" sz="2400" dirty="0">
              <a:solidFill>
                <a:srgbClr val="FFFFFF">
                  <a:lumMod val="75000"/>
                  <a:lumOff val="25000"/>
                </a:srgbClr>
              </a:solidFill>
            </a:endParaRPr>
          </a:p>
        </p:txBody>
      </p:sp>
      <p:sp>
        <p:nvSpPr>
          <p:cNvPr id="27" name="Text Placeholder 8"/>
          <p:cNvSpPr>
            <a:spLocks noGrp="1"/>
          </p:cNvSpPr>
          <p:nvPr>
            <p:ph type="body" sz="quarter" idx="20"/>
          </p:nvPr>
        </p:nvSpPr>
        <p:spPr>
          <a:xfrm>
            <a:off x="592667" y="918633"/>
            <a:ext cx="10972800" cy="487680"/>
          </a:xfrm>
        </p:spPr>
        <p:txBody>
          <a:bodyPr lIns="0" tIns="0" rIns="0" bIns="0" anchor="ctr">
            <a:noAutofit/>
          </a:bodyPr>
          <a:lstStyle>
            <a:lvl1pPr>
              <a:defRPr sz="2133">
                <a:solidFill>
                  <a:schemeClr val="bg1">
                    <a:lumMod val="50000"/>
                    <a:lumOff val="50000"/>
                  </a:schemeClr>
                </a:solidFill>
              </a:defRPr>
            </a:lvl1pPr>
          </a:lstStyle>
          <a:p>
            <a:pPr lvl="0"/>
            <a:endParaRPr lang="en-US" dirty="0"/>
          </a:p>
        </p:txBody>
      </p:sp>
    </p:spTree>
    <p:extLst>
      <p:ext uri="{BB962C8B-B14F-4D97-AF65-F5344CB8AC3E}">
        <p14:creationId xmlns:p14="http://schemas.microsoft.com/office/powerpoint/2010/main" val="78240049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1"/>
        </a:solidFill>
        <a:effectLst/>
      </p:bgPr>
    </p:bg>
    <p:spTree>
      <p:nvGrpSpPr>
        <p:cNvPr id="1" name=""/>
        <p:cNvGrpSpPr/>
        <p:nvPr/>
      </p:nvGrpSpPr>
      <p:grpSpPr>
        <a:xfrm>
          <a:off x="0" y="0"/>
          <a:ext cx="0" cy="0"/>
          <a:chOff x="0" y="0"/>
          <a:chExt cx="0" cy="0"/>
        </a:xfrm>
      </p:grpSpPr>
      <p:sp>
        <p:nvSpPr>
          <p:cNvPr id="6" name="Text Placeholder 16"/>
          <p:cNvSpPr>
            <a:spLocks noGrp="1"/>
          </p:cNvSpPr>
          <p:nvPr>
            <p:ph type="body" sz="quarter" idx="12" hasCustomPrompt="1"/>
          </p:nvPr>
        </p:nvSpPr>
        <p:spPr>
          <a:xfrm>
            <a:off x="3349977" y="1479551"/>
            <a:ext cx="2743200" cy="2438400"/>
          </a:xfrm>
          <a:solidFill>
            <a:schemeClr val="accent2"/>
          </a:solidFill>
        </p:spPr>
        <p:txBody>
          <a:bodyPr>
            <a:normAutofit/>
          </a:bodyPr>
          <a:lstStyle>
            <a:lvl1pPr>
              <a:defRPr sz="1867">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8"/>
          <p:cNvSpPr>
            <a:spLocks noGrp="1"/>
          </p:cNvSpPr>
          <p:nvPr>
            <p:ph type="body" sz="quarter" idx="13" hasCustomPrompt="1"/>
          </p:nvPr>
        </p:nvSpPr>
        <p:spPr>
          <a:xfrm>
            <a:off x="6098821" y="3917951"/>
            <a:ext cx="2743200" cy="2438400"/>
          </a:xfrm>
          <a:solidFill>
            <a:schemeClr val="accent3">
              <a:alpha val="92000"/>
            </a:schemeClr>
          </a:solidFill>
        </p:spPr>
        <p:txBody>
          <a:bodyPr>
            <a:normAutofit/>
          </a:bodyPr>
          <a:lstStyle>
            <a:lvl1pPr>
              <a:defRPr sz="1867">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0"/>
          <p:cNvSpPr>
            <a:spLocks noGrp="1"/>
          </p:cNvSpPr>
          <p:nvPr>
            <p:ph type="body" sz="quarter" idx="14" hasCustomPrompt="1"/>
          </p:nvPr>
        </p:nvSpPr>
        <p:spPr>
          <a:xfrm>
            <a:off x="601133" y="3917951"/>
            <a:ext cx="2743200" cy="2438400"/>
          </a:xfrm>
          <a:solidFill>
            <a:schemeClr val="bg2"/>
          </a:solidFill>
        </p:spPr>
        <p:txBody>
          <a:bodyPr>
            <a:normAutofit/>
          </a:bodyPr>
          <a:lstStyle>
            <a:lvl1pPr>
              <a:defRPr sz="1867">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22"/>
          <p:cNvSpPr>
            <a:spLocks noGrp="1"/>
          </p:cNvSpPr>
          <p:nvPr>
            <p:ph type="pic" sz="quarter" idx="15"/>
          </p:nvPr>
        </p:nvSpPr>
        <p:spPr>
          <a:xfrm>
            <a:off x="601133" y="1479555"/>
            <a:ext cx="2743200" cy="2215991"/>
          </a:xfrm>
        </p:spPr>
        <p:txBody>
          <a:bodyPr/>
          <a:lstStyle/>
          <a:p>
            <a:r>
              <a:rPr lang="en-US" dirty="0"/>
              <a:t>Drag picture to placeholder or click icon to add</a:t>
            </a:r>
          </a:p>
        </p:txBody>
      </p:sp>
      <p:sp>
        <p:nvSpPr>
          <p:cNvPr id="10" name="Picture Placeholder 22"/>
          <p:cNvSpPr>
            <a:spLocks noGrp="1"/>
          </p:cNvSpPr>
          <p:nvPr>
            <p:ph type="pic" sz="quarter" idx="16"/>
          </p:nvPr>
        </p:nvSpPr>
        <p:spPr>
          <a:xfrm>
            <a:off x="6098821" y="1479555"/>
            <a:ext cx="2743200" cy="2215991"/>
          </a:xfrm>
        </p:spPr>
        <p:txBody>
          <a:bodyPr/>
          <a:lstStyle/>
          <a:p>
            <a:r>
              <a:rPr lang="en-US" dirty="0"/>
              <a:t>Drag picture to placeholder or click icon to add</a:t>
            </a:r>
          </a:p>
        </p:txBody>
      </p:sp>
      <p:sp>
        <p:nvSpPr>
          <p:cNvPr id="11" name="Picture Placeholder 22"/>
          <p:cNvSpPr>
            <a:spLocks noGrp="1"/>
          </p:cNvSpPr>
          <p:nvPr>
            <p:ph type="pic" sz="quarter" idx="17"/>
          </p:nvPr>
        </p:nvSpPr>
        <p:spPr>
          <a:xfrm>
            <a:off x="3349977" y="3917955"/>
            <a:ext cx="2743200" cy="2215991"/>
          </a:xfrm>
        </p:spPr>
        <p:txBody>
          <a:bodyPr/>
          <a:lstStyle/>
          <a:p>
            <a:r>
              <a:rPr lang="en-US" dirty="0"/>
              <a:t>Drag picture to placeholder or click icon to add</a:t>
            </a:r>
          </a:p>
        </p:txBody>
      </p:sp>
      <p:sp>
        <p:nvSpPr>
          <p:cNvPr id="12" name="Text Placeholder 16"/>
          <p:cNvSpPr>
            <a:spLocks noGrp="1"/>
          </p:cNvSpPr>
          <p:nvPr>
            <p:ph type="body" sz="quarter" idx="18" hasCustomPrompt="1"/>
          </p:nvPr>
        </p:nvSpPr>
        <p:spPr>
          <a:xfrm>
            <a:off x="8847667" y="1479551"/>
            <a:ext cx="2743200" cy="2438400"/>
          </a:xfrm>
          <a:solidFill>
            <a:schemeClr val="accent5"/>
          </a:solidFill>
        </p:spPr>
        <p:txBody>
          <a:bodyPr>
            <a:normAutofit/>
          </a:bodyPr>
          <a:lstStyle>
            <a:lvl1pPr>
              <a:defRPr sz="1867">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icture Placeholder 22"/>
          <p:cNvSpPr>
            <a:spLocks noGrp="1"/>
          </p:cNvSpPr>
          <p:nvPr>
            <p:ph type="pic" sz="quarter" idx="19"/>
          </p:nvPr>
        </p:nvSpPr>
        <p:spPr>
          <a:xfrm>
            <a:off x="8847667" y="3917955"/>
            <a:ext cx="2743200" cy="2215991"/>
          </a:xfrm>
        </p:spPr>
        <p:txBody>
          <a:bodyPr/>
          <a:lstStyle/>
          <a:p>
            <a:r>
              <a:rPr lang="en-US" dirty="0"/>
              <a:t>Drag picture to placeholder or click icon to add</a:t>
            </a:r>
          </a:p>
        </p:txBody>
      </p:sp>
      <p:sp>
        <p:nvSpPr>
          <p:cNvPr id="19" name="Title 1"/>
          <p:cNvSpPr>
            <a:spLocks noGrp="1"/>
          </p:cNvSpPr>
          <p:nvPr>
            <p:ph type="title" hasCustomPrompt="1"/>
          </p:nvPr>
        </p:nvSpPr>
        <p:spPr>
          <a:xfrm>
            <a:off x="592667" y="262474"/>
            <a:ext cx="10972800" cy="656591"/>
          </a:xfrm>
          <a:noFill/>
        </p:spPr>
        <p:txBody>
          <a:bodyPr lIns="0" tIns="0" rIns="0" bIns="0" anchor="ctr">
            <a:noAutofit/>
          </a:bodyPr>
          <a:lstStyle>
            <a:lvl1pPr>
              <a:defRPr sz="3733" baseline="0">
                <a:solidFill>
                  <a:schemeClr val="bg2"/>
                </a:solidFill>
                <a:latin typeface="+mn-lt"/>
              </a:defRPr>
            </a:lvl1pPr>
          </a:lstStyle>
          <a:p>
            <a:pPr lvl="0"/>
            <a:r>
              <a:rPr lang="en-US" dirty="0"/>
              <a:t>Click to edit slide content</a:t>
            </a:r>
          </a:p>
        </p:txBody>
      </p:sp>
      <p:sp>
        <p:nvSpPr>
          <p:cNvPr id="20" name="Date Placeholder 2"/>
          <p:cNvSpPr>
            <a:spLocks noGrp="1"/>
          </p:cNvSpPr>
          <p:nvPr>
            <p:ph type="dt" sz="half" idx="10"/>
          </p:nvPr>
        </p:nvSpPr>
        <p:spPr>
          <a:xfrm>
            <a:off x="5926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endParaRPr lang="en-US" sz="2400" dirty="0">
              <a:solidFill>
                <a:srgbClr val="FFFFFF">
                  <a:lumMod val="75000"/>
                  <a:lumOff val="25000"/>
                </a:srgbClr>
              </a:solidFill>
            </a:endParaRPr>
          </a:p>
        </p:txBody>
      </p:sp>
      <p:sp>
        <p:nvSpPr>
          <p:cNvPr id="21" name="Slide Number Placeholder 3"/>
          <p:cNvSpPr>
            <a:spLocks noGrp="1"/>
          </p:cNvSpPr>
          <p:nvPr>
            <p:ph type="sldNum" sz="quarter" idx="11"/>
          </p:nvPr>
        </p:nvSpPr>
        <p:spPr>
          <a:xfrm>
            <a:off x="87460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fld id="{74A398B2-5A34-1A4A-811E-F4027282568C}" type="slidenum">
              <a:rPr lang="en-US" sz="2400" smtClean="0">
                <a:solidFill>
                  <a:srgbClr val="FFFFFF">
                    <a:lumMod val="75000"/>
                    <a:lumOff val="25000"/>
                  </a:srgbClr>
                </a:solidFill>
              </a:rPr>
              <a:pPr defTabSz="609490"/>
              <a:t>‹#›</a:t>
            </a:fld>
            <a:endParaRPr lang="en-US" sz="2400" dirty="0">
              <a:solidFill>
                <a:srgbClr val="FFFFFF">
                  <a:lumMod val="75000"/>
                  <a:lumOff val="25000"/>
                </a:srgbClr>
              </a:solidFill>
            </a:endParaRPr>
          </a:p>
        </p:txBody>
      </p:sp>
      <p:sp>
        <p:nvSpPr>
          <p:cNvPr id="22" name="Text Placeholder 8"/>
          <p:cNvSpPr>
            <a:spLocks noGrp="1"/>
          </p:cNvSpPr>
          <p:nvPr>
            <p:ph type="body" sz="quarter" idx="25"/>
          </p:nvPr>
        </p:nvSpPr>
        <p:spPr>
          <a:xfrm>
            <a:off x="592667" y="918633"/>
            <a:ext cx="10972800" cy="487680"/>
          </a:xfrm>
        </p:spPr>
        <p:txBody>
          <a:bodyPr lIns="0" tIns="0" rIns="0" bIns="0" anchor="ctr">
            <a:noAutofit/>
          </a:bodyPr>
          <a:lstStyle>
            <a:lvl1pPr>
              <a:defRPr sz="2133">
                <a:solidFill>
                  <a:schemeClr val="bg1">
                    <a:lumMod val="50000"/>
                    <a:lumOff val="50000"/>
                  </a:schemeClr>
                </a:solidFill>
              </a:defRPr>
            </a:lvl1pPr>
          </a:lstStyle>
          <a:p>
            <a:pPr lvl="0"/>
            <a:endParaRPr lang="en-US" dirty="0"/>
          </a:p>
        </p:txBody>
      </p:sp>
    </p:spTree>
    <p:extLst>
      <p:ext uri="{BB962C8B-B14F-4D97-AF65-F5344CB8AC3E}">
        <p14:creationId xmlns:p14="http://schemas.microsoft.com/office/powerpoint/2010/main" val="412734444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tile text">
    <p:bg>
      <p:bgPr>
        <a:solidFill>
          <a:schemeClr val="tx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592667" y="1480572"/>
            <a:ext cx="5486400" cy="4875781"/>
          </a:xfrm>
          <a:solidFill>
            <a:schemeClr val="bg2"/>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4" hasCustomPrompt="1"/>
          </p:nvPr>
        </p:nvSpPr>
        <p:spPr>
          <a:xfrm>
            <a:off x="6079068" y="1480572"/>
            <a:ext cx="54864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hasCustomPrompt="1"/>
          </p:nvPr>
        </p:nvSpPr>
        <p:spPr>
          <a:xfrm>
            <a:off x="592667" y="262474"/>
            <a:ext cx="10972800" cy="656591"/>
          </a:xfrm>
          <a:noFill/>
        </p:spPr>
        <p:txBody>
          <a:bodyPr lIns="0" tIns="0" rIns="0" bIns="0" anchor="ctr">
            <a:noAutofit/>
          </a:bodyPr>
          <a:lstStyle>
            <a:lvl1pPr>
              <a:defRPr sz="3733" baseline="0">
                <a:solidFill>
                  <a:schemeClr val="bg2"/>
                </a:solidFill>
                <a:latin typeface="+mn-lt"/>
              </a:defRPr>
            </a:lvl1pPr>
          </a:lstStyle>
          <a:p>
            <a:pPr lvl="0"/>
            <a:r>
              <a:rPr lang="en-US" dirty="0"/>
              <a:t>Click to edit slide content</a:t>
            </a:r>
          </a:p>
        </p:txBody>
      </p:sp>
      <p:sp>
        <p:nvSpPr>
          <p:cNvPr id="8" name="Date Placeholder 2"/>
          <p:cNvSpPr>
            <a:spLocks noGrp="1"/>
          </p:cNvSpPr>
          <p:nvPr>
            <p:ph type="dt" sz="half" idx="10"/>
          </p:nvPr>
        </p:nvSpPr>
        <p:spPr>
          <a:xfrm>
            <a:off x="5926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endParaRPr lang="en-US" sz="2400" dirty="0">
              <a:solidFill>
                <a:srgbClr val="FFFFFF">
                  <a:lumMod val="75000"/>
                  <a:lumOff val="25000"/>
                </a:srgbClr>
              </a:solidFill>
            </a:endParaRPr>
          </a:p>
        </p:txBody>
      </p:sp>
      <p:sp>
        <p:nvSpPr>
          <p:cNvPr id="9" name="Slide Number Placeholder 3"/>
          <p:cNvSpPr>
            <a:spLocks noGrp="1"/>
          </p:cNvSpPr>
          <p:nvPr>
            <p:ph type="sldNum" sz="quarter" idx="11"/>
          </p:nvPr>
        </p:nvSpPr>
        <p:spPr>
          <a:xfrm>
            <a:off x="8746067" y="6356352"/>
            <a:ext cx="2844800" cy="365125"/>
          </a:xfrm>
          <a:prstGeom prst="rect">
            <a:avLst/>
          </a:prstGeom>
        </p:spPr>
        <p:txBody>
          <a:bodyPr lIns="91430" tIns="45715" rIns="91430" bIns="45715"/>
          <a:lstStyle>
            <a:lvl1pPr>
              <a:defRPr>
                <a:solidFill>
                  <a:schemeClr val="bg1">
                    <a:lumMod val="75000"/>
                    <a:lumOff val="25000"/>
                  </a:schemeClr>
                </a:solidFill>
                <a:latin typeface="+mn-lt"/>
              </a:defRPr>
            </a:lvl1pPr>
          </a:lstStyle>
          <a:p>
            <a:pPr defTabSz="609490"/>
            <a:fld id="{74A398B2-5A34-1A4A-811E-F4027282568C}" type="slidenum">
              <a:rPr lang="en-US" sz="2400" smtClean="0">
                <a:solidFill>
                  <a:srgbClr val="FFFFFF">
                    <a:lumMod val="75000"/>
                    <a:lumOff val="25000"/>
                  </a:srgbClr>
                </a:solidFill>
              </a:rPr>
              <a:pPr defTabSz="609490"/>
              <a:t>‹#›</a:t>
            </a:fld>
            <a:endParaRPr lang="en-US" sz="2400" dirty="0">
              <a:solidFill>
                <a:srgbClr val="FFFFFF">
                  <a:lumMod val="75000"/>
                  <a:lumOff val="25000"/>
                </a:srgbClr>
              </a:solidFill>
            </a:endParaRPr>
          </a:p>
        </p:txBody>
      </p:sp>
      <p:sp>
        <p:nvSpPr>
          <p:cNvPr id="10" name="Text Placeholder 8"/>
          <p:cNvSpPr>
            <a:spLocks noGrp="1"/>
          </p:cNvSpPr>
          <p:nvPr>
            <p:ph type="body" sz="quarter" idx="25"/>
          </p:nvPr>
        </p:nvSpPr>
        <p:spPr>
          <a:xfrm>
            <a:off x="592667" y="918633"/>
            <a:ext cx="10972800" cy="487680"/>
          </a:xfrm>
        </p:spPr>
        <p:txBody>
          <a:bodyPr lIns="0" tIns="0" rIns="0" bIns="0" anchor="ctr">
            <a:noAutofit/>
          </a:bodyPr>
          <a:lstStyle>
            <a:lvl1pPr>
              <a:defRPr sz="2133">
                <a:solidFill>
                  <a:schemeClr val="bg1">
                    <a:lumMod val="50000"/>
                    <a:lumOff val="50000"/>
                  </a:schemeClr>
                </a:solidFill>
              </a:defRPr>
            </a:lvl1pPr>
          </a:lstStyle>
          <a:p>
            <a:pPr lvl="0"/>
            <a:endParaRPr lang="en-US" dirty="0"/>
          </a:p>
        </p:txBody>
      </p:sp>
    </p:spTree>
    <p:extLst>
      <p:ext uri="{BB962C8B-B14F-4D97-AF65-F5344CB8AC3E}">
        <p14:creationId xmlns:p14="http://schemas.microsoft.com/office/powerpoint/2010/main" val="299988377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584130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tile text, color bg">
    <p:bg>
      <p:bgPr>
        <a:solidFill>
          <a:schemeClr val="bg2"/>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601133" y="1480572"/>
            <a:ext cx="5486400" cy="4875781"/>
          </a:xfrm>
          <a:solidFill>
            <a:schemeClr val="accent2"/>
          </a:solidFill>
        </p:spPr>
        <p:txBody>
          <a:bodyPr>
            <a:noAutofit/>
          </a:bodyPr>
          <a:lstStyle>
            <a:lvl1pPr>
              <a:lnSpc>
                <a:spcPct val="120000"/>
              </a:lnSpc>
              <a:defRPr sz="1867">
                <a:solidFill>
                  <a:schemeClr val="bg1"/>
                </a:solidFill>
              </a:defRPr>
            </a:lvl1pPr>
            <a:lvl2pPr>
              <a:lnSpc>
                <a:spcPct val="120000"/>
              </a:lnSpc>
              <a:defRPr sz="1867">
                <a:solidFill>
                  <a:schemeClr val="bg1"/>
                </a:solidFill>
              </a:defRPr>
            </a:lvl2pPr>
            <a:lvl3pPr>
              <a:lnSpc>
                <a:spcPct val="120000"/>
              </a:lnSpc>
              <a:defRPr sz="1867">
                <a:solidFill>
                  <a:schemeClr val="bg1"/>
                </a:solidFill>
              </a:defRPr>
            </a:lvl3pPr>
            <a:lvl4pPr>
              <a:lnSpc>
                <a:spcPct val="120000"/>
              </a:lnSpc>
              <a:defRPr sz="1867">
                <a:solidFill>
                  <a:schemeClr val="bg1"/>
                </a:solidFill>
              </a:defRPr>
            </a:lvl4pPr>
            <a:lvl5pPr>
              <a:lnSpc>
                <a:spcPct val="120000"/>
              </a:lnSpc>
              <a:defRPr sz="1867">
                <a:solidFill>
                  <a:schemeClr val="bg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4" hasCustomPrompt="1"/>
          </p:nvPr>
        </p:nvSpPr>
        <p:spPr>
          <a:xfrm>
            <a:off x="6104467" y="1480572"/>
            <a:ext cx="5486400" cy="4875781"/>
          </a:xfrm>
          <a:solidFill>
            <a:schemeClr val="accent1"/>
          </a:solidFill>
        </p:spPr>
        <p:txBody>
          <a:bodyPr>
            <a:noAutofit/>
          </a:bodyPr>
          <a:lstStyle>
            <a:lvl1pPr>
              <a:lnSpc>
                <a:spcPct val="120000"/>
              </a:lnSpc>
              <a:defRPr sz="1867">
                <a:solidFill>
                  <a:schemeClr val="tx1"/>
                </a:solidFill>
              </a:defRPr>
            </a:lvl1pPr>
            <a:lvl2pPr>
              <a:lnSpc>
                <a:spcPct val="120000"/>
              </a:lnSpc>
              <a:defRPr sz="1867">
                <a:solidFill>
                  <a:schemeClr val="tx1"/>
                </a:solidFill>
              </a:defRPr>
            </a:lvl2pPr>
            <a:lvl3pPr>
              <a:lnSpc>
                <a:spcPct val="120000"/>
              </a:lnSpc>
              <a:defRPr sz="1867">
                <a:solidFill>
                  <a:schemeClr val="tx1"/>
                </a:solidFill>
              </a:defRPr>
            </a:lvl3pPr>
            <a:lvl4pPr>
              <a:lnSpc>
                <a:spcPct val="120000"/>
              </a:lnSpc>
              <a:defRPr sz="1867">
                <a:solidFill>
                  <a:schemeClr val="tx1"/>
                </a:solidFill>
              </a:defRPr>
            </a:lvl4pPr>
            <a:lvl5pPr>
              <a:lnSpc>
                <a:spcPct val="120000"/>
              </a:lnSpc>
              <a:defRPr sz="1867">
                <a:solidFill>
                  <a:schemeClr val="tx1"/>
                </a:solidFill>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hasCustomPrompt="1"/>
          </p:nvPr>
        </p:nvSpPr>
        <p:spPr>
          <a:xfrm>
            <a:off x="592667" y="262474"/>
            <a:ext cx="10972800" cy="656591"/>
          </a:xfrm>
          <a:noFill/>
        </p:spPr>
        <p:txBody>
          <a:bodyPr lIns="0" tIns="0" rIns="0" bIns="0" anchor="ctr">
            <a:noAutofit/>
          </a:bodyPr>
          <a:lstStyle>
            <a:lvl1pPr>
              <a:defRPr sz="3733" baseline="0">
                <a:solidFill>
                  <a:schemeClr val="tx1"/>
                </a:solidFill>
                <a:latin typeface="+mn-lt"/>
              </a:defRPr>
            </a:lvl1pPr>
          </a:lstStyle>
          <a:p>
            <a:pPr lvl="0"/>
            <a:r>
              <a:rPr lang="en-US" dirty="0"/>
              <a:t>Click to edit slide content</a:t>
            </a:r>
          </a:p>
        </p:txBody>
      </p:sp>
      <p:sp>
        <p:nvSpPr>
          <p:cNvPr id="8" name="Date Placeholder 2"/>
          <p:cNvSpPr>
            <a:spLocks noGrp="1"/>
          </p:cNvSpPr>
          <p:nvPr>
            <p:ph type="dt" sz="half" idx="10"/>
          </p:nvPr>
        </p:nvSpPr>
        <p:spPr>
          <a:xfrm>
            <a:off x="592667" y="6356352"/>
            <a:ext cx="2844800" cy="365125"/>
          </a:xfrm>
          <a:prstGeom prst="rect">
            <a:avLst/>
          </a:prstGeom>
        </p:spPr>
        <p:txBody>
          <a:bodyPr lIns="91430" tIns="45715" rIns="91430" bIns="45715"/>
          <a:lstStyle>
            <a:lvl1pPr>
              <a:defRPr>
                <a:solidFill>
                  <a:schemeClr val="tx1"/>
                </a:solidFill>
                <a:latin typeface="+mn-lt"/>
              </a:defRPr>
            </a:lvl1pPr>
          </a:lstStyle>
          <a:p>
            <a:pPr defTabSz="609490"/>
            <a:endParaRPr lang="en-US" sz="2400" dirty="0">
              <a:solidFill>
                <a:srgbClr val="000000"/>
              </a:solidFill>
            </a:endParaRPr>
          </a:p>
        </p:txBody>
      </p:sp>
      <p:sp>
        <p:nvSpPr>
          <p:cNvPr id="9" name="Slide Number Placeholder 3"/>
          <p:cNvSpPr>
            <a:spLocks noGrp="1"/>
          </p:cNvSpPr>
          <p:nvPr>
            <p:ph type="sldNum" sz="quarter" idx="11"/>
          </p:nvPr>
        </p:nvSpPr>
        <p:spPr>
          <a:xfrm>
            <a:off x="8746067" y="6356352"/>
            <a:ext cx="2844800" cy="365125"/>
          </a:xfrm>
          <a:prstGeom prst="rect">
            <a:avLst/>
          </a:prstGeom>
        </p:spPr>
        <p:txBody>
          <a:bodyPr lIns="91430" tIns="45715" rIns="91430" bIns="45715"/>
          <a:lstStyle>
            <a:lvl1pPr>
              <a:defRPr>
                <a:solidFill>
                  <a:schemeClr val="tx1"/>
                </a:solidFill>
                <a:latin typeface="+mn-lt"/>
              </a:defRPr>
            </a:lvl1pPr>
          </a:lstStyle>
          <a:p>
            <a:pPr defTabSz="609490"/>
            <a:fld id="{74A398B2-5A34-1A4A-811E-F4027282568C}" type="slidenum">
              <a:rPr lang="en-US" sz="2400" smtClean="0">
                <a:solidFill>
                  <a:srgbClr val="000000"/>
                </a:solidFill>
              </a:rPr>
              <a:pPr defTabSz="609490"/>
              <a:t>‹#›</a:t>
            </a:fld>
            <a:endParaRPr lang="en-US" sz="2400" dirty="0">
              <a:solidFill>
                <a:srgbClr val="000000"/>
              </a:solidFill>
            </a:endParaRPr>
          </a:p>
        </p:txBody>
      </p:sp>
      <p:sp>
        <p:nvSpPr>
          <p:cNvPr id="10" name="Text Placeholder 8"/>
          <p:cNvSpPr>
            <a:spLocks noGrp="1"/>
          </p:cNvSpPr>
          <p:nvPr>
            <p:ph type="body" sz="quarter" idx="25"/>
          </p:nvPr>
        </p:nvSpPr>
        <p:spPr>
          <a:xfrm>
            <a:off x="592667" y="918633"/>
            <a:ext cx="10972800" cy="487680"/>
          </a:xfrm>
        </p:spPr>
        <p:txBody>
          <a:bodyPr lIns="0" tIns="0" rIns="0" bIns="0" anchor="ctr">
            <a:noAutofit/>
          </a:bodyPr>
          <a:lstStyle>
            <a:lvl1pPr>
              <a:defRPr sz="2133">
                <a:solidFill>
                  <a:schemeClr val="tx1"/>
                </a:solidFill>
              </a:defRPr>
            </a:lvl1pPr>
          </a:lstStyle>
          <a:p>
            <a:pPr lvl="0"/>
            <a:endParaRPr lang="en-US" dirty="0"/>
          </a:p>
        </p:txBody>
      </p:sp>
    </p:spTree>
    <p:extLst>
      <p:ext uri="{BB962C8B-B14F-4D97-AF65-F5344CB8AC3E}">
        <p14:creationId xmlns:p14="http://schemas.microsoft.com/office/powerpoint/2010/main" val="307826229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divider with color bg">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chemeClr val="accent1">
              <a:alpha val="90000"/>
            </a:schemeClr>
          </a:solidFill>
        </p:spPr>
        <p:txBody>
          <a:bodyPr>
            <a:normAutofit/>
          </a:bodyPr>
          <a:lstStyle>
            <a:lvl1pPr>
              <a:lnSpc>
                <a:spcPct val="100000"/>
              </a:lnSpc>
              <a:defRPr sz="4000">
                <a:latin typeface="Segoe UI Light" pitchFamily="34" charset="0"/>
              </a:defRPr>
            </a:lvl1p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lIns="91430" tIns="45715" rIns="91430" bIns="45715"/>
          <a:lstStyle>
            <a:lvl1pPr>
              <a:defRPr>
                <a:solidFill>
                  <a:schemeClr val="tx1"/>
                </a:solidFill>
              </a:defRPr>
            </a:lvl1pPr>
          </a:lstStyle>
          <a:p>
            <a:pPr defTabSz="609490"/>
            <a:endParaRPr lang="en-US" sz="2400" dirty="0">
              <a:solidFill>
                <a:srgbClr val="000000"/>
              </a:solidFill>
            </a:endParaRPr>
          </a:p>
        </p:txBody>
      </p:sp>
      <p:sp>
        <p:nvSpPr>
          <p:cNvPr id="4" name="Slide Number Placeholder 3"/>
          <p:cNvSpPr>
            <a:spLocks noGrp="1"/>
          </p:cNvSpPr>
          <p:nvPr>
            <p:ph type="sldNum" sz="quarter" idx="11"/>
          </p:nvPr>
        </p:nvSpPr>
        <p:spPr>
          <a:xfrm>
            <a:off x="9042400" y="6356352"/>
            <a:ext cx="2844800" cy="365125"/>
          </a:xfrm>
          <a:prstGeom prst="rect">
            <a:avLst/>
          </a:prstGeom>
        </p:spPr>
        <p:txBody>
          <a:bodyPr lIns="91430" tIns="45715" rIns="91430" bIns="45715"/>
          <a:lstStyle>
            <a:lvl1pPr>
              <a:defRPr>
                <a:solidFill>
                  <a:schemeClr val="tx1"/>
                </a:solidFill>
              </a:defRPr>
            </a:lvl1pPr>
          </a:lstStyle>
          <a:p>
            <a:pPr defTabSz="609490"/>
            <a:fld id="{74A398B2-5A34-1A4A-811E-F4027282568C}" type="slidenum">
              <a:rPr lang="en-US" sz="2400" smtClean="0">
                <a:solidFill>
                  <a:srgbClr val="000000"/>
                </a:solidFill>
              </a:rPr>
              <a:pPr defTabSz="609490"/>
              <a:t>‹#›</a:t>
            </a:fld>
            <a:endParaRPr lang="en-US" sz="2400" dirty="0">
              <a:solidFill>
                <a:srgbClr val="000000"/>
              </a:solidFill>
            </a:endParaRPr>
          </a:p>
        </p:txBody>
      </p:sp>
    </p:spTree>
    <p:extLst>
      <p:ext uri="{BB962C8B-B14F-4D97-AF65-F5344CB8AC3E}">
        <p14:creationId xmlns:p14="http://schemas.microsoft.com/office/powerpoint/2010/main" val="308724727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able of Contents white">
    <p:bg>
      <p:bgPr>
        <a:solidFill>
          <a:schemeClr val="tx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26" tIns="45713">
            <a:normAutofit/>
          </a:bodyPr>
          <a:lstStyle>
            <a:lvl1pPr marL="0" indent="0">
              <a:spcBef>
                <a:spcPts val="800"/>
              </a:spcBef>
              <a:buFontTx/>
              <a:buNone/>
              <a:tabLst>
                <a:tab pos="840163" algn="l"/>
              </a:tabLst>
              <a:defRPr sz="2667" baseline="0">
                <a:solidFill>
                  <a:schemeClr val="bg1">
                    <a:lumMod val="75000"/>
                    <a:lumOff val="25000"/>
                  </a:schemeClr>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dirty="0"/>
              <a:t>4	Section Title</a:t>
            </a:r>
          </a:p>
        </p:txBody>
      </p:sp>
      <p:sp>
        <p:nvSpPr>
          <p:cNvPr id="5" name="Text Placeholder 12"/>
          <p:cNvSpPr>
            <a:spLocks noGrp="1"/>
          </p:cNvSpPr>
          <p:nvPr>
            <p:ph type="body" sz="quarter" idx="14" hasCustomPrompt="1"/>
          </p:nvPr>
        </p:nvSpPr>
        <p:spPr>
          <a:xfrm>
            <a:off x="0" y="1219200"/>
            <a:ext cx="2438400" cy="263149"/>
          </a:xfrm>
          <a:prstGeom prst="rect">
            <a:avLst/>
          </a:prstGeom>
          <a:noFill/>
        </p:spPr>
        <p:txBody>
          <a:bodyPr vert="horz"/>
          <a:lstStyle>
            <a:lvl1pPr marL="0" indent="0">
              <a:spcBef>
                <a:spcPts val="800"/>
              </a:spcBef>
              <a:buFontTx/>
              <a:buNone/>
              <a:defRPr sz="1867" baseline="0">
                <a:solidFill>
                  <a:schemeClr val="bg1"/>
                </a:solidFill>
                <a:latin typeface="+mn-lt"/>
                <a:cs typeface="Segoe UI Semibold"/>
              </a:defRPr>
            </a:lvl1pPr>
          </a:lstStyle>
          <a:p>
            <a:pPr lvl="0"/>
            <a:r>
              <a:rPr lang="en-US" dirty="0"/>
              <a:t>Enter header here.</a:t>
            </a:r>
          </a:p>
        </p:txBody>
      </p:sp>
      <p:sp>
        <p:nvSpPr>
          <p:cNvPr id="4" name="Date Placeholder 3"/>
          <p:cNvSpPr>
            <a:spLocks noGrp="1"/>
          </p:cNvSpPr>
          <p:nvPr>
            <p:ph type="dt" sz="half" idx="2"/>
          </p:nvPr>
        </p:nvSpPr>
        <p:spPr>
          <a:xfrm>
            <a:off x="0" y="6356352"/>
            <a:ext cx="2844800" cy="365125"/>
          </a:xfrm>
          <a:prstGeom prst="rect">
            <a:avLst/>
          </a:prstGeom>
        </p:spPr>
        <p:txBody>
          <a:bodyPr vert="horz" lIns="182852" tIns="45713" rIns="91426" bIns="45713" rtlCol="0" anchor="b"/>
          <a:lstStyle>
            <a:lvl1pPr algn="l">
              <a:defRPr sz="1067" kern="800">
                <a:solidFill>
                  <a:srgbClr val="3F3F3F"/>
                </a:solidFill>
                <a:latin typeface="+mn-lt"/>
                <a:cs typeface="Segoe UI Light"/>
              </a:defRPr>
            </a:lvl1pPr>
          </a:lstStyle>
          <a:p>
            <a:pPr defTabSz="609490"/>
            <a:endParaRPr lang="en-US" dirty="0"/>
          </a:p>
        </p:txBody>
      </p:sp>
      <p:sp>
        <p:nvSpPr>
          <p:cNvPr id="7" name="Slide Number Placeholder 5"/>
          <p:cNvSpPr>
            <a:spLocks noGrp="1"/>
          </p:cNvSpPr>
          <p:nvPr>
            <p:ph type="sldNum" sz="quarter" idx="4"/>
          </p:nvPr>
        </p:nvSpPr>
        <p:spPr>
          <a:xfrm>
            <a:off x="9042400" y="6356352"/>
            <a:ext cx="2844800" cy="365125"/>
          </a:xfrm>
          <a:prstGeom prst="rect">
            <a:avLst/>
          </a:prstGeom>
        </p:spPr>
        <p:txBody>
          <a:bodyPr vert="horz" lIns="91426" tIns="45713" rIns="91426" bIns="45713" rtlCol="0" anchor="b"/>
          <a:lstStyle>
            <a:lvl1pPr algn="r">
              <a:defRPr sz="1067" kern="800">
                <a:solidFill>
                  <a:srgbClr val="3F3F3F"/>
                </a:solidFill>
                <a:latin typeface="+mn-lt"/>
                <a:cs typeface="Segoe UI Light"/>
              </a:defRPr>
            </a:lvl1pPr>
          </a:lstStyle>
          <a:p>
            <a:pPr defTabSz="609490"/>
            <a:fld id="{74A398B2-5A34-1A4A-811E-F4027282568C}" type="slidenum">
              <a:rPr lang="en-US" smtClean="0"/>
              <a:pPr defTabSz="609490"/>
              <a:t>‹#›</a:t>
            </a:fld>
            <a:endParaRPr lang="en-US" dirty="0"/>
          </a:p>
        </p:txBody>
      </p:sp>
    </p:spTree>
    <p:extLst>
      <p:ext uri="{BB962C8B-B14F-4D97-AF65-F5344CB8AC3E}">
        <p14:creationId xmlns:p14="http://schemas.microsoft.com/office/powerpoint/2010/main" val="160283391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of Contents color">
    <p:bg>
      <p:bgPr>
        <a:solidFill>
          <a:schemeClr val="bg2"/>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659408" y="1219200"/>
            <a:ext cx="7922992" cy="4876800"/>
          </a:xfrm>
          <a:prstGeom prst="rect">
            <a:avLst/>
          </a:prstGeom>
        </p:spPr>
        <p:txBody>
          <a:bodyPr vert="horz" lIns="91426" tIns="45713">
            <a:normAutofit/>
          </a:bodyPr>
          <a:lstStyle>
            <a:lvl1pPr marL="0" indent="0">
              <a:spcBef>
                <a:spcPts val="800"/>
              </a:spcBef>
              <a:buFontTx/>
              <a:buNone/>
              <a:tabLst>
                <a:tab pos="840163" algn="l"/>
              </a:tabLst>
              <a:defRPr sz="2667" baseline="0">
                <a:solidFill>
                  <a:schemeClr val="tx1"/>
                </a:solidFill>
                <a:latin typeface="+mn-lt"/>
                <a:cs typeface="Segoe UI Light"/>
              </a:defRPr>
            </a:lvl1pPr>
            <a:lvl2pPr marL="0" indent="0">
              <a:spcBef>
                <a:spcPts val="800"/>
              </a:spcBef>
              <a:buFontTx/>
              <a:buNone/>
              <a:defRPr sz="4000">
                <a:latin typeface="Segoe Pro Light"/>
                <a:cs typeface="Segoe Pro Light"/>
              </a:defRPr>
            </a:lvl2pPr>
            <a:lvl3pPr marL="0" indent="0">
              <a:spcBef>
                <a:spcPts val="800"/>
              </a:spcBef>
              <a:buFontTx/>
              <a:buNone/>
              <a:defRPr sz="4000">
                <a:latin typeface="Segoe Pro Light"/>
                <a:cs typeface="Segoe Pro Light"/>
              </a:defRPr>
            </a:lvl3pPr>
            <a:lvl4pPr marL="0" indent="0">
              <a:spcBef>
                <a:spcPts val="800"/>
              </a:spcBef>
              <a:buFontTx/>
              <a:buNone/>
              <a:defRPr sz="4000">
                <a:latin typeface="Segoe Pro Light"/>
                <a:cs typeface="Segoe Pro Light"/>
              </a:defRPr>
            </a:lvl4pPr>
            <a:lvl5pPr marL="0" indent="0">
              <a:spcBef>
                <a:spcPts val="800"/>
              </a:spcBef>
              <a:buFontTx/>
              <a:buNone/>
              <a:defRPr sz="4000">
                <a:latin typeface="Segoe Pro Light"/>
                <a:cs typeface="Segoe Pro Light"/>
              </a:defRPr>
            </a:lvl5pPr>
          </a:lstStyle>
          <a:p>
            <a:pPr lvl="0"/>
            <a:r>
              <a:rPr lang="en-US" dirty="0"/>
              <a:t>4	Section Title</a:t>
            </a:r>
          </a:p>
        </p:txBody>
      </p:sp>
      <p:sp>
        <p:nvSpPr>
          <p:cNvPr id="7" name="Text Placeholder 12"/>
          <p:cNvSpPr>
            <a:spLocks noGrp="1"/>
          </p:cNvSpPr>
          <p:nvPr>
            <p:ph type="body" sz="quarter" idx="14" hasCustomPrompt="1"/>
          </p:nvPr>
        </p:nvSpPr>
        <p:spPr>
          <a:xfrm>
            <a:off x="0" y="1219200"/>
            <a:ext cx="2438400" cy="263149"/>
          </a:xfrm>
          <a:prstGeom prst="rect">
            <a:avLst/>
          </a:prstGeom>
          <a:noFill/>
        </p:spPr>
        <p:txBody>
          <a:bodyPr vert="horz"/>
          <a:lstStyle>
            <a:lvl1pPr marL="0" indent="0">
              <a:spcBef>
                <a:spcPts val="800"/>
              </a:spcBef>
              <a:buFontTx/>
              <a:buNone/>
              <a:defRPr sz="1867" baseline="0">
                <a:solidFill>
                  <a:schemeClr val="tx1"/>
                </a:solidFill>
                <a:latin typeface="+mn-lt"/>
                <a:cs typeface="Segoe UI Semibold"/>
              </a:defRPr>
            </a:lvl1pPr>
          </a:lstStyle>
          <a:p>
            <a:pPr lvl="0"/>
            <a:r>
              <a:rPr lang="en-US" dirty="0"/>
              <a:t>Enter header here.</a:t>
            </a:r>
          </a:p>
        </p:txBody>
      </p:sp>
      <p:sp>
        <p:nvSpPr>
          <p:cNvPr id="4" name="Date Placeholder 3"/>
          <p:cNvSpPr>
            <a:spLocks noGrp="1"/>
          </p:cNvSpPr>
          <p:nvPr>
            <p:ph type="dt" sz="half" idx="2"/>
          </p:nvPr>
        </p:nvSpPr>
        <p:spPr>
          <a:xfrm>
            <a:off x="0" y="6356352"/>
            <a:ext cx="2844800" cy="365125"/>
          </a:xfrm>
          <a:prstGeom prst="rect">
            <a:avLst/>
          </a:prstGeom>
        </p:spPr>
        <p:txBody>
          <a:bodyPr vert="horz" lIns="182852" tIns="45713" rIns="91426" bIns="45713" rtlCol="0" anchor="b"/>
          <a:lstStyle>
            <a:lvl1pPr algn="l">
              <a:defRPr sz="1067" kern="800">
                <a:solidFill>
                  <a:schemeClr val="tx1">
                    <a:tint val="75000"/>
                  </a:schemeClr>
                </a:solidFill>
                <a:latin typeface="+mn-lt"/>
                <a:cs typeface="Segoe UI Light"/>
              </a:defRPr>
            </a:lvl1pPr>
          </a:lstStyle>
          <a:p>
            <a:pPr defTabSz="609490"/>
            <a:endParaRPr lang="en-US" dirty="0">
              <a:solidFill>
                <a:srgbClr val="000000">
                  <a:tint val="75000"/>
                </a:srgbClr>
              </a:solidFill>
            </a:endParaRPr>
          </a:p>
        </p:txBody>
      </p:sp>
      <p:sp>
        <p:nvSpPr>
          <p:cNvPr id="5" name="Slide Number Placeholder 5"/>
          <p:cNvSpPr>
            <a:spLocks noGrp="1"/>
          </p:cNvSpPr>
          <p:nvPr>
            <p:ph type="sldNum" sz="quarter" idx="4"/>
          </p:nvPr>
        </p:nvSpPr>
        <p:spPr>
          <a:xfrm>
            <a:off x="9042400" y="6356352"/>
            <a:ext cx="2844800" cy="365125"/>
          </a:xfrm>
          <a:prstGeom prst="rect">
            <a:avLst/>
          </a:prstGeom>
        </p:spPr>
        <p:txBody>
          <a:bodyPr vert="horz" lIns="91426" tIns="45713" rIns="91426" bIns="45713" rtlCol="0" anchor="b"/>
          <a:lstStyle>
            <a:lvl1pPr algn="r">
              <a:defRPr sz="1067" kern="800">
                <a:solidFill>
                  <a:schemeClr val="tx1">
                    <a:tint val="75000"/>
                  </a:schemeClr>
                </a:solidFill>
                <a:latin typeface="+mn-lt"/>
                <a:cs typeface="Segoe UI Light"/>
              </a:defRPr>
            </a:lvl1pPr>
          </a:lstStyle>
          <a:p>
            <a:pPr defTabSz="609490"/>
            <a:fld id="{74A398B2-5A34-1A4A-811E-F4027282568C}" type="slidenum">
              <a:rPr lang="en-US" smtClean="0">
                <a:solidFill>
                  <a:srgbClr val="000000">
                    <a:tint val="75000"/>
                  </a:srgbClr>
                </a:solidFill>
              </a:rPr>
              <a:pPr defTabSz="609490"/>
              <a:t>‹#›</a:t>
            </a:fld>
            <a:endParaRPr lang="en-US" dirty="0">
              <a:solidFill>
                <a:srgbClr val="000000">
                  <a:tint val="75000"/>
                </a:srgbClr>
              </a:solidFill>
            </a:endParaRPr>
          </a:p>
        </p:txBody>
      </p:sp>
    </p:spTree>
    <p:extLst>
      <p:ext uri="{BB962C8B-B14F-4D97-AF65-F5344CB8AC3E}">
        <p14:creationId xmlns:p14="http://schemas.microsoft.com/office/powerpoint/2010/main" val="335431196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act Page">
    <p:bg>
      <p:bgPr>
        <a:solidFill>
          <a:schemeClr val="bg2"/>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2" hasCustomPrompt="1"/>
          </p:nvPr>
        </p:nvSpPr>
        <p:spPr>
          <a:xfrm>
            <a:off x="0" y="1219200"/>
            <a:ext cx="4876800" cy="2438400"/>
          </a:xfrm>
          <a:solidFill>
            <a:srgbClr val="FFFFFF"/>
          </a:solidFill>
        </p:spPr>
        <p:txBody>
          <a:bodyPr>
            <a:noAutofit/>
          </a:bodyPr>
          <a:lstStyle>
            <a:lvl1pPr>
              <a:lnSpc>
                <a:spcPct val="110000"/>
              </a:lnSpc>
              <a:defRPr sz="1867">
                <a:solidFill>
                  <a:srgbClr val="3F3F3F"/>
                </a:solidFill>
                <a:latin typeface="+mn-lt"/>
                <a:cs typeface="Segoe UI Semibold"/>
              </a:defRPr>
            </a:lvl1pPr>
            <a:lvl2pPr>
              <a:lnSpc>
                <a:spcPct val="110000"/>
              </a:lnSpc>
              <a:defRPr sz="1867">
                <a:solidFill>
                  <a:srgbClr val="3F3F3F"/>
                </a:solidFill>
                <a:latin typeface="+mn-lt"/>
                <a:cs typeface="Segoe UI Semibold"/>
              </a:defRPr>
            </a:lvl2pPr>
            <a:lvl3pPr>
              <a:lnSpc>
                <a:spcPct val="110000"/>
              </a:lnSpc>
              <a:defRPr sz="1867">
                <a:solidFill>
                  <a:srgbClr val="3F3F3F"/>
                </a:solidFill>
                <a:latin typeface="+mn-lt"/>
                <a:cs typeface="Segoe UI Semibold"/>
              </a:defRPr>
            </a:lvl3pPr>
            <a:lvl4pPr>
              <a:lnSpc>
                <a:spcPct val="110000"/>
              </a:lnSpc>
              <a:defRPr sz="1867">
                <a:solidFill>
                  <a:srgbClr val="3F3F3F"/>
                </a:solidFill>
                <a:latin typeface="+mn-lt"/>
                <a:cs typeface="Segoe UI Semibold"/>
              </a:defRPr>
            </a:lvl4pPr>
            <a:lvl5pPr>
              <a:lnSpc>
                <a:spcPct val="110000"/>
              </a:lnSpc>
              <a:defRPr sz="1867">
                <a:solidFill>
                  <a:srgbClr val="3F3F3F"/>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2"/>
          <p:cNvSpPr>
            <a:spLocks noGrp="1"/>
          </p:cNvSpPr>
          <p:nvPr>
            <p:ph type="pic" sz="quarter" idx="18"/>
          </p:nvPr>
        </p:nvSpPr>
        <p:spPr>
          <a:xfrm>
            <a:off x="101601" y="24386"/>
            <a:ext cx="1524000" cy="443199"/>
          </a:xfrm>
        </p:spPr>
        <p:txBody>
          <a:bodyPr/>
          <a:lstStyle>
            <a:lvl1pPr>
              <a:defRPr>
                <a:solidFill>
                  <a:srgbClr val="FFFFFF"/>
                </a:solidFill>
              </a:defRPr>
            </a:lvl1pPr>
          </a:lstStyle>
          <a:p>
            <a:endParaRPr lang="en-US" dirty="0"/>
          </a:p>
        </p:txBody>
      </p:sp>
      <p:sp>
        <p:nvSpPr>
          <p:cNvPr id="5" name="TextBox 4"/>
          <p:cNvSpPr txBox="1"/>
          <p:nvPr userDrawn="1"/>
        </p:nvSpPr>
        <p:spPr>
          <a:xfrm>
            <a:off x="132550" y="5874211"/>
            <a:ext cx="11754657" cy="841238"/>
          </a:xfrm>
          <a:prstGeom prst="rect">
            <a:avLst/>
          </a:prstGeom>
          <a:noFill/>
        </p:spPr>
        <p:txBody>
          <a:bodyPr wrap="square" lIns="121901" tIns="60951" rIns="121901" bIns="60951" rtlCol="0">
            <a:spAutoFit/>
          </a:bodyPr>
          <a:lstStyle/>
          <a:p>
            <a:pPr defTabSz="609490">
              <a:lnSpc>
                <a:spcPts val="1413"/>
              </a:lnSpc>
            </a:pPr>
            <a:r>
              <a:rPr lang="en-US" sz="1067" dirty="0">
                <a:solidFill>
                  <a:srgbClr val="000000"/>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2253030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2"/>
            <a:ext cx="12192000" cy="443199"/>
          </a:xfrm>
        </p:spPr>
        <p:txBody>
          <a:bodyPr/>
          <a:lstStyle>
            <a:lvl1pPr algn="r">
              <a:defRPr>
                <a:solidFill>
                  <a:schemeClr val="bg1"/>
                </a:solidFill>
              </a:defRPr>
            </a:lvl1pPr>
          </a:lstStyle>
          <a:p>
            <a:endParaRPr lang="en-US" dirty="0"/>
          </a:p>
        </p:txBody>
      </p:sp>
      <p:sp>
        <p:nvSpPr>
          <p:cNvPr id="10" name="Text Placeholder 9"/>
          <p:cNvSpPr>
            <a:spLocks noGrp="1"/>
          </p:cNvSpPr>
          <p:nvPr>
            <p:ph type="body" sz="quarter" idx="12" hasCustomPrompt="1"/>
          </p:nvPr>
        </p:nvSpPr>
        <p:spPr>
          <a:xfrm>
            <a:off x="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2"/>
          <p:cNvSpPr>
            <a:spLocks noGrp="1"/>
          </p:cNvSpPr>
          <p:nvPr>
            <p:ph type="pic" sz="quarter" idx="19"/>
          </p:nvPr>
        </p:nvSpPr>
        <p:spPr>
          <a:xfrm>
            <a:off x="101601" y="24386"/>
            <a:ext cx="1524000" cy="443199"/>
          </a:xfrm>
        </p:spPr>
        <p:txBody>
          <a:bodyPr/>
          <a:lstStyle>
            <a:lvl1pPr>
              <a:defRPr>
                <a:solidFill>
                  <a:srgbClr val="000000"/>
                </a:solidFill>
              </a:defRPr>
            </a:lvl1pPr>
          </a:lstStyle>
          <a:p>
            <a:endParaRPr lang="en-US" dirty="0"/>
          </a:p>
        </p:txBody>
      </p:sp>
      <p:sp>
        <p:nvSpPr>
          <p:cNvPr id="6" name="TextBox 5"/>
          <p:cNvSpPr txBox="1"/>
          <p:nvPr userDrawn="1"/>
        </p:nvSpPr>
        <p:spPr>
          <a:xfrm>
            <a:off x="132550" y="5874211"/>
            <a:ext cx="11754657" cy="841238"/>
          </a:xfrm>
          <a:prstGeom prst="rect">
            <a:avLst/>
          </a:prstGeom>
          <a:noFill/>
        </p:spPr>
        <p:txBody>
          <a:bodyPr wrap="square" lIns="121901" tIns="60951" rIns="121901" bIns="60951" rtlCol="0">
            <a:spAutoFit/>
          </a:bodyPr>
          <a:lstStyle/>
          <a:p>
            <a:pPr defTabSz="609490">
              <a:lnSpc>
                <a:spcPts val="1413"/>
              </a:lnSpc>
            </a:pPr>
            <a:r>
              <a:rPr lang="en-US" sz="1067" dirty="0">
                <a:solidFill>
                  <a:srgbClr val="000000"/>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99604348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Contact Page">
    <p:bg>
      <p:bgPr>
        <a:solidFill>
          <a:schemeClr val="bg2"/>
        </a:solidFill>
        <a:effectLst/>
      </p:bgPr>
    </p:bg>
    <p:spTree>
      <p:nvGrpSpPr>
        <p:cNvPr id="1" name=""/>
        <p:cNvGrpSpPr/>
        <p:nvPr/>
      </p:nvGrpSpPr>
      <p:grpSpPr>
        <a:xfrm>
          <a:off x="0" y="0"/>
          <a:ext cx="0" cy="0"/>
          <a:chOff x="0" y="0"/>
          <a:chExt cx="0" cy="0"/>
        </a:xfrm>
      </p:grpSpPr>
      <p:sp>
        <p:nvSpPr>
          <p:cNvPr id="7" name="Picture Placeholder 2"/>
          <p:cNvSpPr>
            <a:spLocks noGrp="1"/>
          </p:cNvSpPr>
          <p:nvPr>
            <p:ph type="pic" sz="quarter" idx="18"/>
          </p:nvPr>
        </p:nvSpPr>
        <p:spPr>
          <a:xfrm>
            <a:off x="10668000" y="3308"/>
            <a:ext cx="1524000" cy="443199"/>
          </a:xfrm>
        </p:spPr>
        <p:txBody>
          <a:bodyPr/>
          <a:lstStyle>
            <a:lvl1pPr>
              <a:defRPr>
                <a:solidFill>
                  <a:srgbClr val="FFFFFF"/>
                </a:solidFill>
              </a:defRPr>
            </a:lvl1pPr>
          </a:lstStyle>
          <a:p>
            <a:endParaRPr lang="en-US" dirty="0"/>
          </a:p>
        </p:txBody>
      </p:sp>
      <p:sp>
        <p:nvSpPr>
          <p:cNvPr id="9" name="Text Placeholder 9"/>
          <p:cNvSpPr>
            <a:spLocks noGrp="1"/>
          </p:cNvSpPr>
          <p:nvPr>
            <p:ph type="body" sz="quarter" idx="12" hasCustomPrompt="1"/>
          </p:nvPr>
        </p:nvSpPr>
        <p:spPr>
          <a:xfrm>
            <a:off x="7315200" y="1219200"/>
            <a:ext cx="4876800" cy="2438400"/>
          </a:xfrm>
          <a:solidFill>
            <a:srgbClr val="FFFFFF"/>
          </a:solidFill>
        </p:spPr>
        <p:txBody>
          <a:bodyPr>
            <a:noAutofit/>
          </a:bodyPr>
          <a:lstStyle>
            <a:lvl1pPr>
              <a:lnSpc>
                <a:spcPct val="110000"/>
              </a:lnSpc>
              <a:defRPr sz="1867">
                <a:solidFill>
                  <a:srgbClr val="3F3F3F"/>
                </a:solidFill>
                <a:latin typeface="+mn-lt"/>
                <a:cs typeface="Segoe UI Semibold"/>
              </a:defRPr>
            </a:lvl1pPr>
            <a:lvl2pPr>
              <a:lnSpc>
                <a:spcPct val="110000"/>
              </a:lnSpc>
              <a:defRPr sz="1867">
                <a:solidFill>
                  <a:srgbClr val="3F3F3F"/>
                </a:solidFill>
                <a:latin typeface="+mn-lt"/>
                <a:cs typeface="Segoe UI Semibold"/>
              </a:defRPr>
            </a:lvl2pPr>
            <a:lvl3pPr>
              <a:lnSpc>
                <a:spcPct val="110000"/>
              </a:lnSpc>
              <a:defRPr sz="1867">
                <a:solidFill>
                  <a:srgbClr val="3F3F3F"/>
                </a:solidFill>
                <a:latin typeface="+mn-lt"/>
                <a:cs typeface="Segoe UI Semibold"/>
              </a:defRPr>
            </a:lvl3pPr>
            <a:lvl4pPr>
              <a:lnSpc>
                <a:spcPct val="110000"/>
              </a:lnSpc>
              <a:defRPr sz="1867">
                <a:solidFill>
                  <a:srgbClr val="3F3F3F"/>
                </a:solidFill>
                <a:latin typeface="+mn-lt"/>
                <a:cs typeface="Segoe UI Semibold"/>
              </a:defRPr>
            </a:lvl4pPr>
            <a:lvl5pPr>
              <a:lnSpc>
                <a:spcPct val="110000"/>
              </a:lnSpc>
              <a:defRPr sz="1867">
                <a:solidFill>
                  <a:srgbClr val="3F3F3F"/>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p:cNvSpPr txBox="1"/>
          <p:nvPr userDrawn="1"/>
        </p:nvSpPr>
        <p:spPr>
          <a:xfrm>
            <a:off x="132550" y="5874211"/>
            <a:ext cx="11754657" cy="841238"/>
          </a:xfrm>
          <a:prstGeom prst="rect">
            <a:avLst/>
          </a:prstGeom>
          <a:noFill/>
        </p:spPr>
        <p:txBody>
          <a:bodyPr wrap="square" lIns="121901" tIns="60951" rIns="121901" bIns="60951" rtlCol="0">
            <a:spAutoFit/>
          </a:bodyPr>
          <a:lstStyle/>
          <a:p>
            <a:pPr defTabSz="609490">
              <a:lnSpc>
                <a:spcPts val="1413"/>
              </a:lnSpc>
            </a:pPr>
            <a:r>
              <a:rPr lang="en-US" sz="1067" dirty="0">
                <a:solidFill>
                  <a:srgbClr val="000000"/>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36920230"/>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2"/>
            <a:ext cx="12192000" cy="443199"/>
          </a:xfrm>
        </p:spPr>
        <p:txBody>
          <a:bodyPr/>
          <a:lstStyle>
            <a:lvl1pPr>
              <a:defRPr>
                <a:solidFill>
                  <a:schemeClr val="bg1"/>
                </a:solidFill>
              </a:defRPr>
            </a:lvl1pPr>
          </a:lstStyle>
          <a:p>
            <a:endParaRPr lang="en-US" dirty="0"/>
          </a:p>
        </p:txBody>
      </p:sp>
      <p:sp>
        <p:nvSpPr>
          <p:cNvPr id="8" name="Picture Placeholder 2"/>
          <p:cNvSpPr>
            <a:spLocks noGrp="1"/>
          </p:cNvSpPr>
          <p:nvPr>
            <p:ph type="pic" sz="quarter" idx="19"/>
          </p:nvPr>
        </p:nvSpPr>
        <p:spPr>
          <a:xfrm>
            <a:off x="10668000" y="3308"/>
            <a:ext cx="1524000" cy="443199"/>
          </a:xfrm>
        </p:spPr>
        <p:txBody>
          <a:bodyPr/>
          <a:lstStyle>
            <a:lvl1pPr>
              <a:defRPr>
                <a:solidFill>
                  <a:srgbClr val="000000"/>
                </a:solidFill>
              </a:defRPr>
            </a:lvl1pPr>
          </a:lstStyle>
          <a:p>
            <a:endParaRPr lang="en-US" dirty="0"/>
          </a:p>
        </p:txBody>
      </p:sp>
      <p:sp>
        <p:nvSpPr>
          <p:cNvPr id="9" name="Text Placeholder 9"/>
          <p:cNvSpPr>
            <a:spLocks noGrp="1"/>
          </p:cNvSpPr>
          <p:nvPr>
            <p:ph type="body" sz="quarter" idx="12" hasCustomPrompt="1"/>
          </p:nvPr>
        </p:nvSpPr>
        <p:spPr>
          <a:xfrm>
            <a:off x="7315200" y="1219200"/>
            <a:ext cx="4876800" cy="2438400"/>
          </a:xfrm>
          <a:solidFill>
            <a:schemeClr val="accent1">
              <a:alpha val="90000"/>
            </a:schemeClr>
          </a:solidFill>
        </p:spPr>
        <p:txBody>
          <a:bodyPr>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132550" y="5874211"/>
            <a:ext cx="11754657" cy="841238"/>
          </a:xfrm>
          <a:prstGeom prst="rect">
            <a:avLst/>
          </a:prstGeom>
          <a:noFill/>
        </p:spPr>
        <p:txBody>
          <a:bodyPr wrap="square" lIns="121901" tIns="60951" rIns="121901" bIns="60951" rtlCol="0">
            <a:spAutoFit/>
          </a:bodyPr>
          <a:lstStyle/>
          <a:p>
            <a:pPr defTabSz="609490">
              <a:lnSpc>
                <a:spcPts val="1413"/>
              </a:lnSpc>
            </a:pPr>
            <a:r>
              <a:rPr lang="en-US" sz="1067" dirty="0">
                <a:solidFill>
                  <a:srgbClr val="000000"/>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2867600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Contact Page">
    <p:bg>
      <p:bgPr>
        <a:solidFill>
          <a:schemeClr val="bg2"/>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8"/>
          </p:nvPr>
        </p:nvSpPr>
        <p:spPr>
          <a:xfrm>
            <a:off x="709" y="2"/>
            <a:ext cx="1219200" cy="443199"/>
          </a:xfrm>
        </p:spPr>
        <p:txBody>
          <a:bodyPr/>
          <a:lstStyle>
            <a:lvl1pPr>
              <a:defRPr>
                <a:solidFill>
                  <a:srgbClr val="FFFFFF"/>
                </a:solidFill>
              </a:defRPr>
            </a:lvl1pPr>
          </a:lstStyle>
          <a:p>
            <a:endParaRPr lang="en-US" dirty="0"/>
          </a:p>
        </p:txBody>
      </p:sp>
      <p:sp>
        <p:nvSpPr>
          <p:cNvPr id="6" name="Picture Placeholder 2"/>
          <p:cNvSpPr>
            <a:spLocks noGrp="1"/>
          </p:cNvSpPr>
          <p:nvPr>
            <p:ph type="pic" sz="quarter" idx="19"/>
          </p:nvPr>
        </p:nvSpPr>
        <p:spPr>
          <a:xfrm>
            <a:off x="10668000" y="3308"/>
            <a:ext cx="1524000" cy="443199"/>
          </a:xfrm>
        </p:spPr>
        <p:txBody>
          <a:bodyPr/>
          <a:lstStyle>
            <a:lvl1pPr>
              <a:defRPr>
                <a:solidFill>
                  <a:srgbClr val="FFFFFF"/>
                </a:solidFill>
              </a:defRPr>
            </a:lvl1pPr>
          </a:lstStyle>
          <a:p>
            <a:endParaRPr lang="en-US" dirty="0"/>
          </a:p>
        </p:txBody>
      </p:sp>
      <p:sp>
        <p:nvSpPr>
          <p:cNvPr id="7" name="Text Placeholder 9"/>
          <p:cNvSpPr>
            <a:spLocks noGrp="1"/>
          </p:cNvSpPr>
          <p:nvPr>
            <p:ph type="body" sz="quarter" idx="12" hasCustomPrompt="1"/>
          </p:nvPr>
        </p:nvSpPr>
        <p:spPr>
          <a:xfrm>
            <a:off x="0" y="1219200"/>
            <a:ext cx="4876800" cy="2438400"/>
          </a:xfrm>
          <a:solidFill>
            <a:srgbClr val="FFFFFF"/>
          </a:solidFill>
        </p:spPr>
        <p:txBody>
          <a:bodyPr lIns="91426" tIns="91426">
            <a:noAutofit/>
          </a:bodyPr>
          <a:lstStyle>
            <a:lvl1pPr>
              <a:lnSpc>
                <a:spcPct val="110000"/>
              </a:lnSpc>
              <a:defRPr sz="1867">
                <a:solidFill>
                  <a:srgbClr val="3F3F3F"/>
                </a:solidFill>
                <a:latin typeface="+mn-lt"/>
                <a:cs typeface="Segoe UI Semibold"/>
              </a:defRPr>
            </a:lvl1pPr>
            <a:lvl2pPr>
              <a:lnSpc>
                <a:spcPct val="110000"/>
              </a:lnSpc>
              <a:defRPr sz="1867">
                <a:solidFill>
                  <a:srgbClr val="3F3F3F"/>
                </a:solidFill>
                <a:latin typeface="+mn-lt"/>
                <a:cs typeface="Segoe UI Semibold"/>
              </a:defRPr>
            </a:lvl2pPr>
            <a:lvl3pPr>
              <a:lnSpc>
                <a:spcPct val="110000"/>
              </a:lnSpc>
              <a:defRPr sz="1867">
                <a:solidFill>
                  <a:srgbClr val="3F3F3F"/>
                </a:solidFill>
                <a:latin typeface="+mn-lt"/>
                <a:cs typeface="Segoe UI Semibold"/>
              </a:defRPr>
            </a:lvl3pPr>
            <a:lvl4pPr>
              <a:lnSpc>
                <a:spcPct val="110000"/>
              </a:lnSpc>
              <a:defRPr sz="1867">
                <a:solidFill>
                  <a:srgbClr val="3F3F3F"/>
                </a:solidFill>
                <a:latin typeface="+mn-lt"/>
                <a:cs typeface="Segoe UI Semibold"/>
              </a:defRPr>
            </a:lvl4pPr>
            <a:lvl5pPr>
              <a:lnSpc>
                <a:spcPct val="110000"/>
              </a:lnSpc>
              <a:defRPr sz="1867">
                <a:solidFill>
                  <a:srgbClr val="3F3F3F"/>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132550" y="5874211"/>
            <a:ext cx="11754657" cy="841238"/>
          </a:xfrm>
          <a:prstGeom prst="rect">
            <a:avLst/>
          </a:prstGeom>
          <a:noFill/>
        </p:spPr>
        <p:txBody>
          <a:bodyPr wrap="square" lIns="121901" tIns="60951" rIns="121901" bIns="60951" rtlCol="0">
            <a:spAutoFit/>
          </a:bodyPr>
          <a:lstStyle/>
          <a:p>
            <a:pPr defTabSz="609490">
              <a:lnSpc>
                <a:spcPts val="1413"/>
              </a:lnSpc>
            </a:pPr>
            <a:r>
              <a:rPr lang="en-US" sz="1067" dirty="0">
                <a:solidFill>
                  <a:srgbClr val="000000"/>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04003825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3207404"/>
            <a:ext cx="12192000" cy="443199"/>
          </a:xfrm>
        </p:spPr>
        <p:txBody>
          <a:bodyPr anchor="ctr"/>
          <a:lstStyle>
            <a:lvl1pPr algn="r">
              <a:defRPr>
                <a:solidFill>
                  <a:schemeClr val="bg1"/>
                </a:solidFill>
              </a:defRPr>
            </a:lvl1pPr>
          </a:lstStyle>
          <a:p>
            <a:endParaRPr lang="en-US" dirty="0"/>
          </a:p>
        </p:txBody>
      </p:sp>
      <p:sp>
        <p:nvSpPr>
          <p:cNvPr id="8" name="Picture Placeholder 2"/>
          <p:cNvSpPr>
            <a:spLocks noGrp="1"/>
          </p:cNvSpPr>
          <p:nvPr>
            <p:ph type="pic" sz="quarter" idx="19"/>
          </p:nvPr>
        </p:nvSpPr>
        <p:spPr>
          <a:xfrm>
            <a:off x="1" y="2"/>
            <a:ext cx="1219200" cy="443199"/>
          </a:xfrm>
        </p:spPr>
        <p:txBody>
          <a:bodyPr/>
          <a:lstStyle>
            <a:lvl1pPr>
              <a:defRPr>
                <a:solidFill>
                  <a:srgbClr val="000000"/>
                </a:solidFill>
              </a:defRPr>
            </a:lvl1pPr>
          </a:lstStyle>
          <a:p>
            <a:endParaRPr lang="en-US" dirty="0"/>
          </a:p>
        </p:txBody>
      </p:sp>
      <p:sp>
        <p:nvSpPr>
          <p:cNvPr id="7" name="Picture Placeholder 2"/>
          <p:cNvSpPr>
            <a:spLocks noGrp="1"/>
          </p:cNvSpPr>
          <p:nvPr>
            <p:ph type="pic" sz="quarter" idx="20"/>
          </p:nvPr>
        </p:nvSpPr>
        <p:spPr>
          <a:xfrm>
            <a:off x="10668000" y="3308"/>
            <a:ext cx="1524000" cy="443199"/>
          </a:xfrm>
        </p:spPr>
        <p:txBody>
          <a:bodyPr/>
          <a:lstStyle>
            <a:lvl1pPr>
              <a:defRPr>
                <a:solidFill>
                  <a:srgbClr val="000000"/>
                </a:solidFill>
              </a:defRPr>
            </a:lvl1pPr>
          </a:lstStyle>
          <a:p>
            <a:endParaRPr lang="en-US" dirty="0"/>
          </a:p>
        </p:txBody>
      </p:sp>
      <p:sp>
        <p:nvSpPr>
          <p:cNvPr id="9" name="Text Placeholder 9"/>
          <p:cNvSpPr>
            <a:spLocks noGrp="1"/>
          </p:cNvSpPr>
          <p:nvPr>
            <p:ph type="body" sz="quarter" idx="12" hasCustomPrompt="1"/>
          </p:nvPr>
        </p:nvSpPr>
        <p:spPr>
          <a:xfrm>
            <a:off x="0" y="1219200"/>
            <a:ext cx="4876800" cy="2438400"/>
          </a:xfrm>
          <a:solidFill>
            <a:schemeClr val="accent1">
              <a:alpha val="90000"/>
            </a:schemeClr>
          </a:solidFill>
        </p:spPr>
        <p:txBody>
          <a:bodyPr lIns="91426" tIns="91426">
            <a:noAutofit/>
          </a:bodyPr>
          <a:lstStyle>
            <a:lvl1pPr>
              <a:lnSpc>
                <a:spcPct val="110000"/>
              </a:lnSpc>
              <a:defRPr sz="1867">
                <a:solidFill>
                  <a:schemeClr val="tx1"/>
                </a:solidFill>
                <a:latin typeface="+mn-lt"/>
                <a:cs typeface="Segoe UI Semibold"/>
              </a:defRPr>
            </a:lvl1pPr>
            <a:lvl2pPr>
              <a:lnSpc>
                <a:spcPct val="110000"/>
              </a:lnSpc>
              <a:defRPr sz="1867">
                <a:solidFill>
                  <a:schemeClr val="tx1"/>
                </a:solidFill>
                <a:latin typeface="+mn-lt"/>
                <a:cs typeface="Segoe UI Semibold"/>
              </a:defRPr>
            </a:lvl2pPr>
            <a:lvl3pPr>
              <a:lnSpc>
                <a:spcPct val="110000"/>
              </a:lnSpc>
              <a:defRPr sz="1867">
                <a:solidFill>
                  <a:schemeClr val="tx1"/>
                </a:solidFill>
                <a:latin typeface="+mn-lt"/>
                <a:cs typeface="Segoe UI Semibold"/>
              </a:defRPr>
            </a:lvl3pPr>
            <a:lvl4pPr>
              <a:lnSpc>
                <a:spcPct val="110000"/>
              </a:lnSpc>
              <a:defRPr sz="1867">
                <a:solidFill>
                  <a:schemeClr val="tx1"/>
                </a:solidFill>
                <a:latin typeface="+mn-lt"/>
                <a:cs typeface="Segoe UI Semibold"/>
              </a:defRPr>
            </a:lvl4pPr>
            <a:lvl5pPr>
              <a:lnSpc>
                <a:spcPct val="110000"/>
              </a:lnSpc>
              <a:defRPr sz="1867">
                <a:solidFill>
                  <a:schemeClr val="tx1"/>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32550" y="5874211"/>
            <a:ext cx="11754657" cy="841238"/>
          </a:xfrm>
          <a:prstGeom prst="rect">
            <a:avLst/>
          </a:prstGeom>
          <a:noFill/>
        </p:spPr>
        <p:txBody>
          <a:bodyPr wrap="square" lIns="121901" tIns="60951" rIns="121901" bIns="60951" rtlCol="0">
            <a:spAutoFit/>
          </a:bodyPr>
          <a:lstStyle/>
          <a:p>
            <a:pPr defTabSz="609490">
              <a:lnSpc>
                <a:spcPts val="1413"/>
              </a:lnSpc>
            </a:pPr>
            <a:r>
              <a:rPr lang="en-US" sz="1067" dirty="0">
                <a:solidFill>
                  <a:srgbClr val="000000"/>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22227830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023452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6_Contact Page">
    <p:bg>
      <p:bgPr>
        <a:solidFill>
          <a:schemeClr val="bg2"/>
        </a:solidFill>
        <a:effectLst/>
      </p:bgPr>
    </p:bg>
    <p:spTree>
      <p:nvGrpSpPr>
        <p:cNvPr id="1" name=""/>
        <p:cNvGrpSpPr/>
        <p:nvPr/>
      </p:nvGrpSpPr>
      <p:grpSpPr>
        <a:xfrm>
          <a:off x="0" y="0"/>
          <a:ext cx="0" cy="0"/>
          <a:chOff x="0" y="0"/>
          <a:chExt cx="0" cy="0"/>
        </a:xfrm>
      </p:grpSpPr>
      <p:sp>
        <p:nvSpPr>
          <p:cNvPr id="7" name="Picture Placeholder 2"/>
          <p:cNvSpPr>
            <a:spLocks noGrp="1"/>
          </p:cNvSpPr>
          <p:nvPr>
            <p:ph type="pic" sz="quarter" idx="18"/>
          </p:nvPr>
        </p:nvSpPr>
        <p:spPr>
          <a:xfrm>
            <a:off x="10972800" y="2"/>
            <a:ext cx="1219200" cy="443199"/>
          </a:xfrm>
        </p:spPr>
        <p:txBody>
          <a:bodyPr/>
          <a:lstStyle>
            <a:lvl1pPr>
              <a:defRPr>
                <a:solidFill>
                  <a:srgbClr val="FFFFFF"/>
                </a:solidFill>
              </a:defRPr>
            </a:lvl1pPr>
          </a:lstStyle>
          <a:p>
            <a:endParaRPr lang="en-US" dirty="0"/>
          </a:p>
        </p:txBody>
      </p:sp>
      <p:sp>
        <p:nvSpPr>
          <p:cNvPr id="6" name="Picture Placeholder 2"/>
          <p:cNvSpPr>
            <a:spLocks noGrp="1"/>
          </p:cNvSpPr>
          <p:nvPr>
            <p:ph type="pic" sz="quarter" idx="19"/>
          </p:nvPr>
        </p:nvSpPr>
        <p:spPr>
          <a:xfrm>
            <a:off x="101601" y="24386"/>
            <a:ext cx="1524000" cy="443199"/>
          </a:xfrm>
        </p:spPr>
        <p:txBody>
          <a:bodyPr/>
          <a:lstStyle>
            <a:lvl1pPr>
              <a:defRPr>
                <a:solidFill>
                  <a:srgbClr val="FFFFFF"/>
                </a:solidFill>
              </a:defRPr>
            </a:lvl1pPr>
          </a:lstStyle>
          <a:p>
            <a:endParaRPr lang="en-US" dirty="0"/>
          </a:p>
        </p:txBody>
      </p:sp>
      <p:sp>
        <p:nvSpPr>
          <p:cNvPr id="8" name="Text Placeholder 9"/>
          <p:cNvSpPr>
            <a:spLocks noGrp="1"/>
          </p:cNvSpPr>
          <p:nvPr>
            <p:ph type="body" sz="quarter" idx="12" hasCustomPrompt="1"/>
          </p:nvPr>
        </p:nvSpPr>
        <p:spPr>
          <a:xfrm>
            <a:off x="7315200" y="1219200"/>
            <a:ext cx="4876800" cy="2438400"/>
          </a:xfrm>
          <a:solidFill>
            <a:srgbClr val="FFFFFF"/>
          </a:solidFill>
        </p:spPr>
        <p:txBody>
          <a:bodyPr>
            <a:noAutofit/>
          </a:bodyPr>
          <a:lstStyle>
            <a:lvl1pPr>
              <a:lnSpc>
                <a:spcPct val="110000"/>
              </a:lnSpc>
              <a:defRPr sz="1867">
                <a:solidFill>
                  <a:srgbClr val="3F3F3F"/>
                </a:solidFill>
                <a:latin typeface="+mn-lt"/>
                <a:cs typeface="Segoe UI Semibold"/>
              </a:defRPr>
            </a:lvl1pPr>
            <a:lvl2pPr>
              <a:lnSpc>
                <a:spcPct val="110000"/>
              </a:lnSpc>
              <a:defRPr sz="1867">
                <a:solidFill>
                  <a:srgbClr val="3F3F3F"/>
                </a:solidFill>
                <a:latin typeface="+mn-lt"/>
                <a:cs typeface="Segoe UI Semibold"/>
              </a:defRPr>
            </a:lvl2pPr>
            <a:lvl3pPr>
              <a:lnSpc>
                <a:spcPct val="110000"/>
              </a:lnSpc>
              <a:defRPr sz="1867">
                <a:solidFill>
                  <a:srgbClr val="3F3F3F"/>
                </a:solidFill>
                <a:latin typeface="+mn-lt"/>
                <a:cs typeface="Segoe UI Semibold"/>
              </a:defRPr>
            </a:lvl3pPr>
            <a:lvl4pPr>
              <a:lnSpc>
                <a:spcPct val="110000"/>
              </a:lnSpc>
              <a:defRPr sz="1867">
                <a:solidFill>
                  <a:srgbClr val="3F3F3F"/>
                </a:solidFill>
                <a:latin typeface="+mn-lt"/>
                <a:cs typeface="Segoe UI Semibold"/>
              </a:defRPr>
            </a:lvl4pPr>
            <a:lvl5pPr>
              <a:lnSpc>
                <a:spcPct val="110000"/>
              </a:lnSpc>
              <a:defRPr sz="1867">
                <a:solidFill>
                  <a:srgbClr val="3F3F3F"/>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132550" y="5874211"/>
            <a:ext cx="11754657" cy="841238"/>
          </a:xfrm>
          <a:prstGeom prst="rect">
            <a:avLst/>
          </a:prstGeom>
          <a:noFill/>
        </p:spPr>
        <p:txBody>
          <a:bodyPr wrap="square" lIns="121901" tIns="60951" rIns="121901" bIns="60951" rtlCol="0">
            <a:spAutoFit/>
          </a:bodyPr>
          <a:lstStyle/>
          <a:p>
            <a:pPr defTabSz="609490">
              <a:lnSpc>
                <a:spcPts val="1413"/>
              </a:lnSpc>
            </a:pPr>
            <a:r>
              <a:rPr lang="en-US" sz="1067" dirty="0">
                <a:solidFill>
                  <a:srgbClr val="000000"/>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6120368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7_Contact Pag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3207404"/>
            <a:ext cx="12192000" cy="443199"/>
          </a:xfrm>
        </p:spPr>
        <p:txBody>
          <a:bodyPr anchor="ctr"/>
          <a:lstStyle>
            <a:lvl1pPr>
              <a:defRPr>
                <a:solidFill>
                  <a:schemeClr val="bg1"/>
                </a:solidFill>
              </a:defRPr>
            </a:lvl1pPr>
          </a:lstStyle>
          <a:p>
            <a:endParaRPr lang="en-US" dirty="0"/>
          </a:p>
        </p:txBody>
      </p:sp>
      <p:sp>
        <p:nvSpPr>
          <p:cNvPr id="8" name="Picture Placeholder 2"/>
          <p:cNvSpPr>
            <a:spLocks noGrp="1"/>
          </p:cNvSpPr>
          <p:nvPr>
            <p:ph type="pic" sz="quarter" idx="19"/>
          </p:nvPr>
        </p:nvSpPr>
        <p:spPr>
          <a:xfrm>
            <a:off x="10972800" y="2"/>
            <a:ext cx="1219200" cy="443199"/>
          </a:xfrm>
        </p:spPr>
        <p:txBody>
          <a:bodyPr/>
          <a:lstStyle>
            <a:lvl1pPr>
              <a:defRPr>
                <a:solidFill>
                  <a:srgbClr val="000000"/>
                </a:solidFill>
              </a:defRPr>
            </a:lvl1pPr>
          </a:lstStyle>
          <a:p>
            <a:endParaRPr lang="en-US" dirty="0"/>
          </a:p>
        </p:txBody>
      </p:sp>
      <p:sp>
        <p:nvSpPr>
          <p:cNvPr id="7" name="Picture Placeholder 2"/>
          <p:cNvSpPr>
            <a:spLocks noGrp="1"/>
          </p:cNvSpPr>
          <p:nvPr>
            <p:ph type="pic" sz="quarter" idx="20"/>
          </p:nvPr>
        </p:nvSpPr>
        <p:spPr>
          <a:xfrm>
            <a:off x="101601" y="24386"/>
            <a:ext cx="1524000" cy="443199"/>
          </a:xfrm>
        </p:spPr>
        <p:txBody>
          <a:bodyPr/>
          <a:lstStyle>
            <a:lvl1pPr>
              <a:defRPr>
                <a:solidFill>
                  <a:srgbClr val="000000"/>
                </a:solidFill>
              </a:defRPr>
            </a:lvl1pPr>
          </a:lstStyle>
          <a:p>
            <a:endParaRPr lang="en-US" dirty="0"/>
          </a:p>
        </p:txBody>
      </p:sp>
      <p:sp>
        <p:nvSpPr>
          <p:cNvPr id="9" name="Text Placeholder 9"/>
          <p:cNvSpPr>
            <a:spLocks noGrp="1"/>
          </p:cNvSpPr>
          <p:nvPr>
            <p:ph type="body" sz="quarter" idx="12" hasCustomPrompt="1"/>
          </p:nvPr>
        </p:nvSpPr>
        <p:spPr>
          <a:xfrm>
            <a:off x="7323177" y="1219200"/>
            <a:ext cx="4876800" cy="2438400"/>
          </a:xfrm>
          <a:solidFill>
            <a:schemeClr val="accent1">
              <a:alpha val="90000"/>
            </a:schemeClr>
          </a:solidFill>
        </p:spPr>
        <p:txBody>
          <a:bodyPr>
            <a:noAutofit/>
          </a:bodyPr>
          <a:lstStyle>
            <a:lvl1pPr>
              <a:defRPr sz="1867">
                <a:solidFill>
                  <a:schemeClr val="tx1"/>
                </a:solidFill>
                <a:latin typeface="+mn-lt"/>
                <a:cs typeface="Segoe UI Semibold"/>
              </a:defRPr>
            </a:lvl1pPr>
            <a:lvl2pPr>
              <a:defRPr sz="1867">
                <a:solidFill>
                  <a:schemeClr val="tx1"/>
                </a:solidFill>
                <a:latin typeface="+mn-lt"/>
                <a:cs typeface="Segoe UI Semibold"/>
              </a:defRPr>
            </a:lvl2pPr>
            <a:lvl3pPr>
              <a:defRPr sz="1867">
                <a:solidFill>
                  <a:schemeClr val="tx1"/>
                </a:solidFill>
                <a:latin typeface="+mn-lt"/>
                <a:cs typeface="Segoe UI Semibold"/>
              </a:defRPr>
            </a:lvl3pPr>
            <a:lvl4pPr>
              <a:defRPr sz="1867">
                <a:solidFill>
                  <a:schemeClr val="tx1"/>
                </a:solidFill>
                <a:latin typeface="+mn-lt"/>
                <a:cs typeface="Segoe UI Semibold"/>
              </a:defRPr>
            </a:lvl4pPr>
            <a:lvl5pPr>
              <a:defRPr sz="1867">
                <a:solidFill>
                  <a:schemeClr val="tx1"/>
                </a:solidFill>
                <a:latin typeface="+mn-lt"/>
                <a:cs typeface="Segoe UI Semibold"/>
              </a:defRPr>
            </a:lvl5pPr>
          </a:lstStyle>
          <a:p>
            <a:pPr lvl="0"/>
            <a:r>
              <a:rPr lang="en-US" dirty="0"/>
              <a:t>Click to edit slide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32550" y="5874211"/>
            <a:ext cx="11754657" cy="841238"/>
          </a:xfrm>
          <a:prstGeom prst="rect">
            <a:avLst/>
          </a:prstGeom>
          <a:noFill/>
        </p:spPr>
        <p:txBody>
          <a:bodyPr wrap="square" lIns="121901" tIns="60951" rIns="121901" bIns="60951" rtlCol="0">
            <a:spAutoFit/>
          </a:bodyPr>
          <a:lstStyle/>
          <a:p>
            <a:pPr defTabSz="609490">
              <a:lnSpc>
                <a:spcPts val="1413"/>
              </a:lnSpc>
            </a:pPr>
            <a:r>
              <a:rPr lang="en-US" sz="1067" dirty="0">
                <a:solidFill>
                  <a:srgbClr val="000000"/>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399068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49096390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05165823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52589011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84028253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8307795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26911652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2969691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50927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26137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3996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47730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40226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43337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42584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358512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35333274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44186547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76603"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a:solidFill>
                <a:prstClr val="white"/>
              </a:solidFill>
            </a:endParaRPr>
          </a:p>
        </p:txBody>
      </p:sp>
      <p:sp>
        <p:nvSpPr>
          <p:cNvPr id="2" name="Title 1"/>
          <p:cNvSpPr>
            <a:spLocks noGrp="1"/>
          </p:cNvSpPr>
          <p:nvPr>
            <p:ph type="title"/>
            <p:custDataLst>
              <p:tags r:id="rId4"/>
            </p:custDataLst>
          </p:nvPr>
        </p:nvSpPr>
        <p:spPr>
          <a:xfrm>
            <a:off x="762004" y="2"/>
            <a:ext cx="11430000" cy="646042"/>
          </a:xfrm>
        </p:spPr>
        <p:txBody>
          <a:bodyPr>
            <a:noAutofit/>
          </a:bodyPr>
          <a:lstStyle>
            <a:lvl1pPr marL="225425" indent="0">
              <a:defRPr sz="4400"/>
            </a:lvl1pPr>
          </a:lstStyle>
          <a:p>
            <a:endParaRPr lang="en-US" dirty="0"/>
          </a:p>
        </p:txBody>
      </p:sp>
      <p:sp>
        <p:nvSpPr>
          <p:cNvPr id="6" name="Text Placeholder 5"/>
          <p:cNvSpPr>
            <a:spLocks noGrp="1"/>
          </p:cNvSpPr>
          <p:nvPr>
            <p:ph type="body" sz="quarter" idx="12" hasCustomPrompt="1"/>
            <p:custDataLst>
              <p:tags r:id="rId5"/>
            </p:custDataLst>
          </p:nvPr>
        </p:nvSpPr>
        <p:spPr>
          <a:xfrm>
            <a:off x="762004" y="573618"/>
            <a:ext cx="11430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a:t>Click to add subtitle</a:t>
            </a:r>
          </a:p>
        </p:txBody>
      </p:sp>
      <p:sp>
        <p:nvSpPr>
          <p:cNvPr id="9" name="Rectangle 8"/>
          <p:cNvSpPr/>
          <p:nvPr userDrawn="1">
            <p:custDataLst>
              <p:tags r:id="rId6"/>
            </p:custDataLst>
          </p:nvPr>
        </p:nvSpPr>
        <p:spPr>
          <a:xfrm>
            <a:off x="1" y="1"/>
            <a:ext cx="762000"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a:solidFill>
                <a:prstClr val="white"/>
              </a:solidFill>
            </a:endParaRPr>
          </a:p>
        </p:txBody>
      </p:sp>
      <p:sp>
        <p:nvSpPr>
          <p:cNvPr id="15" name="Slide Number Placeholder 4"/>
          <p:cNvSpPr>
            <a:spLocks noGrp="1"/>
          </p:cNvSpPr>
          <p:nvPr>
            <p:ph type="sldNum" sz="quarter" idx="16"/>
            <p:custDataLst>
              <p:tags r:id="rId7"/>
            </p:custDataLst>
          </p:nvPr>
        </p:nvSpPr>
        <p:spPr>
          <a:xfrm>
            <a:off x="11430008" y="6478601"/>
            <a:ext cx="761999" cy="379413"/>
          </a:xfrm>
          <a:prstGeom prst="rect">
            <a:avLst/>
          </a:prstGeom>
        </p:spPr>
        <p:txBody>
          <a:bodyPr/>
          <a:lstStyle/>
          <a:p>
            <a:pPr defTabSz="914247"/>
            <a:fld id="{6A4C1A4A-E5E6-4CC1-B72C-A20A4EB3E2D2}" type="slidenum">
              <a:rPr lang="en-US" sz="1900" smtClean="0">
                <a:solidFill>
                  <a:srgbClr val="505050"/>
                </a:solidFill>
              </a:rPr>
              <a:pPr defTabSz="914247"/>
              <a:t>‹#›</a:t>
            </a:fld>
            <a:endParaRPr lang="en-US" sz="1900" dirty="0">
              <a:solidFill>
                <a:srgbClr val="505050"/>
              </a:solidFill>
            </a:endParaRPr>
          </a:p>
        </p:txBody>
      </p:sp>
      <p:sp>
        <p:nvSpPr>
          <p:cNvPr id="10" name="Footer Placeholder 3"/>
          <p:cNvSpPr>
            <a:spLocks noGrp="1"/>
          </p:cNvSpPr>
          <p:nvPr>
            <p:ph type="ftr" sz="quarter" idx="11"/>
            <p:custDataLst>
              <p:tags r:id="rId8"/>
            </p:custDataLst>
          </p:nvPr>
        </p:nvSpPr>
        <p:spPr>
          <a:xfrm>
            <a:off x="3048000" y="6477887"/>
            <a:ext cx="8382000" cy="380127"/>
          </a:xfrm>
          <a:prstGeom prst="rect">
            <a:avLst/>
          </a:prstGeom>
        </p:spPr>
        <p:txBody>
          <a:bodyPr/>
          <a:lstStyle/>
          <a:p>
            <a:pPr defTabSz="914247"/>
            <a:endParaRPr lang="en-US" sz="1900" dirty="0">
              <a:solidFill>
                <a:srgbClr val="505050"/>
              </a:solidFill>
            </a:endParaRPr>
          </a:p>
        </p:txBody>
      </p:sp>
      <p:sp>
        <p:nvSpPr>
          <p:cNvPr id="11" name="Footer Placeholder 2"/>
          <p:cNvSpPr txBox="1">
            <a:spLocks/>
          </p:cNvSpPr>
          <p:nvPr userDrawn="1">
            <p:custDataLst>
              <p:tags r:id="rId9"/>
            </p:custDataLst>
          </p:nvPr>
        </p:nvSpPr>
        <p:spPr>
          <a:xfrm>
            <a:off x="762000" y="6478601"/>
            <a:ext cx="2286000"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284101704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Tree>
    <p:extLst>
      <p:ext uri="{BB962C8B-B14F-4D97-AF65-F5344CB8AC3E}">
        <p14:creationId xmlns:p14="http://schemas.microsoft.com/office/powerpoint/2010/main" val="269969517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09353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55959346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39" y="200779"/>
            <a:ext cx="1947103" cy="716042"/>
          </a:xfrm>
          <a:prstGeom prst="rect">
            <a:avLst/>
          </a:prstGeom>
        </p:spPr>
      </p:pic>
      <p:sp>
        <p:nvSpPr>
          <p:cNvPr id="17" name="Rectangle 16"/>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264895848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369546037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5966728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26171046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38335759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5286838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5640103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218787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8534218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4832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09073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558936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06686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8471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390746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0318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74124938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323327670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65373956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389387072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72872309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401529769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25469150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627121230"/>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7165244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1290399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14119712"/>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06042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364514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07864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07495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3644983822"/>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19084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01028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855264801"/>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372263937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6157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a:solidFill>
                <a:prstClr val="white"/>
              </a:solidFill>
            </a:endParaRPr>
          </a:p>
        </p:txBody>
      </p:sp>
      <p:sp>
        <p:nvSpPr>
          <p:cNvPr id="2" name="Title 1"/>
          <p:cNvSpPr>
            <a:spLocks noGrp="1"/>
          </p:cNvSpPr>
          <p:nvPr>
            <p:ph type="title"/>
            <p:custDataLst>
              <p:tags r:id="rId4"/>
            </p:custDataLst>
          </p:nvPr>
        </p:nvSpPr>
        <p:spPr>
          <a:xfrm>
            <a:off x="762004" y="2"/>
            <a:ext cx="11430000" cy="646042"/>
          </a:xfrm>
        </p:spPr>
        <p:txBody>
          <a:bodyPr>
            <a:noAutofit/>
          </a:bodyPr>
          <a:lstStyle>
            <a:lvl1pPr marL="225425" indent="0">
              <a:defRPr sz="4400"/>
            </a:lvl1pPr>
          </a:lstStyle>
          <a:p>
            <a:endParaRPr lang="en-US" dirty="0"/>
          </a:p>
        </p:txBody>
      </p:sp>
      <p:sp>
        <p:nvSpPr>
          <p:cNvPr id="6" name="Text Placeholder 5"/>
          <p:cNvSpPr>
            <a:spLocks noGrp="1"/>
          </p:cNvSpPr>
          <p:nvPr>
            <p:ph type="body" sz="quarter" idx="12" hasCustomPrompt="1"/>
            <p:custDataLst>
              <p:tags r:id="rId5"/>
            </p:custDataLst>
          </p:nvPr>
        </p:nvSpPr>
        <p:spPr>
          <a:xfrm>
            <a:off x="762004" y="573618"/>
            <a:ext cx="11430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a:t>Click to add subtitle</a:t>
            </a:r>
          </a:p>
        </p:txBody>
      </p:sp>
      <p:sp>
        <p:nvSpPr>
          <p:cNvPr id="9" name="Rectangle 8"/>
          <p:cNvSpPr/>
          <p:nvPr userDrawn="1">
            <p:custDataLst>
              <p:tags r:id="rId6"/>
            </p:custDataLst>
          </p:nvPr>
        </p:nvSpPr>
        <p:spPr>
          <a:xfrm>
            <a:off x="1" y="1"/>
            <a:ext cx="762000"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a:solidFill>
                <a:prstClr val="white"/>
              </a:solidFill>
            </a:endParaRPr>
          </a:p>
        </p:txBody>
      </p:sp>
      <p:sp>
        <p:nvSpPr>
          <p:cNvPr id="15" name="Slide Number Placeholder 4"/>
          <p:cNvSpPr>
            <a:spLocks noGrp="1"/>
          </p:cNvSpPr>
          <p:nvPr>
            <p:ph type="sldNum" sz="quarter" idx="16"/>
            <p:custDataLst>
              <p:tags r:id="rId7"/>
            </p:custDataLst>
          </p:nvPr>
        </p:nvSpPr>
        <p:spPr>
          <a:xfrm>
            <a:off x="11430008" y="6478601"/>
            <a:ext cx="761999" cy="379413"/>
          </a:xfrm>
          <a:prstGeom prst="rect">
            <a:avLst/>
          </a:prstGeom>
        </p:spPr>
        <p:txBody>
          <a:bodyPr/>
          <a:lstStyle/>
          <a:p>
            <a:pPr defTabSz="914247"/>
            <a:fld id="{6A4C1A4A-E5E6-4CC1-B72C-A20A4EB3E2D2}" type="slidenum">
              <a:rPr lang="en-US" sz="1900" smtClean="0">
                <a:solidFill>
                  <a:srgbClr val="505050"/>
                </a:solidFill>
              </a:rPr>
              <a:pPr defTabSz="914247"/>
              <a:t>‹#›</a:t>
            </a:fld>
            <a:endParaRPr lang="en-US" sz="1900" dirty="0">
              <a:solidFill>
                <a:srgbClr val="505050"/>
              </a:solidFill>
            </a:endParaRPr>
          </a:p>
        </p:txBody>
      </p:sp>
      <p:sp>
        <p:nvSpPr>
          <p:cNvPr id="10" name="Footer Placeholder 3"/>
          <p:cNvSpPr>
            <a:spLocks noGrp="1"/>
          </p:cNvSpPr>
          <p:nvPr>
            <p:ph type="ftr" sz="quarter" idx="11"/>
            <p:custDataLst>
              <p:tags r:id="rId8"/>
            </p:custDataLst>
          </p:nvPr>
        </p:nvSpPr>
        <p:spPr>
          <a:xfrm>
            <a:off x="3048000" y="6477887"/>
            <a:ext cx="8382000" cy="380127"/>
          </a:xfrm>
          <a:prstGeom prst="rect">
            <a:avLst/>
          </a:prstGeom>
        </p:spPr>
        <p:txBody>
          <a:bodyPr/>
          <a:lstStyle/>
          <a:p>
            <a:pPr defTabSz="914247"/>
            <a:endParaRPr lang="en-US" sz="1900" dirty="0">
              <a:solidFill>
                <a:srgbClr val="505050"/>
              </a:solidFill>
            </a:endParaRPr>
          </a:p>
        </p:txBody>
      </p:sp>
      <p:sp>
        <p:nvSpPr>
          <p:cNvPr id="11" name="Footer Placeholder 2"/>
          <p:cNvSpPr txBox="1">
            <a:spLocks/>
          </p:cNvSpPr>
          <p:nvPr userDrawn="1">
            <p:custDataLst>
              <p:tags r:id="rId9"/>
            </p:custDataLst>
          </p:nvPr>
        </p:nvSpPr>
        <p:spPr>
          <a:xfrm>
            <a:off x="762000" y="6478601"/>
            <a:ext cx="2286000"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341136168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4133705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6565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07297951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6667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99593688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6769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408290343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6872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86346570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136480683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55144309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6974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07131270"/>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077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spTree>
    <p:extLst>
      <p:ext uri="{BB962C8B-B14F-4D97-AF65-F5344CB8AC3E}">
        <p14:creationId xmlns:p14="http://schemas.microsoft.com/office/powerpoint/2010/main" val="385887325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179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5319921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281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6017796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384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159681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486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24777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589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8336783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691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708104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793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265032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896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42576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02519262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998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88705861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8101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91124743"/>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lgn="l" defTabSz="914093" rtl="0" eaLnBrk="1" latinLnBrk="0" hangingPunct="1">
              <a:lnSpc>
                <a:spcPct val="90000"/>
              </a:lnSpc>
              <a:spcBef>
                <a:spcPct val="0"/>
              </a:spcBef>
              <a:buNone/>
              <a:defRPr lang="en-US" sz="8624" b="0" kern="1200" cap="none" spc="-98" baseline="0" dirty="0">
                <a:ln w="3175">
                  <a:noFill/>
                </a:ln>
                <a:gradFill>
                  <a:gsLst>
                    <a:gs pos="91241">
                      <a:srgbClr val="000000"/>
                    </a:gs>
                    <a:gs pos="60000">
                      <a:srgbClr val="000000"/>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64320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3" y="1189181"/>
            <a:ext cx="11655840" cy="2018835"/>
          </a:xfrm>
        </p:spPr>
        <p:txBody>
          <a:bodyPr/>
          <a:lstStyle>
            <a:lvl1pPr marL="0" indent="0">
              <a:buNone/>
              <a:defRPr/>
            </a:lvl1pPr>
            <a:lvl2pPr marL="28004" indent="0">
              <a:buNone/>
              <a:defRPr sz="1960"/>
            </a:lvl2pPr>
            <a:lvl3pPr marL="219362" indent="0">
              <a:buNone/>
              <a:defRPr sz="1960"/>
            </a:lvl3pPr>
            <a:lvl4pPr marL="466728" indent="0">
              <a:buNone/>
              <a:defRPr sz="1764"/>
            </a:lvl4pPr>
            <a:lvl5pPr marL="724983" indent="0">
              <a:buNone/>
              <a:defRPr sz="1764"/>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2"/>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Tree>
    <p:extLst>
      <p:ext uri="{BB962C8B-B14F-4D97-AF65-F5344CB8AC3E}">
        <p14:creationId xmlns:p14="http://schemas.microsoft.com/office/powerpoint/2010/main" val="81877445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sp>
        <p:nvSpPr>
          <p:cNvPr id="11" name="Title 1"/>
          <p:cNvSpPr>
            <a:spLocks noGrp="1"/>
          </p:cNvSpPr>
          <p:nvPr>
            <p:ph type="title"/>
          </p:nvPr>
        </p:nvSpPr>
        <p:spPr>
          <a:xfrm>
            <a:off x="131702" y="616682"/>
            <a:ext cx="11655840" cy="362372"/>
          </a:xfrm>
        </p:spPr>
        <p:txBody>
          <a:bodyPr/>
          <a:lstStyle>
            <a:lvl1pPr>
              <a:defRPr sz="2399"/>
            </a:lvl1pPr>
          </a:lstStyle>
          <a:p>
            <a:r>
              <a:rPr lang="en-US" dirty="0"/>
              <a:t>Click to edit Master title style</a:t>
            </a:r>
          </a:p>
        </p:txBody>
      </p:sp>
      <p:sp>
        <p:nvSpPr>
          <p:cNvPr id="12" name="Rectangle 11"/>
          <p:cNvSpPr/>
          <p:nvPr userDrawn="1"/>
        </p:nvSpPr>
        <p:spPr bwMode="auto">
          <a:xfrm>
            <a:off x="54364" y="190103"/>
            <a:ext cx="12120030" cy="265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Minus 15"/>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ound Same Side Corner Rectangle 17"/>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19" name="Round Same Side Corner Rectangle 18"/>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2" name="Round Same Side Corner Rectangle 21"/>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3" name="Round Same Side Corner Rectangle 22"/>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4" name="Round Same Side Corner Rectangle 23"/>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25" name="Round Same Side Corner Rectangle 24"/>
          <p:cNvSpPr/>
          <p:nvPr userDrawn="1"/>
        </p:nvSpPr>
        <p:spPr>
          <a:xfrm>
            <a:off x="112716"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26" name="Minus 25"/>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ound Same Side Corner Rectangle 28"/>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20" name="Round Same Side Corner Rectangle 19"/>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21" name="Round Same Side Corner Rectangle 20"/>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sp>
        <p:nvSpPr>
          <p:cNvPr id="31"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pic>
        <p:nvPicPr>
          <p:cNvPr id="30" name="Picture 29"/>
          <p:cNvPicPr>
            <a:picLocks noChangeAspect="1"/>
          </p:cNvPicPr>
          <p:nvPr userDrawn="1"/>
        </p:nvPicPr>
        <p:blipFill>
          <a:blip r:embed="rId3"/>
          <a:stretch>
            <a:fillRect/>
          </a:stretch>
        </p:blipFill>
        <p:spPr>
          <a:xfrm>
            <a:off x="11505658" y="6324740"/>
            <a:ext cx="627718" cy="486716"/>
          </a:xfrm>
          <a:prstGeom prst="rect">
            <a:avLst/>
          </a:prstGeom>
        </p:spPr>
      </p:pic>
      <p:sp>
        <p:nvSpPr>
          <p:cNvPr id="33" name="TextBox 32"/>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428158513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5" name="Title 1"/>
          <p:cNvSpPr>
            <a:spLocks noGrp="1"/>
          </p:cNvSpPr>
          <p:nvPr>
            <p:ph type="title"/>
          </p:nvPr>
        </p:nvSpPr>
        <p:spPr>
          <a:xfrm>
            <a:off x="121538" y="632401"/>
            <a:ext cx="11655840" cy="362372"/>
          </a:xfrm>
        </p:spPr>
        <p:txBody>
          <a:bodyPr/>
          <a:lstStyle>
            <a:lvl1pPr>
              <a:defRPr sz="2399"/>
            </a:lvl1pPr>
          </a:lstStyle>
          <a:p>
            <a:r>
              <a:rPr lang="en-US" dirty="0"/>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414420"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5" name="Picture 3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9" name="Picture 38"/>
          <p:cNvPicPr>
            <a:picLocks noChangeAspect="1"/>
          </p:cNvPicPr>
          <p:nvPr userDrawn="1"/>
        </p:nvPicPr>
        <p:blipFill>
          <a:blip r:embed="rId3"/>
          <a:stretch>
            <a:fillRect/>
          </a:stretch>
        </p:blipFill>
        <p:spPr>
          <a:xfrm>
            <a:off x="11505658" y="6324740"/>
            <a:ext cx="627718" cy="486716"/>
          </a:xfrm>
          <a:prstGeom prst="rect">
            <a:avLst/>
          </a:prstGeom>
        </p:spPr>
      </p:pic>
      <p:sp>
        <p:nvSpPr>
          <p:cNvPr id="43" name="TextBox 42"/>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428901472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5" name="Title 1"/>
          <p:cNvSpPr>
            <a:spLocks noGrp="1"/>
          </p:cNvSpPr>
          <p:nvPr>
            <p:ph type="title"/>
          </p:nvPr>
        </p:nvSpPr>
        <p:spPr>
          <a:xfrm>
            <a:off x="131702" y="654183"/>
            <a:ext cx="11655840" cy="362372"/>
          </a:xfrm>
        </p:spPr>
        <p:txBody>
          <a:bodyPr/>
          <a:lstStyle>
            <a:lvl1pPr>
              <a:defRPr sz="2399"/>
            </a:lvl1pPr>
          </a:lstStyle>
          <a:p>
            <a:r>
              <a:rPr lang="en-US"/>
              <a:t>Click to edit Master title style</a:t>
            </a:r>
            <a:endParaRPr lang="en-US" dirty="0"/>
          </a:p>
        </p:txBody>
      </p:sp>
      <p:sp>
        <p:nvSpPr>
          <p:cNvPr id="52"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ound Same Side Corner Rectangle 25"/>
          <p:cNvSpPr/>
          <p:nvPr userDrawn="1"/>
        </p:nvSpPr>
        <p:spPr>
          <a:xfrm>
            <a:off x="2716128"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32" name="Round Same Side Corner Rectangle 31"/>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36" name="Round Same Side Corner Rectangle 35"/>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8" name="Minus 37"/>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ound Same Side Corner Rectangle 38"/>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40" name="Round Same Side Corner Rectangle 39"/>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43" name="Picture 42"/>
          <p:cNvPicPr>
            <a:picLocks noChangeAspect="1"/>
          </p:cNvPicPr>
          <p:nvPr userDrawn="1"/>
        </p:nvPicPr>
        <p:blipFill>
          <a:blip r:embed="rId3"/>
          <a:stretch>
            <a:fillRect/>
          </a:stretch>
        </p:blipFill>
        <p:spPr>
          <a:xfrm>
            <a:off x="11505658" y="6324740"/>
            <a:ext cx="627718" cy="486716"/>
          </a:xfrm>
          <a:prstGeom prst="rect">
            <a:avLst/>
          </a:prstGeom>
        </p:spPr>
      </p:pic>
      <p:sp>
        <p:nvSpPr>
          <p:cNvPr id="44" name="TextBox 43"/>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1076395124"/>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5" name="Title 1"/>
          <p:cNvSpPr>
            <a:spLocks noGrp="1"/>
          </p:cNvSpPr>
          <p:nvPr>
            <p:ph type="title"/>
          </p:nvPr>
        </p:nvSpPr>
        <p:spPr>
          <a:xfrm>
            <a:off x="121538" y="616682"/>
            <a:ext cx="11655840" cy="362372"/>
          </a:xfrm>
        </p:spPr>
        <p:txBody>
          <a:bodyPr/>
          <a:lstStyle>
            <a:lvl1pPr>
              <a:defRPr sz="2399"/>
            </a:lvl1pPr>
          </a:lstStyle>
          <a:p>
            <a:r>
              <a:rPr lang="en-US"/>
              <a:t>Click to edit Master title style</a:t>
            </a:r>
            <a:endParaRPr lang="en-US" dirty="0"/>
          </a:p>
        </p:txBody>
      </p:sp>
      <p:sp>
        <p:nvSpPr>
          <p:cNvPr id="52"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35" name="Round Same Side Corner Rectangle 34"/>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36" name="Round Same Side Corner Rectangle 35"/>
          <p:cNvSpPr/>
          <p:nvPr userDrawn="1"/>
        </p:nvSpPr>
        <p:spPr>
          <a:xfrm>
            <a:off x="4017833"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8" name="Round Same Side Corner Rectangle 37"/>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9" name="Minus 38"/>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ound Same Side Corner Rectangle 39"/>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42" name="Round Same Side Corner Rectangle 41"/>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43" name="Picture 4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44" name="Picture 43"/>
          <p:cNvPicPr>
            <a:picLocks noChangeAspect="1"/>
          </p:cNvPicPr>
          <p:nvPr userDrawn="1"/>
        </p:nvPicPr>
        <p:blipFill>
          <a:blip r:embed="rId3"/>
          <a:stretch>
            <a:fillRect/>
          </a:stretch>
        </p:blipFill>
        <p:spPr>
          <a:xfrm>
            <a:off x="11505658" y="6324740"/>
            <a:ext cx="627718" cy="486716"/>
          </a:xfrm>
          <a:prstGeom prst="rect">
            <a:avLst/>
          </a:prstGeom>
        </p:spPr>
      </p:pic>
      <p:sp>
        <p:nvSpPr>
          <p:cNvPr id="45" name="TextBox 44"/>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194593347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25519" y="616682"/>
            <a:ext cx="11655840" cy="362372"/>
          </a:xfrm>
        </p:spPr>
        <p:txBody>
          <a:bodyPr/>
          <a:lstStyle>
            <a:lvl1pPr>
              <a:defRPr sz="2399"/>
            </a:lvl1pPr>
          </a:lstStyle>
          <a:p>
            <a:r>
              <a:rPr lang="en-US" dirty="0"/>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ound Same Side Corner Rectangle 32"/>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5" name="Round Same Side Corner Rectangle 34"/>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6" name="Picture 3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7" name="Picture 36"/>
          <p:cNvPicPr>
            <a:picLocks noChangeAspect="1"/>
          </p:cNvPicPr>
          <p:nvPr userDrawn="1"/>
        </p:nvPicPr>
        <p:blipFill>
          <a:blip r:embed="rId3"/>
          <a:stretch>
            <a:fillRect/>
          </a:stretch>
        </p:blipFill>
        <p:spPr>
          <a:xfrm>
            <a:off x="11505658" y="6324740"/>
            <a:ext cx="627718" cy="486716"/>
          </a:xfrm>
          <a:prstGeom prst="rect">
            <a:avLst/>
          </a:prstGeom>
        </p:spPr>
      </p:pic>
      <p:sp>
        <p:nvSpPr>
          <p:cNvPr id="38" name="TextBox 37"/>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167646457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21538" y="621334"/>
            <a:ext cx="11655840" cy="362372"/>
          </a:xfrm>
        </p:spPr>
        <p:txBody>
          <a:bodyPr/>
          <a:lstStyle>
            <a:lvl1pPr>
              <a:defRPr sz="2399"/>
            </a:lvl1pPr>
          </a:lstStyle>
          <a:p>
            <a:r>
              <a:rPr lang="en-US" dirty="0"/>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5" name="Picture 3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6" name="Picture 35"/>
          <p:cNvPicPr>
            <a:picLocks noChangeAspect="1"/>
          </p:cNvPicPr>
          <p:nvPr userDrawn="1"/>
        </p:nvPicPr>
        <p:blipFill>
          <a:blip r:embed="rId3"/>
          <a:stretch>
            <a:fillRect/>
          </a:stretch>
        </p:blipFill>
        <p:spPr>
          <a:xfrm>
            <a:off x="11505658" y="6324740"/>
            <a:ext cx="627718" cy="486716"/>
          </a:xfrm>
          <a:prstGeom prst="rect">
            <a:avLst/>
          </a:prstGeom>
        </p:spPr>
      </p:pic>
      <p:sp>
        <p:nvSpPr>
          <p:cNvPr id="37" name="TextBox 36"/>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167256330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191377510"/>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34" name="Title 1"/>
          <p:cNvSpPr>
            <a:spLocks noGrp="1"/>
          </p:cNvSpPr>
          <p:nvPr>
            <p:ph type="title"/>
          </p:nvPr>
        </p:nvSpPr>
        <p:spPr>
          <a:xfrm>
            <a:off x="131702" y="616682"/>
            <a:ext cx="11655840" cy="362372"/>
          </a:xfrm>
        </p:spPr>
        <p:txBody>
          <a:bodyPr/>
          <a:lstStyle>
            <a:lvl1pPr>
              <a:defRPr sz="2399"/>
            </a:lvl1pPr>
          </a:lstStyle>
          <a:p>
            <a:r>
              <a:rPr lang="en-US" dirty="0"/>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2955"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43" name="Picture 42"/>
          <p:cNvPicPr>
            <a:picLocks noChangeAspect="1"/>
          </p:cNvPicPr>
          <p:nvPr userDrawn="1"/>
        </p:nvPicPr>
        <p:blipFill>
          <a:blip r:embed="rId3"/>
          <a:stretch>
            <a:fillRect/>
          </a:stretch>
        </p:blipFill>
        <p:spPr>
          <a:xfrm>
            <a:off x="11505658" y="6324740"/>
            <a:ext cx="627718" cy="486716"/>
          </a:xfrm>
          <a:prstGeom prst="rect">
            <a:avLst/>
          </a:prstGeom>
        </p:spPr>
      </p:pic>
      <p:sp>
        <p:nvSpPr>
          <p:cNvPr id="44" name="TextBox 43"/>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3490774975"/>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21538" y="616682"/>
            <a:ext cx="11655840" cy="362372"/>
          </a:xfrm>
        </p:spPr>
        <p:txBody>
          <a:bodyPr/>
          <a:lstStyle>
            <a:lvl1pPr>
              <a:defRPr sz="2399"/>
            </a:lvl1pPr>
          </a:lstStyle>
          <a:p>
            <a:r>
              <a:rPr lang="en-US" dirty="0"/>
              <a:t>Click to edit Master title style</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1" name="Round Same Side Corner Rectangle 30"/>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4" name="Minus 33"/>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Round Same Side Corner Rectangle 34"/>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6" name="Round Same Side Corner Rectangle 35"/>
          <p:cNvSpPr/>
          <p:nvPr userDrawn="1"/>
        </p:nvSpPr>
        <p:spPr>
          <a:xfrm>
            <a:off x="105393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8" name="Picture 3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pic>
        <p:nvPicPr>
          <p:cNvPr id="39" name="Picture 38"/>
          <p:cNvPicPr>
            <a:picLocks noChangeAspect="1"/>
          </p:cNvPicPr>
          <p:nvPr userDrawn="1"/>
        </p:nvPicPr>
        <p:blipFill>
          <a:blip r:embed="rId3"/>
          <a:stretch>
            <a:fillRect/>
          </a:stretch>
        </p:blipFill>
        <p:spPr>
          <a:xfrm>
            <a:off x="11505658" y="6324740"/>
            <a:ext cx="627718" cy="486716"/>
          </a:xfrm>
          <a:prstGeom prst="rect">
            <a:avLst/>
          </a:prstGeom>
        </p:spPr>
      </p:pic>
      <p:sp>
        <p:nvSpPr>
          <p:cNvPr id="40" name="TextBox 39"/>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Tree>
    <p:extLst>
      <p:ext uri="{BB962C8B-B14F-4D97-AF65-F5344CB8AC3E}">
        <p14:creationId xmlns:p14="http://schemas.microsoft.com/office/powerpoint/2010/main" val="74982174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
        <p:nvSpPr>
          <p:cNvPr id="47" name="Title 1"/>
          <p:cNvSpPr>
            <a:spLocks noGrp="1"/>
          </p:cNvSpPr>
          <p:nvPr>
            <p:ph type="title"/>
          </p:nvPr>
        </p:nvSpPr>
        <p:spPr>
          <a:xfrm>
            <a:off x="131702" y="632401"/>
            <a:ext cx="11655840" cy="362372"/>
          </a:xfrm>
        </p:spPr>
        <p:txBody>
          <a:bodyPr/>
          <a:lstStyle>
            <a:lvl1pPr>
              <a:defRPr sz="2399"/>
            </a:lvl1pPr>
          </a:lstStyle>
          <a:p>
            <a:r>
              <a:rPr lang="en-US" dirty="0"/>
              <a:t>Click to edit Master title style</a:t>
            </a:r>
          </a:p>
        </p:txBody>
      </p:sp>
      <p:pic>
        <p:nvPicPr>
          <p:cNvPr id="54" name="Picture 53"/>
          <p:cNvPicPr>
            <a:picLocks noChangeAspect="1"/>
          </p:cNvPicPr>
          <p:nvPr userDrawn="1"/>
        </p:nvPicPr>
        <p:blipFill>
          <a:blip r:embed="rId2"/>
          <a:stretch>
            <a:fillRect/>
          </a:stretch>
        </p:blipFill>
        <p:spPr>
          <a:xfrm>
            <a:off x="11505658" y="6324740"/>
            <a:ext cx="627718" cy="486716"/>
          </a:xfrm>
          <a:prstGeom prst="rect">
            <a:avLst/>
          </a:prstGeom>
        </p:spPr>
      </p:pic>
      <p:sp>
        <p:nvSpPr>
          <p:cNvPr id="55" name="TextBox 54"/>
          <p:cNvSpPr txBox="1"/>
          <p:nvPr userDrawn="1"/>
        </p:nvSpPr>
        <p:spPr>
          <a:xfrm>
            <a:off x="11488057" y="6375543"/>
            <a:ext cx="645319" cy="373949"/>
          </a:xfrm>
          <a:prstGeom prst="rect">
            <a:avLst/>
          </a:prstGeom>
          <a:noFill/>
        </p:spPr>
        <p:txBody>
          <a:bodyPr wrap="square" lIns="91416" tIns="0" rIns="91416" bIns="0" rtlCol="0">
            <a:spAutoFit/>
          </a:bodyPr>
          <a:lstStyle/>
          <a:p>
            <a:pPr defTabSz="914126">
              <a:lnSpc>
                <a:spcPct val="90000"/>
              </a:lnSpc>
              <a:spcAft>
                <a:spcPts val="600"/>
              </a:spcAft>
            </a:pPr>
            <a:r>
              <a:rPr lang="en-US" sz="900" b="1" dirty="0">
                <a:solidFill>
                  <a:srgbClr val="FFFFFF"/>
                </a:solidFill>
              </a:rPr>
              <a:t>LEAD with the  Cloud</a:t>
            </a:r>
          </a:p>
        </p:txBody>
      </p:sp>
      <p:sp>
        <p:nvSpPr>
          <p:cNvPr id="24" name="Minus 23"/>
          <p:cNvSpPr/>
          <p:nvPr userDrawn="1"/>
        </p:nvSpPr>
        <p:spPr bwMode="auto">
          <a:xfrm>
            <a:off x="-45433" y="453306"/>
            <a:ext cx="341906"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612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Enterprise Strategy @ Microsoft</a:t>
            </a:r>
            <a:endParaRPr lang="en-US" sz="900" b="1" kern="0" dirty="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9378"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Accelerate Azure Usage</a:t>
            </a:r>
            <a:endParaRPr lang="en-US" sz="900" b="1" kern="0" dirty="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1108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ustained Presence</a:t>
            </a:r>
            <a:endParaRPr lang="en-US" sz="900" b="1" kern="0" dirty="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3115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7833"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Lead with the Cloud</a:t>
            </a:r>
            <a:endParaRPr lang="en-US" sz="900" b="1" kern="0" dirty="0">
              <a:solidFill>
                <a:srgbClr val="002050"/>
              </a:solidFill>
              <a:ea typeface="Segoe UI" pitchFamily="34" charset="0"/>
              <a:cs typeface="Segoe UI" pitchFamily="34" charset="0"/>
              <a:hlinkClick r:id="" action="ppaction://noaction"/>
            </a:endParaRPr>
          </a:p>
        </p:txBody>
      </p:sp>
      <p:sp>
        <p:nvSpPr>
          <p:cNvPr id="31" name="Round Same Side Corner Rectangle 30"/>
          <p:cNvSpPr/>
          <p:nvPr userDrawn="1"/>
        </p:nvSpPr>
        <p:spPr>
          <a:xfrm>
            <a:off x="112716"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ReadMe</a:t>
            </a:r>
          </a:p>
        </p:txBody>
      </p:sp>
      <p:sp>
        <p:nvSpPr>
          <p:cNvPr id="34" name="Minus 33"/>
          <p:cNvSpPr/>
          <p:nvPr userDrawn="1"/>
        </p:nvSpPr>
        <p:spPr bwMode="auto">
          <a:xfrm>
            <a:off x="11742606" y="437585"/>
            <a:ext cx="508701"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Round Same Side Corner Rectangle 34"/>
          <p:cNvSpPr/>
          <p:nvPr userDrawn="1"/>
        </p:nvSpPr>
        <p:spPr>
          <a:xfrm>
            <a:off x="7922955"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Stand Alone</a:t>
            </a:r>
            <a:endParaRPr lang="en-US" sz="900" b="1" kern="0" dirty="0">
              <a:solidFill>
                <a:srgbClr val="002050"/>
              </a:solidFill>
              <a:ea typeface="Segoe UI" pitchFamily="34" charset="0"/>
              <a:cs typeface="Segoe UI" pitchFamily="34" charset="0"/>
              <a:hlinkClick r:id="" action="ppaction://noaction"/>
            </a:endParaRPr>
          </a:p>
        </p:txBody>
      </p:sp>
      <p:sp>
        <p:nvSpPr>
          <p:cNvPr id="36" name="Round Same Side Corner Rectangle 35"/>
          <p:cNvSpPr/>
          <p:nvPr userDrawn="1"/>
        </p:nvSpPr>
        <p:spPr>
          <a:xfrm>
            <a:off x="10539356" y="228992"/>
            <a:ext cx="1280160" cy="292608"/>
          </a:xfrm>
          <a:prstGeom prst="round2SameRect">
            <a:avLst/>
          </a:prstGeom>
          <a:solidFill>
            <a:srgbClr val="FFFFFF"/>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002050"/>
                </a:solidFill>
                <a:ea typeface="Segoe UI" pitchFamily="34" charset="0"/>
                <a:cs typeface="Segoe UI" pitchFamily="34" charset="0"/>
              </a:rPr>
              <a:t>Resources</a:t>
            </a:r>
            <a:endParaRPr lang="en-US" sz="900" b="1" kern="0" dirty="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414420" y="228992"/>
            <a:ext cx="1280160"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54" tIns="47878" rIns="95754" bIns="47878" rtlCol="0" anchor="ctr"/>
          <a:lstStyle/>
          <a:p>
            <a:pPr algn="ctr" defTabSz="957509">
              <a:defRPr/>
            </a:pPr>
            <a:r>
              <a:rPr lang="en-US" sz="900" b="1" kern="0" dirty="0">
                <a:solidFill>
                  <a:srgbClr val="505050"/>
                </a:solidFill>
                <a:ea typeface="Segoe UI" pitchFamily="34" charset="0"/>
                <a:cs typeface="Segoe UI" pitchFamily="34" charset="0"/>
                <a:hlinkClick r:id="" action="ppaction://noaction"/>
              </a:rPr>
              <a:t>Introduction</a:t>
            </a:r>
            <a:endParaRPr lang="en-US" sz="900" b="1" kern="0" dirty="0">
              <a:solidFill>
                <a:srgbClr val="505050"/>
              </a:solidFill>
              <a:ea typeface="Segoe UI" pitchFamily="34" charset="0"/>
              <a:cs typeface="Segoe UI" pitchFamily="34" charset="0"/>
            </a:endParaRPr>
          </a:p>
        </p:txBody>
      </p:sp>
      <p:pic>
        <p:nvPicPr>
          <p:cNvPr id="38" name="Picture 3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14717" y="-101208"/>
            <a:ext cx="1062106" cy="390689"/>
          </a:xfrm>
          <a:prstGeom prst="rect">
            <a:avLst/>
          </a:prstGeom>
        </p:spPr>
      </p:pic>
    </p:spTree>
    <p:extLst>
      <p:ext uri="{BB962C8B-B14F-4D97-AF65-F5344CB8AC3E}">
        <p14:creationId xmlns:p14="http://schemas.microsoft.com/office/powerpoint/2010/main" val="62176658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7" y="2084173"/>
            <a:ext cx="8058229" cy="1793104"/>
          </a:xfrm>
        </p:spPr>
        <p:txBody>
          <a:bodyPr/>
          <a:lstStyle>
            <a:lvl1pPr>
              <a:defRPr sz="5880" baseline="0"/>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Tree>
    <p:extLst>
      <p:ext uri="{BB962C8B-B14F-4D97-AF65-F5344CB8AC3E}">
        <p14:creationId xmlns:p14="http://schemas.microsoft.com/office/powerpoint/2010/main" val="1420707371"/>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7801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7782" y="6486818"/>
            <a:ext cx="2742188" cy="364224"/>
          </a:xfrm>
        </p:spPr>
        <p:txBody>
          <a:bodyPr/>
          <a:lstStyle/>
          <a:p>
            <a:pPr marL="168022"/>
            <a:fld id="{C9A871AC-A86D-4E3C-88B8-BCF6B56DF8AD}" type="slidenum">
              <a:rPr lang="en-US" smtClean="0">
                <a:solidFill>
                  <a:srgbClr val="505050">
                    <a:tint val="75000"/>
                  </a:srgbClr>
                </a:solidFill>
              </a:rPr>
              <a:pPr marL="168022"/>
              <a:t>‹#›</a:t>
            </a:fld>
            <a:endParaRPr lang="en-US" dirty="0">
              <a:solidFill>
                <a:srgbClr val="505050">
                  <a:tint val="75000"/>
                </a:srgbClr>
              </a:solidFill>
            </a:endParaRPr>
          </a:p>
        </p:txBody>
      </p:sp>
    </p:spTree>
    <p:extLst>
      <p:ext uri="{BB962C8B-B14F-4D97-AF65-F5344CB8AC3E}">
        <p14:creationId xmlns:p14="http://schemas.microsoft.com/office/powerpoint/2010/main" val="3313577722"/>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OLD Content Title Only - DO NOT USE">
    <p:spTree>
      <p:nvGrpSpPr>
        <p:cNvPr id="1" name=""/>
        <p:cNvGrpSpPr/>
        <p:nvPr/>
      </p:nvGrpSpPr>
      <p:grpSpPr>
        <a:xfrm>
          <a:off x="0" y="0"/>
          <a:ext cx="0" cy="0"/>
          <a:chOff x="0" y="0"/>
          <a:chExt cx="0" cy="0"/>
        </a:xfrm>
      </p:grpSpPr>
      <p:sp>
        <p:nvSpPr>
          <p:cNvPr id="2" name="Title 1"/>
          <p:cNvSpPr>
            <a:spLocks noGrp="1"/>
          </p:cNvSpPr>
          <p:nvPr>
            <p:ph type="title"/>
          </p:nvPr>
        </p:nvSpPr>
        <p:spPr>
          <a:xfrm>
            <a:off x="340938" y="172830"/>
            <a:ext cx="11510129" cy="637879"/>
          </a:xfrm>
          <a:noFill/>
        </p:spPr>
        <p:txBody>
          <a:bodyPr>
            <a:noAutofit/>
          </a:bodyPr>
          <a:lstStyle>
            <a:lvl1pPr>
              <a:defRPr sz="3999">
                <a:solidFill>
                  <a:schemeClr val="tx2"/>
                </a:solidFill>
                <a:latin typeface="Segoe UI Light" panose="020B0502040204020203" pitchFamily="34" charset="0"/>
              </a:defRPr>
            </a:lvl1pPr>
          </a:lstStyle>
          <a:p>
            <a:r>
              <a:rPr lang="en-US" dirty="0"/>
              <a:t>Click to edit Master title style</a:t>
            </a:r>
          </a:p>
        </p:txBody>
      </p:sp>
      <p:sp>
        <p:nvSpPr>
          <p:cNvPr id="3" name="Date Placeholder 2"/>
          <p:cNvSpPr>
            <a:spLocks noGrp="1"/>
          </p:cNvSpPr>
          <p:nvPr>
            <p:ph type="dt" sz="half" idx="10"/>
          </p:nvPr>
        </p:nvSpPr>
        <p:spPr>
          <a:xfrm>
            <a:off x="0" y="6356360"/>
            <a:ext cx="2844800" cy="365125"/>
          </a:xfrm>
          <a:prstGeom prst="rect">
            <a:avLst/>
          </a:prstGeom>
        </p:spPr>
        <p:txBody>
          <a:bodyPr/>
          <a:lstStyle/>
          <a:p>
            <a:pPr defTabSz="914093"/>
            <a:endParaRPr lang="en-US" sz="1799">
              <a:solidFill>
                <a:srgbClr val="505050"/>
              </a:solidFill>
            </a:endParaRPr>
          </a:p>
        </p:txBody>
      </p:sp>
      <p:sp>
        <p:nvSpPr>
          <p:cNvPr id="4" name="Slide Number Placeholder 3"/>
          <p:cNvSpPr>
            <a:spLocks noGrp="1"/>
          </p:cNvSpPr>
          <p:nvPr>
            <p:ph type="sldNum" sz="quarter" idx="11"/>
          </p:nvPr>
        </p:nvSpPr>
        <p:spPr>
          <a:xfrm>
            <a:off x="9042400" y="6356360"/>
            <a:ext cx="2844800" cy="365125"/>
          </a:xfrm>
          <a:prstGeom prst="rect">
            <a:avLst/>
          </a:prstGeom>
        </p:spPr>
        <p:txBody>
          <a:bodyPr/>
          <a:lstStyle/>
          <a:p>
            <a:pPr defTabSz="914093"/>
            <a:fld id="{74A398B2-5A34-1A4A-811E-F4027282568C}" type="slidenum">
              <a:rPr lang="en-US" smtClean="0">
                <a:solidFill>
                  <a:srgbClr val="505050"/>
                </a:solidFill>
              </a:rPr>
              <a:pPr defTabSz="914093"/>
              <a:t>‹#›</a:t>
            </a:fld>
            <a:endParaRPr lang="en-US">
              <a:solidFill>
                <a:srgbClr val="505050"/>
              </a:solidFill>
            </a:endParaRPr>
          </a:p>
        </p:txBody>
      </p:sp>
      <p:sp>
        <p:nvSpPr>
          <p:cNvPr id="5" name="Footer Placeholder 4"/>
          <p:cNvSpPr>
            <a:spLocks noGrp="1"/>
          </p:cNvSpPr>
          <p:nvPr>
            <p:ph type="ftr" sz="quarter" idx="12"/>
          </p:nvPr>
        </p:nvSpPr>
        <p:spPr>
          <a:xfrm>
            <a:off x="4038601" y="6462896"/>
            <a:ext cx="4114800" cy="365125"/>
          </a:xfrm>
          <a:prstGeom prst="rect">
            <a:avLst/>
          </a:prstGeom>
        </p:spPr>
        <p:txBody>
          <a:bodyPr/>
          <a:lstStyle/>
          <a:p>
            <a:pPr defTabSz="609270"/>
            <a:r>
              <a:rPr lang="en-US">
                <a:solidFill>
                  <a:srgbClr val="505050"/>
                </a:solidFill>
              </a:rPr>
              <a:t>© Copyright 2013 Microsoft </a:t>
            </a:r>
            <a:endParaRPr lang="en-US" dirty="0">
              <a:solidFill>
                <a:srgbClr val="505050"/>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6408" y="1551890"/>
            <a:ext cx="11679190" cy="1366631"/>
          </a:xfrm>
          <a:prstGeom prst="rect">
            <a:avLst/>
          </a:prstGeom>
        </p:spPr>
      </p:pic>
    </p:spTree>
    <p:extLst>
      <p:ext uri="{BB962C8B-B14F-4D97-AF65-F5344CB8AC3E}">
        <p14:creationId xmlns:p14="http://schemas.microsoft.com/office/powerpoint/2010/main" val="35714756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83058"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tint val="75000"/>
                </a:srgbClr>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tint val="75000"/>
                  </a:srgbClr>
                </a:solidFill>
              </a:rPr>
              <a:pPr/>
              <a:t>‹#›</a:t>
            </a:fld>
            <a:endParaRPr lang="en-US" dirty="0">
              <a:solidFill>
                <a:srgbClr val="505050">
                  <a:tint val="75000"/>
                </a:srgbClr>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43347397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8509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15216939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8611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93967272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177846046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8714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458160519"/>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8816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67781793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8918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64604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4055333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021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4" name="Rectangle 3"/>
          <p:cNvSpPr/>
          <p:nvPr userDrawn="1"/>
        </p:nvSpPr>
        <p:spPr>
          <a:xfrm>
            <a:off x="1" y="0"/>
            <a:ext cx="12192000"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a:solidFill>
                <a:prstClr val="white"/>
              </a:solidFill>
            </a:endParaRPr>
          </a:p>
        </p:txBody>
      </p:sp>
    </p:spTree>
    <p:extLst>
      <p:ext uri="{BB962C8B-B14F-4D97-AF65-F5344CB8AC3E}">
        <p14:creationId xmlns:p14="http://schemas.microsoft.com/office/powerpoint/2010/main" val="3101175085"/>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123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95402945"/>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226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65353860"/>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328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15163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430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048366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533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6453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6357"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69854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334860772"/>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7381"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55800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840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63240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9429"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030324125"/>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00453"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46233" y="2899238"/>
            <a:ext cx="2884326" cy="1060704"/>
          </a:xfrm>
          <a:prstGeom prst="rect">
            <a:avLst/>
          </a:prstGeom>
        </p:spPr>
      </p:pic>
    </p:spTree>
    <p:extLst>
      <p:ext uri="{BB962C8B-B14F-4D97-AF65-F5344CB8AC3E}">
        <p14:creationId xmlns:p14="http://schemas.microsoft.com/office/powerpoint/2010/main" val="2224183633"/>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Page (All Up)">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684391" y="2944368"/>
            <a:ext cx="10117487"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a:t>Click to edit Master Title style</a:t>
            </a:r>
          </a:p>
        </p:txBody>
      </p:sp>
      <p:sp>
        <p:nvSpPr>
          <p:cNvPr id="13" name="Subtitle 2"/>
          <p:cNvSpPr>
            <a:spLocks noGrp="1"/>
          </p:cNvSpPr>
          <p:nvPr>
            <p:ph type="subTitle" idx="1"/>
          </p:nvPr>
        </p:nvSpPr>
        <p:spPr>
          <a:xfrm>
            <a:off x="684390" y="3635733"/>
            <a:ext cx="518295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684394" y="5410203"/>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Click to insert Presenter’s Name, Title</a:t>
            </a:r>
          </a:p>
        </p:txBody>
      </p:sp>
      <p:sp>
        <p:nvSpPr>
          <p:cNvPr id="17" name="Text Placeholder 6"/>
          <p:cNvSpPr>
            <a:spLocks noGrp="1"/>
          </p:cNvSpPr>
          <p:nvPr>
            <p:ph type="body" sz="quarter" idx="11" hasCustomPrompt="1"/>
          </p:nvPr>
        </p:nvSpPr>
        <p:spPr>
          <a:xfrm>
            <a:off x="684394" y="5726036"/>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Date of Presentation</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4242" y="754580"/>
            <a:ext cx="2286592" cy="380222"/>
          </a:xfrm>
          <a:prstGeom prst="rect">
            <a:avLst/>
          </a:prstGeom>
        </p:spPr>
      </p:pic>
    </p:spTree>
    <p:extLst>
      <p:ext uri="{BB962C8B-B14F-4D97-AF65-F5344CB8AC3E}">
        <p14:creationId xmlns:p14="http://schemas.microsoft.com/office/powerpoint/2010/main" val="3572272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Page (Strategy A)">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84394" y="5410203"/>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Click to insert Presenter’s Name, Title</a:t>
            </a:r>
          </a:p>
        </p:txBody>
      </p:sp>
      <p:sp>
        <p:nvSpPr>
          <p:cNvPr id="17" name="Text Placeholder 6"/>
          <p:cNvSpPr>
            <a:spLocks noGrp="1"/>
          </p:cNvSpPr>
          <p:nvPr>
            <p:ph type="body" sz="quarter" idx="11" hasCustomPrompt="1"/>
          </p:nvPr>
        </p:nvSpPr>
        <p:spPr>
          <a:xfrm>
            <a:off x="684394" y="5726036"/>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Date of Presentation</a:t>
            </a:r>
          </a:p>
        </p:txBody>
      </p:sp>
      <p:sp>
        <p:nvSpPr>
          <p:cNvPr id="10" name="Title 1"/>
          <p:cNvSpPr>
            <a:spLocks noGrp="1"/>
          </p:cNvSpPr>
          <p:nvPr>
            <p:ph type="ctrTitle" hasCustomPrompt="1"/>
          </p:nvPr>
        </p:nvSpPr>
        <p:spPr>
          <a:xfrm>
            <a:off x="684391" y="2944368"/>
            <a:ext cx="10117487"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84390" y="3635733"/>
            <a:ext cx="518295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4242" y="754580"/>
            <a:ext cx="2286592" cy="380222"/>
          </a:xfrm>
          <a:prstGeom prst="rect">
            <a:avLst/>
          </a:prstGeom>
        </p:spPr>
      </p:pic>
    </p:spTree>
    <p:extLst>
      <p:ext uri="{BB962C8B-B14F-4D97-AF65-F5344CB8AC3E}">
        <p14:creationId xmlns:p14="http://schemas.microsoft.com/office/powerpoint/2010/main" val="1888103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Page (Strategy B)">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84394" y="5410203"/>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Click to insert Presenter’s Name, Title</a:t>
            </a:r>
          </a:p>
        </p:txBody>
      </p:sp>
      <p:sp>
        <p:nvSpPr>
          <p:cNvPr id="17" name="Text Placeholder 6"/>
          <p:cNvSpPr>
            <a:spLocks noGrp="1"/>
          </p:cNvSpPr>
          <p:nvPr>
            <p:ph type="body" sz="quarter" idx="11" hasCustomPrompt="1"/>
          </p:nvPr>
        </p:nvSpPr>
        <p:spPr>
          <a:xfrm>
            <a:off x="684394" y="5726036"/>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Date of Presentation</a:t>
            </a:r>
          </a:p>
        </p:txBody>
      </p:sp>
      <p:sp>
        <p:nvSpPr>
          <p:cNvPr id="14" name="Title 1"/>
          <p:cNvSpPr>
            <a:spLocks noGrp="1"/>
          </p:cNvSpPr>
          <p:nvPr>
            <p:ph type="ctrTitle" hasCustomPrompt="1"/>
          </p:nvPr>
        </p:nvSpPr>
        <p:spPr>
          <a:xfrm>
            <a:off x="684391" y="2944368"/>
            <a:ext cx="10117487" cy="555626"/>
          </a:xfrm>
        </p:spPr>
        <p:txBody>
          <a:bodyPr anchor="b" anchorCtr="0">
            <a:noAutofit/>
          </a:bodyPr>
          <a:lstStyle>
            <a:lvl1pPr algn="l">
              <a:lnSpc>
                <a:spcPts val="4800"/>
              </a:lnSpc>
              <a:defRPr sz="4600" spc="0" baseline="0">
                <a:solidFill>
                  <a:srgbClr val="000000"/>
                </a:solidFill>
                <a:latin typeface="Segoe UI Light" pitchFamily="34" charset="0"/>
              </a:defRPr>
            </a:lvl1pPr>
          </a:lstStyle>
          <a:p>
            <a:r>
              <a:rPr lang="en-US" dirty="0"/>
              <a:t>Click to edit Master Title style</a:t>
            </a:r>
          </a:p>
        </p:txBody>
      </p:sp>
      <p:sp>
        <p:nvSpPr>
          <p:cNvPr id="15" name="Subtitle 2"/>
          <p:cNvSpPr>
            <a:spLocks noGrp="1"/>
          </p:cNvSpPr>
          <p:nvPr>
            <p:ph type="subTitle" idx="1"/>
          </p:nvPr>
        </p:nvSpPr>
        <p:spPr>
          <a:xfrm>
            <a:off x="684390" y="3635733"/>
            <a:ext cx="5182950" cy="655320"/>
          </a:xfrm>
        </p:spPr>
        <p:txBody>
          <a:bodyPr>
            <a:normAutofit/>
          </a:bodyPr>
          <a:lstStyle>
            <a:lvl1pPr marL="27432" indent="0" algn="l">
              <a:buNone/>
              <a:defRPr sz="1800">
                <a:solidFill>
                  <a:srgbClr val="000000"/>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4242" y="754580"/>
            <a:ext cx="2286592" cy="380222"/>
          </a:xfrm>
          <a:prstGeom prst="rect">
            <a:avLst/>
          </a:prstGeom>
        </p:spPr>
      </p:pic>
    </p:spTree>
    <p:extLst>
      <p:ext uri="{BB962C8B-B14F-4D97-AF65-F5344CB8AC3E}">
        <p14:creationId xmlns:p14="http://schemas.microsoft.com/office/powerpoint/2010/main" val="130617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itle Page (Consulting A)">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84394" y="5410203"/>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Click to insert Presenter’s Name, Title</a:t>
            </a:r>
          </a:p>
        </p:txBody>
      </p:sp>
      <p:sp>
        <p:nvSpPr>
          <p:cNvPr id="17" name="Text Placeholder 6"/>
          <p:cNvSpPr>
            <a:spLocks noGrp="1"/>
          </p:cNvSpPr>
          <p:nvPr>
            <p:ph type="body" sz="quarter" idx="11" hasCustomPrompt="1"/>
          </p:nvPr>
        </p:nvSpPr>
        <p:spPr>
          <a:xfrm>
            <a:off x="684394" y="5726036"/>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Date of Presentation</a:t>
            </a:r>
          </a:p>
        </p:txBody>
      </p:sp>
      <p:sp>
        <p:nvSpPr>
          <p:cNvPr id="10" name="Title 1"/>
          <p:cNvSpPr>
            <a:spLocks noGrp="1"/>
          </p:cNvSpPr>
          <p:nvPr>
            <p:ph type="ctrTitle" hasCustomPrompt="1"/>
          </p:nvPr>
        </p:nvSpPr>
        <p:spPr>
          <a:xfrm>
            <a:off x="684390" y="2944368"/>
            <a:ext cx="5182950"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84390" y="3635733"/>
            <a:ext cx="518295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4242" y="754580"/>
            <a:ext cx="2286592" cy="380222"/>
          </a:xfrm>
          <a:prstGeom prst="rect">
            <a:avLst/>
          </a:prstGeom>
        </p:spPr>
      </p:pic>
    </p:spTree>
    <p:extLst>
      <p:ext uri="{BB962C8B-B14F-4D97-AF65-F5344CB8AC3E}">
        <p14:creationId xmlns:p14="http://schemas.microsoft.com/office/powerpoint/2010/main" val="3481525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Page (Consulting B)">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84394" y="5410203"/>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Click to insert Presenter’s Name, Title</a:t>
            </a:r>
          </a:p>
        </p:txBody>
      </p:sp>
      <p:sp>
        <p:nvSpPr>
          <p:cNvPr id="17" name="Text Placeholder 6"/>
          <p:cNvSpPr>
            <a:spLocks noGrp="1"/>
          </p:cNvSpPr>
          <p:nvPr>
            <p:ph type="body" sz="quarter" idx="11" hasCustomPrompt="1"/>
          </p:nvPr>
        </p:nvSpPr>
        <p:spPr>
          <a:xfrm>
            <a:off x="684394" y="5726036"/>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Date of Presentation</a:t>
            </a:r>
          </a:p>
        </p:txBody>
      </p:sp>
      <p:sp>
        <p:nvSpPr>
          <p:cNvPr id="14" name="Title 1"/>
          <p:cNvSpPr>
            <a:spLocks noGrp="1"/>
          </p:cNvSpPr>
          <p:nvPr>
            <p:ph type="ctrTitle" hasCustomPrompt="1"/>
          </p:nvPr>
        </p:nvSpPr>
        <p:spPr>
          <a:xfrm>
            <a:off x="684390" y="2944368"/>
            <a:ext cx="5182950"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a:t>Click to edit Master Title style</a:t>
            </a:r>
          </a:p>
        </p:txBody>
      </p:sp>
      <p:sp>
        <p:nvSpPr>
          <p:cNvPr id="15" name="Subtitle 2"/>
          <p:cNvSpPr>
            <a:spLocks noGrp="1"/>
          </p:cNvSpPr>
          <p:nvPr>
            <p:ph type="subTitle" idx="1"/>
          </p:nvPr>
        </p:nvSpPr>
        <p:spPr>
          <a:xfrm>
            <a:off x="684390" y="3635733"/>
            <a:ext cx="518295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4242" y="754580"/>
            <a:ext cx="2286592" cy="380222"/>
          </a:xfrm>
          <a:prstGeom prst="rect">
            <a:avLst/>
          </a:prstGeom>
        </p:spPr>
      </p:pic>
    </p:spTree>
    <p:extLst>
      <p:ext uri="{BB962C8B-B14F-4D97-AF65-F5344CB8AC3E}">
        <p14:creationId xmlns:p14="http://schemas.microsoft.com/office/powerpoint/2010/main" val="123954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Page (Support A)">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84394" y="5410203"/>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Click to insert Presenter’s Name, Title</a:t>
            </a:r>
          </a:p>
        </p:txBody>
      </p:sp>
      <p:sp>
        <p:nvSpPr>
          <p:cNvPr id="17" name="Text Placeholder 6"/>
          <p:cNvSpPr>
            <a:spLocks noGrp="1"/>
          </p:cNvSpPr>
          <p:nvPr>
            <p:ph type="body" sz="quarter" idx="11" hasCustomPrompt="1"/>
          </p:nvPr>
        </p:nvSpPr>
        <p:spPr>
          <a:xfrm>
            <a:off x="684394" y="5726036"/>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Date of Presentation</a:t>
            </a:r>
          </a:p>
        </p:txBody>
      </p:sp>
      <p:sp>
        <p:nvSpPr>
          <p:cNvPr id="10" name="Title 1"/>
          <p:cNvSpPr>
            <a:spLocks noGrp="1"/>
          </p:cNvSpPr>
          <p:nvPr>
            <p:ph type="ctrTitle" hasCustomPrompt="1"/>
          </p:nvPr>
        </p:nvSpPr>
        <p:spPr>
          <a:xfrm>
            <a:off x="684391" y="2944368"/>
            <a:ext cx="10117487"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84390" y="3635733"/>
            <a:ext cx="518295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4242" y="754580"/>
            <a:ext cx="2286592" cy="380222"/>
          </a:xfrm>
          <a:prstGeom prst="rect">
            <a:avLst/>
          </a:prstGeom>
        </p:spPr>
      </p:pic>
    </p:spTree>
    <p:extLst>
      <p:ext uri="{BB962C8B-B14F-4D97-AF65-F5344CB8AC3E}">
        <p14:creationId xmlns:p14="http://schemas.microsoft.com/office/powerpoint/2010/main" val="386469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8101479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Page (Support B)">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84394" y="5410203"/>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Click to insert Presenter’s Name, Title</a:t>
            </a:r>
          </a:p>
        </p:txBody>
      </p:sp>
      <p:sp>
        <p:nvSpPr>
          <p:cNvPr id="17" name="Text Placeholder 6"/>
          <p:cNvSpPr>
            <a:spLocks noGrp="1"/>
          </p:cNvSpPr>
          <p:nvPr>
            <p:ph type="body" sz="quarter" idx="11" hasCustomPrompt="1"/>
          </p:nvPr>
        </p:nvSpPr>
        <p:spPr>
          <a:xfrm>
            <a:off x="684394" y="5726036"/>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Date of Presentation</a:t>
            </a:r>
          </a:p>
        </p:txBody>
      </p:sp>
      <p:sp>
        <p:nvSpPr>
          <p:cNvPr id="11" name="Title 1"/>
          <p:cNvSpPr>
            <a:spLocks noGrp="1"/>
          </p:cNvSpPr>
          <p:nvPr>
            <p:ph type="ctrTitle" hasCustomPrompt="1"/>
          </p:nvPr>
        </p:nvSpPr>
        <p:spPr>
          <a:xfrm>
            <a:off x="684390" y="2944368"/>
            <a:ext cx="5182950"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a:t>Click to edit Master Title style</a:t>
            </a:r>
          </a:p>
        </p:txBody>
      </p:sp>
      <p:sp>
        <p:nvSpPr>
          <p:cNvPr id="12" name="Subtitle 2"/>
          <p:cNvSpPr>
            <a:spLocks noGrp="1"/>
          </p:cNvSpPr>
          <p:nvPr>
            <p:ph type="subTitle" idx="1"/>
          </p:nvPr>
        </p:nvSpPr>
        <p:spPr>
          <a:xfrm>
            <a:off x="684390" y="3635733"/>
            <a:ext cx="518295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4242" y="754580"/>
            <a:ext cx="2286592" cy="380222"/>
          </a:xfrm>
          <a:prstGeom prst="rect">
            <a:avLst/>
          </a:prstGeom>
        </p:spPr>
      </p:pic>
    </p:spTree>
    <p:extLst>
      <p:ext uri="{BB962C8B-B14F-4D97-AF65-F5344CB8AC3E}">
        <p14:creationId xmlns:p14="http://schemas.microsoft.com/office/powerpoint/2010/main" val="123070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Page">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84394" y="5410203"/>
            <a:ext cx="4420750" cy="276999"/>
          </a:xfrm>
        </p:spPr>
        <p:txBody>
          <a:bodyPr/>
          <a:lstStyle>
            <a:lvl1pPr marL="27432" indent="0">
              <a:buFontTx/>
              <a:buNone/>
              <a:defRPr sz="1800">
                <a:solidFill>
                  <a:schemeClr val="tx1"/>
                </a:solidFill>
                <a:latin typeface="Segoe UI Light" pitchFamily="34" charset="0"/>
              </a:defRPr>
            </a:lvl1pPr>
            <a:lvl2pPr marL="274320" indent="0">
              <a:buFontTx/>
              <a:buNone/>
              <a:defRPr/>
            </a:lvl2pPr>
            <a:lvl3pPr marL="548640" indent="0">
              <a:buFontTx/>
              <a:buNone/>
              <a:defRPr/>
            </a:lvl3pPr>
            <a:lvl4pPr marL="822960" indent="0">
              <a:buFontTx/>
              <a:buNone/>
              <a:defRPr/>
            </a:lvl4pPr>
            <a:lvl5pPr marL="1097280" indent="0">
              <a:buFontTx/>
              <a:buNone/>
              <a:defRPr/>
            </a:lvl5pPr>
          </a:lstStyle>
          <a:p>
            <a:pPr lvl="0"/>
            <a:r>
              <a:rPr lang="en-US" dirty="0"/>
              <a:t>Click to insert Presenter’s Name, Title</a:t>
            </a:r>
          </a:p>
        </p:txBody>
      </p:sp>
      <p:sp>
        <p:nvSpPr>
          <p:cNvPr id="10" name="Title 1"/>
          <p:cNvSpPr>
            <a:spLocks noGrp="1"/>
          </p:cNvSpPr>
          <p:nvPr>
            <p:ph type="ctrTitle" hasCustomPrompt="1"/>
          </p:nvPr>
        </p:nvSpPr>
        <p:spPr>
          <a:xfrm>
            <a:off x="684390" y="2944368"/>
            <a:ext cx="5182950" cy="555626"/>
          </a:xfrm>
        </p:spPr>
        <p:txBody>
          <a:bodyPr anchor="b" anchorCtr="0">
            <a:noAutofit/>
          </a:bodyPr>
          <a:lstStyle>
            <a:lvl1pPr algn="l">
              <a:lnSpc>
                <a:spcPts val="4800"/>
              </a:lnSpc>
              <a:defRPr sz="4600" spc="0" baseline="0">
                <a:solidFill>
                  <a:schemeClr val="bg1"/>
                </a:solidFill>
                <a:latin typeface="Segoe UI Light" pitchFamily="34" charset="0"/>
              </a:defRPr>
            </a:lvl1pPr>
          </a:lstStyle>
          <a:p>
            <a:r>
              <a:rPr lang="en-US" dirty="0"/>
              <a:t>Click to edit Master Title style</a:t>
            </a:r>
          </a:p>
        </p:txBody>
      </p:sp>
      <p:sp>
        <p:nvSpPr>
          <p:cNvPr id="11" name="Subtitle 2"/>
          <p:cNvSpPr>
            <a:spLocks noGrp="1"/>
          </p:cNvSpPr>
          <p:nvPr>
            <p:ph type="subTitle" idx="1"/>
          </p:nvPr>
        </p:nvSpPr>
        <p:spPr>
          <a:xfrm>
            <a:off x="684390" y="3635733"/>
            <a:ext cx="5182950"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4242" y="754580"/>
            <a:ext cx="2286592" cy="380222"/>
          </a:xfrm>
          <a:prstGeom prst="rect">
            <a:avLst/>
          </a:prstGeom>
        </p:spPr>
      </p:pic>
    </p:spTree>
    <p:extLst>
      <p:ext uri="{BB962C8B-B14F-4D97-AF65-F5344CB8AC3E}">
        <p14:creationId xmlns:p14="http://schemas.microsoft.com/office/powerpoint/2010/main" val="1219632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221015" y="6344457"/>
            <a:ext cx="2515255" cy="176104"/>
          </a:xfrm>
          <a:prstGeom prst="rect">
            <a:avLst/>
          </a:prstGeom>
          <a:noFill/>
        </p:spPr>
      </p:pic>
      <p:sp>
        <p:nvSpPr>
          <p:cNvPr id="10" name="Rectangle 9"/>
          <p:cNvSpPr/>
          <p:nvPr/>
        </p:nvSpPr>
        <p:spPr bwMode="auto">
          <a:xfrm>
            <a:off x="6324658" y="0"/>
            <a:ext cx="3810992"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p:nvSpPr>
        <p:spPr bwMode="auto">
          <a:xfrm>
            <a:off x="1" y="1005278"/>
            <a:ext cx="12192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684390" y="1195347"/>
            <a:ext cx="5182950" cy="555626"/>
          </a:xfrm>
        </p:spPr>
        <p:txBody>
          <a:bodyPr anchor="t" anchorCtr="0">
            <a:noAutofit/>
          </a:bodyPr>
          <a:lstStyle>
            <a:lvl1pPr algn="l">
              <a:lnSpc>
                <a:spcPts val="4800"/>
              </a:lnSpc>
              <a:defRPr sz="4600" spc="0" baseline="0">
                <a:solidFill>
                  <a:schemeClr val="bg1"/>
                </a:solidFill>
                <a:latin typeface="Segoe UI Light" pitchFamily="34" charset="0"/>
              </a:defRPr>
            </a:lvl1pPr>
          </a:lstStyle>
          <a:p>
            <a:r>
              <a:rPr lang="en-US" dirty="0"/>
              <a:t>Agenda</a:t>
            </a:r>
          </a:p>
        </p:txBody>
      </p:sp>
      <p:sp>
        <p:nvSpPr>
          <p:cNvPr id="11" name="Content Placeholder 2"/>
          <p:cNvSpPr>
            <a:spLocks noGrp="1"/>
          </p:cNvSpPr>
          <p:nvPr>
            <p:ph idx="1" hasCustomPrompt="1"/>
          </p:nvPr>
        </p:nvSpPr>
        <p:spPr>
          <a:xfrm>
            <a:off x="684390" y="2130628"/>
            <a:ext cx="5182950" cy="307777"/>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3"/>
              </a:buBlip>
              <a:tabLst/>
              <a:defRPr>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3"/>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3"/>
              </a:buBlip>
              <a:tabLst/>
              <a:defRPr/>
            </a:pPr>
            <a:r>
              <a:rPr lang="en-US" dirty="0"/>
              <a:t>Click to insert text</a:t>
            </a:r>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03339" y="6510002"/>
            <a:ext cx="1481713" cy="246384"/>
          </a:xfrm>
          <a:prstGeom prst="rect">
            <a:avLst/>
          </a:prstGeom>
        </p:spPr>
      </p:pic>
    </p:spTree>
    <p:extLst>
      <p:ext uri="{BB962C8B-B14F-4D97-AF65-F5344CB8AC3E}">
        <p14:creationId xmlns:p14="http://schemas.microsoft.com/office/powerpoint/2010/main" val="3825263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221015" y="6344457"/>
            <a:ext cx="2515255" cy="176104"/>
          </a:xfrm>
          <a:prstGeom prst="rect">
            <a:avLst/>
          </a:prstGeom>
          <a:noFill/>
        </p:spPr>
      </p:pic>
      <p:sp>
        <p:nvSpPr>
          <p:cNvPr id="10" name="Rectangle 9"/>
          <p:cNvSpPr/>
          <p:nvPr/>
        </p:nvSpPr>
        <p:spPr bwMode="auto">
          <a:xfrm>
            <a:off x="6324658" y="0"/>
            <a:ext cx="3810992"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p:nvSpPr>
        <p:spPr bwMode="auto">
          <a:xfrm>
            <a:off x="1" y="1005278"/>
            <a:ext cx="12192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684390" y="1195347"/>
            <a:ext cx="5182950" cy="555626"/>
          </a:xfrm>
        </p:spPr>
        <p:txBody>
          <a:bodyPr anchor="t" anchorCtr="0">
            <a:noAutofit/>
          </a:bodyPr>
          <a:lstStyle>
            <a:lvl1pPr algn="l">
              <a:lnSpc>
                <a:spcPts val="4800"/>
              </a:lnSpc>
              <a:defRPr sz="4600" spc="0" baseline="0">
                <a:solidFill>
                  <a:schemeClr val="bg1"/>
                </a:solidFill>
                <a:latin typeface="Segoe UI Light" pitchFamily="34" charset="0"/>
              </a:defRPr>
            </a:lvl1pPr>
          </a:lstStyle>
          <a:p>
            <a:r>
              <a:rPr lang="en-US" dirty="0"/>
              <a:t>Agenda</a:t>
            </a:r>
          </a:p>
        </p:txBody>
      </p:sp>
      <p:sp>
        <p:nvSpPr>
          <p:cNvPr id="11" name="Content Placeholder 2"/>
          <p:cNvSpPr>
            <a:spLocks noGrp="1"/>
          </p:cNvSpPr>
          <p:nvPr>
            <p:ph idx="1" hasCustomPrompt="1"/>
          </p:nvPr>
        </p:nvSpPr>
        <p:spPr>
          <a:xfrm>
            <a:off x="684390" y="2130628"/>
            <a:ext cx="5182950" cy="307777"/>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3"/>
              </a:buBlip>
              <a:tabLst/>
              <a:defRPr>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3"/>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3"/>
              </a:buBlip>
              <a:tabLst/>
              <a:defRPr/>
            </a:pPr>
            <a:r>
              <a:rPr lang="en-US" dirty="0"/>
              <a:t>Click to insert text</a:t>
            </a:r>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03339" y="6510002"/>
            <a:ext cx="1481713" cy="246384"/>
          </a:xfrm>
          <a:prstGeom prst="rect">
            <a:avLst/>
          </a:prstGeom>
        </p:spPr>
      </p:pic>
    </p:spTree>
    <p:extLst>
      <p:ext uri="{BB962C8B-B14F-4D97-AF65-F5344CB8AC3E}">
        <p14:creationId xmlns:p14="http://schemas.microsoft.com/office/powerpoint/2010/main" val="24374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_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221015" y="6344457"/>
            <a:ext cx="2515255" cy="176104"/>
          </a:xfrm>
          <a:prstGeom prst="rect">
            <a:avLst/>
          </a:prstGeom>
          <a:noFill/>
        </p:spPr>
      </p:pic>
      <p:sp>
        <p:nvSpPr>
          <p:cNvPr id="10" name="Rectangle 9"/>
          <p:cNvSpPr/>
          <p:nvPr/>
        </p:nvSpPr>
        <p:spPr bwMode="auto">
          <a:xfrm>
            <a:off x="6324658" y="0"/>
            <a:ext cx="3810992"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 name="Rectangle 2"/>
          <p:cNvSpPr/>
          <p:nvPr/>
        </p:nvSpPr>
        <p:spPr bwMode="auto">
          <a:xfrm>
            <a:off x="1" y="1005278"/>
            <a:ext cx="12192000"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Title 1"/>
          <p:cNvSpPr>
            <a:spLocks noGrp="1"/>
          </p:cNvSpPr>
          <p:nvPr>
            <p:ph type="ctrTitle" hasCustomPrompt="1"/>
          </p:nvPr>
        </p:nvSpPr>
        <p:spPr>
          <a:xfrm>
            <a:off x="684390" y="1195347"/>
            <a:ext cx="5182950" cy="555626"/>
          </a:xfrm>
        </p:spPr>
        <p:txBody>
          <a:bodyPr anchor="t" anchorCtr="0">
            <a:noAutofit/>
          </a:bodyPr>
          <a:lstStyle>
            <a:lvl1pPr algn="l">
              <a:lnSpc>
                <a:spcPts val="4800"/>
              </a:lnSpc>
              <a:defRPr sz="4600" spc="0" baseline="0">
                <a:solidFill>
                  <a:schemeClr val="bg1"/>
                </a:solidFill>
                <a:latin typeface="Segoe UI Light" pitchFamily="34" charset="0"/>
              </a:defRPr>
            </a:lvl1pPr>
          </a:lstStyle>
          <a:p>
            <a:r>
              <a:rPr lang="en-US" dirty="0"/>
              <a:t>Agenda</a:t>
            </a:r>
          </a:p>
        </p:txBody>
      </p:sp>
      <p:sp>
        <p:nvSpPr>
          <p:cNvPr id="11" name="Content Placeholder 2"/>
          <p:cNvSpPr>
            <a:spLocks noGrp="1"/>
          </p:cNvSpPr>
          <p:nvPr>
            <p:ph idx="1" hasCustomPrompt="1"/>
          </p:nvPr>
        </p:nvSpPr>
        <p:spPr>
          <a:xfrm>
            <a:off x="684390" y="2130628"/>
            <a:ext cx="5182950" cy="307777"/>
          </a:xfrm>
        </p:spPr>
        <p:txBody>
          <a:bodyPr/>
          <a:lstStyle>
            <a:lvl1pPr marL="274320" marR="0" indent="-274320" algn="l" defTabSz="914363" rtl="0" eaLnBrk="1" fontAlgn="auto" latinLnBrk="0" hangingPunct="1">
              <a:lnSpc>
                <a:spcPct val="100000"/>
              </a:lnSpc>
              <a:spcBef>
                <a:spcPts val="600"/>
              </a:spcBef>
              <a:spcAft>
                <a:spcPts val="0"/>
              </a:spcAft>
              <a:buClr>
                <a:srgbClr val="5191CD"/>
              </a:buClr>
              <a:buSzPct val="100000"/>
              <a:buFontTx/>
              <a:buBlip>
                <a:blip r:embed="rId3"/>
              </a:buBlip>
              <a:tabLst/>
              <a:defRPr>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3"/>
              </a:buBlip>
              <a:defRPr>
                <a:solidFill>
                  <a:srgbClr val="595959"/>
                </a:solidFill>
                <a:latin typeface="+mn-lt"/>
              </a:defRPr>
            </a:lvl2pPr>
            <a:lvl3pPr marL="822960" indent="-274320">
              <a:buClr>
                <a:srgbClr val="5191CD"/>
              </a:buClr>
              <a:buFont typeface="Segoe" charset="0"/>
              <a:buChar char="–"/>
              <a:defRPr>
                <a:solidFill>
                  <a:srgbClr val="595959"/>
                </a:solidFill>
                <a:latin typeface="+mn-lt"/>
              </a:defRPr>
            </a:lvl3pPr>
            <a:lvl4pPr marL="1097280" indent="-274320">
              <a:buClr>
                <a:srgbClr val="5191CD"/>
              </a:buClr>
              <a:buFont typeface="Segoe" charset="0"/>
              <a:buChar char="–"/>
              <a:defRPr>
                <a:solidFill>
                  <a:srgbClr val="595959"/>
                </a:solidFill>
                <a:latin typeface="+mn-lt"/>
              </a:defRPr>
            </a:lvl4pPr>
            <a:lvl5pPr marL="1371600" indent="-274320">
              <a:buClr>
                <a:srgbClr val="5191CD"/>
              </a:buClr>
              <a:buFont typeface="Segoe" charset="0"/>
              <a:buChar char="–"/>
              <a:defRPr>
                <a:solidFill>
                  <a:srgbClr val="595959"/>
                </a:solidFill>
                <a:latin typeface="+mn-lt"/>
              </a:defRPr>
            </a:lvl5pPr>
          </a:lstStyle>
          <a:p>
            <a:pPr marL="274320" marR="0" lvl="0" indent="-274320" algn="l" defTabSz="914363" rtl="0" eaLnBrk="1" fontAlgn="auto" latinLnBrk="0" hangingPunct="1">
              <a:lnSpc>
                <a:spcPct val="100000"/>
              </a:lnSpc>
              <a:spcBef>
                <a:spcPts val="600"/>
              </a:spcBef>
              <a:spcAft>
                <a:spcPts val="0"/>
              </a:spcAft>
              <a:buClr>
                <a:srgbClr val="5191CD"/>
              </a:buClr>
              <a:buSzPct val="100000"/>
              <a:buFontTx/>
              <a:buBlip>
                <a:blip r:embed="rId3"/>
              </a:buBlip>
              <a:tabLst/>
              <a:defRPr/>
            </a:pPr>
            <a:r>
              <a:rPr lang="en-US" dirty="0"/>
              <a:t>Click to insert text</a:t>
            </a:r>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03339" y="6510002"/>
            <a:ext cx="1481713" cy="246384"/>
          </a:xfrm>
          <a:prstGeom prst="rect">
            <a:avLst/>
          </a:prstGeom>
        </p:spPr>
      </p:pic>
    </p:spTree>
    <p:extLst>
      <p:ext uri="{BB962C8B-B14F-4D97-AF65-F5344CB8AC3E}">
        <p14:creationId xmlns:p14="http://schemas.microsoft.com/office/powerpoint/2010/main" val="3047498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Content Page (White)">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413687"/>
            <a:ext cx="12192127" cy="457200"/>
          </a:xfrm>
          <a:prstGeom prst="rect">
            <a:avLst/>
          </a:prstGeom>
        </p:spPr>
      </p:pic>
      <p:sp>
        <p:nvSpPr>
          <p:cNvPr id="2" name="Title 1"/>
          <p:cNvSpPr>
            <a:spLocks noGrp="1"/>
          </p:cNvSpPr>
          <p:nvPr>
            <p:ph type="title" hasCustomPrompt="1"/>
          </p:nvPr>
        </p:nvSpPr>
        <p:spPr>
          <a:xfrm>
            <a:off x="519249" y="360402"/>
            <a:ext cx="11151917" cy="553998"/>
          </a:xfrm>
        </p:spPr>
        <p:txBody>
          <a:bodyPr anchor="t"/>
          <a:lstStyle>
            <a:lvl1pPr algn="l" defTabSz="914363" rtl="0" eaLnBrk="1" latinLnBrk="0" hangingPunct="1">
              <a:lnSpc>
                <a:spcPct val="90000"/>
              </a:lnSpc>
              <a:spcBef>
                <a:spcPct val="0"/>
              </a:spcBef>
              <a:buNone/>
              <a:defRPr lang="en-US" sz="4000" b="0" kern="1200" cap="none" spc="-100" baseline="0" dirty="0">
                <a:ln w="3175">
                  <a:noFill/>
                </a:ln>
                <a:solidFill>
                  <a:schemeClr val="tx1"/>
                </a:solidFill>
                <a:effectLst/>
                <a:latin typeface="Segoe UI Light" pitchFamily="34" charset="0"/>
                <a:ea typeface="Verdana" pitchFamily="34" charset="0"/>
                <a:cs typeface="Verdana" pitchFamily="34" charset="0"/>
              </a:defRPr>
            </a:lvl1pPr>
          </a:lstStyle>
          <a:p>
            <a:r>
              <a:rPr lang="en-US" dirty="0"/>
              <a:t>Click to edit Master title style </a:t>
            </a:r>
          </a:p>
        </p:txBody>
      </p:sp>
      <p:sp>
        <p:nvSpPr>
          <p:cNvPr id="21" name="Text Placeholder 2"/>
          <p:cNvSpPr>
            <a:spLocks noGrp="1"/>
          </p:cNvSpPr>
          <p:nvPr>
            <p:ph type="body" idx="14"/>
          </p:nvPr>
        </p:nvSpPr>
        <p:spPr>
          <a:xfrm>
            <a:off x="519568" y="929640"/>
            <a:ext cx="11140484" cy="369332"/>
          </a:xfrm>
        </p:spPr>
        <p:txBody>
          <a:bodyPr anchor="b"/>
          <a:lstStyle>
            <a:lvl1pPr marL="0" indent="0">
              <a:buNone/>
              <a:tabLst>
                <a:tab pos="628650" algn="l"/>
              </a:tabLst>
              <a:defRPr sz="24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4" name="Content Placeholder 2"/>
          <p:cNvSpPr>
            <a:spLocks noGrp="1"/>
          </p:cNvSpPr>
          <p:nvPr>
            <p:ph idx="1"/>
          </p:nvPr>
        </p:nvSpPr>
        <p:spPr>
          <a:xfrm>
            <a:off x="864989" y="1676403"/>
            <a:ext cx="10566400" cy="1323439"/>
          </a:xfrm>
        </p:spPr>
        <p:txBody>
          <a:bodyPr/>
          <a:lstStyle>
            <a:lvl1pPr marL="274320" indent="-274320">
              <a:buClr>
                <a:srgbClr val="5191CD"/>
              </a:buClr>
              <a:buFontTx/>
              <a:buBlip>
                <a:blip r:embed="rId3"/>
              </a:buBlip>
              <a:defRPr sz="16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3"/>
              </a:buBlip>
              <a:defRPr sz="1400">
                <a:solidFill>
                  <a:srgbClr val="595959"/>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200">
                <a:solidFill>
                  <a:srgbClr val="595959"/>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200">
                <a:solidFill>
                  <a:srgbClr val="595959"/>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200">
                <a:solidFill>
                  <a:srgbClr val="595959"/>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83192" y="3390900"/>
            <a:ext cx="2225620" cy="76200"/>
          </a:xfrm>
          <a:prstGeom prst="rect">
            <a:avLst/>
          </a:prstGeom>
        </p:spPr>
      </p:pic>
      <p:pic>
        <p:nvPicPr>
          <p:cNvPr id="12" name="Picture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1952" y="6592046"/>
            <a:ext cx="2362510" cy="82296"/>
          </a:xfrm>
          <a:prstGeom prst="rect">
            <a:avLst/>
          </a:prstGeom>
        </p:spPr>
      </p:pic>
      <p:sp>
        <p:nvSpPr>
          <p:cNvPr id="17" name="TextBox 16"/>
          <p:cNvSpPr txBox="1"/>
          <p:nvPr/>
        </p:nvSpPr>
        <p:spPr>
          <a:xfrm>
            <a:off x="5787659" y="6518080"/>
            <a:ext cx="616812" cy="246221"/>
          </a:xfrm>
          <a:prstGeom prst="rect">
            <a:avLst/>
          </a:prstGeom>
          <a:noFill/>
        </p:spPr>
        <p:txBody>
          <a:bodyPr wrap="square" rtlCol="0">
            <a:spAutoFit/>
          </a:bodyPr>
          <a:lstStyle/>
          <a:p>
            <a:pPr algn="ctr" defTabSz="914400"/>
            <a:fld id="{0462CC3E-48DD-4274-8616-D549FD7B2C15}" type="slidenum">
              <a:rPr lang="en-US" sz="1000" smtClean="0">
                <a:solidFill>
                  <a:srgbClr val="000000"/>
                </a:solidFill>
                <a:latin typeface="Segoe UI" pitchFamily="34" charset="0"/>
                <a:ea typeface="Segoe UI" pitchFamily="34" charset="0"/>
                <a:cs typeface="Segoe UI" pitchFamily="34" charset="0"/>
              </a:rPr>
              <a:pPr algn="ctr" defTabSz="914400"/>
              <a:t>‹#›</a:t>
            </a:fld>
            <a:endParaRPr lang="en-US" sz="1000" dirty="0">
              <a:solidFill>
                <a:srgbClr val="000000"/>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303339" y="6510002"/>
            <a:ext cx="1481713" cy="246384"/>
          </a:xfrm>
          <a:prstGeom prst="rect">
            <a:avLst/>
          </a:prstGeom>
        </p:spPr>
      </p:pic>
    </p:spTree>
    <p:extLst>
      <p:ext uri="{BB962C8B-B14F-4D97-AF65-F5344CB8AC3E}">
        <p14:creationId xmlns:p14="http://schemas.microsoft.com/office/powerpoint/2010/main" val="51194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1_Content Page (White)_Empty">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413687"/>
            <a:ext cx="12192127" cy="457200"/>
          </a:xfrm>
          <a:prstGeom prst="rect">
            <a:avLst/>
          </a:prstGeom>
        </p:spPr>
      </p:pic>
      <p:sp>
        <p:nvSpPr>
          <p:cNvPr id="2" name="Title 1"/>
          <p:cNvSpPr>
            <a:spLocks noGrp="1"/>
          </p:cNvSpPr>
          <p:nvPr>
            <p:ph type="title" hasCustomPrompt="1"/>
          </p:nvPr>
        </p:nvSpPr>
        <p:spPr>
          <a:xfrm>
            <a:off x="519249" y="360402"/>
            <a:ext cx="11151917" cy="553998"/>
          </a:xfrm>
        </p:spPr>
        <p:txBody>
          <a:bodyPr anchor="t"/>
          <a:lstStyle>
            <a:lvl1pPr algn="l" defTabSz="914363" rtl="0" eaLnBrk="1" latinLnBrk="0" hangingPunct="1">
              <a:lnSpc>
                <a:spcPct val="90000"/>
              </a:lnSpc>
              <a:spcBef>
                <a:spcPct val="0"/>
              </a:spcBef>
              <a:buNone/>
              <a:defRPr lang="en-US" sz="4000" b="0" kern="1200" cap="none" spc="-100" baseline="0" dirty="0">
                <a:ln w="3175">
                  <a:noFill/>
                </a:ln>
                <a:solidFill>
                  <a:schemeClr val="tx1"/>
                </a:solidFill>
                <a:effectLst/>
                <a:latin typeface="Segoe UI Light" pitchFamily="34" charset="0"/>
                <a:ea typeface="Verdana" pitchFamily="34" charset="0"/>
                <a:cs typeface="Verdana" pitchFamily="34" charset="0"/>
              </a:defRPr>
            </a:lvl1pPr>
          </a:lstStyle>
          <a:p>
            <a:r>
              <a:rPr lang="en-US" dirty="0"/>
              <a:t>Click to edit Master title style </a:t>
            </a:r>
          </a:p>
        </p:txBody>
      </p:sp>
      <p:sp>
        <p:nvSpPr>
          <p:cNvPr id="21" name="Text Placeholder 2"/>
          <p:cNvSpPr>
            <a:spLocks noGrp="1"/>
          </p:cNvSpPr>
          <p:nvPr>
            <p:ph type="body" idx="14"/>
          </p:nvPr>
        </p:nvSpPr>
        <p:spPr>
          <a:xfrm>
            <a:off x="519568" y="929640"/>
            <a:ext cx="11140484" cy="369332"/>
          </a:xfrm>
        </p:spPr>
        <p:txBody>
          <a:bodyPr anchor="b"/>
          <a:lstStyle>
            <a:lvl1pPr marL="0" indent="0">
              <a:buNone/>
              <a:tabLst>
                <a:tab pos="628650" algn="l"/>
              </a:tabLst>
              <a:defRPr sz="24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83192" y="3390900"/>
            <a:ext cx="2225620" cy="76200"/>
          </a:xfrm>
          <a:prstGeom prst="rect">
            <a:avLst/>
          </a:prstGeom>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1952" y="6592046"/>
            <a:ext cx="2362510" cy="82296"/>
          </a:xfrm>
          <a:prstGeom prst="rect">
            <a:avLst/>
          </a:prstGeom>
        </p:spPr>
      </p:pic>
      <p:sp>
        <p:nvSpPr>
          <p:cNvPr id="16" name="TextBox 15"/>
          <p:cNvSpPr txBox="1"/>
          <p:nvPr/>
        </p:nvSpPr>
        <p:spPr>
          <a:xfrm>
            <a:off x="5787659" y="6518080"/>
            <a:ext cx="616812" cy="246221"/>
          </a:xfrm>
          <a:prstGeom prst="rect">
            <a:avLst/>
          </a:prstGeom>
          <a:noFill/>
        </p:spPr>
        <p:txBody>
          <a:bodyPr wrap="square" rtlCol="0">
            <a:spAutoFit/>
          </a:bodyPr>
          <a:lstStyle/>
          <a:p>
            <a:pPr algn="ctr" defTabSz="914400"/>
            <a:fld id="{0462CC3E-48DD-4274-8616-D549FD7B2C15}" type="slidenum">
              <a:rPr lang="en-US" sz="1000" smtClean="0">
                <a:solidFill>
                  <a:srgbClr val="000000"/>
                </a:solidFill>
                <a:latin typeface="Segoe UI" pitchFamily="34" charset="0"/>
                <a:ea typeface="Segoe UI" pitchFamily="34" charset="0"/>
                <a:cs typeface="Segoe UI" pitchFamily="34" charset="0"/>
              </a:rPr>
              <a:pPr algn="ctr" defTabSz="914400"/>
              <a:t>‹#›</a:t>
            </a:fld>
            <a:endParaRPr lang="en-US" sz="1000" dirty="0">
              <a:solidFill>
                <a:srgbClr val="000000"/>
              </a:solidFill>
              <a:latin typeface="Segoe UI" pitchFamily="34" charset="0"/>
              <a:ea typeface="Segoe UI" pitchFamily="34" charset="0"/>
              <a:cs typeface="Segoe UI" pitchFamily="34" charset="0"/>
            </a:endParaRPr>
          </a:p>
        </p:txBody>
      </p:sp>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03339" y="6510002"/>
            <a:ext cx="1481713" cy="246384"/>
          </a:xfrm>
          <a:prstGeom prst="rect">
            <a:avLst/>
          </a:prstGeom>
        </p:spPr>
      </p:pic>
    </p:spTree>
    <p:extLst>
      <p:ext uri="{BB962C8B-B14F-4D97-AF65-F5344CB8AC3E}">
        <p14:creationId xmlns:p14="http://schemas.microsoft.com/office/powerpoint/2010/main" val="33600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531951" y="1920907"/>
            <a:ext cx="11660048" cy="4266619"/>
          </a:xfrm>
          <a:prstGeom prst="rect">
            <a:avLst/>
          </a:prstGeom>
          <a:noFill/>
        </p:spPr>
      </p:pic>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6413687"/>
            <a:ext cx="12192127" cy="457200"/>
          </a:xfrm>
          <a:prstGeom prst="rect">
            <a:avLst/>
          </a:prstGeom>
        </p:spPr>
      </p:pic>
      <p:sp>
        <p:nvSpPr>
          <p:cNvPr id="2" name="Title 1"/>
          <p:cNvSpPr>
            <a:spLocks noGrp="1"/>
          </p:cNvSpPr>
          <p:nvPr>
            <p:ph type="title" hasCustomPrompt="1"/>
          </p:nvPr>
        </p:nvSpPr>
        <p:spPr>
          <a:xfrm>
            <a:off x="519249" y="360402"/>
            <a:ext cx="11151917" cy="553998"/>
          </a:xfrm>
        </p:spPr>
        <p:txBody>
          <a:bodyPr anchor="t"/>
          <a:lstStyle>
            <a:lvl1pPr algn="l" defTabSz="914363" rtl="0" eaLnBrk="1" latinLnBrk="0" hangingPunct="1">
              <a:lnSpc>
                <a:spcPct val="90000"/>
              </a:lnSpc>
              <a:spcBef>
                <a:spcPct val="0"/>
              </a:spcBef>
              <a:buNone/>
              <a:defRPr lang="en-US" sz="4000" b="0" kern="1200" cap="none" spc="-100" baseline="0" dirty="0">
                <a:ln w="3175">
                  <a:noFill/>
                </a:ln>
                <a:solidFill>
                  <a:schemeClr val="tx1"/>
                </a:solidFill>
                <a:effectLst/>
                <a:latin typeface="Segoe UI Light" pitchFamily="34" charset="0"/>
                <a:ea typeface="Verdana" pitchFamily="34" charset="0"/>
                <a:cs typeface="Verdana" pitchFamily="34" charset="0"/>
              </a:defRPr>
            </a:lvl1pPr>
          </a:lstStyle>
          <a:p>
            <a:r>
              <a:rPr lang="en-US" dirty="0"/>
              <a:t>Click to edit Master title style </a:t>
            </a:r>
          </a:p>
        </p:txBody>
      </p:sp>
      <p:sp>
        <p:nvSpPr>
          <p:cNvPr id="21" name="Text Placeholder 2"/>
          <p:cNvSpPr>
            <a:spLocks noGrp="1"/>
          </p:cNvSpPr>
          <p:nvPr>
            <p:ph type="body" idx="14"/>
          </p:nvPr>
        </p:nvSpPr>
        <p:spPr>
          <a:xfrm>
            <a:off x="519568" y="929640"/>
            <a:ext cx="11140484" cy="369332"/>
          </a:xfrm>
        </p:spPr>
        <p:txBody>
          <a:bodyPr anchor="b"/>
          <a:lstStyle>
            <a:lvl1pPr marL="0" indent="0">
              <a:buNone/>
              <a:tabLst>
                <a:tab pos="628650" algn="l"/>
              </a:tabLst>
              <a:defRPr sz="24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1952" y="6592046"/>
            <a:ext cx="2362510" cy="82296"/>
          </a:xfrm>
          <a:prstGeom prst="rect">
            <a:avLst/>
          </a:prstGeom>
        </p:spPr>
      </p:pic>
      <p:sp>
        <p:nvSpPr>
          <p:cNvPr id="17" name="TextBox 16"/>
          <p:cNvSpPr txBox="1"/>
          <p:nvPr/>
        </p:nvSpPr>
        <p:spPr>
          <a:xfrm>
            <a:off x="5787659" y="6518080"/>
            <a:ext cx="616812" cy="246221"/>
          </a:xfrm>
          <a:prstGeom prst="rect">
            <a:avLst/>
          </a:prstGeom>
          <a:noFill/>
        </p:spPr>
        <p:txBody>
          <a:bodyPr wrap="square" rtlCol="0">
            <a:spAutoFit/>
          </a:bodyPr>
          <a:lstStyle/>
          <a:p>
            <a:pPr algn="ctr" defTabSz="914400"/>
            <a:fld id="{0462CC3E-48DD-4274-8616-D549FD7B2C15}" type="slidenum">
              <a:rPr lang="en-US" sz="1000" smtClean="0">
                <a:solidFill>
                  <a:srgbClr val="000000"/>
                </a:solidFill>
                <a:latin typeface="Segoe UI" pitchFamily="34" charset="0"/>
                <a:ea typeface="Segoe UI" pitchFamily="34" charset="0"/>
                <a:cs typeface="Segoe UI" pitchFamily="34" charset="0"/>
              </a:rPr>
              <a:pPr algn="ctr" defTabSz="914400"/>
              <a:t>‹#›</a:t>
            </a:fld>
            <a:endParaRPr lang="en-US" sz="1000" dirty="0">
              <a:solidFill>
                <a:srgbClr val="000000"/>
              </a:solidFill>
              <a:latin typeface="Segoe UI" pitchFamily="34" charset="0"/>
              <a:ea typeface="Segoe UI" pitchFamily="34" charset="0"/>
              <a:cs typeface="Segoe UI" pitchFamily="34" charset="0"/>
            </a:endParaRPr>
          </a:p>
        </p:txBody>
      </p:sp>
      <p:sp>
        <p:nvSpPr>
          <p:cNvPr id="14" name="Content Placeholder 2"/>
          <p:cNvSpPr>
            <a:spLocks noGrp="1"/>
          </p:cNvSpPr>
          <p:nvPr>
            <p:ph idx="1"/>
          </p:nvPr>
        </p:nvSpPr>
        <p:spPr>
          <a:xfrm>
            <a:off x="864989" y="1676403"/>
            <a:ext cx="10566400" cy="1323439"/>
          </a:xfrm>
        </p:spPr>
        <p:txBody>
          <a:bodyPr/>
          <a:lstStyle>
            <a:lvl1pPr marL="274320" indent="-274320">
              <a:buClr>
                <a:srgbClr val="5191CD"/>
              </a:buClr>
              <a:buFontTx/>
              <a:buBlip>
                <a:blip r:embed="rId5"/>
              </a:buBlip>
              <a:defRPr sz="1600">
                <a:solidFill>
                  <a:srgbClr val="595959"/>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5"/>
              </a:buBlip>
              <a:defRPr sz="1400">
                <a:solidFill>
                  <a:srgbClr val="595959"/>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200">
                <a:solidFill>
                  <a:srgbClr val="595959"/>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200">
                <a:solidFill>
                  <a:srgbClr val="595959"/>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200">
                <a:solidFill>
                  <a:srgbClr val="595959"/>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303339" y="6510002"/>
            <a:ext cx="1481713" cy="246384"/>
          </a:xfrm>
          <a:prstGeom prst="rect">
            <a:avLst/>
          </a:prstGeom>
        </p:spPr>
      </p:pic>
    </p:spTree>
    <p:extLst>
      <p:ext uri="{BB962C8B-B14F-4D97-AF65-F5344CB8AC3E}">
        <p14:creationId xmlns:p14="http://schemas.microsoft.com/office/powerpoint/2010/main" val="1832561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_Content Page (Building)_Empty">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531951" y="1920907"/>
            <a:ext cx="11660048" cy="4266619"/>
          </a:xfrm>
          <a:prstGeom prst="rect">
            <a:avLst/>
          </a:prstGeom>
          <a:noFill/>
        </p:spPr>
      </p:pic>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6413687"/>
            <a:ext cx="12192127" cy="457200"/>
          </a:xfrm>
          <a:prstGeom prst="rect">
            <a:avLst/>
          </a:prstGeom>
        </p:spPr>
      </p:pic>
      <p:sp>
        <p:nvSpPr>
          <p:cNvPr id="2" name="Title 1"/>
          <p:cNvSpPr>
            <a:spLocks noGrp="1"/>
          </p:cNvSpPr>
          <p:nvPr>
            <p:ph type="title" hasCustomPrompt="1"/>
          </p:nvPr>
        </p:nvSpPr>
        <p:spPr>
          <a:xfrm>
            <a:off x="519249" y="360402"/>
            <a:ext cx="11151917" cy="553998"/>
          </a:xfrm>
        </p:spPr>
        <p:txBody>
          <a:bodyPr anchor="t"/>
          <a:lstStyle>
            <a:lvl1pPr algn="l" defTabSz="914363" rtl="0" eaLnBrk="1" latinLnBrk="0" hangingPunct="1">
              <a:lnSpc>
                <a:spcPct val="90000"/>
              </a:lnSpc>
              <a:spcBef>
                <a:spcPct val="0"/>
              </a:spcBef>
              <a:buNone/>
              <a:defRPr lang="en-US" sz="4000" b="0" kern="1200" cap="none" spc="-100" baseline="0" dirty="0">
                <a:ln w="3175">
                  <a:noFill/>
                </a:ln>
                <a:solidFill>
                  <a:schemeClr val="tx1"/>
                </a:solidFill>
                <a:effectLst/>
                <a:latin typeface="Segoe UI Light" pitchFamily="34" charset="0"/>
                <a:ea typeface="Verdana" pitchFamily="34" charset="0"/>
                <a:cs typeface="Verdana" pitchFamily="34" charset="0"/>
              </a:defRPr>
            </a:lvl1pPr>
          </a:lstStyle>
          <a:p>
            <a:r>
              <a:rPr lang="en-US" dirty="0"/>
              <a:t>Click to edit Master title style </a:t>
            </a:r>
          </a:p>
        </p:txBody>
      </p:sp>
      <p:sp>
        <p:nvSpPr>
          <p:cNvPr id="21" name="Text Placeholder 2"/>
          <p:cNvSpPr>
            <a:spLocks noGrp="1"/>
          </p:cNvSpPr>
          <p:nvPr>
            <p:ph type="body" idx="14"/>
          </p:nvPr>
        </p:nvSpPr>
        <p:spPr>
          <a:xfrm>
            <a:off x="519568" y="929640"/>
            <a:ext cx="11140484" cy="369332"/>
          </a:xfrm>
        </p:spPr>
        <p:txBody>
          <a:bodyPr anchor="b"/>
          <a:lstStyle>
            <a:lvl1pPr marL="0" indent="0">
              <a:buNone/>
              <a:tabLst>
                <a:tab pos="628650" algn="l"/>
              </a:tabLst>
              <a:defRPr sz="24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1952" y="6592046"/>
            <a:ext cx="2362510" cy="82296"/>
          </a:xfrm>
          <a:prstGeom prst="rect">
            <a:avLst/>
          </a:prstGeom>
        </p:spPr>
      </p:pic>
      <p:sp>
        <p:nvSpPr>
          <p:cNvPr id="17" name="TextBox 16"/>
          <p:cNvSpPr txBox="1"/>
          <p:nvPr/>
        </p:nvSpPr>
        <p:spPr>
          <a:xfrm>
            <a:off x="5787659" y="6518080"/>
            <a:ext cx="616812" cy="246221"/>
          </a:xfrm>
          <a:prstGeom prst="rect">
            <a:avLst/>
          </a:prstGeom>
          <a:noFill/>
        </p:spPr>
        <p:txBody>
          <a:bodyPr wrap="square" rtlCol="0">
            <a:spAutoFit/>
          </a:bodyPr>
          <a:lstStyle/>
          <a:p>
            <a:pPr algn="ctr" defTabSz="914400"/>
            <a:fld id="{0462CC3E-48DD-4274-8616-D549FD7B2C15}" type="slidenum">
              <a:rPr lang="en-US" sz="1000" smtClean="0">
                <a:solidFill>
                  <a:srgbClr val="000000"/>
                </a:solidFill>
                <a:latin typeface="Segoe UI" pitchFamily="34" charset="0"/>
                <a:ea typeface="Segoe UI" pitchFamily="34" charset="0"/>
                <a:cs typeface="Segoe UI" pitchFamily="34" charset="0"/>
              </a:rPr>
              <a:pPr algn="ctr" defTabSz="914400"/>
              <a:t>‹#›</a:t>
            </a:fld>
            <a:endParaRPr lang="en-US" sz="1000" dirty="0">
              <a:solidFill>
                <a:srgbClr val="000000"/>
              </a:solidFill>
              <a:latin typeface="Segoe UI" pitchFamily="34" charset="0"/>
              <a:ea typeface="Segoe UI" pitchFamily="34" charset="0"/>
              <a:cs typeface="Segoe UI" pitchFamily="34" charset="0"/>
            </a:endParaRPr>
          </a:p>
        </p:txBody>
      </p:sp>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03339" y="6510002"/>
            <a:ext cx="1481713" cy="246384"/>
          </a:xfrm>
          <a:prstGeom prst="rect">
            <a:avLst/>
          </a:prstGeom>
        </p:spPr>
      </p:pic>
    </p:spTree>
    <p:extLst>
      <p:ext uri="{BB962C8B-B14F-4D97-AF65-F5344CB8AC3E}">
        <p14:creationId xmlns:p14="http://schemas.microsoft.com/office/powerpoint/2010/main" val="231189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ransition Slide (Option 2)">
    <p:spTree>
      <p:nvGrpSpPr>
        <p:cNvPr id="1" name=""/>
        <p:cNvGrpSpPr/>
        <p:nvPr/>
      </p:nvGrpSpPr>
      <p:grpSpPr>
        <a:xfrm>
          <a:off x="0" y="0"/>
          <a:ext cx="0" cy="0"/>
          <a:chOff x="0" y="0"/>
          <a:chExt cx="0" cy="0"/>
        </a:xfrm>
      </p:grpSpPr>
      <p:pic>
        <p:nvPicPr>
          <p:cNvPr id="22" name="Picture 21" descr="services_footer_white_2.jpg"/>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332365" y="6467476"/>
            <a:ext cx="1480126" cy="314324"/>
          </a:xfrm>
          <a:prstGeom prst="rect">
            <a:avLst/>
          </a:prstGeom>
        </p:spPr>
      </p:pic>
      <p:sp>
        <p:nvSpPr>
          <p:cNvPr id="3" name="Rectangle 2"/>
          <p:cNvSpPr/>
          <p:nvPr/>
        </p:nvSpPr>
        <p:spPr bwMode="auto">
          <a:xfrm>
            <a:off x="1" y="1922730"/>
            <a:ext cx="12192000" cy="2897925"/>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2" name="Title 1"/>
          <p:cNvSpPr>
            <a:spLocks noGrp="1"/>
          </p:cNvSpPr>
          <p:nvPr>
            <p:ph type="ctrTitle" hasCustomPrompt="1"/>
          </p:nvPr>
        </p:nvSpPr>
        <p:spPr>
          <a:xfrm>
            <a:off x="684392" y="2627981"/>
            <a:ext cx="10588122" cy="555626"/>
          </a:xfrm>
        </p:spPr>
        <p:txBody>
          <a:bodyPr anchor="t" anchorCtr="0">
            <a:noAutofit/>
          </a:bodyPr>
          <a:lstStyle>
            <a:lvl1pPr algn="l">
              <a:lnSpc>
                <a:spcPts val="4800"/>
              </a:lnSpc>
              <a:defRPr sz="4600" spc="0" baseline="0">
                <a:solidFill>
                  <a:schemeClr val="bg1"/>
                </a:solidFill>
                <a:latin typeface="Segoe UI Light" pitchFamily="34" charset="0"/>
              </a:defRPr>
            </a:lvl1pPr>
          </a:lstStyle>
          <a:p>
            <a:r>
              <a:rPr lang="en-US" dirty="0"/>
              <a:t>Click to Edit Transition Slide Title</a:t>
            </a:r>
          </a:p>
        </p:txBody>
      </p:sp>
      <p:sp>
        <p:nvSpPr>
          <p:cNvPr id="13" name="Subtitle 2"/>
          <p:cNvSpPr>
            <a:spLocks noGrp="1"/>
          </p:cNvSpPr>
          <p:nvPr>
            <p:ph type="subTitle" idx="1" hasCustomPrompt="1"/>
          </p:nvPr>
        </p:nvSpPr>
        <p:spPr>
          <a:xfrm>
            <a:off x="684392" y="3371037"/>
            <a:ext cx="10588122" cy="655320"/>
          </a:xfrm>
        </p:spPr>
        <p:txBody>
          <a:bodyPr>
            <a:normAutofit/>
          </a:bodyPr>
          <a:lstStyle>
            <a:lvl1pPr marL="27432" indent="0" algn="l">
              <a:buNone/>
              <a:defRPr sz="1800">
                <a:solidFill>
                  <a:schemeClr val="bg1"/>
                </a:solidFill>
                <a:latin typeface="Segoe UI Light"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Presenter’s Name</a:t>
            </a:r>
          </a:p>
        </p:txBody>
      </p:sp>
      <p:sp>
        <p:nvSpPr>
          <p:cNvPr id="21" name="Rectangle 20"/>
          <p:cNvSpPr/>
          <p:nvPr/>
        </p:nvSpPr>
        <p:spPr bwMode="auto">
          <a:xfrm>
            <a:off x="1" y="4345164"/>
            <a:ext cx="12192000" cy="475488"/>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7632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51501791"/>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Flipbook title slide">
    <p:spTree>
      <p:nvGrpSpPr>
        <p:cNvPr id="1" name=""/>
        <p:cNvGrpSpPr/>
        <p:nvPr/>
      </p:nvGrpSpPr>
      <p:grpSpPr>
        <a:xfrm>
          <a:off x="0" y="0"/>
          <a:ext cx="0" cy="0"/>
          <a:chOff x="0" y="0"/>
          <a:chExt cx="0" cy="0"/>
        </a:xfrm>
      </p:grpSpPr>
      <p:sp>
        <p:nvSpPr>
          <p:cNvPr id="2" name="TextBox 1"/>
          <p:cNvSpPr txBox="1"/>
          <p:nvPr/>
        </p:nvSpPr>
        <p:spPr>
          <a:xfrm>
            <a:off x="242330" y="6549444"/>
            <a:ext cx="8361652" cy="107722"/>
          </a:xfrm>
          <a:prstGeom prst="rect">
            <a:avLst/>
          </a:prstGeom>
          <a:noFill/>
        </p:spPr>
        <p:txBody>
          <a:bodyPr wrap="square" lIns="0" tIns="0" rIns="0" bIns="0" rtlCol="0">
            <a:spAutoFit/>
          </a:bodyPr>
          <a:lstStyle/>
          <a:p>
            <a:pPr defTabSz="914400"/>
            <a:r>
              <a:rPr lang="en-US" sz="700" dirty="0">
                <a:solidFill>
                  <a:srgbClr val="555555"/>
                </a:solidFill>
              </a:rPr>
              <a:t>© 2011 Microsoft Corporation. All rights reserved. Microsoft is a trademark of the Microsoft group of companies. All other trademarks are property of their respective owners. All content is Microsoft confidential.</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5880" y="6149602"/>
            <a:ext cx="1563395" cy="340327"/>
          </a:xfrm>
          <a:prstGeom prst="rect">
            <a:avLst/>
          </a:prstGeom>
        </p:spPr>
      </p:pic>
    </p:spTree>
    <p:extLst>
      <p:ext uri="{BB962C8B-B14F-4D97-AF65-F5344CB8AC3E}">
        <p14:creationId xmlns:p14="http://schemas.microsoft.com/office/powerpoint/2010/main" val="223478102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516072" y="1444630"/>
            <a:ext cx="11176000" cy="155427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249004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22386" y="1198565"/>
            <a:ext cx="11401218" cy="1603003"/>
          </a:xfrm>
        </p:spPr>
        <p:txBody>
          <a:bodyPr/>
          <a:lstStyle>
            <a:lvl1pPr marL="0" indent="0" algn="l">
              <a:lnSpc>
                <a:spcPts val="2498"/>
              </a:lnSpc>
              <a:spcBef>
                <a:spcPts val="0"/>
              </a:spcBef>
              <a:buNone/>
              <a:defRPr>
                <a:solidFill>
                  <a:schemeClr val="tx2"/>
                </a:solidFill>
              </a:defRPr>
            </a:lvl1pPr>
            <a:lvl2pPr marL="0" indent="0" algn="l">
              <a:lnSpc>
                <a:spcPts val="2498"/>
              </a:lnSpc>
              <a:spcBef>
                <a:spcPts val="0"/>
              </a:spcBef>
              <a:buNone/>
              <a:defRPr>
                <a:solidFill>
                  <a:schemeClr val="tx2"/>
                </a:solidFill>
              </a:defRPr>
            </a:lvl2pPr>
            <a:lvl3pPr marL="0" indent="0" algn="l">
              <a:lnSpc>
                <a:spcPts val="2498"/>
              </a:lnSpc>
              <a:spcBef>
                <a:spcPts val="0"/>
              </a:spcBef>
              <a:buNone/>
              <a:defRPr>
                <a:solidFill>
                  <a:schemeClr val="tx2"/>
                </a:solidFill>
              </a:defRPr>
            </a:lvl3pPr>
            <a:lvl4pPr marL="0" indent="0" algn="l">
              <a:lnSpc>
                <a:spcPts val="2498"/>
              </a:lnSpc>
              <a:spcBef>
                <a:spcPts val="0"/>
              </a:spcBef>
              <a:buNone/>
              <a:defRPr>
                <a:solidFill>
                  <a:schemeClr val="tx2"/>
                </a:solidFill>
              </a:defRPr>
            </a:lvl4pPr>
            <a:lvl5pPr marL="0" indent="0" algn="l">
              <a:lnSpc>
                <a:spcPts val="2498"/>
              </a:lnSpc>
              <a:spcBef>
                <a:spcPts val="0"/>
              </a:spcBef>
              <a:buNone/>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title"/>
          </p:nvPr>
        </p:nvSpPr>
        <p:spPr>
          <a:xfrm>
            <a:off x="422385" y="436417"/>
            <a:ext cx="11401220" cy="484748"/>
          </a:xfrm>
        </p:spPr>
        <p:txBody>
          <a:bodyPr/>
          <a:lstStyle>
            <a:lvl1pPr algn="l" defTabSz="914052" rtl="0" eaLnBrk="1" latinLnBrk="0" hangingPunct="1">
              <a:lnSpc>
                <a:spcPct val="90000"/>
              </a:lnSpc>
              <a:spcBef>
                <a:spcPct val="0"/>
              </a:spcBef>
              <a:buNone/>
              <a:defRPr lang="en-US" sz="35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a:t>Click to edit Master title style</a:t>
            </a:r>
          </a:p>
        </p:txBody>
      </p:sp>
    </p:spTree>
    <p:extLst>
      <p:ext uri="{BB962C8B-B14F-4D97-AF65-F5344CB8AC3E}">
        <p14:creationId xmlns:p14="http://schemas.microsoft.com/office/powerpoint/2010/main" val="1990857275"/>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1_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864989" y="1463110"/>
            <a:ext cx="10566400" cy="1384995"/>
          </a:xfrm>
        </p:spPr>
        <p:txBody>
          <a:bodyPr/>
          <a:lstStyle>
            <a:lvl1pPr marL="274320" indent="-274320">
              <a:buClr>
                <a:srgbClr val="5191CD"/>
              </a:buClr>
              <a:buFontTx/>
              <a:buBlip>
                <a:blip r:embed="rId2"/>
              </a:buBlip>
              <a:defRPr sz="1400">
                <a:solidFill>
                  <a:schemeClr val="tx1"/>
                </a:solidFill>
                <a:latin typeface="Segoe UI" pitchFamily="34" charset="0"/>
                <a:ea typeface="Segoe UI" pitchFamily="34" charset="0"/>
                <a:cs typeface="Segoe UI" pitchFamily="34" charset="0"/>
              </a:defRPr>
            </a:lvl1pPr>
            <a:lvl2pPr marL="548640" indent="-274320">
              <a:buClr>
                <a:srgbClr val="5191CD"/>
              </a:buClr>
              <a:buSzPct val="75000"/>
              <a:buFontTx/>
              <a:buBlip>
                <a:blip r:embed="rId2"/>
              </a:buBlip>
              <a:defRPr sz="1400">
                <a:solidFill>
                  <a:schemeClr val="tx1"/>
                </a:solidFill>
                <a:latin typeface="Segoe UI" pitchFamily="34" charset="0"/>
                <a:ea typeface="Segoe UI" pitchFamily="34" charset="0"/>
                <a:cs typeface="Segoe UI" pitchFamily="34" charset="0"/>
              </a:defRPr>
            </a:lvl2pPr>
            <a:lvl3pPr marL="82296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3pPr>
            <a:lvl4pPr marL="109728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4pPr>
            <a:lvl5pPr marL="1371600" indent="-274320">
              <a:buClr>
                <a:srgbClr val="5191CD"/>
              </a:buClr>
              <a:buFont typeface="Segoe" charset="0"/>
              <a:buChar char="–"/>
              <a:defRPr sz="1400">
                <a:solidFill>
                  <a:schemeClr val="tx1"/>
                </a:solidFill>
                <a:latin typeface="Segoe UI" pitchFamily="34" charset="0"/>
                <a:ea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413687"/>
            <a:ext cx="12192127"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83193" y="3390900"/>
            <a:ext cx="2225620" cy="76200"/>
          </a:xfrm>
          <a:prstGeom prst="rect">
            <a:avLst/>
          </a:prstGeom>
        </p:spPr>
      </p:pic>
      <p:sp>
        <p:nvSpPr>
          <p:cNvPr id="17" name="TextBox 16"/>
          <p:cNvSpPr txBox="1"/>
          <p:nvPr userDrawn="1"/>
        </p:nvSpPr>
        <p:spPr>
          <a:xfrm>
            <a:off x="5787715" y="6518164"/>
            <a:ext cx="616812" cy="246221"/>
          </a:xfrm>
          <a:prstGeom prst="rect">
            <a:avLst/>
          </a:prstGeom>
          <a:noFill/>
        </p:spPr>
        <p:txBody>
          <a:bodyPr wrap="square" rtlCol="0">
            <a:spAutoFit/>
          </a:bodyPr>
          <a:lstStyle/>
          <a:p>
            <a:pPr algn="ctr" defTabSz="914400"/>
            <a:fld id="{0462CC3E-48DD-4274-8616-D549FD7B2C15}" type="slidenum">
              <a:rPr lang="en-US" sz="1000" smtClean="0">
                <a:solidFill>
                  <a:srgbClr val="000000"/>
                </a:solidFill>
                <a:latin typeface="Segoe UI" pitchFamily="34" charset="0"/>
                <a:ea typeface="Segoe UI" pitchFamily="34" charset="0"/>
                <a:cs typeface="Segoe UI" pitchFamily="34" charset="0"/>
              </a:rPr>
              <a:pPr algn="ctr" defTabSz="914400"/>
              <a:t>‹#›</a:t>
            </a:fld>
            <a:endParaRPr lang="en-US" sz="1000"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31952" y="6582940"/>
            <a:ext cx="2901696" cy="75828"/>
          </a:xfrm>
          <a:prstGeom prst="rect">
            <a:avLst/>
          </a:prstGeom>
        </p:spPr>
      </p:pic>
      <p:pic>
        <p:nvPicPr>
          <p:cNvPr id="27" name="Picture 2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9822547" y="6506872"/>
            <a:ext cx="1828796" cy="228133"/>
          </a:xfrm>
          <a:prstGeom prst="rect">
            <a:avLst/>
          </a:prstGeom>
        </p:spPr>
      </p:pic>
      <p:sp>
        <p:nvSpPr>
          <p:cNvPr id="30" name="Title 1"/>
          <p:cNvSpPr>
            <a:spLocks noGrp="1"/>
          </p:cNvSpPr>
          <p:nvPr>
            <p:ph type="title" hasCustomPrompt="1"/>
          </p:nvPr>
        </p:nvSpPr>
        <p:spPr>
          <a:xfrm>
            <a:off x="519249" y="360468"/>
            <a:ext cx="11151917" cy="509171"/>
          </a:xfrm>
        </p:spPr>
        <p:txBody>
          <a:bodyPr anchor="t"/>
          <a:lstStyle>
            <a:lvl1pPr>
              <a:defRPr sz="3200" b="0">
                <a:solidFill>
                  <a:schemeClr val="tx1"/>
                </a:solidFill>
                <a:latin typeface="Segoe UI Light" pitchFamily="34" charset="0"/>
              </a:defRPr>
            </a:lvl1pPr>
          </a:lstStyle>
          <a:p>
            <a:r>
              <a:rPr lang="en-US" dirty="0"/>
              <a:t>Click to edit Master title style </a:t>
            </a:r>
          </a:p>
        </p:txBody>
      </p:sp>
      <p:sp>
        <p:nvSpPr>
          <p:cNvPr id="31" name="Text Placeholder 2"/>
          <p:cNvSpPr>
            <a:spLocks noGrp="1"/>
          </p:cNvSpPr>
          <p:nvPr>
            <p:ph type="body" idx="16"/>
          </p:nvPr>
        </p:nvSpPr>
        <p:spPr>
          <a:xfrm>
            <a:off x="519623" y="869577"/>
            <a:ext cx="11132862" cy="276999"/>
          </a:xfrm>
        </p:spPr>
        <p:txBody>
          <a:bodyPr anchor="b"/>
          <a:lstStyle>
            <a:lvl1pPr marL="0" indent="0">
              <a:buNone/>
              <a:tabLst>
                <a:tab pos="628650" algn="l"/>
              </a:tabLst>
              <a:defRPr sz="1800" b="0">
                <a:solidFill>
                  <a:srgbClr val="949699"/>
                </a:solidFill>
                <a:latin typeface="Segoe UI Light" pitchFamily="34" charset="0"/>
                <a:ea typeface="Verdana" pitchFamily="34" charset="0"/>
                <a:cs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38311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793" tIns="54397" rIns="108793" bIns="54397" rtlCol="0" anchor="ctr">
            <a:normAutofit/>
          </a:bodyPr>
          <a:lstStyle/>
          <a:p>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5"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793" tIns="54397" rIns="108793" bIns="54397" rtlCol="0" anchor="ctr">
            <a:normAutofit/>
          </a:bodyPr>
          <a:lstStyle/>
          <a:p>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793" tIns="54397" rIns="108793" bIns="54397" rtlCol="0" anchor="ctr">
            <a:normAutofit/>
          </a:bodyPr>
          <a:lstStyle/>
          <a:p>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181934781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1031" y="274208"/>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1031" y="274208"/>
            <a:ext cx="1947103"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116345069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1666229712"/>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90"/>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Tree>
    <p:extLst>
      <p:ext uri="{BB962C8B-B14F-4D97-AF65-F5344CB8AC3E}">
        <p14:creationId xmlns:p14="http://schemas.microsoft.com/office/powerpoint/2010/main" val="33467570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578347882"/>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2345741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4234382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3"/>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9"/>
            <a:ext cx="1006102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36707726"/>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85289592"/>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411235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4" name="Rectangle 3"/>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8" name="Rectangle 7"/>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1"/>
            <a:ext cx="2881117" cy="1059525"/>
          </a:xfrm>
          <a:prstGeom prst="rect">
            <a:avLst/>
          </a:prstGeom>
        </p:spPr>
      </p:pic>
      <p:sp>
        <p:nvSpPr>
          <p:cNvPr id="6" name="Rectangle 5"/>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1"/>
            <a:ext cx="2881117" cy="1059525"/>
          </a:xfrm>
          <a:prstGeom prst="rect">
            <a:avLst/>
          </a:prstGeom>
        </p:spPr>
      </p:pic>
      <p:sp>
        <p:nvSpPr>
          <p:cNvPr id="9" name="Rectangle 8"/>
          <p:cNvSpPr/>
          <p:nvPr userDrawn="1"/>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9" y="2901953"/>
            <a:ext cx="2845008" cy="1046245"/>
          </a:xfrm>
          <a:prstGeom prst="rect">
            <a:avLst/>
          </a:prstGeom>
        </p:spPr>
      </p:pic>
    </p:spTree>
    <p:extLst>
      <p:ext uri="{BB962C8B-B14F-4D97-AF65-F5344CB8AC3E}">
        <p14:creationId xmlns:p14="http://schemas.microsoft.com/office/powerpoint/2010/main" val="1591104220"/>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703513"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590" y="1592"/>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3"/>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30" tIns="38065" rIns="76130" bIns="38065" rtlCol="0" anchor="ctr"/>
          <a:lstStyle/>
          <a:p>
            <a:pPr algn="ctr" defTabSz="1087332"/>
            <a:endParaRPr lang="en-US" sz="2198">
              <a:solidFill>
                <a:prstClr val="white"/>
              </a:solidFill>
            </a:endParaRPr>
          </a:p>
        </p:txBody>
      </p:sp>
      <p:sp>
        <p:nvSpPr>
          <p:cNvPr id="2" name="Title 1"/>
          <p:cNvSpPr>
            <a:spLocks noGrp="1"/>
          </p:cNvSpPr>
          <p:nvPr>
            <p:ph type="title"/>
            <p:custDataLst>
              <p:tags r:id="rId4"/>
            </p:custDataLst>
          </p:nvPr>
        </p:nvSpPr>
        <p:spPr>
          <a:xfrm>
            <a:off x="762005" y="2"/>
            <a:ext cx="11430000" cy="646042"/>
          </a:xfrm>
        </p:spPr>
        <p:txBody>
          <a:bodyPr>
            <a:noAutofit/>
          </a:bodyPr>
          <a:lstStyle>
            <a:lvl1pPr marL="225357" indent="0">
              <a:defRPr sz="4399"/>
            </a:lvl1pPr>
          </a:lstStyle>
          <a:p>
            <a:endParaRPr lang="en-US" dirty="0"/>
          </a:p>
        </p:txBody>
      </p:sp>
      <p:sp>
        <p:nvSpPr>
          <p:cNvPr id="6" name="Text Placeholder 5"/>
          <p:cNvSpPr>
            <a:spLocks noGrp="1"/>
          </p:cNvSpPr>
          <p:nvPr>
            <p:ph type="body" sz="quarter" idx="12" hasCustomPrompt="1"/>
            <p:custDataLst>
              <p:tags r:id="rId5"/>
            </p:custDataLst>
          </p:nvPr>
        </p:nvSpPr>
        <p:spPr>
          <a:xfrm>
            <a:off x="762005" y="573620"/>
            <a:ext cx="11430000" cy="373063"/>
          </a:xfrm>
          <a:prstGeom prst="rect">
            <a:avLst/>
          </a:prstGeom>
        </p:spPr>
        <p:txBody>
          <a:bodyPr lIns="380851" tIns="53319" rIns="53319" bIns="53319">
            <a:noAutofit/>
          </a:bodyPr>
          <a:lstStyle>
            <a:lvl1pPr marL="0" indent="0">
              <a:buNone/>
              <a:defRPr sz="2798">
                <a:latin typeface="Segoe UI Light" pitchFamily="34" charset="0"/>
              </a:defRPr>
            </a:lvl1pPr>
            <a:lvl2pPr marL="281475" indent="0">
              <a:buNone/>
              <a:defRPr/>
            </a:lvl2pPr>
            <a:lvl3pPr marL="588058" indent="0">
              <a:buNone/>
              <a:defRPr/>
            </a:lvl3pPr>
            <a:lvl4pPr marL="869531" indent="0">
              <a:buNone/>
              <a:defRPr/>
            </a:lvl4pPr>
            <a:lvl5pPr marL="1104753" indent="0">
              <a:buNone/>
              <a:defRPr/>
            </a:lvl5pPr>
          </a:lstStyle>
          <a:p>
            <a:pPr lvl="0"/>
            <a:r>
              <a:rPr lang="en-US" dirty="0"/>
              <a:t>Click to add subtitle</a:t>
            </a:r>
          </a:p>
        </p:txBody>
      </p:sp>
      <p:sp>
        <p:nvSpPr>
          <p:cNvPr id="9" name="Rectangle 8"/>
          <p:cNvSpPr/>
          <p:nvPr userDrawn="1">
            <p:custDataLst>
              <p:tags r:id="rId6"/>
            </p:custDataLst>
          </p:nvPr>
        </p:nvSpPr>
        <p:spPr>
          <a:xfrm>
            <a:off x="1" y="1"/>
            <a:ext cx="762000"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3" tIns="38062" rIns="76123" bIns="38062" rtlCol="0" anchor="ctr">
            <a:noAutofit/>
          </a:bodyPr>
          <a:lstStyle/>
          <a:p>
            <a:pPr algn="ctr" defTabSz="1087332"/>
            <a:endParaRPr lang="en-US" sz="2198">
              <a:solidFill>
                <a:prstClr val="white"/>
              </a:solidFill>
            </a:endParaRPr>
          </a:p>
        </p:txBody>
      </p:sp>
      <p:sp>
        <p:nvSpPr>
          <p:cNvPr id="15" name="Slide Number Placeholder 4"/>
          <p:cNvSpPr>
            <a:spLocks noGrp="1"/>
          </p:cNvSpPr>
          <p:nvPr>
            <p:ph type="sldNum" sz="quarter" idx="16"/>
            <p:custDataLst>
              <p:tags r:id="rId7"/>
            </p:custDataLst>
          </p:nvPr>
        </p:nvSpPr>
        <p:spPr>
          <a:xfrm>
            <a:off x="11430009" y="6478603"/>
            <a:ext cx="761999" cy="379413"/>
          </a:xfrm>
          <a:prstGeom prst="rect">
            <a:avLst/>
          </a:prstGeom>
        </p:spPr>
        <p:txBody>
          <a:bodyPr/>
          <a:lstStyle/>
          <a:p>
            <a:pPr defTabSz="913973"/>
            <a:fld id="{6A4C1A4A-E5E6-4CC1-B72C-A20A4EB3E2D2}" type="slidenum">
              <a:rPr lang="en-US" sz="1899" smtClean="0">
                <a:solidFill>
                  <a:srgbClr val="505050"/>
                </a:solidFill>
              </a:rPr>
              <a:pPr defTabSz="913973"/>
              <a:t>‹#›</a:t>
            </a:fld>
            <a:endParaRPr lang="en-US" sz="1899" dirty="0">
              <a:solidFill>
                <a:srgbClr val="505050"/>
              </a:solidFill>
            </a:endParaRPr>
          </a:p>
        </p:txBody>
      </p:sp>
      <p:sp>
        <p:nvSpPr>
          <p:cNvPr id="10" name="Footer Placeholder 3"/>
          <p:cNvSpPr>
            <a:spLocks noGrp="1"/>
          </p:cNvSpPr>
          <p:nvPr>
            <p:ph type="ftr" sz="quarter" idx="11"/>
            <p:custDataLst>
              <p:tags r:id="rId8"/>
            </p:custDataLst>
          </p:nvPr>
        </p:nvSpPr>
        <p:spPr>
          <a:xfrm>
            <a:off x="3048000" y="6477889"/>
            <a:ext cx="8382000" cy="380127"/>
          </a:xfrm>
          <a:prstGeom prst="rect">
            <a:avLst/>
          </a:prstGeom>
        </p:spPr>
        <p:txBody>
          <a:bodyPr/>
          <a:lstStyle/>
          <a:p>
            <a:pPr defTabSz="913973"/>
            <a:endParaRPr lang="en-US" sz="1899" dirty="0">
              <a:solidFill>
                <a:srgbClr val="505050"/>
              </a:solidFill>
            </a:endParaRPr>
          </a:p>
        </p:txBody>
      </p:sp>
      <p:sp>
        <p:nvSpPr>
          <p:cNvPr id="11" name="Footer Placeholder 2"/>
          <p:cNvSpPr txBox="1">
            <a:spLocks/>
          </p:cNvSpPr>
          <p:nvPr userDrawn="1">
            <p:custDataLst>
              <p:tags r:id="rId9"/>
            </p:custDataLst>
          </p:nvPr>
        </p:nvSpPr>
        <p:spPr>
          <a:xfrm>
            <a:off x="762000" y="6478603"/>
            <a:ext cx="2286000" cy="379413"/>
          </a:xfrm>
          <a:prstGeom prst="rect">
            <a:avLst/>
          </a:prstGeom>
        </p:spPr>
        <p:txBody>
          <a:bodyPr lIns="380653" tIns="38065" rIns="76130" bIns="3806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36365991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793" tIns="54397" rIns="108793" bIns="54397" rtlCol="0" anchor="ctr">
            <a:normAutofit/>
          </a:bodyPr>
          <a:lstStyle/>
          <a:p>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5"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793" tIns="54397" rIns="108793" bIns="54397" rtlCol="0" anchor="ctr">
            <a:normAutofit/>
          </a:bodyPr>
          <a:lstStyle/>
          <a:p>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793" tIns="54397" rIns="108793" bIns="54397" rtlCol="0" anchor="ctr">
            <a:normAutofit/>
          </a:bodyPr>
          <a:lstStyle/>
          <a:p>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18898804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12371997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1" y="6477876"/>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3040561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779"/>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779"/>
            <a:fld id="{FAADACFB-7C71-4E89-89D2-7BBA40B7BFA9}" type="slidenum">
              <a:rPr lang="en-US" smtClean="0">
                <a:solidFill>
                  <a:srgbClr val="505050"/>
                </a:solidFill>
              </a:rPr>
              <a:pPr defTabSz="1087779"/>
              <a:t>‹#›</a:t>
            </a:fld>
            <a:endParaRPr lang="en-US" dirty="0">
              <a:solidFill>
                <a:srgbClr val="505050"/>
              </a:solidFill>
            </a:endParaRPr>
          </a:p>
        </p:txBody>
      </p:sp>
    </p:spTree>
    <p:extLst>
      <p:ext uri="{BB962C8B-B14F-4D97-AF65-F5344CB8AC3E}">
        <p14:creationId xmlns:p14="http://schemas.microsoft.com/office/powerpoint/2010/main" val="182622894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5039998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81859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85980048"/>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3"/>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9"/>
            <a:ext cx="1006102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2328165"/>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058618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427038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9098197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57986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5578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076756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74739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9"/>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3376251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96333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4" name="Rectangle 3"/>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8" name="Rectangle 7"/>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1"/>
            <a:ext cx="2881117" cy="1059525"/>
          </a:xfrm>
          <a:prstGeom prst="rect">
            <a:avLst/>
          </a:prstGeom>
        </p:spPr>
      </p:pic>
      <p:sp>
        <p:nvSpPr>
          <p:cNvPr id="6" name="Rectangle 5"/>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4" y="2899241"/>
            <a:ext cx="2881117" cy="1059525"/>
          </a:xfrm>
          <a:prstGeom prst="rect">
            <a:avLst/>
          </a:prstGeom>
        </p:spPr>
      </p:pic>
      <p:sp>
        <p:nvSpPr>
          <p:cNvPr id="9" name="Rectangle 8"/>
          <p:cNvSpPr/>
          <p:nvPr userDrawn="1"/>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9" y="2901953"/>
            <a:ext cx="2845008" cy="1046245"/>
          </a:xfrm>
          <a:prstGeom prst="rect">
            <a:avLst/>
          </a:prstGeom>
        </p:spPr>
      </p:pic>
    </p:spTree>
    <p:extLst>
      <p:ext uri="{BB962C8B-B14F-4D97-AF65-F5344CB8AC3E}">
        <p14:creationId xmlns:p14="http://schemas.microsoft.com/office/powerpoint/2010/main" val="3668195615"/>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4934900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39" y="200779"/>
            <a:ext cx="1947103" cy="716042"/>
          </a:xfrm>
          <a:prstGeom prst="rect">
            <a:avLst/>
          </a:prstGeom>
        </p:spPr>
      </p:pic>
      <p:sp>
        <p:nvSpPr>
          <p:cNvPr id="17" name="Rectangle 16"/>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Tree>
    <p:extLst>
      <p:ext uri="{BB962C8B-B14F-4D97-AF65-F5344CB8AC3E}">
        <p14:creationId xmlns:p14="http://schemas.microsoft.com/office/powerpoint/2010/main" val="352493294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87379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826039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219833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797270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79850656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409600038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9483"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1"/>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a:solidFill>
                <a:prstClr val="white"/>
              </a:solidFill>
            </a:endParaRPr>
          </a:p>
        </p:txBody>
      </p:sp>
      <p:sp>
        <p:nvSpPr>
          <p:cNvPr id="2" name="Title 1"/>
          <p:cNvSpPr>
            <a:spLocks noGrp="1"/>
          </p:cNvSpPr>
          <p:nvPr>
            <p:ph type="title"/>
            <p:custDataLst>
              <p:tags r:id="rId4"/>
            </p:custDataLst>
          </p:nvPr>
        </p:nvSpPr>
        <p:spPr>
          <a:xfrm>
            <a:off x="762004" y="2"/>
            <a:ext cx="11430000" cy="646042"/>
          </a:xfrm>
        </p:spPr>
        <p:txBody>
          <a:bodyPr>
            <a:noAutofit/>
          </a:bodyPr>
          <a:lstStyle>
            <a:lvl1pPr marL="225425" indent="0">
              <a:defRPr sz="4400"/>
            </a:lvl1pPr>
          </a:lstStyle>
          <a:p>
            <a:endParaRPr lang="en-US" dirty="0"/>
          </a:p>
        </p:txBody>
      </p:sp>
      <p:sp>
        <p:nvSpPr>
          <p:cNvPr id="6" name="Text Placeholder 5"/>
          <p:cNvSpPr>
            <a:spLocks noGrp="1"/>
          </p:cNvSpPr>
          <p:nvPr>
            <p:ph type="body" sz="quarter" idx="12" hasCustomPrompt="1"/>
            <p:custDataLst>
              <p:tags r:id="rId5"/>
            </p:custDataLst>
          </p:nvPr>
        </p:nvSpPr>
        <p:spPr>
          <a:xfrm>
            <a:off x="762004" y="573618"/>
            <a:ext cx="11430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a:t>Click to add subtitle</a:t>
            </a:r>
          </a:p>
        </p:txBody>
      </p:sp>
      <p:sp>
        <p:nvSpPr>
          <p:cNvPr id="9" name="Rectangle 8"/>
          <p:cNvSpPr/>
          <p:nvPr userDrawn="1">
            <p:custDataLst>
              <p:tags r:id="rId6"/>
            </p:custDataLst>
          </p:nvPr>
        </p:nvSpPr>
        <p:spPr>
          <a:xfrm>
            <a:off x="1" y="1"/>
            <a:ext cx="762000"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a:solidFill>
                <a:prstClr val="white"/>
              </a:solidFill>
            </a:endParaRPr>
          </a:p>
        </p:txBody>
      </p:sp>
      <p:sp>
        <p:nvSpPr>
          <p:cNvPr id="15" name="Slide Number Placeholder 4"/>
          <p:cNvSpPr>
            <a:spLocks noGrp="1"/>
          </p:cNvSpPr>
          <p:nvPr>
            <p:ph type="sldNum" sz="quarter" idx="16"/>
            <p:custDataLst>
              <p:tags r:id="rId7"/>
            </p:custDataLst>
          </p:nvPr>
        </p:nvSpPr>
        <p:spPr>
          <a:xfrm>
            <a:off x="11430008" y="6478601"/>
            <a:ext cx="761999" cy="379413"/>
          </a:xfrm>
          <a:prstGeom prst="rect">
            <a:avLst/>
          </a:prstGeom>
        </p:spPr>
        <p:txBody>
          <a:bodyPr/>
          <a:lstStyle/>
          <a:p>
            <a:pPr defTabSz="914247"/>
            <a:fld id="{6A4C1A4A-E5E6-4CC1-B72C-A20A4EB3E2D2}" type="slidenum">
              <a:rPr lang="en-US" sz="1900" smtClean="0">
                <a:solidFill>
                  <a:srgbClr val="505050"/>
                </a:solidFill>
              </a:rPr>
              <a:pPr defTabSz="914247"/>
              <a:t>‹#›</a:t>
            </a:fld>
            <a:endParaRPr lang="en-US" sz="1900" dirty="0">
              <a:solidFill>
                <a:srgbClr val="505050"/>
              </a:solidFill>
            </a:endParaRPr>
          </a:p>
        </p:txBody>
      </p:sp>
      <p:sp>
        <p:nvSpPr>
          <p:cNvPr id="10" name="Footer Placeholder 3"/>
          <p:cNvSpPr>
            <a:spLocks noGrp="1"/>
          </p:cNvSpPr>
          <p:nvPr>
            <p:ph type="ftr" sz="quarter" idx="11"/>
            <p:custDataLst>
              <p:tags r:id="rId8"/>
            </p:custDataLst>
          </p:nvPr>
        </p:nvSpPr>
        <p:spPr>
          <a:xfrm>
            <a:off x="3048000" y="6477887"/>
            <a:ext cx="8382000" cy="380127"/>
          </a:xfrm>
          <a:prstGeom prst="rect">
            <a:avLst/>
          </a:prstGeom>
        </p:spPr>
        <p:txBody>
          <a:bodyPr/>
          <a:lstStyle/>
          <a:p>
            <a:pPr defTabSz="914247"/>
            <a:endParaRPr lang="en-US" sz="1900" dirty="0">
              <a:solidFill>
                <a:srgbClr val="505050"/>
              </a:solidFill>
            </a:endParaRPr>
          </a:p>
        </p:txBody>
      </p:sp>
      <p:sp>
        <p:nvSpPr>
          <p:cNvPr id="11" name="Footer Placeholder 2"/>
          <p:cNvSpPr txBox="1">
            <a:spLocks/>
          </p:cNvSpPr>
          <p:nvPr userDrawn="1">
            <p:custDataLst>
              <p:tags r:id="rId9"/>
            </p:custDataLst>
          </p:nvPr>
        </p:nvSpPr>
        <p:spPr>
          <a:xfrm>
            <a:off x="762000" y="6478601"/>
            <a:ext cx="2286000"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25783558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8713242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208322349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52782042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7741061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128065361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36427173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5321066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3511129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9335815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6835198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59111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34115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8493516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96165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36281229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557502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861469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22134822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20517439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149577622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414839041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283757125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71973579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01895386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2210125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4117449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5084790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4509462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249013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77522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807440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89860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58128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79407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4239707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234652960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35391415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3676"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366300615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81097639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5000" y="6477874"/>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10465400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8105"/>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7487529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674" indent="0">
              <a:buNone/>
              <a:defRPr>
                <a:solidFill>
                  <a:schemeClr val="tx1"/>
                </a:solidFill>
                <a:latin typeface="Segoe UI" panose="020B0502040204020203" pitchFamily="34" charset="0"/>
                <a:cs typeface="Segoe UI" panose="020B0502040204020203" pitchFamily="34" charset="0"/>
              </a:defRPr>
            </a:lvl2pPr>
            <a:lvl3pPr marL="588476" indent="0">
              <a:buNone/>
              <a:defRPr>
                <a:solidFill>
                  <a:schemeClr val="tx1"/>
                </a:solidFill>
                <a:latin typeface="Segoe UI" panose="020B0502040204020203" pitchFamily="34" charset="0"/>
                <a:cs typeface="Segoe UI" panose="020B0502040204020203" pitchFamily="34" charset="0"/>
              </a:defRPr>
            </a:lvl3pPr>
            <a:lvl4pPr marL="870150" indent="0">
              <a:buNone/>
              <a:defRPr>
                <a:solidFill>
                  <a:schemeClr val="tx1"/>
                </a:solidFill>
                <a:latin typeface="Segoe UI" panose="020B0502040204020203" pitchFamily="34" charset="0"/>
                <a:cs typeface="Segoe UI" panose="020B0502040204020203" pitchFamily="34" charset="0"/>
              </a:defRPr>
            </a:lvl4pPr>
            <a:lvl5pPr marL="1105540" indent="0">
              <a:buNone/>
              <a:defRPr>
                <a:solidFill>
                  <a:schemeClr val="tx1"/>
                </a:solidFill>
                <a:latin typeface="Segoe UI" panose="020B0502040204020203" pitchFamily="34" charset="0"/>
                <a:cs typeface="Segoe UI" panose="020B0502040204020203" pitchFamily="34"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36546586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08994223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683287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538098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1014004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481708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44019828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4797853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601107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347118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703113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81143035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78" y="2901951"/>
            <a:ext cx="2845008" cy="1046245"/>
          </a:xfrm>
          <a:prstGeom prst="rect">
            <a:avLst/>
          </a:prstGeom>
        </p:spPr>
      </p:pic>
    </p:spTree>
    <p:extLst>
      <p:ext uri="{BB962C8B-B14F-4D97-AF65-F5344CB8AC3E}">
        <p14:creationId xmlns:p14="http://schemas.microsoft.com/office/powerpoint/2010/main" val="130386724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3945236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itle Slide">
    <p:bg bwMode="black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a:extLst>
              <a:ext uri="{28A0092B-C50C-407E-A947-70E740481C1C}">
                <a14:useLocalDpi xmlns:a14="http://schemas.microsoft.com/office/drawing/2010/main"/>
              </a:ext>
            </a:extLst>
          </a:blip>
          <a:srcRect t="2752" b="8407"/>
          <a:stretch/>
        </p:blipFill>
        <p:spPr>
          <a:xfrm>
            <a:off x="3" y="0"/>
            <a:ext cx="12191999" cy="6858000"/>
          </a:xfrm>
          <a:prstGeom prst="rect">
            <a:avLst/>
          </a:prstGeom>
        </p:spPr>
      </p:pic>
      <p:sp>
        <p:nvSpPr>
          <p:cNvPr id="8" name="Rectangle 7"/>
          <p:cNvSpPr/>
          <p:nvPr userDrawn="1"/>
        </p:nvSpPr>
        <p:spPr bwMode="gray">
          <a:xfrm>
            <a:off x="420493" y="2125663"/>
            <a:ext cx="7352344" cy="3657600"/>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6" tIns="146239" rIns="182796" bIns="146239" numCol="1" spcCol="0" rtlCol="0" fromWordArt="0" anchor="t" anchorCtr="0" forceAA="0" compatLnSpc="1">
            <a:prstTxWarp prst="textNoShape">
              <a:avLst/>
            </a:prstTxWarp>
            <a:noAutofit/>
          </a:bodyPr>
          <a:lstStyle/>
          <a:p>
            <a:pPr algn="ctr" defTabSz="932027"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02467" y="2164870"/>
            <a:ext cx="7117931" cy="2539092"/>
          </a:xfrm>
          <a:noFill/>
        </p:spPr>
        <p:txBody>
          <a:bodyPr lIns="107566" tIns="67228" rIns="107566" bIns="67228" anchor="t" anchorCtr="0">
            <a:normAutofit/>
          </a:bodyPr>
          <a:lstStyle>
            <a:lvl1pPr>
              <a:defRPr sz="5465" spc="-100" baseline="0">
                <a:gradFill>
                  <a:gsLst>
                    <a:gs pos="5833">
                      <a:srgbClr val="FFFFFF"/>
                    </a:gs>
                    <a:gs pos="18000">
                      <a:srgbClr val="FFFFFF"/>
                    </a:gs>
                  </a:gsLst>
                  <a:lin ang="5400000" scaled="0"/>
                </a:gradFill>
              </a:defRPr>
            </a:lvl1pPr>
          </a:lstStyle>
          <a:p>
            <a:r>
              <a:rPr lang="en-US" dirty="0"/>
              <a:t>Presentation title</a:t>
            </a:r>
          </a:p>
        </p:txBody>
      </p:sp>
      <p:sp>
        <p:nvSpPr>
          <p:cNvPr id="11" name="Text Placeholder 2"/>
          <p:cNvSpPr>
            <a:spLocks noGrp="1"/>
          </p:cNvSpPr>
          <p:nvPr>
            <p:ph type="body" sz="quarter" idx="14" hasCustomPrompt="1"/>
          </p:nvPr>
        </p:nvSpPr>
        <p:spPr bwMode="ltGray">
          <a:xfrm>
            <a:off x="635473" y="4622077"/>
            <a:ext cx="6451384" cy="1120247"/>
          </a:xfrm>
        </p:spPr>
        <p:txBody>
          <a:bodyPr tIns="80674" bIns="80674" anchor="b">
            <a:noAutofit/>
          </a:bodyPr>
          <a:lstStyle>
            <a:lvl1pPr marL="0" indent="0">
              <a:lnSpc>
                <a:spcPct val="100000"/>
              </a:lnSpc>
              <a:spcBef>
                <a:spcPts val="0"/>
              </a:spcBef>
              <a:buNone/>
              <a:defRPr sz="2799" baseline="0">
                <a:gradFill>
                  <a:gsLst>
                    <a:gs pos="1250">
                      <a:srgbClr val="FFFFFF"/>
                    </a:gs>
                    <a:gs pos="99000">
                      <a:srgbClr val="FFFFFF"/>
                    </a:gs>
                  </a:gsLst>
                  <a:lin ang="5400000" scaled="0"/>
                </a:gradFill>
              </a:defRPr>
            </a:lvl1pPr>
          </a:lstStyle>
          <a:p>
            <a:pPr lvl="0"/>
            <a:r>
              <a:rPr lang="en-US" dirty="0"/>
              <a:t>Speaker Name</a:t>
            </a:r>
            <a:br>
              <a:rPr lang="en-US" dirty="0"/>
            </a:br>
            <a:r>
              <a:rPr lang="en-US" dirty="0"/>
              <a:t>Date</a:t>
            </a: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27072" y="5943604"/>
            <a:ext cx="1985867" cy="730297"/>
          </a:xfrm>
          <a:prstGeom prst="rect">
            <a:avLst/>
          </a:prstGeom>
        </p:spPr>
      </p:pic>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5490227" y="5326065"/>
            <a:ext cx="2077696" cy="288323"/>
          </a:xfrm>
          <a:prstGeom prst="rect">
            <a:avLst/>
          </a:prstGeom>
        </p:spPr>
      </p:pic>
    </p:spTree>
    <p:extLst>
      <p:ext uri="{BB962C8B-B14F-4D97-AF65-F5344CB8AC3E}">
        <p14:creationId xmlns:p14="http://schemas.microsoft.com/office/powerpoint/2010/main" val="258646741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1">
    <p:bg>
      <p:bgPr>
        <a:gradFill flip="none" rotWithShape="1">
          <a:gsLst>
            <a:gs pos="0">
              <a:schemeClr val="bg1"/>
            </a:gs>
            <a:gs pos="99167">
              <a:schemeClr val="bg1">
                <a:lumMod val="85000"/>
              </a:schemeClr>
            </a:gs>
            <a:gs pos="49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58197" y="114193"/>
            <a:ext cx="11252803" cy="793919"/>
          </a:xfrm>
          <a:noFill/>
        </p:spPr>
        <p:txBody>
          <a:bodyPr tIns="91432" bIns="91432" anchor="t" anchorCtr="0"/>
          <a:lstStyle>
            <a:lvl1pPr algn="l" defTabSz="914196" rtl="0" eaLnBrk="1" latinLnBrk="0" hangingPunct="1">
              <a:lnSpc>
                <a:spcPct val="90000"/>
              </a:lnSpc>
              <a:spcBef>
                <a:spcPct val="0"/>
              </a:spcBef>
              <a:buNone/>
              <a:defRPr lang="en-US" sz="4399" b="0" kern="1200" cap="none" spc="-100" baseline="0" dirty="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a:t>Section title</a:t>
            </a:r>
          </a:p>
        </p:txBody>
      </p:sp>
      <p:sp>
        <p:nvSpPr>
          <p:cNvPr id="5" name="Text Placeholder 4"/>
          <p:cNvSpPr>
            <a:spLocks noGrp="1"/>
          </p:cNvSpPr>
          <p:nvPr>
            <p:ph type="body" sz="quarter" idx="10"/>
          </p:nvPr>
        </p:nvSpPr>
        <p:spPr>
          <a:xfrm>
            <a:off x="531951" y="1397000"/>
            <a:ext cx="10567851" cy="2281651"/>
          </a:xfrm>
        </p:spPr>
        <p:txBody>
          <a:bodyPr/>
          <a:lstStyle>
            <a:lvl1pPr marL="0" indent="0">
              <a:buNone/>
              <a:defRPr sz="3199">
                <a:solidFill>
                  <a:schemeClr val="tx1"/>
                </a:solidFill>
                <a:latin typeface="Segoe UI" pitchFamily="34" charset="0"/>
                <a:cs typeface="Segoe UI" pitchFamily="34" charset="0"/>
              </a:defRPr>
            </a:lvl1pPr>
            <a:lvl2pPr>
              <a:defRPr sz="2133">
                <a:solidFill>
                  <a:schemeClr val="tx1"/>
                </a:solidFill>
                <a:latin typeface="Segoe UI" pitchFamily="34" charset="0"/>
                <a:cs typeface="Segoe UI" pitchFamily="34" charset="0"/>
              </a:defRPr>
            </a:lvl2pPr>
            <a:lvl3pPr>
              <a:defRPr sz="2133">
                <a:solidFill>
                  <a:schemeClr val="tx1"/>
                </a:solidFill>
                <a:latin typeface="Segoe UI" pitchFamily="34" charset="0"/>
                <a:cs typeface="Segoe UI" pitchFamily="34" charset="0"/>
              </a:defRPr>
            </a:lvl3pPr>
            <a:lvl4pPr>
              <a:defRPr sz="2133">
                <a:solidFill>
                  <a:schemeClr val="tx1"/>
                </a:solidFill>
                <a:latin typeface="Segoe UI" pitchFamily="34" charset="0"/>
                <a:cs typeface="Segoe UI" pitchFamily="34" charset="0"/>
              </a:defRPr>
            </a:lvl4pPr>
            <a:lvl5pPr>
              <a:defRPr sz="2133">
                <a:solidFill>
                  <a:schemeClr val="tx1"/>
                </a:soli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70228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1">
    <p:bg>
      <p:bgPr>
        <a:gradFill flip="none" rotWithShape="1">
          <a:gsLst>
            <a:gs pos="0">
              <a:schemeClr val="bg1"/>
            </a:gs>
            <a:gs pos="99167">
              <a:schemeClr val="bg1">
                <a:lumMod val="85000"/>
              </a:schemeClr>
            </a:gs>
            <a:gs pos="49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58197" y="114193"/>
            <a:ext cx="11252803" cy="793919"/>
          </a:xfrm>
          <a:noFill/>
        </p:spPr>
        <p:txBody>
          <a:bodyPr tIns="91432" bIns="91432" anchor="t" anchorCtr="0"/>
          <a:lstStyle>
            <a:lvl1pPr algn="l" defTabSz="914196" rtl="0" eaLnBrk="1" latinLnBrk="0" hangingPunct="1">
              <a:lnSpc>
                <a:spcPct val="90000"/>
              </a:lnSpc>
              <a:spcBef>
                <a:spcPct val="0"/>
              </a:spcBef>
              <a:buNone/>
              <a:defRPr lang="en-US" sz="4399" b="0" kern="1200" cap="none" spc="-100" baseline="0" dirty="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a:t>Section title</a:t>
            </a:r>
          </a:p>
        </p:txBody>
      </p:sp>
    </p:spTree>
    <p:extLst>
      <p:ext uri="{BB962C8B-B14F-4D97-AF65-F5344CB8AC3E}">
        <p14:creationId xmlns:p14="http://schemas.microsoft.com/office/powerpoint/2010/main" val="525745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79004330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1539" tIns="50768" rIns="101539" bIns="50768" rtlCol="0" anchor="ctr"/>
          <a:lstStyle/>
          <a:p>
            <a:pPr algn="ctr" defTabSz="608495"/>
            <a:endParaRPr lang="en-US" sz="2399"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8817" y="3048003"/>
            <a:ext cx="2571404" cy="419108"/>
          </a:xfrm>
          <a:prstGeom prst="rect">
            <a:avLst/>
          </a:prstGeom>
        </p:spPr>
      </p:pic>
      <p:sp>
        <p:nvSpPr>
          <p:cNvPr id="4" name="Rectangle 3"/>
          <p:cNvSpPr/>
          <p:nvPr/>
        </p:nvSpPr>
        <p:spPr>
          <a:xfrm>
            <a:off x="0" y="0"/>
            <a:ext cx="12192000" cy="6858000"/>
          </a:xfrm>
          <a:prstGeom prst="rect">
            <a:avLst/>
          </a:prstGeom>
          <a:gradFill>
            <a:gsLst>
              <a:gs pos="0">
                <a:schemeClr val="tx1">
                  <a:lumMod val="75000"/>
                  <a:lumOff val="25000"/>
                </a:schemeClr>
              </a:gs>
              <a:gs pos="99167">
                <a:schemeClr val="tx1"/>
              </a:gs>
              <a:gs pos="49000">
                <a:schemeClr val="tx1">
                  <a:lumMod val="85000"/>
                  <a:lumOff val="1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01539" tIns="50768" rIns="101539" bIns="50768" rtlCol="0" anchor="ctr"/>
          <a:lstStyle/>
          <a:p>
            <a:pPr algn="ctr" defTabSz="608495"/>
            <a:endParaRPr lang="en-US" sz="2399" dirty="0">
              <a:solidFill>
                <a:prstClr val="white"/>
              </a:solidFill>
            </a:endParaRP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679688" y="2656128"/>
            <a:ext cx="4410520" cy="1621960"/>
          </a:xfrm>
          <a:prstGeom prst="rect">
            <a:avLst/>
          </a:prstGeom>
        </p:spPr>
      </p:pic>
    </p:spTree>
    <p:extLst>
      <p:ext uri="{BB962C8B-B14F-4D97-AF65-F5344CB8AC3E}">
        <p14:creationId xmlns:p14="http://schemas.microsoft.com/office/powerpoint/2010/main" val="1127016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Microsoft logo 1">
    <p:bg>
      <p:bgPr>
        <a:gradFill flip="none" rotWithShape="1">
          <a:gsLst>
            <a:gs pos="0">
              <a:schemeClr val="bg1"/>
            </a:gs>
            <a:gs pos="99167">
              <a:schemeClr val="bg1">
                <a:lumMod val="85000"/>
              </a:schemeClr>
            </a:gs>
            <a:gs pos="49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94122" y="2679700"/>
            <a:ext cx="4419273" cy="1625600"/>
          </a:xfrm>
          <a:prstGeom prst="rect">
            <a:avLst/>
          </a:prstGeom>
        </p:spPr>
      </p:pic>
    </p:spTree>
    <p:extLst>
      <p:ext uri="{BB962C8B-B14F-4D97-AF65-F5344CB8AC3E}">
        <p14:creationId xmlns:p14="http://schemas.microsoft.com/office/powerpoint/2010/main" val="241753002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077" y="228603"/>
            <a:ext cx="11161444" cy="609399"/>
          </a:xfrm>
        </p:spPr>
        <p:txBody>
          <a:bodyPr/>
          <a:lstStyle>
            <a:lvl1pPr>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t>Microsoft Confidential</a:t>
            </a:r>
            <a:endParaRPr lang="en-US" dirty="0"/>
          </a:p>
        </p:txBody>
      </p:sp>
      <p:sp>
        <p:nvSpPr>
          <p:cNvPr id="4" name="Slide Number Placeholder 3"/>
          <p:cNvSpPr>
            <a:spLocks noGrp="1"/>
          </p:cNvSpPr>
          <p:nvPr>
            <p:ph type="sldNum" sz="quarter" idx="11"/>
          </p:nvPr>
        </p:nvSpPr>
        <p:spPr/>
        <p:txBody>
          <a:bodyPr/>
          <a:lstStyle/>
          <a:p>
            <a:fld id="{71F47D9D-8D60-4698-A495-89D102E182A2}" type="slidenum">
              <a:rPr/>
              <a:pPr/>
              <a:t>‹#›</a:t>
            </a:fld>
            <a:endParaRPr dirty="0"/>
          </a:p>
        </p:txBody>
      </p:sp>
    </p:spTree>
    <p:extLst>
      <p:ext uri="{BB962C8B-B14F-4D97-AF65-F5344CB8AC3E}">
        <p14:creationId xmlns:p14="http://schemas.microsoft.com/office/powerpoint/2010/main" val="335732410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Microsoft Confidential</a:t>
            </a:r>
            <a:endParaRPr lang="en-US" dirty="0"/>
          </a:p>
        </p:txBody>
      </p:sp>
      <p:sp>
        <p:nvSpPr>
          <p:cNvPr id="3" name="Slide Number Placeholder 2"/>
          <p:cNvSpPr>
            <a:spLocks noGrp="1"/>
          </p:cNvSpPr>
          <p:nvPr>
            <p:ph type="sldNum" sz="quarter" idx="11"/>
          </p:nvPr>
        </p:nvSpPr>
        <p:spPr/>
        <p:txBody>
          <a:bodyPr/>
          <a:lstStyle/>
          <a:p>
            <a:fld id="{71F47D9D-8D60-4698-A495-89D102E182A2}" type="slidenum">
              <a:rPr/>
              <a:pPr/>
              <a:t>‹#›</a:t>
            </a:fld>
            <a:endParaRPr dirty="0"/>
          </a:p>
        </p:txBody>
      </p:sp>
    </p:spTree>
    <p:extLst>
      <p:ext uri="{BB962C8B-B14F-4D97-AF65-F5344CB8AC3E}">
        <p14:creationId xmlns:p14="http://schemas.microsoft.com/office/powerpoint/2010/main" val="319197411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395355" name="think-cell Slide" r:id="rId10" imgW="270" imgH="270" progId="TCLayout.ActiveDocument.1">
                  <p:embed/>
                </p:oleObj>
              </mc:Choice>
              <mc:Fallback>
                <p:oleObj name="think-cell Slide" r:id="rId10" imgW="270" imgH="270" progId="TCLayout.ActiveDocument.1">
                  <p:embed/>
                  <p:pic>
                    <p:nvPicPr>
                      <p:cNvPr id="3" name="Object 2" hidden="1"/>
                      <p:cNvPicPr/>
                      <p:nvPr/>
                    </p:nvPicPr>
                    <p:blipFill>
                      <a:blip r:embed="rId11"/>
                      <a:stretch>
                        <a:fillRect/>
                      </a:stretch>
                    </p:blipFill>
                    <p:spPr>
                      <a:xfrm>
                        <a:off x="1589" y="1589"/>
                        <a:ext cx="1588" cy="1587"/>
                      </a:xfrm>
                      <a:prstGeom prst="rect">
                        <a:avLst/>
                      </a:prstGeom>
                    </p:spPr>
                  </p:pic>
                </p:oleObj>
              </mc:Fallback>
            </mc:AlternateContent>
          </a:graphicData>
        </a:graphic>
      </p:graphicFrame>
      <p:sp>
        <p:nvSpPr>
          <p:cNvPr id="10" name="Rectangle 9"/>
          <p:cNvSpPr/>
          <p:nvPr userDrawn="1">
            <p:custDataLst>
              <p:tags r:id="rId3"/>
            </p:custDataLst>
          </p:nvPr>
        </p:nvSpPr>
        <p:spPr>
          <a:xfrm>
            <a:off x="7" y="6478600"/>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1" tIns="38075" rIns="76151" bIns="38075" rtlCol="0" anchor="ctr"/>
          <a:lstStyle/>
          <a:p>
            <a:pPr algn="ctr" defTabSz="1087631"/>
            <a:endParaRPr lang="en-US" sz="2199">
              <a:solidFill>
                <a:prstClr val="white"/>
              </a:solidFill>
            </a:endParaRPr>
          </a:p>
        </p:txBody>
      </p:sp>
      <p:sp>
        <p:nvSpPr>
          <p:cNvPr id="2" name="Title 1"/>
          <p:cNvSpPr>
            <a:spLocks noGrp="1"/>
          </p:cNvSpPr>
          <p:nvPr>
            <p:ph type="title"/>
            <p:custDataLst>
              <p:tags r:id="rId4"/>
            </p:custDataLst>
          </p:nvPr>
        </p:nvSpPr>
        <p:spPr>
          <a:xfrm>
            <a:off x="0" y="192024"/>
            <a:ext cx="12192000" cy="646043"/>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p:txBody>
          <a:bodyPr/>
          <a:lstStyle/>
          <a:p>
            <a:endParaRPr lang="en-US" dirty="0">
              <a:solidFill>
                <a:srgbClr val="505050"/>
              </a:solidFill>
            </a:endParaRPr>
          </a:p>
        </p:txBody>
      </p:sp>
      <p:sp>
        <p:nvSpPr>
          <p:cNvPr id="5" name="Slide Number Placeholder 4"/>
          <p:cNvSpPr>
            <a:spLocks noGrp="1"/>
          </p:cNvSpPr>
          <p:nvPr>
            <p:ph type="sldNum" sz="quarter" idx="12"/>
            <p:custDataLst>
              <p:tags r:id="rId6"/>
            </p:custDataLst>
          </p:nvPr>
        </p:nvSpPr>
        <p:spPr>
          <a:xfrm>
            <a:off x="11430008" y="6673347"/>
            <a:ext cx="762000" cy="184667"/>
          </a:xfrm>
          <a:prstGeom prst="rect">
            <a:avLst/>
          </a:prstGeom>
        </p:spPr>
        <p:txBody>
          <a:bodyPr/>
          <a:lstStyle/>
          <a:p>
            <a:fld id="{6A4C1A4A-E5E6-4CC1-B72C-A20A4EB3E2D2}" type="slidenum">
              <a:rPr>
                <a:solidFill>
                  <a:srgbClr val="505050"/>
                </a:solidFill>
              </a:rPr>
              <a:pPr/>
              <a:t>‹#›</a:t>
            </a:fld>
            <a:endParaRPr dirty="0">
              <a:solidFill>
                <a:srgbClr val="505050"/>
              </a:solidFill>
            </a:endParaRPr>
          </a:p>
        </p:txBody>
      </p:sp>
      <p:sp>
        <p:nvSpPr>
          <p:cNvPr id="6" name="Text Placeholder 5"/>
          <p:cNvSpPr>
            <a:spLocks noGrp="1"/>
          </p:cNvSpPr>
          <p:nvPr>
            <p:ph type="body" sz="quarter" idx="13" hasCustomPrompt="1"/>
            <p:custDataLst>
              <p:tags r:id="rId7"/>
            </p:custDataLst>
          </p:nvPr>
        </p:nvSpPr>
        <p:spPr>
          <a:xfrm>
            <a:off x="0" y="832106"/>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52" indent="0">
              <a:buNone/>
              <a:defRPr/>
            </a:lvl2pPr>
            <a:lvl3pPr marL="588220" indent="0">
              <a:buNone/>
              <a:defRPr/>
            </a:lvl3pPr>
            <a:lvl4pPr marL="869770" indent="0">
              <a:buNone/>
              <a:defRPr/>
            </a:lvl4pPr>
            <a:lvl5pPr marL="1105058" indent="0">
              <a:buNone/>
              <a:defRPr/>
            </a:lvl5pPr>
          </a:lstStyle>
          <a:p>
            <a:pPr lvl="0"/>
            <a:r>
              <a:rPr lang="en-US" dirty="0"/>
              <a:t>Click to add subtitle</a:t>
            </a:r>
          </a:p>
        </p:txBody>
      </p:sp>
      <p:sp>
        <p:nvSpPr>
          <p:cNvPr id="9" name="Footer Placeholder 2"/>
          <p:cNvSpPr txBox="1">
            <a:spLocks/>
          </p:cNvSpPr>
          <p:nvPr userDrawn="1">
            <p:custDataLst>
              <p:tags r:id="rId8"/>
            </p:custDataLst>
          </p:nvPr>
        </p:nvSpPr>
        <p:spPr>
          <a:xfrm>
            <a:off x="4" y="6478600"/>
            <a:ext cx="2286000" cy="379413"/>
          </a:xfrm>
          <a:prstGeom prst="rect">
            <a:avLst/>
          </a:prstGeom>
        </p:spPr>
        <p:txBody>
          <a:bodyPr lIns="380752" tIns="38075" rIns="76151"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393796046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Slide">
    <p:bg bwMode="black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a:extLst>
              <a:ext uri="{28A0092B-C50C-407E-A947-70E740481C1C}">
                <a14:useLocalDpi xmlns:a14="http://schemas.microsoft.com/office/drawing/2010/main"/>
              </a:ext>
            </a:extLst>
          </a:blip>
          <a:srcRect t="2752" b="8407"/>
          <a:stretch/>
        </p:blipFill>
        <p:spPr>
          <a:xfrm>
            <a:off x="3" y="0"/>
            <a:ext cx="12191999" cy="6858000"/>
          </a:xfrm>
          <a:prstGeom prst="rect">
            <a:avLst/>
          </a:prstGeom>
        </p:spPr>
      </p:pic>
      <p:sp>
        <p:nvSpPr>
          <p:cNvPr id="8" name="Rectangle 7"/>
          <p:cNvSpPr/>
          <p:nvPr userDrawn="1"/>
        </p:nvSpPr>
        <p:spPr bwMode="gray">
          <a:xfrm>
            <a:off x="420493" y="2125663"/>
            <a:ext cx="7352344" cy="3657600"/>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4" tIns="146276" rIns="182844" bIns="146276" numCol="1" spcCol="0" rtlCol="0" fromWordArt="0" anchor="t" anchorCtr="0" forceAA="0" compatLnSpc="1">
            <a:prstTxWarp prst="textNoShape">
              <a:avLst/>
            </a:prstTxWarp>
            <a:noAutofit/>
          </a:bodyPr>
          <a:lstStyle/>
          <a:p>
            <a:pPr algn="ctr" defTabSz="93226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502467" y="2164870"/>
            <a:ext cx="7117931" cy="2539092"/>
          </a:xfrm>
          <a:noFill/>
        </p:spPr>
        <p:txBody>
          <a:bodyPr lIns="107566" tIns="67228" rIns="107566" bIns="67228" anchor="t" anchorCtr="0">
            <a:normAutofit/>
          </a:bodyPr>
          <a:lstStyle>
            <a:lvl1pPr>
              <a:defRPr sz="5467" spc="-100" baseline="0">
                <a:gradFill>
                  <a:gsLst>
                    <a:gs pos="5833">
                      <a:srgbClr val="FFFFFF"/>
                    </a:gs>
                    <a:gs pos="18000">
                      <a:srgbClr val="FFFFFF"/>
                    </a:gs>
                  </a:gsLst>
                  <a:lin ang="5400000" scaled="0"/>
                </a:gradFill>
              </a:defRPr>
            </a:lvl1pPr>
          </a:lstStyle>
          <a:p>
            <a:r>
              <a:rPr lang="en-US" dirty="0"/>
              <a:t>Presentation title</a:t>
            </a:r>
          </a:p>
        </p:txBody>
      </p:sp>
      <p:sp>
        <p:nvSpPr>
          <p:cNvPr id="11" name="Text Placeholder 2"/>
          <p:cNvSpPr>
            <a:spLocks noGrp="1"/>
          </p:cNvSpPr>
          <p:nvPr>
            <p:ph type="body" sz="quarter" idx="14" hasCustomPrompt="1"/>
          </p:nvPr>
        </p:nvSpPr>
        <p:spPr bwMode="ltGray">
          <a:xfrm>
            <a:off x="635473" y="4622075"/>
            <a:ext cx="6451384" cy="1120247"/>
          </a:xfrm>
        </p:spPr>
        <p:txBody>
          <a:bodyPr tIns="80674" bIns="80674" anchor="b">
            <a:noAutofit/>
          </a:bodyPr>
          <a:lstStyle>
            <a:lvl1pPr marL="0" indent="0">
              <a:lnSpc>
                <a:spcPct val="100000"/>
              </a:lnSpc>
              <a:spcBef>
                <a:spcPts val="0"/>
              </a:spcBef>
              <a:buNone/>
              <a:defRPr sz="2800" baseline="0">
                <a:gradFill>
                  <a:gsLst>
                    <a:gs pos="1250">
                      <a:srgbClr val="FFFFFF"/>
                    </a:gs>
                    <a:gs pos="99000">
                      <a:srgbClr val="FFFFFF"/>
                    </a:gs>
                  </a:gsLst>
                  <a:lin ang="5400000" scaled="0"/>
                </a:gradFill>
              </a:defRPr>
            </a:lvl1pPr>
          </a:lstStyle>
          <a:p>
            <a:pPr lvl="0"/>
            <a:r>
              <a:rPr lang="en-US" dirty="0"/>
              <a:t>Speaker Name</a:t>
            </a:r>
            <a:br>
              <a:rPr lang="en-US" dirty="0"/>
            </a:br>
            <a:r>
              <a:rPr lang="en-US" dirty="0"/>
              <a:t>Date</a:t>
            </a: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27072" y="5943602"/>
            <a:ext cx="1985867" cy="730297"/>
          </a:xfrm>
          <a:prstGeom prst="rect">
            <a:avLst/>
          </a:prstGeom>
        </p:spPr>
      </p:pic>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5490227" y="5326064"/>
            <a:ext cx="2077696" cy="288323"/>
          </a:xfrm>
          <a:prstGeom prst="rect">
            <a:avLst/>
          </a:prstGeom>
        </p:spPr>
      </p:pic>
    </p:spTree>
    <p:extLst>
      <p:ext uri="{BB962C8B-B14F-4D97-AF65-F5344CB8AC3E}">
        <p14:creationId xmlns:p14="http://schemas.microsoft.com/office/powerpoint/2010/main" val="272840052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1">
    <p:bg>
      <p:bgPr>
        <a:gradFill flip="none" rotWithShape="1">
          <a:gsLst>
            <a:gs pos="0">
              <a:schemeClr val="bg1"/>
            </a:gs>
            <a:gs pos="99167">
              <a:schemeClr val="bg1">
                <a:lumMod val="85000"/>
              </a:schemeClr>
            </a:gs>
            <a:gs pos="49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58197" y="114192"/>
            <a:ext cx="11252803" cy="794047"/>
          </a:xfrm>
          <a:noFill/>
        </p:spPr>
        <p:txBody>
          <a:bodyPr tIns="91432" bIns="91432" anchor="t" anchorCtr="0"/>
          <a:lstStyle>
            <a:lvl1pPr algn="l" defTabSz="914424" rtl="0" eaLnBrk="1" latinLnBrk="0" hangingPunct="1">
              <a:lnSpc>
                <a:spcPct val="90000"/>
              </a:lnSpc>
              <a:spcBef>
                <a:spcPct val="0"/>
              </a:spcBef>
              <a:buNone/>
              <a:defRPr lang="en-US" sz="4400" b="0" kern="1200" cap="none" spc="-100" baseline="0" dirty="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a:t>Section title</a:t>
            </a:r>
          </a:p>
        </p:txBody>
      </p:sp>
      <p:sp>
        <p:nvSpPr>
          <p:cNvPr id="5" name="Text Placeholder 4"/>
          <p:cNvSpPr>
            <a:spLocks noGrp="1"/>
          </p:cNvSpPr>
          <p:nvPr>
            <p:ph type="body" sz="quarter" idx="10"/>
          </p:nvPr>
        </p:nvSpPr>
        <p:spPr>
          <a:xfrm>
            <a:off x="531951" y="1397000"/>
            <a:ext cx="10567851" cy="2281651"/>
          </a:xfrm>
        </p:spPr>
        <p:txBody>
          <a:bodyPr/>
          <a:lstStyle>
            <a:lvl1pPr marL="0" indent="0">
              <a:buNone/>
              <a:defRPr sz="3200">
                <a:solidFill>
                  <a:schemeClr val="tx1"/>
                </a:solidFill>
                <a:latin typeface="Segoe UI" pitchFamily="34" charset="0"/>
                <a:cs typeface="Segoe UI" pitchFamily="34" charset="0"/>
              </a:defRPr>
            </a:lvl1pPr>
            <a:lvl2pPr>
              <a:defRPr sz="2133">
                <a:solidFill>
                  <a:schemeClr val="tx1"/>
                </a:solidFill>
                <a:latin typeface="Segoe UI" pitchFamily="34" charset="0"/>
                <a:cs typeface="Segoe UI" pitchFamily="34" charset="0"/>
              </a:defRPr>
            </a:lvl2pPr>
            <a:lvl3pPr>
              <a:defRPr sz="2133">
                <a:solidFill>
                  <a:schemeClr val="tx1"/>
                </a:solidFill>
                <a:latin typeface="Segoe UI" pitchFamily="34" charset="0"/>
                <a:cs typeface="Segoe UI" pitchFamily="34" charset="0"/>
              </a:defRPr>
            </a:lvl3pPr>
            <a:lvl4pPr>
              <a:defRPr sz="2133">
                <a:solidFill>
                  <a:schemeClr val="tx1"/>
                </a:solidFill>
                <a:latin typeface="Segoe UI" pitchFamily="34" charset="0"/>
                <a:cs typeface="Segoe UI" pitchFamily="34" charset="0"/>
              </a:defRPr>
            </a:lvl4pPr>
            <a:lvl5pPr>
              <a:defRPr sz="2133">
                <a:solidFill>
                  <a:schemeClr val="tx1"/>
                </a:soli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68429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1">
    <p:bg>
      <p:bgPr>
        <a:gradFill flip="none" rotWithShape="1">
          <a:gsLst>
            <a:gs pos="0">
              <a:schemeClr val="bg1"/>
            </a:gs>
            <a:gs pos="99167">
              <a:schemeClr val="bg1">
                <a:lumMod val="85000"/>
              </a:schemeClr>
            </a:gs>
            <a:gs pos="49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58197" y="114192"/>
            <a:ext cx="11252803" cy="794047"/>
          </a:xfrm>
          <a:noFill/>
        </p:spPr>
        <p:txBody>
          <a:bodyPr tIns="91432" bIns="91432" anchor="t" anchorCtr="0"/>
          <a:lstStyle>
            <a:lvl1pPr algn="l" defTabSz="914424" rtl="0" eaLnBrk="1" latinLnBrk="0" hangingPunct="1">
              <a:lnSpc>
                <a:spcPct val="90000"/>
              </a:lnSpc>
              <a:spcBef>
                <a:spcPct val="0"/>
              </a:spcBef>
              <a:buNone/>
              <a:defRPr lang="en-US" sz="4400" b="0" kern="1200" cap="none" spc="-100" baseline="0" dirty="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a:t>Section title</a:t>
            </a:r>
          </a:p>
        </p:txBody>
      </p:sp>
    </p:spTree>
    <p:extLst>
      <p:ext uri="{BB962C8B-B14F-4D97-AF65-F5344CB8AC3E}">
        <p14:creationId xmlns:p14="http://schemas.microsoft.com/office/powerpoint/2010/main" val="11516188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1564" tIns="50781" rIns="101564" bIns="50781" rtlCol="0" anchor="ctr"/>
          <a:lstStyle/>
          <a:p>
            <a:pPr algn="ctr" defTabSz="608647"/>
            <a:endParaRPr lang="en-US" sz="2400"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8817" y="3048003"/>
            <a:ext cx="2571404" cy="419108"/>
          </a:xfrm>
          <a:prstGeom prst="rect">
            <a:avLst/>
          </a:prstGeom>
        </p:spPr>
      </p:pic>
      <p:sp>
        <p:nvSpPr>
          <p:cNvPr id="4" name="Rectangle 3"/>
          <p:cNvSpPr/>
          <p:nvPr/>
        </p:nvSpPr>
        <p:spPr>
          <a:xfrm>
            <a:off x="0" y="0"/>
            <a:ext cx="12192000" cy="6858000"/>
          </a:xfrm>
          <a:prstGeom prst="rect">
            <a:avLst/>
          </a:prstGeom>
          <a:gradFill>
            <a:gsLst>
              <a:gs pos="0">
                <a:schemeClr val="tx1">
                  <a:lumMod val="75000"/>
                  <a:lumOff val="25000"/>
                </a:schemeClr>
              </a:gs>
              <a:gs pos="99167">
                <a:schemeClr val="tx1"/>
              </a:gs>
              <a:gs pos="49000">
                <a:schemeClr val="tx1">
                  <a:lumMod val="85000"/>
                  <a:lumOff val="1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01564" tIns="50781" rIns="101564" bIns="50781" rtlCol="0" anchor="ctr"/>
          <a:lstStyle/>
          <a:p>
            <a:pPr algn="ctr" defTabSz="608647"/>
            <a:endParaRPr lang="en-US" sz="2400" dirty="0">
              <a:solidFill>
                <a:prstClr val="white"/>
              </a:solidFill>
            </a:endParaRP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679688" y="2656128"/>
            <a:ext cx="4410520" cy="1621960"/>
          </a:xfrm>
          <a:prstGeom prst="rect">
            <a:avLst/>
          </a:prstGeom>
        </p:spPr>
      </p:pic>
    </p:spTree>
    <p:extLst>
      <p:ext uri="{BB962C8B-B14F-4D97-AF65-F5344CB8AC3E}">
        <p14:creationId xmlns:p14="http://schemas.microsoft.com/office/powerpoint/2010/main" val="105273403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Microsoft logo 1">
    <p:bg>
      <p:bgPr>
        <a:gradFill flip="none" rotWithShape="1">
          <a:gsLst>
            <a:gs pos="0">
              <a:schemeClr val="bg1"/>
            </a:gs>
            <a:gs pos="99167">
              <a:schemeClr val="bg1">
                <a:lumMod val="85000"/>
              </a:schemeClr>
            </a:gs>
            <a:gs pos="49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94122" y="2679700"/>
            <a:ext cx="4419273" cy="1625600"/>
          </a:xfrm>
          <a:prstGeom prst="rect">
            <a:avLst/>
          </a:prstGeom>
        </p:spPr>
      </p:pic>
    </p:spTree>
    <p:extLst>
      <p:ext uri="{BB962C8B-B14F-4D97-AF65-F5344CB8AC3E}">
        <p14:creationId xmlns:p14="http://schemas.microsoft.com/office/powerpoint/2010/main" val="41120350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theme" Target="../theme/theme1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3" Type="http://schemas.openxmlformats.org/officeDocument/2006/relationships/slideLayout" Target="../slideLayouts/slideLayout180.xml"/><Relationship Id="rId21" Type="http://schemas.openxmlformats.org/officeDocument/2006/relationships/tags" Target="../tags/tag3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vmlDrawing" Target="../drawings/vmlDrawing9.v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image" Target="../media/image5.emf"/><Relationship Id="rId10" Type="http://schemas.openxmlformats.org/officeDocument/2006/relationships/slideLayout" Target="../slideLayouts/slideLayout187.xml"/><Relationship Id="rId19" Type="http://schemas.openxmlformats.org/officeDocument/2006/relationships/theme" Target="../theme/theme11.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oleObject" Target="../embeddings/oleObject9.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vmlDrawing" Target="../drawings/vmlDrawing11.vml"/><Relationship Id="rId3" Type="http://schemas.openxmlformats.org/officeDocument/2006/relationships/slideLayout" Target="../slideLayouts/slideLayout198.xml"/><Relationship Id="rId21" Type="http://schemas.openxmlformats.org/officeDocument/2006/relationships/image" Target="../media/image17.emf"/><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theme" Target="../theme/theme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oleObject" Target="../embeddings/oleObject11.bin"/><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tags" Target="../tags/tag39.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theme" Target="../theme/theme13.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18" Type="http://schemas.openxmlformats.org/officeDocument/2006/relationships/vmlDrawing" Target="../drawings/vmlDrawing29.vml"/><Relationship Id="rId3" Type="http://schemas.openxmlformats.org/officeDocument/2006/relationships/slideLayout" Target="../slideLayouts/slideLayout230.xml"/><Relationship Id="rId21" Type="http://schemas.openxmlformats.org/officeDocument/2006/relationships/image" Target="../media/image17.emf"/><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theme" Target="../theme/theme1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0" Type="http://schemas.openxmlformats.org/officeDocument/2006/relationships/oleObject" Target="../embeddings/oleObject29.bin"/><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5" Type="http://schemas.openxmlformats.org/officeDocument/2006/relationships/slideLayout" Target="../slideLayouts/slideLayout242.xml"/><Relationship Id="rId10" Type="http://schemas.openxmlformats.org/officeDocument/2006/relationships/slideLayout" Target="../slideLayouts/slideLayout237.xml"/><Relationship Id="rId19" Type="http://schemas.openxmlformats.org/officeDocument/2006/relationships/tags" Target="../tags/tag57.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theme" Target="../theme/theme15.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image" Target="../media/image2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vmlDrawing" Target="../drawings/vmlDrawing46.vml"/><Relationship Id="rId3" Type="http://schemas.openxmlformats.org/officeDocument/2006/relationships/slideLayout" Target="../slideLayouts/slideLayout266.xml"/><Relationship Id="rId7" Type="http://schemas.openxmlformats.org/officeDocument/2006/relationships/slideLayout" Target="../slideLayouts/slideLayout270.xml"/><Relationship Id="rId12" Type="http://schemas.openxmlformats.org/officeDocument/2006/relationships/theme" Target="../theme/theme16.xml"/><Relationship Id="rId2" Type="http://schemas.openxmlformats.org/officeDocument/2006/relationships/slideLayout" Target="../slideLayouts/slideLayout265.xml"/><Relationship Id="rId16" Type="http://schemas.openxmlformats.org/officeDocument/2006/relationships/image" Target="../media/image5.emf"/><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5" Type="http://schemas.openxmlformats.org/officeDocument/2006/relationships/slideLayout" Target="../slideLayouts/slideLayout268.xml"/><Relationship Id="rId15" Type="http://schemas.openxmlformats.org/officeDocument/2006/relationships/oleObject" Target="../embeddings/oleObject46.bin"/><Relationship Id="rId10" Type="http://schemas.openxmlformats.org/officeDocument/2006/relationships/slideLayout" Target="../slideLayouts/slideLayout273.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tags" Target="../tags/tag7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theme" Target="../theme/theme17.xml"/><Relationship Id="rId3" Type="http://schemas.openxmlformats.org/officeDocument/2006/relationships/slideLayout" Target="../slideLayouts/slideLayout277.xml"/><Relationship Id="rId21" Type="http://schemas.openxmlformats.org/officeDocument/2006/relationships/oleObject" Target="../embeddings/oleObject48.bin"/><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ags" Target="../tags/tag83.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vmlDrawing" Target="../drawings/vmlDrawing48.v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image" Target="../media/image5.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image" Target="../media/image5.emf"/><Relationship Id="rId10" Type="http://schemas.openxmlformats.org/officeDocument/2006/relationships/slideLayout" Target="../slideLayouts/slideLayout29.xml"/><Relationship Id="rId19"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vmlDrawing" Target="../drawings/vmlDrawing3.vml"/><Relationship Id="rId3" Type="http://schemas.openxmlformats.org/officeDocument/2006/relationships/slideLayout" Target="../slideLayouts/slideLayout40.xml"/><Relationship Id="rId21" Type="http://schemas.openxmlformats.org/officeDocument/2006/relationships/image" Target="../media/image5.emf"/><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heme" Target="../theme/theme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oleObject" Target="../embeddings/oleObject3.bin"/><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tags" Target="../tags/tag11.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vmlDrawing" Target="../drawings/vmlDrawing4.vml"/><Relationship Id="rId3" Type="http://schemas.openxmlformats.org/officeDocument/2006/relationships/slideLayout" Target="../slideLayouts/slideLayout56.xml"/><Relationship Id="rId21" Type="http://schemas.openxmlformats.org/officeDocument/2006/relationships/image" Target="../media/image5.emf"/><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theme" Target="../theme/theme4.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oleObject" Target="../embeddings/oleObject4.bin"/><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tags" Target="../tags/tag1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theme" Target="../theme/theme5.xml"/><Relationship Id="rId3" Type="http://schemas.openxmlformats.org/officeDocument/2006/relationships/slideLayout" Target="../slideLayouts/slideLayout72.xml"/><Relationship Id="rId21" Type="http://schemas.openxmlformats.org/officeDocument/2006/relationships/oleObject" Target="../embeddings/oleObject5.bin"/><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tags" Target="../tags/tag13.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vmlDrawing" Target="../drawings/vmlDrawing5.v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image" Target="../media/image5.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5" Type="http://schemas.openxmlformats.org/officeDocument/2006/relationships/slideLayout" Target="../slideLayouts/slideLayout91.xml"/><Relationship Id="rId4" Type="http://schemas.openxmlformats.org/officeDocument/2006/relationships/slideLayout" Target="../slideLayouts/slideLayout90.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5" Type="http://schemas.openxmlformats.org/officeDocument/2006/relationships/slideLayout" Target="../slideLayouts/slideLayout99.xml"/><Relationship Id="rId4" Type="http://schemas.openxmlformats.org/officeDocument/2006/relationships/slideLayout" Target="../slideLayouts/slideLayout9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41" Type="http://schemas.openxmlformats.org/officeDocument/2006/relationships/theme" Target="../theme/theme8.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theme" Target="../theme/theme9.xml"/><Relationship Id="rId3" Type="http://schemas.openxmlformats.org/officeDocument/2006/relationships/slideLayout" Target="../slideLayouts/slideLayout144.xml"/><Relationship Id="rId21" Type="http://schemas.openxmlformats.org/officeDocument/2006/relationships/oleObject" Target="../embeddings/oleObject7.bin"/><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tags" Target="../tags/tag21.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vmlDrawing" Target="../drawings/vmlDrawing7.v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21817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536909182"/>
      </p:ext>
    </p:extLst>
  </p:cSld>
  <p:clrMap bg1="lt1" tx1="dk1" bg2="lt2" tx2="dk2" accent1="accent1" accent2="accent2" accent3="accent3" accent4="accent4" accent5="accent5" accent6="accent6" hlink="hlink" folHlink="folHlink"/>
  <p:sldLayoutIdLst>
    <p:sldLayoutId id="2147484576" r:id="rId1"/>
    <p:sldLayoutId id="2147484577" r:id="rId2"/>
    <p:sldLayoutId id="2147484578" r:id="rId3"/>
    <p:sldLayoutId id="2147484579" r:id="rId4"/>
    <p:sldLayoutId id="2147484580" r:id="rId5"/>
    <p:sldLayoutId id="2147484581" r:id="rId6"/>
    <p:sldLayoutId id="2147484582" r:id="rId7"/>
    <p:sldLayoutId id="2147484583" r:id="rId8"/>
    <p:sldLayoutId id="2147484584" r:id="rId9"/>
    <p:sldLayoutId id="2147484585" r:id="rId10"/>
    <p:sldLayoutId id="2147484586" r:id="rId11"/>
    <p:sldLayoutId id="2147484587" r:id="rId12"/>
    <p:sldLayoutId id="2147484588" r:id="rId13"/>
    <p:sldLayoutId id="2147484589" r:id="rId14"/>
    <p:sldLayoutId id="2147484590" r:id="rId15"/>
    <p:sldLayoutId id="2147484591" r:id="rId16"/>
    <p:sldLayoutId id="2147484592" r:id="rId17"/>
    <p:sldLayoutId id="2147484593" r:id="rId18"/>
    <p:sldLayoutId id="2147484594" r:id="rId19"/>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21817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225025762"/>
      </p:ext>
    </p:extLst>
  </p:cSld>
  <p:clrMap bg1="lt1" tx1="dk1" bg2="lt2" tx2="dk2" accent1="accent1" accent2="accent2" accent3="accent3" accent4="accent4" accent5="accent5" accent6="accent6" hlink="hlink" folHlink="folHlink"/>
  <p:sldLayoutIdLst>
    <p:sldLayoutId id="2147485492" r:id="rId1"/>
    <p:sldLayoutId id="2147485493" r:id="rId2"/>
    <p:sldLayoutId id="2147485494" r:id="rId3"/>
    <p:sldLayoutId id="2147485495" r:id="rId4"/>
    <p:sldLayoutId id="2147485496" r:id="rId5"/>
    <p:sldLayoutId id="2147485497" r:id="rId6"/>
    <p:sldLayoutId id="2147485498" r:id="rId7"/>
    <p:sldLayoutId id="2147485499" r:id="rId8"/>
    <p:sldLayoutId id="2147485500" r:id="rId9"/>
    <p:sldLayoutId id="2147485501" r:id="rId10"/>
    <p:sldLayoutId id="2147485502" r:id="rId11"/>
    <p:sldLayoutId id="2147485503" r:id="rId12"/>
    <p:sldLayoutId id="2147485504" r:id="rId13"/>
    <p:sldLayoutId id="2147485505" r:id="rId14"/>
    <p:sldLayoutId id="2147485506" r:id="rId15"/>
    <p:sldLayoutId id="2147485507" r:id="rId16"/>
    <p:sldLayoutId id="2147485508" r:id="rId17"/>
    <p:sldLayoutId id="2147485509" r:id="rId18"/>
    <p:sldLayoutId id="2147485510" r:id="rId19"/>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60552" name="think-cell Slide" r:id="rId22" imgW="383" imgH="384" progId="TCLayout.ActiveDocument.1">
                  <p:embed/>
                </p:oleObj>
              </mc:Choice>
              <mc:Fallback>
                <p:oleObj name="think-cell Slide" r:id="rId22" imgW="383" imgH="384" progId="TCLayout.ActiveDocument.1">
                  <p:embed/>
                  <p:pic>
                    <p:nvPicPr>
                      <p:cNvPr id="0" name=""/>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656587013"/>
      </p:ext>
    </p:extLst>
  </p:cSld>
  <p:clrMap bg1="lt1" tx1="dk1" bg2="lt2" tx2="dk2" accent1="accent1" accent2="accent2" accent3="accent3" accent4="accent4" accent5="accent5" accent6="accent6" hlink="hlink" folHlink="folHlink"/>
  <p:sldLayoutIdLst>
    <p:sldLayoutId id="2147485551" r:id="rId1"/>
    <p:sldLayoutId id="2147485552" r:id="rId2"/>
    <p:sldLayoutId id="2147485553" r:id="rId3"/>
    <p:sldLayoutId id="2147485554" r:id="rId4"/>
    <p:sldLayoutId id="2147485555" r:id="rId5"/>
    <p:sldLayoutId id="2147485556" r:id="rId6"/>
    <p:sldLayoutId id="2147485557" r:id="rId7"/>
    <p:sldLayoutId id="2147485558" r:id="rId8"/>
    <p:sldLayoutId id="2147485559" r:id="rId9"/>
    <p:sldLayoutId id="2147485560" r:id="rId10"/>
    <p:sldLayoutId id="2147485561" r:id="rId11"/>
    <p:sldLayoutId id="2147485562" r:id="rId12"/>
    <p:sldLayoutId id="2147485563" r:id="rId13"/>
    <p:sldLayoutId id="2147485564" r:id="rId14"/>
    <p:sldLayoutId id="2147485565" r:id="rId15"/>
    <p:sldLayoutId id="2147485566" r:id="rId16"/>
    <p:sldLayoutId id="2147485567" r:id="rId17"/>
    <p:sldLayoutId id="2147485568" r:id="rId18"/>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64627" name="think-cell Slide" r:id="rId20" imgW="377" imgH="377" progId="TCLayout.ActiveDocument.1">
                  <p:embed/>
                </p:oleObj>
              </mc:Choice>
              <mc:Fallback>
                <p:oleObj name="think-cell Slide" r:id="rId20" imgW="377" imgH="377" progId="TCLayout.ActiveDocument.1">
                  <p:embed/>
                  <p:pic>
                    <p:nvPicPr>
                      <p:cNvPr id="0" name=""/>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282073991"/>
      </p:ext>
    </p:extLst>
  </p:cSld>
  <p:clrMap bg1="lt1" tx1="dk1" bg2="lt2" tx2="dk2" accent1="accent1" accent2="accent2" accent3="accent3" accent4="accent4" accent5="accent5" accent6="accent6" hlink="hlink" folHlink="folHlink"/>
  <p:sldLayoutIdLst>
    <p:sldLayoutId id="2147485608" r:id="rId1"/>
    <p:sldLayoutId id="2147485609" r:id="rId2"/>
    <p:sldLayoutId id="2147485610" r:id="rId3"/>
    <p:sldLayoutId id="2147485611" r:id="rId4"/>
    <p:sldLayoutId id="2147485612" r:id="rId5"/>
    <p:sldLayoutId id="2147485613" r:id="rId6"/>
    <p:sldLayoutId id="2147485614" r:id="rId7"/>
    <p:sldLayoutId id="2147485615" r:id="rId8"/>
    <p:sldLayoutId id="2147485616" r:id="rId9"/>
    <p:sldLayoutId id="2147485617" r:id="rId10"/>
    <p:sldLayoutId id="2147485618" r:id="rId11"/>
    <p:sldLayoutId id="2147485619" r:id="rId12"/>
    <p:sldLayoutId id="2147485620" r:id="rId13"/>
    <p:sldLayoutId id="2147485621" r:id="rId14"/>
    <p:sldLayoutId id="2147485622" r:id="rId15"/>
    <p:sldLayoutId id="2147485623" r:id="rId16"/>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3" y="289515"/>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4"/>
          </p:nvPr>
        </p:nvSpPr>
        <p:spPr>
          <a:xfrm>
            <a:off x="7782" y="6486818"/>
            <a:ext cx="2742188"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168022" defTabSz="914093"/>
            <a:fld id="{C9A871AC-A86D-4E3C-88B8-BCF6B56DF8AD}" type="slidenum">
              <a:rPr lang="en-US" smtClean="0">
                <a:solidFill>
                  <a:srgbClr val="505050">
                    <a:tint val="75000"/>
                  </a:srgbClr>
                </a:solidFill>
              </a:rPr>
              <a:pPr marL="168022" defTabSz="914093"/>
              <a:t>‹#›</a:t>
            </a:fld>
            <a:endParaRPr lang="en-US" dirty="0">
              <a:solidFill>
                <a:srgbClr val="505050">
                  <a:tint val="75000"/>
                </a:srgbClr>
              </a:solidFill>
            </a:endParaRPr>
          </a:p>
        </p:txBody>
      </p:sp>
      <p:sp>
        <p:nvSpPr>
          <p:cNvPr id="6" name="Footer Placeholder 5"/>
          <p:cNvSpPr>
            <a:spLocks noGrp="1"/>
          </p:cNvSpPr>
          <p:nvPr>
            <p:ph type="ftr" sz="quarter" idx="3"/>
          </p:nvPr>
        </p:nvSpPr>
        <p:spPr>
          <a:xfrm>
            <a:off x="4038584" y="6356803"/>
            <a:ext cx="4114839" cy="364224"/>
          </a:xfrm>
          <a:prstGeom prst="rect">
            <a:avLst/>
          </a:prstGeom>
        </p:spPr>
        <p:txBody>
          <a:bodyPr vert="horz" lIns="91440" tIns="45720" rIns="91440" bIns="45720" rtlCol="0" anchor="ctr"/>
          <a:lstStyle>
            <a:lvl1pPr algn="ctr">
              <a:defRPr sz="1176">
                <a:solidFill>
                  <a:schemeClr val="tx1">
                    <a:tint val="75000"/>
                  </a:schemeClr>
                </a:solidFill>
              </a:defRPr>
            </a:lvl1pPr>
          </a:lstStyle>
          <a:p>
            <a:pPr defTabSz="914093"/>
            <a:endParaRPr lang="en-US" dirty="0">
              <a:solidFill>
                <a:srgbClr val="505050">
                  <a:tint val="75000"/>
                </a:srgbClr>
              </a:solidFill>
            </a:endParaRPr>
          </a:p>
        </p:txBody>
      </p:sp>
    </p:spTree>
    <p:extLst>
      <p:ext uri="{BB962C8B-B14F-4D97-AF65-F5344CB8AC3E}">
        <p14:creationId xmlns:p14="http://schemas.microsoft.com/office/powerpoint/2010/main" val="1550378464"/>
      </p:ext>
    </p:extLst>
  </p:cSld>
  <p:clrMap bg1="lt1" tx1="dk1" bg2="lt2" tx2="dk2" accent1="accent1" accent2="accent2" accent3="accent3" accent4="accent4" accent5="accent5" accent6="accent6" hlink="hlink" folHlink="folHlink"/>
  <p:sldLayoutIdLst>
    <p:sldLayoutId id="2147485625" r:id="rId1"/>
    <p:sldLayoutId id="2147485626" r:id="rId2"/>
    <p:sldLayoutId id="2147485627" r:id="rId3"/>
    <p:sldLayoutId id="2147485628" r:id="rId4"/>
    <p:sldLayoutId id="2147485629" r:id="rId5"/>
    <p:sldLayoutId id="2147485630" r:id="rId6"/>
    <p:sldLayoutId id="2147485631" r:id="rId7"/>
    <p:sldLayoutId id="2147485632" r:id="rId8"/>
    <p:sldLayoutId id="2147485633" r:id="rId9"/>
    <p:sldLayoutId id="2147485634" r:id="rId10"/>
    <p:sldLayoutId id="2147485635" r:id="rId11"/>
    <p:sldLayoutId id="2147485636" r:id="rId12"/>
    <p:sldLayoutId id="2147485637" r:id="rId13"/>
    <p:sldLayoutId id="2147485638" r:id="rId14"/>
    <p:sldLayoutId id="2147485639" r:id="rId15"/>
    <p:sldLayoutId id="2147485641" r:id="rId16"/>
  </p:sldLayoutIdLst>
  <p:transition>
    <p:fade/>
  </p:transition>
  <p:hf hdr="0" ftr="0" dt="0"/>
  <p:txStyles>
    <p:titleStyle>
      <a:lvl1pPr algn="l" defTabSz="914093" rtl="0" eaLnBrk="1" latinLnBrk="0" hangingPunct="1">
        <a:lnSpc>
          <a:spcPct val="90000"/>
        </a:lnSpc>
        <a:spcBef>
          <a:spcPct val="0"/>
        </a:spcBef>
        <a:buNone/>
        <a:defRPr lang="en-US" sz="4704" b="1"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84069" name="think-cell Slide" r:id="rId20" imgW="377" imgH="377" progId="TCLayout.ActiveDocument.1">
                  <p:embed/>
                </p:oleObj>
              </mc:Choice>
              <mc:Fallback>
                <p:oleObj name="think-cell Slide" r:id="rId20" imgW="377" imgH="377" progId="TCLayout.ActiveDocument.1">
                  <p:embed/>
                  <p:pic>
                    <p:nvPicPr>
                      <p:cNvPr id="0" name=""/>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t">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355242686"/>
      </p:ext>
    </p:extLst>
  </p:cSld>
  <p:clrMap bg1="lt1" tx1="dk1" bg2="lt2" tx2="dk2" accent1="accent1" accent2="accent2" accent3="accent3" accent4="accent4" accent5="accent5" accent6="accent6" hlink="hlink" folHlink="folHlink"/>
  <p:sldLayoutIdLst>
    <p:sldLayoutId id="2147485643" r:id="rId1"/>
    <p:sldLayoutId id="2147485644" r:id="rId2"/>
    <p:sldLayoutId id="2147485645" r:id="rId3"/>
    <p:sldLayoutId id="2147485646" r:id="rId4"/>
    <p:sldLayoutId id="2147485647" r:id="rId5"/>
    <p:sldLayoutId id="2147485648" r:id="rId6"/>
    <p:sldLayoutId id="2147485649" r:id="rId7"/>
    <p:sldLayoutId id="2147485650" r:id="rId8"/>
    <p:sldLayoutId id="2147485651" r:id="rId9"/>
    <p:sldLayoutId id="2147485652" r:id="rId10"/>
    <p:sldLayoutId id="2147485653" r:id="rId11"/>
    <p:sldLayoutId id="2147485654" r:id="rId12"/>
    <p:sldLayoutId id="2147485655" r:id="rId13"/>
    <p:sldLayoutId id="2147485656" r:id="rId14"/>
    <p:sldLayoutId id="2147485657" r:id="rId15"/>
    <p:sldLayoutId id="2147485658" r:id="rId16"/>
  </p:sldLayoutIdLst>
  <p:transition>
    <p:fade/>
  </p:transition>
  <p:hf sldNum="0"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356616"/>
            <a:ext cx="11151917" cy="553998"/>
          </a:xfrm>
          <a:prstGeom prst="rect">
            <a:avLst/>
          </a:prstGeom>
        </p:spPr>
        <p:txBody>
          <a:bodyPr vert="horz" wrap="square"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868908" y="1673357"/>
            <a:ext cx="11151916" cy="169277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8278593"/>
      </p:ext>
    </p:extLst>
  </p:cSld>
  <p:clrMap bg1="lt1" tx1="dk1" bg2="lt2" tx2="dk2" accent1="accent1" accent2="accent2" accent3="accent3" accent4="accent4" accent5="accent5" accent6="accent6" hlink="hlink" folHlink="folHlink"/>
  <p:sldLayoutIdLst>
    <p:sldLayoutId id="2147485660" r:id="rId1"/>
    <p:sldLayoutId id="2147485661" r:id="rId2"/>
    <p:sldLayoutId id="2147485662" r:id="rId3"/>
    <p:sldLayoutId id="2147485663" r:id="rId4"/>
    <p:sldLayoutId id="2147485664" r:id="rId5"/>
    <p:sldLayoutId id="2147485665" r:id="rId6"/>
    <p:sldLayoutId id="2147485666" r:id="rId7"/>
    <p:sldLayoutId id="2147485667" r:id="rId8"/>
    <p:sldLayoutId id="2147485668" r:id="rId9"/>
    <p:sldLayoutId id="2147485669" r:id="rId10"/>
    <p:sldLayoutId id="2147485670" r:id="rId11"/>
    <p:sldLayoutId id="2147485671" r:id="rId12"/>
    <p:sldLayoutId id="2147485672" r:id="rId13"/>
    <p:sldLayoutId id="2147485673" r:id="rId14"/>
    <p:sldLayoutId id="2147485674" r:id="rId15"/>
    <p:sldLayoutId id="2147485675" r:id="rId16"/>
    <p:sldLayoutId id="2147485676" r:id="rId17"/>
    <p:sldLayoutId id="2147485677" r:id="rId18"/>
    <p:sldLayoutId id="2147485678" r:id="rId19"/>
    <p:sldLayoutId id="2147485680"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74320" indent="-274320" algn="l" defTabSz="914363" rtl="0" eaLnBrk="1" latinLnBrk="0" hangingPunct="1">
        <a:lnSpc>
          <a:spcPct val="100000"/>
        </a:lnSpc>
        <a:spcBef>
          <a:spcPts val="600"/>
        </a:spcBef>
        <a:buClr>
          <a:schemeClr val="accent1"/>
        </a:buClr>
        <a:buSzPct val="100000"/>
        <a:buFontTx/>
        <a:buBlip>
          <a:blip r:embed="rId22"/>
        </a:buBlip>
        <a:defRPr sz="2000" kern="1200">
          <a:solidFill>
            <a:schemeClr val="tx1"/>
          </a:solidFill>
          <a:latin typeface="Segoe UI" pitchFamily="34" charset="0"/>
          <a:ea typeface="Segoe UI" pitchFamily="34" charset="0"/>
          <a:cs typeface="Segoe UI" pitchFamily="34" charset="0"/>
        </a:defRPr>
      </a:lvl1pPr>
      <a:lvl2pPr marL="548640" indent="-274320" algn="l" defTabSz="914363" rtl="0" eaLnBrk="1" latinLnBrk="0" hangingPunct="1">
        <a:lnSpc>
          <a:spcPct val="100000"/>
        </a:lnSpc>
        <a:spcBef>
          <a:spcPts val="600"/>
        </a:spcBef>
        <a:buClr>
          <a:schemeClr val="accent1"/>
        </a:buClr>
        <a:buSzPct val="100000"/>
        <a:buFontTx/>
        <a:buBlip>
          <a:blip r:embed="rId22"/>
        </a:buBlip>
        <a:defRPr sz="2000" kern="1200">
          <a:solidFill>
            <a:schemeClr val="tx1"/>
          </a:solidFill>
          <a:latin typeface="Segoe UI" pitchFamily="34" charset="0"/>
          <a:ea typeface="Segoe UI" pitchFamily="34" charset="0"/>
          <a:cs typeface="Segoe UI" pitchFamily="34" charset="0"/>
        </a:defRPr>
      </a:lvl2pPr>
      <a:lvl3pPr marL="822960" indent="-274320" algn="l" defTabSz="914363" rtl="0" eaLnBrk="1" latinLnBrk="0" hangingPunct="1">
        <a:lnSpc>
          <a:spcPct val="100000"/>
        </a:lnSpc>
        <a:spcBef>
          <a:spcPts val="600"/>
        </a:spcBef>
        <a:buClr>
          <a:schemeClr val="accent1"/>
        </a:buClr>
        <a:buSzPct val="100000"/>
        <a:buFontTx/>
        <a:buBlip>
          <a:blip r:embed="rId22"/>
        </a:buBlip>
        <a:defRPr sz="1800" kern="1200">
          <a:solidFill>
            <a:schemeClr val="tx1"/>
          </a:solidFill>
          <a:latin typeface="Segoe UI" pitchFamily="34" charset="0"/>
          <a:ea typeface="Segoe UI" pitchFamily="34" charset="0"/>
          <a:cs typeface="Segoe UI" pitchFamily="34" charset="0"/>
        </a:defRPr>
      </a:lvl3pPr>
      <a:lvl4pPr marL="1097280" indent="-274320" algn="l" defTabSz="914363" rtl="0" eaLnBrk="1" latinLnBrk="0" hangingPunct="1">
        <a:lnSpc>
          <a:spcPct val="100000"/>
        </a:lnSpc>
        <a:spcBef>
          <a:spcPts val="600"/>
        </a:spcBef>
        <a:buClr>
          <a:schemeClr val="accent1"/>
        </a:buClr>
        <a:buSzPct val="100000"/>
        <a:buFontTx/>
        <a:buBlip>
          <a:blip r:embed="rId22"/>
        </a:buBlip>
        <a:defRPr sz="1600" kern="1200">
          <a:solidFill>
            <a:schemeClr val="tx1"/>
          </a:solidFill>
          <a:latin typeface="Segoe UI" pitchFamily="34" charset="0"/>
          <a:ea typeface="Segoe UI" pitchFamily="34" charset="0"/>
          <a:cs typeface="Segoe UI" pitchFamily="34" charset="0"/>
        </a:defRPr>
      </a:lvl4pPr>
      <a:lvl5pPr marL="1371600" indent="-274320" algn="l" defTabSz="914363" rtl="0" eaLnBrk="1" latinLnBrk="0" hangingPunct="1">
        <a:lnSpc>
          <a:spcPct val="100000"/>
        </a:lnSpc>
        <a:spcBef>
          <a:spcPts val="600"/>
        </a:spcBef>
        <a:buClr>
          <a:schemeClr val="accent1"/>
        </a:buClr>
        <a:buSzPct val="100000"/>
        <a:buFontTx/>
        <a:buBlip>
          <a:blip r:embed="rId22"/>
        </a:buBlip>
        <a:defRPr sz="1600" kern="1200">
          <a:solidFill>
            <a:schemeClr val="tx1"/>
          </a:soli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702489" name="think-cell Slide" r:id="rId15" imgW="383" imgH="384" progId="TCLayout.ActiveDocument.1">
                  <p:embed/>
                </p:oleObj>
              </mc:Choice>
              <mc:Fallback>
                <p:oleObj name="think-cell Slide" r:id="rId15" imgW="383" imgH="384" progId="TCLayout.ActiveDocument.1">
                  <p:embed/>
                  <p:pic>
                    <p:nvPicPr>
                      <p:cNvPr id="3" name="Object 2" hidden="1"/>
                      <p:cNvPicPr/>
                      <p:nvPr/>
                    </p:nvPicPr>
                    <p:blipFill>
                      <a:blip r:embed="rId16"/>
                      <a:stretch>
                        <a:fillRect/>
                      </a:stretch>
                    </p:blipFill>
                    <p:spPr>
                      <a:xfrm>
                        <a:off x="1590" y="1591"/>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6"/>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solidFill>
                <a:srgbClr val="505050"/>
              </a:solidFill>
            </a:endParaRPr>
          </a:p>
        </p:txBody>
      </p:sp>
      <p:sp>
        <p:nvSpPr>
          <p:cNvPr id="15" name="Text Placeholder 14"/>
          <p:cNvSpPr>
            <a:spLocks noGrp="1"/>
          </p:cNvSpPr>
          <p:nvPr>
            <p:ph type="body" idx="1"/>
          </p:nvPr>
        </p:nvSpPr>
        <p:spPr>
          <a:xfrm>
            <a:off x="150853" y="1600203"/>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24118462"/>
      </p:ext>
    </p:extLst>
  </p:cSld>
  <p:clrMap bg1="lt1" tx1="dk1" bg2="lt2" tx2="dk2" accent1="accent1" accent2="accent2" accent3="accent3" accent4="accent4" accent5="accent5" accent6="accent6" hlink="hlink" folHlink="folHlink"/>
  <p:sldLayoutIdLst>
    <p:sldLayoutId id="2147485692" r:id="rId1"/>
    <p:sldLayoutId id="2147485693" r:id="rId2"/>
    <p:sldLayoutId id="2147485694" r:id="rId3"/>
    <p:sldLayoutId id="2147485695" r:id="rId4"/>
    <p:sldLayoutId id="2147485696" r:id="rId5"/>
    <p:sldLayoutId id="2147485697" r:id="rId6"/>
    <p:sldLayoutId id="2147485698" r:id="rId7"/>
    <p:sldLayoutId id="2147485699" r:id="rId8"/>
    <p:sldLayoutId id="2147485700" r:id="rId9"/>
    <p:sldLayoutId id="2147485701" r:id="rId10"/>
    <p:sldLayoutId id="2147485702" r:id="rId11"/>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706585" name="think-cell Slide" r:id="rId21" imgW="383" imgH="384" progId="TCLayout.ActiveDocument.1">
                  <p:embed/>
                </p:oleObj>
              </mc:Choice>
              <mc:Fallback>
                <p:oleObj name="think-cell Slide" r:id="rId21" imgW="383" imgH="384" progId="TCLayout.ActiveDocument.1">
                  <p:embed/>
                  <p:pic>
                    <p:nvPicPr>
                      <p:cNvPr id="3" name="Object 2" hidden="1"/>
                      <p:cNvPicPr/>
                      <p:nvPr/>
                    </p:nvPicPr>
                    <p:blipFill>
                      <a:blip r:embed="rId22"/>
                      <a:stretch>
                        <a:fillRect/>
                      </a:stretch>
                    </p:blipFill>
                    <p:spPr>
                      <a:xfrm>
                        <a:off x="1590" y="1591"/>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1" y="6477876"/>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endParaRPr lang="en-US" dirty="0">
              <a:solidFill>
                <a:srgbClr val="505050"/>
              </a:solidFill>
            </a:endParaRPr>
          </a:p>
        </p:txBody>
      </p:sp>
      <p:sp>
        <p:nvSpPr>
          <p:cNvPr id="15" name="Text Placeholder 14"/>
          <p:cNvSpPr>
            <a:spLocks noGrp="1"/>
          </p:cNvSpPr>
          <p:nvPr>
            <p:ph type="body" idx="1"/>
          </p:nvPr>
        </p:nvSpPr>
        <p:spPr>
          <a:xfrm>
            <a:off x="150853" y="1600203"/>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532250914"/>
      </p:ext>
    </p:extLst>
  </p:cSld>
  <p:clrMap bg1="lt1" tx1="dk1" bg2="lt2" tx2="dk2" accent1="accent1" accent2="accent2" accent3="accent3" accent4="accent4" accent5="accent5" accent6="accent6" hlink="hlink" folHlink="folHlink"/>
  <p:sldLayoutIdLst>
    <p:sldLayoutId id="2147485708" r:id="rId1"/>
    <p:sldLayoutId id="2147485709" r:id="rId2"/>
    <p:sldLayoutId id="2147485710" r:id="rId3"/>
    <p:sldLayoutId id="2147485711" r:id="rId4"/>
    <p:sldLayoutId id="2147485712" r:id="rId5"/>
    <p:sldLayoutId id="2147485713" r:id="rId6"/>
    <p:sldLayoutId id="2147485714" r:id="rId7"/>
    <p:sldLayoutId id="2147485715" r:id="rId8"/>
    <p:sldLayoutId id="2147485716" r:id="rId9"/>
    <p:sldLayoutId id="2147485717" r:id="rId10"/>
    <p:sldLayoutId id="2147485718" r:id="rId11"/>
    <p:sldLayoutId id="2147485719" r:id="rId12"/>
    <p:sldLayoutId id="2147485720" r:id="rId13"/>
    <p:sldLayoutId id="2147485721" r:id="rId14"/>
    <p:sldLayoutId id="2147485722" r:id="rId15"/>
    <p:sldLayoutId id="2147485723" r:id="rId16"/>
    <p:sldLayoutId id="2147485724" r:id="rId17"/>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2075" name="think-cell Slide" r:id="rId22" imgW="383" imgH="384" progId="TCLayout.ActiveDocument.1">
                  <p:embed/>
                </p:oleObj>
              </mc:Choice>
              <mc:Fallback>
                <p:oleObj name="think-cell Slide" r:id="rId22" imgW="383" imgH="384" progId="TCLayout.ActiveDocument.1">
                  <p:embed/>
                  <p:pic>
                    <p:nvPicPr>
                      <p:cNvPr id="3" name="Object 2" hidden="1"/>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596804101"/>
      </p:ext>
    </p:extLst>
  </p:cSld>
  <p:clrMap bg1="lt1" tx1="dk1" bg2="lt2" tx2="dk2" accent1="accent1" accent2="accent2" accent3="accent3" accent4="accent4" accent5="accent5" accent6="accent6" hlink="hlink" folHlink="folHlink"/>
  <p:sldLayoutIdLst>
    <p:sldLayoutId id="2147484616" r:id="rId1"/>
    <p:sldLayoutId id="2147484617" r:id="rId2"/>
    <p:sldLayoutId id="2147484618" r:id="rId3"/>
    <p:sldLayoutId id="2147484619" r:id="rId4"/>
    <p:sldLayoutId id="2147484620" r:id="rId5"/>
    <p:sldLayoutId id="2147484621" r:id="rId6"/>
    <p:sldLayoutId id="2147484622" r:id="rId7"/>
    <p:sldLayoutId id="2147484623" r:id="rId8"/>
    <p:sldLayoutId id="2147484624" r:id="rId9"/>
    <p:sldLayoutId id="2147484625" r:id="rId10"/>
    <p:sldLayoutId id="2147484626" r:id="rId11"/>
    <p:sldLayoutId id="2147484627" r:id="rId12"/>
    <p:sldLayoutId id="2147484628" r:id="rId13"/>
    <p:sldLayoutId id="2147484629" r:id="rId14"/>
    <p:sldLayoutId id="2147484630" r:id="rId15"/>
    <p:sldLayoutId id="2147484631" r:id="rId16"/>
    <p:sldLayoutId id="2147484632" r:id="rId17"/>
    <p:sldLayoutId id="2147484633" r:id="rId18"/>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4459" name="think-cell Slide" r:id="rId20" imgW="383" imgH="384" progId="TCLayout.ActiveDocument.1">
                  <p:embed/>
                </p:oleObj>
              </mc:Choice>
              <mc:Fallback>
                <p:oleObj name="think-cell Slide" r:id="rId20" imgW="383" imgH="384"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986242425"/>
      </p:ext>
    </p:extLst>
  </p:cSld>
  <p:clrMap bg1="lt1" tx1="dk1" bg2="lt2" tx2="dk2" accent1="accent1" accent2="accent2" accent3="accent3" accent4="accent4" accent5="accent5" accent6="accent6" hlink="hlink" folHlink="folHlink"/>
  <p:sldLayoutIdLst>
    <p:sldLayoutId id="2147484883" r:id="rId1"/>
    <p:sldLayoutId id="2147484884" r:id="rId2"/>
    <p:sldLayoutId id="2147484885" r:id="rId3"/>
    <p:sldLayoutId id="2147484886" r:id="rId4"/>
    <p:sldLayoutId id="2147484887" r:id="rId5"/>
    <p:sldLayoutId id="2147484888" r:id="rId6"/>
    <p:sldLayoutId id="2147484889" r:id="rId7"/>
    <p:sldLayoutId id="2147484890" r:id="rId8"/>
    <p:sldLayoutId id="2147484891" r:id="rId9"/>
    <p:sldLayoutId id="2147484892" r:id="rId10"/>
    <p:sldLayoutId id="2147484893" r:id="rId11"/>
    <p:sldLayoutId id="2147484894" r:id="rId12"/>
    <p:sldLayoutId id="2147484895" r:id="rId13"/>
    <p:sldLayoutId id="2147484896" r:id="rId14"/>
    <p:sldLayoutId id="2147484897" r:id="rId15"/>
    <p:sldLayoutId id="2147484898" r:id="rId16"/>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31867" name="think-cell Slide" r:id="rId20" imgW="383" imgH="384" progId="TCLayout.ActiveDocument.1">
                  <p:embed/>
                </p:oleObj>
              </mc:Choice>
              <mc:Fallback>
                <p:oleObj name="think-cell Slide" r:id="rId20" imgW="383" imgH="384" progId="TCLayout.ActiveDocument.1">
                  <p:embed/>
                  <p:pic>
                    <p:nvPicPr>
                      <p:cNvPr id="3" name="Object 2"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297744668"/>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 id="2147484948" r:id="rId13"/>
    <p:sldLayoutId id="2147484949" r:id="rId14"/>
    <p:sldLayoutId id="2147484950" r:id="rId15"/>
    <p:sldLayoutId id="2147484951" r:id="rId16"/>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50299" name="think-cell Slide" r:id="rId21" imgW="383" imgH="384" progId="TCLayout.ActiveDocument.1">
                  <p:embed/>
                </p:oleObj>
              </mc:Choice>
              <mc:Fallback>
                <p:oleObj name="think-cell Slide" r:id="rId21" imgW="383" imgH="384" progId="TCLayout.ActiveDocument.1">
                  <p:embed/>
                  <p:pic>
                    <p:nvPicPr>
                      <p:cNvPr id="3" name="Object 2" hidden="1"/>
                      <p:cNvPicPr/>
                      <p:nvPr/>
                    </p:nvPicPr>
                    <p:blipFill>
                      <a:blip r:embed="rId22"/>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0" y="6477874"/>
            <a:ext cx="8382000"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505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2810690039"/>
      </p:ext>
    </p:extLst>
  </p:cSld>
  <p:clrMap bg1="lt1" tx1="dk1" bg2="lt2" tx2="dk2" accent1="accent1" accent2="accent2" accent3="accent3" accent4="accent4" accent5="accent5" accent6="accent6" hlink="hlink" folHlink="folHlink"/>
  <p:sldLayoutIdLst>
    <p:sldLayoutId id="2147484953" r:id="rId1"/>
    <p:sldLayoutId id="2147484954" r:id="rId2"/>
    <p:sldLayoutId id="2147484955" r:id="rId3"/>
    <p:sldLayoutId id="2147484956" r:id="rId4"/>
    <p:sldLayoutId id="2147484957" r:id="rId5"/>
    <p:sldLayoutId id="2147484958" r:id="rId6"/>
    <p:sldLayoutId id="2147484959" r:id="rId7"/>
    <p:sldLayoutId id="2147484960" r:id="rId8"/>
    <p:sldLayoutId id="2147484961" r:id="rId9"/>
    <p:sldLayoutId id="2147484962" r:id="rId10"/>
    <p:sldLayoutId id="2147484963" r:id="rId11"/>
    <p:sldLayoutId id="2147484964" r:id="rId12"/>
    <p:sldLayoutId id="2147484965" r:id="rId13"/>
    <p:sldLayoutId id="2147484966" r:id="rId14"/>
    <p:sldLayoutId id="2147484967" r:id="rId15"/>
    <p:sldLayoutId id="2147484968" r:id="rId16"/>
    <p:sldLayoutId id="2147484969" r:id="rId17"/>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2"/>
            <a:ext cx="11151917" cy="609399"/>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0"/>
            <a:ext cx="11151916" cy="4953000"/>
          </a:xfrm>
          <a:prstGeom prst="rect">
            <a:avLst/>
          </a:prstGeom>
        </p:spPr>
        <p:txBody>
          <a:bodyPr vert="horz" wrap="square"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4"/>
          </p:nvPr>
        </p:nvSpPr>
        <p:spPr>
          <a:xfrm>
            <a:off x="11220197" y="6581259"/>
            <a:ext cx="820952" cy="184666"/>
          </a:xfrm>
          <a:prstGeom prst="rect">
            <a:avLst/>
          </a:prstGeom>
        </p:spPr>
        <p:txBody>
          <a:bodyPr vert="horz" wrap="square" lIns="0" tIns="0" rIns="0" bIns="0" rtlCol="0" anchor="b" anchorCtr="0">
            <a:spAutoFit/>
          </a:bodyPr>
          <a:lstStyle>
            <a:lvl1pPr algn="r">
              <a:defRPr lang="en-US" sz="1200" kern="1200" smtClean="0">
                <a:gradFill>
                  <a:gsLst>
                    <a:gs pos="73333">
                      <a:srgbClr val="808080"/>
                    </a:gs>
                    <a:gs pos="38000">
                      <a:srgbClr val="808080"/>
                    </a:gs>
                  </a:gsLst>
                  <a:lin ang="5400000" scaled="0"/>
                </a:gradFill>
                <a:latin typeface="+mn-lt"/>
                <a:ea typeface="+mn-ea"/>
                <a:cs typeface="+mn-cs"/>
              </a:defRPr>
            </a:lvl1pPr>
          </a:lstStyle>
          <a:p>
            <a:pPr defTabSz="608495"/>
            <a:fld id="{71F47D9D-8D60-4698-A495-89D102E182A2}" type="slidenum">
              <a:rPr lang="en-US" smtClean="0"/>
              <a:pPr defTabSz="608495"/>
              <a:t>‹#›</a:t>
            </a:fld>
            <a:endParaRPr lang="en-US" dirty="0"/>
          </a:p>
        </p:txBody>
      </p:sp>
      <p:sp>
        <p:nvSpPr>
          <p:cNvPr id="5" name="Footer Placeholder 4"/>
          <p:cNvSpPr>
            <a:spLocks noGrp="1"/>
          </p:cNvSpPr>
          <p:nvPr>
            <p:ph type="ftr" sz="quarter" idx="3"/>
          </p:nvPr>
        </p:nvSpPr>
        <p:spPr>
          <a:xfrm>
            <a:off x="150852" y="6581259"/>
            <a:ext cx="3861805" cy="184666"/>
          </a:xfrm>
          <a:prstGeom prst="rect">
            <a:avLst/>
          </a:prstGeom>
        </p:spPr>
        <p:txBody>
          <a:bodyPr vert="horz" lIns="0" tIns="0" rIns="0" bIns="0" rtlCol="0" anchor="b" anchorCtr="0">
            <a:spAutoFit/>
          </a:bodyPr>
          <a:lstStyle>
            <a:lvl1pPr algn="l">
              <a:defRPr sz="1200">
                <a:gradFill>
                  <a:gsLst>
                    <a:gs pos="73333">
                      <a:srgbClr val="808080"/>
                    </a:gs>
                    <a:gs pos="38000">
                      <a:srgbClr val="808080"/>
                    </a:gs>
                  </a:gsLst>
                  <a:lin ang="5400000" scaled="0"/>
                </a:gradFill>
              </a:defRPr>
            </a:lvl1pPr>
          </a:lstStyle>
          <a:p>
            <a:pPr defTabSz="608495"/>
            <a:r>
              <a:rPr lang="en-US"/>
              <a:t>Microsoft Confidential</a:t>
            </a:r>
            <a:endParaRPr lang="en-US" dirty="0"/>
          </a:p>
        </p:txBody>
      </p:sp>
    </p:spTree>
    <p:extLst>
      <p:ext uri="{BB962C8B-B14F-4D97-AF65-F5344CB8AC3E}">
        <p14:creationId xmlns:p14="http://schemas.microsoft.com/office/powerpoint/2010/main" val="2509997277"/>
      </p:ext>
    </p:extLst>
  </p:cSld>
  <p:clrMap bg1="lt1" tx1="dk1" bg2="lt2" tx2="dk2" accent1="accent1" accent2="accent2" accent3="accent3" accent4="accent4" accent5="accent5" accent6="accent6" hlink="hlink" folHlink="folHlink"/>
  <p:sldLayoutIdLst>
    <p:sldLayoutId id="2147485027" r:id="rId1"/>
    <p:sldLayoutId id="2147485028" r:id="rId2"/>
    <p:sldLayoutId id="2147485029" r:id="rId3"/>
    <p:sldLayoutId id="2147485030" r:id="rId4"/>
    <p:sldLayoutId id="2147485031" r:id="rId5"/>
    <p:sldLayoutId id="2147485032" r:id="rId6"/>
    <p:sldLayoutId id="2147485033" r:id="rId7"/>
    <p:sldLayoutId id="2147485034" r:id="rId8"/>
  </p:sldLayoutIdLst>
  <p:transition>
    <p:fade/>
  </p:transition>
  <p:hf sldNum="0" hdr="0" dt="0"/>
  <p:txStyles>
    <p:titleStyle>
      <a:lvl1pPr algn="l" defTabSz="914234" rtl="0" eaLnBrk="1" latinLnBrk="0" hangingPunct="1">
        <a:lnSpc>
          <a:spcPct val="90000"/>
        </a:lnSpc>
        <a:spcBef>
          <a:spcPct val="0"/>
        </a:spcBef>
        <a:buNone/>
        <a:defRPr lang="en-US" sz="4399"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10" indent="-460310" algn="l" defTabSz="914234" rtl="0" eaLnBrk="1" latinLnBrk="0" hangingPunct="1">
        <a:lnSpc>
          <a:spcPct val="90000"/>
        </a:lnSpc>
        <a:spcBef>
          <a:spcPct val="20000"/>
        </a:spcBef>
        <a:buClr>
          <a:schemeClr val="accent1"/>
        </a:buClr>
        <a:buSzPct val="90000"/>
        <a:buFont typeface="Wingdings" pitchFamily="2" charset="2"/>
        <a:buChar char="§"/>
        <a:defRPr sz="3199" kern="1200" spc="-71" baseline="0">
          <a:gradFill>
            <a:gsLst>
              <a:gs pos="0">
                <a:schemeClr val="tx1"/>
              </a:gs>
              <a:gs pos="86000">
                <a:schemeClr val="tx1"/>
              </a:gs>
            </a:gsLst>
            <a:lin ang="5400000" scaled="0"/>
          </a:gradFill>
          <a:latin typeface="+mn-lt"/>
          <a:ea typeface="+mn-ea"/>
          <a:cs typeface="+mn-cs"/>
        </a:defRPr>
      </a:lvl1pPr>
      <a:lvl2pPr marL="855541" indent="-395233" algn="l" defTabSz="914234" rtl="0" eaLnBrk="1" latinLnBrk="0" hangingPunct="1">
        <a:lnSpc>
          <a:spcPct val="90000"/>
        </a:lnSpc>
        <a:spcBef>
          <a:spcPct val="20000"/>
        </a:spcBef>
        <a:buClr>
          <a:schemeClr val="accent1"/>
        </a:buClr>
        <a:buSzPct val="90000"/>
        <a:buFont typeface="Wingdings" pitchFamily="2" charset="2"/>
        <a:buChar char="§"/>
        <a:defRPr sz="2799" kern="1200" spc="-71" baseline="0">
          <a:gradFill>
            <a:gsLst>
              <a:gs pos="0">
                <a:schemeClr val="tx1"/>
              </a:gs>
              <a:gs pos="86000">
                <a:schemeClr val="tx1"/>
              </a:gs>
            </a:gsLst>
            <a:lin ang="5400000" scaled="0"/>
          </a:gradFill>
          <a:latin typeface="+mn-lt"/>
          <a:ea typeface="+mn-ea"/>
          <a:cs typeface="+mn-cs"/>
        </a:defRPr>
      </a:lvl2pPr>
      <a:lvl3pPr marL="1258710" indent="-403169" algn="l" defTabSz="914234" rtl="0" eaLnBrk="1" latinLnBrk="0" hangingPunct="1">
        <a:lnSpc>
          <a:spcPct val="90000"/>
        </a:lnSpc>
        <a:spcBef>
          <a:spcPct val="20000"/>
        </a:spcBef>
        <a:buClr>
          <a:schemeClr val="accent1"/>
        </a:buClr>
        <a:buSzPct val="90000"/>
        <a:buFont typeface="Wingdings" pitchFamily="2" charset="2"/>
        <a:buChar char="§"/>
        <a:defRPr sz="2399" kern="1200" spc="-71" baseline="0">
          <a:gradFill>
            <a:gsLst>
              <a:gs pos="0">
                <a:schemeClr val="tx1"/>
              </a:gs>
              <a:gs pos="86000">
                <a:schemeClr val="tx1"/>
              </a:gs>
            </a:gsLst>
            <a:lin ang="5400000" scaled="0"/>
          </a:gradFill>
          <a:latin typeface="+mn-lt"/>
          <a:ea typeface="+mn-ea"/>
          <a:cs typeface="+mn-cs"/>
        </a:defRPr>
      </a:lvl3pPr>
      <a:lvl4pPr marL="1604736" indent="-346026" algn="l" defTabSz="914234"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4pPr>
      <a:lvl5pPr marL="1941238" indent="-336502" algn="l" defTabSz="914234"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5pPr>
      <a:lvl6pPr marL="2514144" indent="-228558"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60" indent="-228558"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77" indent="-228558"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94" indent="-228558" algn="l" defTabSz="9142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4" rtl="0" eaLnBrk="1" latinLnBrk="0" hangingPunct="1">
        <a:defRPr sz="1867" kern="1200">
          <a:solidFill>
            <a:schemeClr val="tx1"/>
          </a:solidFill>
          <a:latin typeface="+mn-lt"/>
          <a:ea typeface="+mn-ea"/>
          <a:cs typeface="+mn-cs"/>
        </a:defRPr>
      </a:lvl1pPr>
      <a:lvl2pPr marL="457117" algn="l" defTabSz="914234" rtl="0" eaLnBrk="1" latinLnBrk="0" hangingPunct="1">
        <a:defRPr sz="1867" kern="1200">
          <a:solidFill>
            <a:schemeClr val="tx1"/>
          </a:solidFill>
          <a:latin typeface="+mn-lt"/>
          <a:ea typeface="+mn-ea"/>
          <a:cs typeface="+mn-cs"/>
        </a:defRPr>
      </a:lvl2pPr>
      <a:lvl3pPr marL="914234" algn="l" defTabSz="914234" rtl="0" eaLnBrk="1" latinLnBrk="0" hangingPunct="1">
        <a:defRPr sz="1867" kern="1200">
          <a:solidFill>
            <a:schemeClr val="tx1"/>
          </a:solidFill>
          <a:latin typeface="+mn-lt"/>
          <a:ea typeface="+mn-ea"/>
          <a:cs typeface="+mn-cs"/>
        </a:defRPr>
      </a:lvl3pPr>
      <a:lvl4pPr marL="1371351" algn="l" defTabSz="914234" rtl="0" eaLnBrk="1" latinLnBrk="0" hangingPunct="1">
        <a:defRPr sz="1867" kern="1200">
          <a:solidFill>
            <a:schemeClr val="tx1"/>
          </a:solidFill>
          <a:latin typeface="+mn-lt"/>
          <a:ea typeface="+mn-ea"/>
          <a:cs typeface="+mn-cs"/>
        </a:defRPr>
      </a:lvl4pPr>
      <a:lvl5pPr marL="1828468" algn="l" defTabSz="914234" rtl="0" eaLnBrk="1" latinLnBrk="0" hangingPunct="1">
        <a:defRPr sz="1867" kern="1200">
          <a:solidFill>
            <a:schemeClr val="tx1"/>
          </a:solidFill>
          <a:latin typeface="+mn-lt"/>
          <a:ea typeface="+mn-ea"/>
          <a:cs typeface="+mn-cs"/>
        </a:defRPr>
      </a:lvl5pPr>
      <a:lvl6pPr marL="2285586" algn="l" defTabSz="914234" rtl="0" eaLnBrk="1" latinLnBrk="0" hangingPunct="1">
        <a:defRPr sz="1867" kern="1200">
          <a:solidFill>
            <a:schemeClr val="tx1"/>
          </a:solidFill>
          <a:latin typeface="+mn-lt"/>
          <a:ea typeface="+mn-ea"/>
          <a:cs typeface="+mn-cs"/>
        </a:defRPr>
      </a:lvl6pPr>
      <a:lvl7pPr marL="2742702" algn="l" defTabSz="914234" rtl="0" eaLnBrk="1" latinLnBrk="0" hangingPunct="1">
        <a:defRPr sz="1867" kern="1200">
          <a:solidFill>
            <a:schemeClr val="tx1"/>
          </a:solidFill>
          <a:latin typeface="+mn-lt"/>
          <a:ea typeface="+mn-ea"/>
          <a:cs typeface="+mn-cs"/>
        </a:defRPr>
      </a:lvl7pPr>
      <a:lvl8pPr marL="3199819" algn="l" defTabSz="914234" rtl="0" eaLnBrk="1" latinLnBrk="0" hangingPunct="1">
        <a:defRPr sz="1867" kern="1200">
          <a:solidFill>
            <a:schemeClr val="tx1"/>
          </a:solidFill>
          <a:latin typeface="+mn-lt"/>
          <a:ea typeface="+mn-ea"/>
          <a:cs typeface="+mn-cs"/>
        </a:defRPr>
      </a:lvl8pPr>
      <a:lvl9pPr marL="3656935" algn="l" defTabSz="914234" rtl="0" eaLnBrk="1" latinLnBrk="0" hangingPunct="1">
        <a:defRPr sz="18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609399"/>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9" y="1447800"/>
            <a:ext cx="11151916" cy="4953000"/>
          </a:xfrm>
          <a:prstGeom prst="rect">
            <a:avLst/>
          </a:prstGeom>
        </p:spPr>
        <p:txBody>
          <a:bodyPr vert="horz" wrap="square"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4"/>
          </p:nvPr>
        </p:nvSpPr>
        <p:spPr>
          <a:xfrm>
            <a:off x="11220197" y="6581259"/>
            <a:ext cx="820952" cy="184666"/>
          </a:xfrm>
          <a:prstGeom prst="rect">
            <a:avLst/>
          </a:prstGeom>
        </p:spPr>
        <p:txBody>
          <a:bodyPr vert="horz" wrap="square" lIns="0" tIns="0" rIns="0" bIns="0" rtlCol="0" anchor="b" anchorCtr="0">
            <a:spAutoFit/>
          </a:bodyPr>
          <a:lstStyle>
            <a:lvl1pPr algn="r">
              <a:defRPr lang="en-US" sz="1200" kern="1200" smtClean="0">
                <a:gradFill>
                  <a:gsLst>
                    <a:gs pos="73333">
                      <a:srgbClr val="808080"/>
                    </a:gs>
                    <a:gs pos="38000">
                      <a:srgbClr val="808080"/>
                    </a:gs>
                  </a:gsLst>
                  <a:lin ang="5400000" scaled="0"/>
                </a:gradFill>
                <a:latin typeface="+mn-lt"/>
                <a:ea typeface="+mn-ea"/>
                <a:cs typeface="+mn-cs"/>
              </a:defRPr>
            </a:lvl1pPr>
          </a:lstStyle>
          <a:p>
            <a:pPr defTabSz="608647"/>
            <a:fld id="{71F47D9D-8D60-4698-A495-89D102E182A2}" type="slidenum">
              <a:rPr lang="en-US" smtClean="0"/>
              <a:pPr defTabSz="608647"/>
              <a:t>‹#›</a:t>
            </a:fld>
            <a:endParaRPr lang="en-US" dirty="0"/>
          </a:p>
        </p:txBody>
      </p:sp>
      <p:sp>
        <p:nvSpPr>
          <p:cNvPr id="5" name="Footer Placeholder 4"/>
          <p:cNvSpPr>
            <a:spLocks noGrp="1"/>
          </p:cNvSpPr>
          <p:nvPr>
            <p:ph type="ftr" sz="quarter" idx="3"/>
          </p:nvPr>
        </p:nvSpPr>
        <p:spPr>
          <a:xfrm>
            <a:off x="150852" y="6581259"/>
            <a:ext cx="3861805" cy="184666"/>
          </a:xfrm>
          <a:prstGeom prst="rect">
            <a:avLst/>
          </a:prstGeom>
        </p:spPr>
        <p:txBody>
          <a:bodyPr vert="horz" lIns="0" tIns="0" rIns="0" bIns="0" rtlCol="0" anchor="b" anchorCtr="0">
            <a:spAutoFit/>
          </a:bodyPr>
          <a:lstStyle>
            <a:lvl1pPr algn="l">
              <a:defRPr sz="1200">
                <a:gradFill>
                  <a:gsLst>
                    <a:gs pos="73333">
                      <a:srgbClr val="808080"/>
                    </a:gs>
                    <a:gs pos="38000">
                      <a:srgbClr val="808080"/>
                    </a:gs>
                  </a:gsLst>
                  <a:lin ang="5400000" scaled="0"/>
                </a:gradFill>
              </a:defRPr>
            </a:lvl1pPr>
          </a:lstStyle>
          <a:p>
            <a:pPr defTabSz="608647"/>
            <a:r>
              <a:rPr lang="en-US"/>
              <a:t>Microsoft Confidential</a:t>
            </a:r>
            <a:endParaRPr lang="en-US" dirty="0"/>
          </a:p>
        </p:txBody>
      </p:sp>
    </p:spTree>
    <p:extLst>
      <p:ext uri="{BB962C8B-B14F-4D97-AF65-F5344CB8AC3E}">
        <p14:creationId xmlns:p14="http://schemas.microsoft.com/office/powerpoint/2010/main" val="1641553369"/>
      </p:ext>
    </p:extLst>
  </p:cSld>
  <p:clrMap bg1="lt1" tx1="dk1" bg2="lt2" tx2="dk2" accent1="accent1" accent2="accent2" accent3="accent3" accent4="accent4" accent5="accent5" accent6="accent6" hlink="hlink" folHlink="folHlink"/>
  <p:sldLayoutIdLst>
    <p:sldLayoutId id="2147485240" r:id="rId1"/>
    <p:sldLayoutId id="2147485241" r:id="rId2"/>
    <p:sldLayoutId id="2147485242" r:id="rId3"/>
    <p:sldLayoutId id="2147485243" r:id="rId4"/>
    <p:sldLayoutId id="2147485244" r:id="rId5"/>
    <p:sldLayoutId id="2147485245" r:id="rId6"/>
    <p:sldLayoutId id="2147485246" r:id="rId7"/>
  </p:sldLayoutIdLst>
  <p:transition>
    <p:fade/>
  </p:transition>
  <p:hf sldNum="0" hdr="0" dt="0"/>
  <p:txStyles>
    <p:titleStyle>
      <a:lvl1pPr algn="l" defTabSz="914462"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424" indent="-460424" algn="l" defTabSz="914462" rtl="0" eaLnBrk="1" latinLnBrk="0" hangingPunct="1">
        <a:lnSpc>
          <a:spcPct val="90000"/>
        </a:lnSpc>
        <a:spcBef>
          <a:spcPct val="20000"/>
        </a:spcBef>
        <a:buClr>
          <a:schemeClr val="accent1"/>
        </a:buClr>
        <a:buSzPct val="90000"/>
        <a:buFont typeface="Wingdings" pitchFamily="2" charset="2"/>
        <a:buChar char="§"/>
        <a:defRPr sz="3200" kern="1200" spc="-71" baseline="0">
          <a:gradFill>
            <a:gsLst>
              <a:gs pos="0">
                <a:schemeClr val="tx1"/>
              </a:gs>
              <a:gs pos="86000">
                <a:schemeClr val="tx1"/>
              </a:gs>
            </a:gsLst>
            <a:lin ang="5400000" scaled="0"/>
          </a:gradFill>
          <a:latin typeface="+mn-lt"/>
          <a:ea typeface="+mn-ea"/>
          <a:cs typeface="+mn-cs"/>
        </a:defRPr>
      </a:lvl1pPr>
      <a:lvl2pPr marL="855756" indent="-395331" algn="l" defTabSz="914462" rtl="0" eaLnBrk="1" latinLnBrk="0" hangingPunct="1">
        <a:lnSpc>
          <a:spcPct val="90000"/>
        </a:lnSpc>
        <a:spcBef>
          <a:spcPct val="20000"/>
        </a:spcBef>
        <a:buClr>
          <a:schemeClr val="accent1"/>
        </a:buClr>
        <a:buSzPct val="90000"/>
        <a:buFont typeface="Wingdings" pitchFamily="2" charset="2"/>
        <a:buChar char="§"/>
        <a:defRPr sz="2800" kern="1200" spc="-71" baseline="0">
          <a:gradFill>
            <a:gsLst>
              <a:gs pos="0">
                <a:schemeClr val="tx1"/>
              </a:gs>
              <a:gs pos="86000">
                <a:schemeClr val="tx1"/>
              </a:gs>
            </a:gsLst>
            <a:lin ang="5400000" scaled="0"/>
          </a:gradFill>
          <a:latin typeface="+mn-lt"/>
          <a:ea typeface="+mn-ea"/>
          <a:cs typeface="+mn-cs"/>
        </a:defRPr>
      </a:lvl2pPr>
      <a:lvl3pPr marL="1259025" indent="-403269" algn="l" defTabSz="914462" rtl="0" eaLnBrk="1" latinLnBrk="0" hangingPunct="1">
        <a:lnSpc>
          <a:spcPct val="90000"/>
        </a:lnSpc>
        <a:spcBef>
          <a:spcPct val="20000"/>
        </a:spcBef>
        <a:buClr>
          <a:schemeClr val="accent1"/>
        </a:buClr>
        <a:buSzPct val="90000"/>
        <a:buFont typeface="Wingdings" pitchFamily="2" charset="2"/>
        <a:buChar char="§"/>
        <a:defRPr sz="2400" kern="1200" spc="-71" baseline="0">
          <a:gradFill>
            <a:gsLst>
              <a:gs pos="0">
                <a:schemeClr val="tx1"/>
              </a:gs>
              <a:gs pos="86000">
                <a:schemeClr val="tx1"/>
              </a:gs>
            </a:gsLst>
            <a:lin ang="5400000" scaled="0"/>
          </a:gradFill>
          <a:latin typeface="+mn-lt"/>
          <a:ea typeface="+mn-ea"/>
          <a:cs typeface="+mn-cs"/>
        </a:defRPr>
      </a:lvl3pPr>
      <a:lvl4pPr marL="1605137" indent="-346113" algn="l" defTabSz="914462"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4pPr>
      <a:lvl5pPr marL="1941723" indent="-336586" algn="l" defTabSz="914462"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5pPr>
      <a:lvl6pPr marL="2514772" indent="-228616" algn="l" defTabSz="91446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003" indent="-228616" algn="l" defTabSz="91446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234" indent="-228616" algn="l" defTabSz="91446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62" rtl="0" eaLnBrk="1" latinLnBrk="0" hangingPunct="1">
        <a:defRPr sz="1867" kern="1200">
          <a:solidFill>
            <a:schemeClr val="tx1"/>
          </a:solidFill>
          <a:latin typeface="+mn-lt"/>
          <a:ea typeface="+mn-ea"/>
          <a:cs typeface="+mn-cs"/>
        </a:defRPr>
      </a:lvl1pPr>
      <a:lvl2pPr marL="457231" algn="l" defTabSz="914462" rtl="0" eaLnBrk="1" latinLnBrk="0" hangingPunct="1">
        <a:defRPr sz="1867" kern="1200">
          <a:solidFill>
            <a:schemeClr val="tx1"/>
          </a:solidFill>
          <a:latin typeface="+mn-lt"/>
          <a:ea typeface="+mn-ea"/>
          <a:cs typeface="+mn-cs"/>
        </a:defRPr>
      </a:lvl2pPr>
      <a:lvl3pPr marL="914462" algn="l" defTabSz="914462" rtl="0" eaLnBrk="1" latinLnBrk="0" hangingPunct="1">
        <a:defRPr sz="1867" kern="1200">
          <a:solidFill>
            <a:schemeClr val="tx1"/>
          </a:solidFill>
          <a:latin typeface="+mn-lt"/>
          <a:ea typeface="+mn-ea"/>
          <a:cs typeface="+mn-cs"/>
        </a:defRPr>
      </a:lvl3pPr>
      <a:lvl4pPr marL="1371694" algn="l" defTabSz="914462" rtl="0" eaLnBrk="1" latinLnBrk="0" hangingPunct="1">
        <a:defRPr sz="1867" kern="1200">
          <a:solidFill>
            <a:schemeClr val="tx1"/>
          </a:solidFill>
          <a:latin typeface="+mn-lt"/>
          <a:ea typeface="+mn-ea"/>
          <a:cs typeface="+mn-cs"/>
        </a:defRPr>
      </a:lvl4pPr>
      <a:lvl5pPr marL="1828925" algn="l" defTabSz="914462" rtl="0" eaLnBrk="1" latinLnBrk="0" hangingPunct="1">
        <a:defRPr sz="1867" kern="1200">
          <a:solidFill>
            <a:schemeClr val="tx1"/>
          </a:solidFill>
          <a:latin typeface="+mn-lt"/>
          <a:ea typeface="+mn-ea"/>
          <a:cs typeface="+mn-cs"/>
        </a:defRPr>
      </a:lvl5pPr>
      <a:lvl6pPr marL="2286156" algn="l" defTabSz="914462" rtl="0" eaLnBrk="1" latinLnBrk="0" hangingPunct="1">
        <a:defRPr sz="1867" kern="1200">
          <a:solidFill>
            <a:schemeClr val="tx1"/>
          </a:solidFill>
          <a:latin typeface="+mn-lt"/>
          <a:ea typeface="+mn-ea"/>
          <a:cs typeface="+mn-cs"/>
        </a:defRPr>
      </a:lvl6pPr>
      <a:lvl7pPr marL="2743387" algn="l" defTabSz="914462" rtl="0" eaLnBrk="1" latinLnBrk="0" hangingPunct="1">
        <a:defRPr sz="1867" kern="1200">
          <a:solidFill>
            <a:schemeClr val="tx1"/>
          </a:solidFill>
          <a:latin typeface="+mn-lt"/>
          <a:ea typeface="+mn-ea"/>
          <a:cs typeface="+mn-cs"/>
        </a:defRPr>
      </a:lvl7pPr>
      <a:lvl8pPr marL="3200619" algn="l" defTabSz="914462" rtl="0" eaLnBrk="1" latinLnBrk="0" hangingPunct="1">
        <a:defRPr sz="1867" kern="1200">
          <a:solidFill>
            <a:schemeClr val="tx1"/>
          </a:solidFill>
          <a:latin typeface="+mn-lt"/>
          <a:ea typeface="+mn-ea"/>
          <a:cs typeface="+mn-cs"/>
        </a:defRPr>
      </a:lvl8pPr>
      <a:lvl9pPr marL="3657850" algn="l" defTabSz="914462" rtl="0" eaLnBrk="1" latinLnBrk="0" hangingPunct="1">
        <a:defRPr sz="186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50" y="1447803"/>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211031"/>
      </p:ext>
    </p:extLst>
  </p:cSld>
  <p:clrMap bg1="lt1" tx1="dk1" bg2="lt2" tx2="dk2" accent1="accent1" accent2="accent2" accent3="accent3" accent4="accent4" accent5="accent5" accent6="accent6" hlink="hlink" folHlink="folHlink"/>
  <p:sldLayoutIdLst>
    <p:sldLayoutId id="2147485284" r:id="rId1"/>
    <p:sldLayoutId id="2147485285" r:id="rId2"/>
    <p:sldLayoutId id="2147485286" r:id="rId3"/>
    <p:sldLayoutId id="2147485287" r:id="rId4"/>
    <p:sldLayoutId id="2147485288" r:id="rId5"/>
    <p:sldLayoutId id="2147485289" r:id="rId6"/>
    <p:sldLayoutId id="2147485290" r:id="rId7"/>
    <p:sldLayoutId id="2147485291" r:id="rId8"/>
    <p:sldLayoutId id="2147485292" r:id="rId9"/>
    <p:sldLayoutId id="2147485293" r:id="rId10"/>
    <p:sldLayoutId id="2147485294" r:id="rId11"/>
    <p:sldLayoutId id="2147485295" r:id="rId12"/>
    <p:sldLayoutId id="2147485296" r:id="rId13"/>
    <p:sldLayoutId id="2147485297" r:id="rId14"/>
    <p:sldLayoutId id="2147485298" r:id="rId15"/>
    <p:sldLayoutId id="2147485299" r:id="rId16"/>
    <p:sldLayoutId id="2147485300" r:id="rId17"/>
    <p:sldLayoutId id="2147485301" r:id="rId18"/>
    <p:sldLayoutId id="2147485302" r:id="rId19"/>
    <p:sldLayoutId id="2147485303" r:id="rId20"/>
    <p:sldLayoutId id="2147485304" r:id="rId21"/>
    <p:sldLayoutId id="2147485305" r:id="rId22"/>
    <p:sldLayoutId id="2147485306" r:id="rId23"/>
    <p:sldLayoutId id="2147485307" r:id="rId24"/>
    <p:sldLayoutId id="2147485308" r:id="rId25"/>
    <p:sldLayoutId id="2147485309" r:id="rId26"/>
    <p:sldLayoutId id="2147485310" r:id="rId27"/>
    <p:sldLayoutId id="2147485311" r:id="rId28"/>
    <p:sldLayoutId id="2147485312" r:id="rId29"/>
    <p:sldLayoutId id="2147485313" r:id="rId30"/>
    <p:sldLayoutId id="2147485314" r:id="rId31"/>
    <p:sldLayoutId id="2147485315" r:id="rId32"/>
    <p:sldLayoutId id="2147485316" r:id="rId33"/>
    <p:sldLayoutId id="2147485317" r:id="rId34"/>
    <p:sldLayoutId id="2147485318" r:id="rId35"/>
    <p:sldLayoutId id="2147485319" r:id="rId36"/>
    <p:sldLayoutId id="2147485320" r:id="rId37"/>
    <p:sldLayoutId id="2147485321" r:id="rId38"/>
    <p:sldLayoutId id="2147485322" r:id="rId39"/>
    <p:sldLayoutId id="2147485323" r:id="rId40"/>
  </p:sldLayoutIdLst>
  <p:transition>
    <p:fade/>
  </p:transition>
  <p:hf hdr="0" ftr="0" dt="0"/>
  <p:txStyles>
    <p:titleStyle>
      <a:lvl1pPr algn="l" defTabSz="914241" rtl="0" eaLnBrk="1" latinLnBrk="0" hangingPunct="1">
        <a:lnSpc>
          <a:spcPct val="90000"/>
        </a:lnSpc>
        <a:spcBef>
          <a:spcPct val="0"/>
        </a:spcBef>
        <a:buNone/>
        <a:defRPr lang="en-US" sz="5467"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Segoe UI" pitchFamily="34" charset="0"/>
        </a:defRPr>
      </a:lvl1pPr>
    </p:titleStyle>
    <p:bodyStyle>
      <a:lvl1pPr marL="346029" indent="-346029" algn="l" defTabSz="914241"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155" indent="-284125" algn="l" defTabSz="914241" rtl="0" eaLnBrk="1" latinLnBrk="0" hangingPunct="1">
        <a:lnSpc>
          <a:spcPct val="90000"/>
        </a:lnSpc>
        <a:spcBef>
          <a:spcPct val="20000"/>
        </a:spcBef>
        <a:buSzPct val="90000"/>
        <a:buFont typeface="Arial" pitchFamily="34" charset="0"/>
        <a:buChar char="•"/>
        <a:tabLst>
          <a:tab pos="630155"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277" indent="-284125" algn="l" defTabSz="914241"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530" indent="-223809" algn="l" defTabSz="914241" rtl="0" eaLnBrk="1" latinLnBrk="0" hangingPunct="1">
        <a:lnSpc>
          <a:spcPct val="90000"/>
        </a:lnSpc>
        <a:spcBef>
          <a:spcPct val="20000"/>
        </a:spcBef>
        <a:buSzPct val="90000"/>
        <a:buFont typeface="Arial" pitchFamily="34" charset="0"/>
        <a:buChar char="•"/>
        <a:tabLst>
          <a:tab pos="914277"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687" indent="-230158" algn="l" defTabSz="914241"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165" indent="-228561"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84" indent="-228561"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06" indent="-228561"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27" indent="-228561" algn="l" defTabSz="91424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1" rtl="0" eaLnBrk="1" latinLnBrk="0" hangingPunct="1">
        <a:defRPr sz="1867" kern="1200">
          <a:solidFill>
            <a:schemeClr val="tx1"/>
          </a:solidFill>
          <a:latin typeface="+mn-lt"/>
          <a:ea typeface="+mn-ea"/>
          <a:cs typeface="+mn-cs"/>
        </a:defRPr>
      </a:lvl1pPr>
      <a:lvl2pPr marL="457123" algn="l" defTabSz="914241" rtl="0" eaLnBrk="1" latinLnBrk="0" hangingPunct="1">
        <a:defRPr sz="1867" kern="1200">
          <a:solidFill>
            <a:schemeClr val="tx1"/>
          </a:solidFill>
          <a:latin typeface="+mn-lt"/>
          <a:ea typeface="+mn-ea"/>
          <a:cs typeface="+mn-cs"/>
        </a:defRPr>
      </a:lvl2pPr>
      <a:lvl3pPr marL="914241" algn="l" defTabSz="914241" rtl="0" eaLnBrk="1" latinLnBrk="0" hangingPunct="1">
        <a:defRPr sz="1867" kern="1200">
          <a:solidFill>
            <a:schemeClr val="tx1"/>
          </a:solidFill>
          <a:latin typeface="+mn-lt"/>
          <a:ea typeface="+mn-ea"/>
          <a:cs typeface="+mn-cs"/>
        </a:defRPr>
      </a:lvl3pPr>
      <a:lvl4pPr marL="1371362" algn="l" defTabSz="914241" rtl="0" eaLnBrk="1" latinLnBrk="0" hangingPunct="1">
        <a:defRPr sz="1867" kern="1200">
          <a:solidFill>
            <a:schemeClr val="tx1"/>
          </a:solidFill>
          <a:latin typeface="+mn-lt"/>
          <a:ea typeface="+mn-ea"/>
          <a:cs typeface="+mn-cs"/>
        </a:defRPr>
      </a:lvl4pPr>
      <a:lvl5pPr marL="1828484" algn="l" defTabSz="914241" rtl="0" eaLnBrk="1" latinLnBrk="0" hangingPunct="1">
        <a:defRPr sz="1867" kern="1200">
          <a:solidFill>
            <a:schemeClr val="tx1"/>
          </a:solidFill>
          <a:latin typeface="+mn-lt"/>
          <a:ea typeface="+mn-ea"/>
          <a:cs typeface="+mn-cs"/>
        </a:defRPr>
      </a:lvl5pPr>
      <a:lvl6pPr marL="2285603" algn="l" defTabSz="914241" rtl="0" eaLnBrk="1" latinLnBrk="0" hangingPunct="1">
        <a:defRPr sz="1867" kern="1200">
          <a:solidFill>
            <a:schemeClr val="tx1"/>
          </a:solidFill>
          <a:latin typeface="+mn-lt"/>
          <a:ea typeface="+mn-ea"/>
          <a:cs typeface="+mn-cs"/>
        </a:defRPr>
      </a:lvl6pPr>
      <a:lvl7pPr marL="2742726" algn="l" defTabSz="914241" rtl="0" eaLnBrk="1" latinLnBrk="0" hangingPunct="1">
        <a:defRPr sz="1867" kern="1200">
          <a:solidFill>
            <a:schemeClr val="tx1"/>
          </a:solidFill>
          <a:latin typeface="+mn-lt"/>
          <a:ea typeface="+mn-ea"/>
          <a:cs typeface="+mn-cs"/>
        </a:defRPr>
      </a:lvl7pPr>
      <a:lvl8pPr marL="3199845" algn="l" defTabSz="914241" rtl="0" eaLnBrk="1" latinLnBrk="0" hangingPunct="1">
        <a:defRPr sz="1867" kern="1200">
          <a:solidFill>
            <a:schemeClr val="tx1"/>
          </a:solidFill>
          <a:latin typeface="+mn-lt"/>
          <a:ea typeface="+mn-ea"/>
          <a:cs typeface="+mn-cs"/>
        </a:defRPr>
      </a:lvl8pPr>
      <a:lvl9pPr marL="3656967" algn="l" defTabSz="914241" rtl="0" eaLnBrk="1" latinLnBrk="0" hangingPunct="1">
        <a:defRPr sz="186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59195" name="think-cell Slide" r:id="rId21" imgW="383" imgH="384" progId="TCLayout.ActiveDocument.1">
                  <p:embed/>
                </p:oleObj>
              </mc:Choice>
              <mc:Fallback>
                <p:oleObj name="think-cell Slide" r:id="rId21" imgW="383" imgH="384" progId="TCLayout.ActiveDocument.1">
                  <p:embed/>
                  <p:pic>
                    <p:nvPicPr>
                      <p:cNvPr id="3" name="Object 2" hidden="1"/>
                      <p:cNvPicPr/>
                      <p:nvPr/>
                    </p:nvPicPr>
                    <p:blipFill>
                      <a:blip r:embed="rId22"/>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034980801"/>
      </p:ext>
    </p:extLst>
  </p:cSld>
  <p:clrMap bg1="lt1" tx1="dk1" bg2="lt2" tx2="dk2" accent1="accent1" accent2="accent2" accent3="accent3" accent4="accent4" accent5="accent5" accent6="accent6" hlink="hlink" folHlink="folHlink"/>
  <p:sldLayoutIdLst>
    <p:sldLayoutId id="2147485379" r:id="rId1"/>
    <p:sldLayoutId id="2147485380" r:id="rId2"/>
    <p:sldLayoutId id="2147485381" r:id="rId3"/>
    <p:sldLayoutId id="2147485382" r:id="rId4"/>
    <p:sldLayoutId id="2147485383" r:id="rId5"/>
    <p:sldLayoutId id="2147485384" r:id="rId6"/>
    <p:sldLayoutId id="2147485385" r:id="rId7"/>
    <p:sldLayoutId id="2147485386" r:id="rId8"/>
    <p:sldLayoutId id="2147485387" r:id="rId9"/>
    <p:sldLayoutId id="2147485388" r:id="rId10"/>
    <p:sldLayoutId id="2147485389" r:id="rId11"/>
    <p:sldLayoutId id="2147485390" r:id="rId12"/>
    <p:sldLayoutId id="2147485391" r:id="rId13"/>
    <p:sldLayoutId id="2147485392" r:id="rId14"/>
    <p:sldLayoutId id="2147485393" r:id="rId15"/>
    <p:sldLayoutId id="2147485394" r:id="rId16"/>
    <p:sldLayoutId id="2147485395" r:id="rId17"/>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85.xml"/><Relationship Id="rId7" Type="http://schemas.openxmlformats.org/officeDocument/2006/relationships/image" Target="../media/image17.emf"/><Relationship Id="rId2" Type="http://schemas.openxmlformats.org/officeDocument/2006/relationships/tags" Target="../tags/tag84.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1.xml"/><Relationship Id="rId4" Type="http://schemas.openxmlformats.org/officeDocument/2006/relationships/slideLayout" Target="../slideLayouts/slideLayout20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4.png"/><Relationship Id="rId3" Type="http://schemas.openxmlformats.org/officeDocument/2006/relationships/image" Target="../media/image80.png"/><Relationship Id="rId7" Type="http://schemas.microsoft.com/office/2007/relationships/hdphoto" Target="../media/hdphoto2.wdp"/><Relationship Id="rId12" Type="http://schemas.microsoft.com/office/2007/relationships/hdphoto" Target="../media/hdphoto23.wdp"/><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38.png"/><Relationship Id="rId11" Type="http://schemas.openxmlformats.org/officeDocument/2006/relationships/image" Target="../media/image83.png"/><Relationship Id="rId5" Type="http://schemas.microsoft.com/office/2007/relationships/hdphoto" Target="../media/hdphoto6.wdp"/><Relationship Id="rId15" Type="http://schemas.openxmlformats.org/officeDocument/2006/relationships/image" Target="../media/image49.png"/><Relationship Id="rId10" Type="http://schemas.microsoft.com/office/2007/relationships/hdphoto" Target="../media/hdphoto22.wdp"/><Relationship Id="rId4" Type="http://schemas.openxmlformats.org/officeDocument/2006/relationships/image" Target="../media/image42.png"/><Relationship Id="rId9" Type="http://schemas.openxmlformats.org/officeDocument/2006/relationships/image" Target="../media/image82.png"/><Relationship Id="rId14" Type="http://schemas.openxmlformats.org/officeDocument/2006/relationships/image" Target="../media/image48.png"/></Relationships>
</file>

<file path=ppt/slides/_rels/slide12.xml.rels><?xml version="1.0" encoding="UTF-8" standalone="yes"?>
<Relationships xmlns="http://schemas.openxmlformats.org/package/2006/relationships"><Relationship Id="rId13" Type="http://schemas.openxmlformats.org/officeDocument/2006/relationships/image" Target="../media/image60.png"/><Relationship Id="rId18" Type="http://schemas.openxmlformats.org/officeDocument/2006/relationships/image" Target="../media/image85.png"/><Relationship Id="rId26" Type="http://schemas.openxmlformats.org/officeDocument/2006/relationships/image" Target="../media/image68.png"/><Relationship Id="rId3" Type="http://schemas.openxmlformats.org/officeDocument/2006/relationships/image" Target="../media/image76.png"/><Relationship Id="rId21" Type="http://schemas.openxmlformats.org/officeDocument/2006/relationships/image" Target="../media/image44.png"/><Relationship Id="rId34" Type="http://schemas.openxmlformats.org/officeDocument/2006/relationships/image" Target="../media/image41.png"/><Relationship Id="rId7" Type="http://schemas.openxmlformats.org/officeDocument/2006/relationships/image" Target="../media/image58.png"/><Relationship Id="rId12" Type="http://schemas.openxmlformats.org/officeDocument/2006/relationships/image" Target="../media/image65.png"/><Relationship Id="rId17" Type="http://schemas.openxmlformats.org/officeDocument/2006/relationships/image" Target="../media/image50.png"/><Relationship Id="rId25" Type="http://schemas.openxmlformats.org/officeDocument/2006/relationships/image" Target="../media/image56.png"/><Relationship Id="rId33" Type="http://schemas.microsoft.com/office/2007/relationships/hdphoto" Target="../media/hdphoto25.wdp"/><Relationship Id="rId2" Type="http://schemas.openxmlformats.org/officeDocument/2006/relationships/notesSlide" Target="../notesSlides/notesSlide10.xml"/><Relationship Id="rId16" Type="http://schemas.openxmlformats.org/officeDocument/2006/relationships/image" Target="../media/image73.png"/><Relationship Id="rId20" Type="http://schemas.openxmlformats.org/officeDocument/2006/relationships/image" Target="../media/image75.png"/><Relationship Id="rId29" Type="http://schemas.openxmlformats.org/officeDocument/2006/relationships/image" Target="../media/image80.png"/><Relationship Id="rId1" Type="http://schemas.openxmlformats.org/officeDocument/2006/relationships/slideLayout" Target="../slideLayouts/slideLayout6.xml"/><Relationship Id="rId6" Type="http://schemas.openxmlformats.org/officeDocument/2006/relationships/image" Target="../media/image57.png"/><Relationship Id="rId11" Type="http://schemas.openxmlformats.org/officeDocument/2006/relationships/image" Target="../media/image64.png"/><Relationship Id="rId24" Type="http://schemas.openxmlformats.org/officeDocument/2006/relationships/image" Target="../media/image55.png"/><Relationship Id="rId32" Type="http://schemas.openxmlformats.org/officeDocument/2006/relationships/image" Target="../media/image88.png"/><Relationship Id="rId5" Type="http://schemas.openxmlformats.org/officeDocument/2006/relationships/image" Target="../media/image79.png"/><Relationship Id="rId15" Type="http://schemas.openxmlformats.org/officeDocument/2006/relationships/image" Target="../media/image72.emf"/><Relationship Id="rId23" Type="http://schemas.openxmlformats.org/officeDocument/2006/relationships/image" Target="../media/image54.png"/><Relationship Id="rId28" Type="http://schemas.openxmlformats.org/officeDocument/2006/relationships/image" Target="../media/image70.png"/><Relationship Id="rId10" Type="http://schemas.openxmlformats.org/officeDocument/2006/relationships/image" Target="../media/image63.png"/><Relationship Id="rId19" Type="http://schemas.microsoft.com/office/2007/relationships/hdphoto" Target="../media/hdphoto24.wdp"/><Relationship Id="rId31" Type="http://schemas.microsoft.com/office/2007/relationships/hdphoto" Target="../media/hdphoto3.wdp"/><Relationship Id="rId4" Type="http://schemas.openxmlformats.org/officeDocument/2006/relationships/image" Target="../media/image78.png"/><Relationship Id="rId9" Type="http://schemas.openxmlformats.org/officeDocument/2006/relationships/image" Target="../media/image62.png"/><Relationship Id="rId14" Type="http://schemas.openxmlformats.org/officeDocument/2006/relationships/image" Target="../media/image61.png"/><Relationship Id="rId22" Type="http://schemas.openxmlformats.org/officeDocument/2006/relationships/image" Target="../media/image86.png"/><Relationship Id="rId27" Type="http://schemas.openxmlformats.org/officeDocument/2006/relationships/image" Target="../media/image87.png"/><Relationship Id="rId30" Type="http://schemas.openxmlformats.org/officeDocument/2006/relationships/image" Target="../media/image39.png"/><Relationship Id="rId8" Type="http://schemas.openxmlformats.org/officeDocument/2006/relationships/image" Target="../media/image5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90.png"/><Relationship Id="rId18" Type="http://schemas.microsoft.com/office/2007/relationships/hdphoto" Target="../media/hdphoto29.wdp"/><Relationship Id="rId3" Type="http://schemas.openxmlformats.org/officeDocument/2006/relationships/image" Target="../media/image50.png"/><Relationship Id="rId7" Type="http://schemas.microsoft.com/office/2007/relationships/hdphoto" Target="../media/hdphoto12.wdp"/><Relationship Id="rId12" Type="http://schemas.microsoft.com/office/2007/relationships/hdphoto" Target="../media/hdphoto26.wdp"/><Relationship Id="rId17" Type="http://schemas.openxmlformats.org/officeDocument/2006/relationships/image" Target="../media/image92.png"/><Relationship Id="rId2" Type="http://schemas.openxmlformats.org/officeDocument/2006/relationships/notesSlide" Target="../notesSlides/notesSlide12.xml"/><Relationship Id="rId16" Type="http://schemas.microsoft.com/office/2007/relationships/hdphoto" Target="../media/hdphoto28.wdp"/><Relationship Id="rId20" Type="http://schemas.microsoft.com/office/2007/relationships/hdphoto" Target="../media/hdphoto5.wdp"/><Relationship Id="rId1" Type="http://schemas.openxmlformats.org/officeDocument/2006/relationships/slideLayout" Target="../slideLayouts/slideLayout23.xml"/><Relationship Id="rId6" Type="http://schemas.openxmlformats.org/officeDocument/2006/relationships/image" Target="../media/image48.png"/><Relationship Id="rId11" Type="http://schemas.openxmlformats.org/officeDocument/2006/relationships/image" Target="../media/image89.png"/><Relationship Id="rId5" Type="http://schemas.microsoft.com/office/2007/relationships/hdphoto" Target="../media/hdphoto14.wdp"/><Relationship Id="rId15" Type="http://schemas.openxmlformats.org/officeDocument/2006/relationships/image" Target="../media/image91.png"/><Relationship Id="rId10" Type="http://schemas.openxmlformats.org/officeDocument/2006/relationships/image" Target="../media/image52.png"/><Relationship Id="rId19" Type="http://schemas.openxmlformats.org/officeDocument/2006/relationships/image" Target="../media/image41.png"/><Relationship Id="rId4" Type="http://schemas.openxmlformats.org/officeDocument/2006/relationships/image" Target="../media/image51.png"/><Relationship Id="rId9" Type="http://schemas.microsoft.com/office/2007/relationships/hdphoto" Target="../media/hdphoto13.wdp"/><Relationship Id="rId14" Type="http://schemas.microsoft.com/office/2007/relationships/hdphoto" Target="../media/hdphoto27.wdp"/></Relationships>
</file>

<file path=ppt/slides/_rels/slide16.xml.rels><?xml version="1.0" encoding="UTF-8" standalone="yes"?>
<Relationships xmlns="http://schemas.openxmlformats.org/package/2006/relationships"><Relationship Id="rId13" Type="http://schemas.openxmlformats.org/officeDocument/2006/relationships/image" Target="../media/image62.png"/><Relationship Id="rId18" Type="http://schemas.openxmlformats.org/officeDocument/2006/relationships/image" Target="../media/image61.png"/><Relationship Id="rId26" Type="http://schemas.microsoft.com/office/2007/relationships/hdphoto" Target="../media/hdphoto8.wdp"/><Relationship Id="rId3" Type="http://schemas.openxmlformats.org/officeDocument/2006/relationships/image" Target="../media/image76.png"/><Relationship Id="rId21" Type="http://schemas.openxmlformats.org/officeDocument/2006/relationships/image" Target="../media/image50.png"/><Relationship Id="rId34" Type="http://schemas.openxmlformats.org/officeDocument/2006/relationships/image" Target="../media/image95.png"/><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0.png"/><Relationship Id="rId25" Type="http://schemas.openxmlformats.org/officeDocument/2006/relationships/image" Target="../media/image44.png"/><Relationship Id="rId33" Type="http://schemas.openxmlformats.org/officeDocument/2006/relationships/image" Target="../media/image92.png"/><Relationship Id="rId2" Type="http://schemas.openxmlformats.org/officeDocument/2006/relationships/notesSlide" Target="../notesSlides/notesSlide13.xml"/><Relationship Id="rId16" Type="http://schemas.openxmlformats.org/officeDocument/2006/relationships/image" Target="../media/image65.png"/><Relationship Id="rId20" Type="http://schemas.openxmlformats.org/officeDocument/2006/relationships/image" Target="../media/image73.png"/><Relationship Id="rId29" Type="http://schemas.openxmlformats.org/officeDocument/2006/relationships/image" Target="../media/image94.emf"/><Relationship Id="rId1" Type="http://schemas.openxmlformats.org/officeDocument/2006/relationships/slideLayout" Target="../slideLayouts/slideLayout164.xml"/><Relationship Id="rId6" Type="http://schemas.openxmlformats.org/officeDocument/2006/relationships/image" Target="../media/image86.png"/><Relationship Id="rId11" Type="http://schemas.openxmlformats.org/officeDocument/2006/relationships/image" Target="../media/image58.png"/><Relationship Id="rId24" Type="http://schemas.openxmlformats.org/officeDocument/2006/relationships/image" Target="../media/image75.png"/><Relationship Id="rId32" Type="http://schemas.openxmlformats.org/officeDocument/2006/relationships/image" Target="../media/image91.png"/><Relationship Id="rId5" Type="http://schemas.openxmlformats.org/officeDocument/2006/relationships/image" Target="../media/image79.png"/><Relationship Id="rId15" Type="http://schemas.openxmlformats.org/officeDocument/2006/relationships/image" Target="../media/image64.png"/><Relationship Id="rId23" Type="http://schemas.microsoft.com/office/2007/relationships/hdphoto" Target="../media/hdphoto30.wdp"/><Relationship Id="rId28" Type="http://schemas.openxmlformats.org/officeDocument/2006/relationships/image" Target="../media/image87.png"/><Relationship Id="rId10" Type="http://schemas.openxmlformats.org/officeDocument/2006/relationships/image" Target="../media/image57.png"/><Relationship Id="rId19" Type="http://schemas.openxmlformats.org/officeDocument/2006/relationships/image" Target="../media/image72.emf"/><Relationship Id="rId31" Type="http://schemas.microsoft.com/office/2007/relationships/hdphoto" Target="../media/hdphoto31.wdp"/><Relationship Id="rId4" Type="http://schemas.openxmlformats.org/officeDocument/2006/relationships/image" Target="../media/image78.png"/><Relationship Id="rId9" Type="http://schemas.openxmlformats.org/officeDocument/2006/relationships/image" Target="../media/image56.png"/><Relationship Id="rId14" Type="http://schemas.openxmlformats.org/officeDocument/2006/relationships/image" Target="../media/image63.png"/><Relationship Id="rId22" Type="http://schemas.openxmlformats.org/officeDocument/2006/relationships/image" Target="../media/image93.png"/><Relationship Id="rId27" Type="http://schemas.openxmlformats.org/officeDocument/2006/relationships/image" Target="../media/image68.png"/><Relationship Id="rId30" Type="http://schemas.openxmlformats.org/officeDocument/2006/relationships/image" Target="../media/image80.png"/><Relationship Id="rId8" Type="http://schemas.openxmlformats.org/officeDocument/2006/relationships/image" Target="../media/image5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90.xml"/><Relationship Id="rId7" Type="http://schemas.openxmlformats.org/officeDocument/2006/relationships/image" Target="../media/image17.emf"/><Relationship Id="rId2" Type="http://schemas.openxmlformats.org/officeDocument/2006/relationships/tags" Target="../tags/tag89.xml"/><Relationship Id="rId1" Type="http://schemas.openxmlformats.org/officeDocument/2006/relationships/vmlDrawing" Target="../drawings/vmlDrawing50.vml"/><Relationship Id="rId6" Type="http://schemas.openxmlformats.org/officeDocument/2006/relationships/oleObject" Target="../embeddings/oleObject49.bin"/><Relationship Id="rId5" Type="http://schemas.openxmlformats.org/officeDocument/2006/relationships/notesSlide" Target="../notesSlides/notesSlide14.xml"/><Relationship Id="rId4" Type="http://schemas.openxmlformats.org/officeDocument/2006/relationships/slideLayout" Target="../slideLayouts/slideLayout16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8.xml"/></Relationships>
</file>

<file path=ppt/slides/_rels/slide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8" Type="http://schemas.openxmlformats.org/officeDocument/2006/relationships/image" Target="../media/image40.png"/><Relationship Id="rId13" Type="http://schemas.microsoft.com/office/2007/relationships/hdphoto" Target="../media/hdphoto6.wdp"/><Relationship Id="rId18" Type="http://schemas.openxmlformats.org/officeDocument/2006/relationships/image" Target="../media/image45.png"/><Relationship Id="rId3" Type="http://schemas.openxmlformats.org/officeDocument/2006/relationships/image" Target="../media/image37.png"/><Relationship Id="rId21" Type="http://schemas.microsoft.com/office/2007/relationships/hdphoto" Target="../media/hdphoto10.wdp"/><Relationship Id="rId7" Type="http://schemas.microsoft.com/office/2007/relationships/hdphoto" Target="../media/hdphoto3.wdp"/><Relationship Id="rId12" Type="http://schemas.openxmlformats.org/officeDocument/2006/relationships/image" Target="../media/image42.png"/><Relationship Id="rId17" Type="http://schemas.microsoft.com/office/2007/relationships/hdphoto" Target="../media/hdphoto8.wdp"/><Relationship Id="rId2" Type="http://schemas.openxmlformats.org/officeDocument/2006/relationships/notesSlide" Target="../notesSlides/notesSlide4.xml"/><Relationship Id="rId16" Type="http://schemas.openxmlformats.org/officeDocument/2006/relationships/image" Target="../media/image44.png"/><Relationship Id="rId20" Type="http://schemas.openxmlformats.org/officeDocument/2006/relationships/image" Target="../media/image46.png"/><Relationship Id="rId1" Type="http://schemas.openxmlformats.org/officeDocument/2006/relationships/slideLayout" Target="../slideLayouts/slideLayout37.xml"/><Relationship Id="rId6" Type="http://schemas.openxmlformats.org/officeDocument/2006/relationships/image" Target="../media/image39.png"/><Relationship Id="rId11" Type="http://schemas.microsoft.com/office/2007/relationships/hdphoto" Target="../media/hdphoto5.wdp"/><Relationship Id="rId5" Type="http://schemas.microsoft.com/office/2007/relationships/hdphoto" Target="../media/hdphoto2.wdp"/><Relationship Id="rId15" Type="http://schemas.microsoft.com/office/2007/relationships/hdphoto" Target="../media/hdphoto7.wdp"/><Relationship Id="rId23" Type="http://schemas.microsoft.com/office/2007/relationships/hdphoto" Target="../media/hdphoto11.wdp"/><Relationship Id="rId10" Type="http://schemas.openxmlformats.org/officeDocument/2006/relationships/image" Target="../media/image41.png"/><Relationship Id="rId19" Type="http://schemas.microsoft.com/office/2007/relationships/hdphoto" Target="../media/hdphoto9.wdp"/><Relationship Id="rId4" Type="http://schemas.openxmlformats.org/officeDocument/2006/relationships/image" Target="../media/image38.png"/><Relationship Id="rId9" Type="http://schemas.microsoft.com/office/2007/relationships/hdphoto" Target="../media/hdphoto4.wdp"/><Relationship Id="rId14" Type="http://schemas.openxmlformats.org/officeDocument/2006/relationships/image" Target="../media/image43.png"/><Relationship Id="rId22" Type="http://schemas.openxmlformats.org/officeDocument/2006/relationships/image" Target="../media/image47.png"/></Relationships>
</file>

<file path=ppt/slides/_rels/slide5.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notesSlide" Target="../notesSlides/notesSlide5.xml"/><Relationship Id="rId4" Type="http://schemas.openxmlformats.org/officeDocument/2006/relationships/slideLayout" Target="../slideLayouts/slideLayout8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8.png"/><Relationship Id="rId7"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145.xml"/><Relationship Id="rId6" Type="http://schemas.microsoft.com/office/2007/relationships/hdphoto" Target="../media/hdphoto13.wdp"/><Relationship Id="rId5" Type="http://schemas.openxmlformats.org/officeDocument/2006/relationships/image" Target="../media/image49.png"/><Relationship Id="rId10" Type="http://schemas.openxmlformats.org/officeDocument/2006/relationships/image" Target="../media/image52.png"/><Relationship Id="rId4" Type="http://schemas.microsoft.com/office/2007/relationships/hdphoto" Target="../media/hdphoto12.wdp"/><Relationship Id="rId9" Type="http://schemas.microsoft.com/office/2007/relationships/hdphoto" Target="../media/hdphoto14.wdp"/></Relationships>
</file>

<file path=ppt/slides/_rels/slide8.xml.rels><?xml version="1.0" encoding="UTF-8" standalone="yes"?>
<Relationships xmlns="http://schemas.openxmlformats.org/package/2006/relationships"><Relationship Id="rId13" Type="http://schemas.openxmlformats.org/officeDocument/2006/relationships/image" Target="../media/image63.png"/><Relationship Id="rId18" Type="http://schemas.openxmlformats.org/officeDocument/2006/relationships/image" Target="../media/image68.png"/><Relationship Id="rId26" Type="http://schemas.openxmlformats.org/officeDocument/2006/relationships/image" Target="../media/image50.png"/><Relationship Id="rId21" Type="http://schemas.openxmlformats.org/officeDocument/2006/relationships/image" Target="../media/image71.png"/><Relationship Id="rId34" Type="http://schemas.openxmlformats.org/officeDocument/2006/relationships/image" Target="../media/image78.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5" Type="http://schemas.microsoft.com/office/2007/relationships/hdphoto" Target="../media/hdphoto16.wdp"/><Relationship Id="rId33" Type="http://schemas.microsoft.com/office/2007/relationships/hdphoto" Target="../media/hdphoto19.wdp"/><Relationship Id="rId2" Type="http://schemas.openxmlformats.org/officeDocument/2006/relationships/notesSlide" Target="../notesSlides/notesSlide7.xml"/><Relationship Id="rId16" Type="http://schemas.openxmlformats.org/officeDocument/2006/relationships/image" Target="../media/image66.png"/><Relationship Id="rId20" Type="http://schemas.openxmlformats.org/officeDocument/2006/relationships/image" Target="../media/image70.png"/><Relationship Id="rId29" Type="http://schemas.openxmlformats.org/officeDocument/2006/relationships/image" Target="../media/image75.png"/><Relationship Id="rId1" Type="http://schemas.openxmlformats.org/officeDocument/2006/relationships/slideLayout" Target="../slideLayouts/slideLayout181.xml"/><Relationship Id="rId6" Type="http://schemas.openxmlformats.org/officeDocument/2006/relationships/image" Target="../media/image56.png"/><Relationship Id="rId11" Type="http://schemas.openxmlformats.org/officeDocument/2006/relationships/image" Target="../media/image61.png"/><Relationship Id="rId24" Type="http://schemas.openxmlformats.org/officeDocument/2006/relationships/image" Target="../media/image73.png"/><Relationship Id="rId32" Type="http://schemas.openxmlformats.org/officeDocument/2006/relationships/image" Target="../media/image77.png"/><Relationship Id="rId37" Type="http://schemas.microsoft.com/office/2007/relationships/hdphoto" Target="../media/hdphoto21.wdp"/><Relationship Id="rId5" Type="http://schemas.openxmlformats.org/officeDocument/2006/relationships/image" Target="../media/image55.png"/><Relationship Id="rId15" Type="http://schemas.openxmlformats.org/officeDocument/2006/relationships/image" Target="../media/image65.png"/><Relationship Id="rId23" Type="http://schemas.openxmlformats.org/officeDocument/2006/relationships/image" Target="../media/image72.emf"/><Relationship Id="rId28" Type="http://schemas.microsoft.com/office/2007/relationships/hdphoto" Target="../media/hdphoto17.wdp"/><Relationship Id="rId36" Type="http://schemas.openxmlformats.org/officeDocument/2006/relationships/image" Target="../media/image79.png"/><Relationship Id="rId10" Type="http://schemas.openxmlformats.org/officeDocument/2006/relationships/image" Target="../media/image60.png"/><Relationship Id="rId19" Type="http://schemas.openxmlformats.org/officeDocument/2006/relationships/image" Target="../media/image69.png"/><Relationship Id="rId31" Type="http://schemas.microsoft.com/office/2007/relationships/hdphoto" Target="../media/hdphoto18.wdp"/><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 Id="rId22" Type="http://schemas.microsoft.com/office/2007/relationships/hdphoto" Target="../media/hdphoto15.wdp"/><Relationship Id="rId27" Type="http://schemas.openxmlformats.org/officeDocument/2006/relationships/image" Target="../media/image74.png"/><Relationship Id="rId30" Type="http://schemas.openxmlformats.org/officeDocument/2006/relationships/image" Target="../media/image76.png"/><Relationship Id="rId35" Type="http://schemas.microsoft.com/office/2007/relationships/hdphoto" Target="../media/hdphoto20.wdp"/><Relationship Id="rId8" Type="http://schemas.openxmlformats.org/officeDocument/2006/relationships/image" Target="../media/image58.png"/><Relationship Id="rId3" Type="http://schemas.openxmlformats.org/officeDocument/2006/relationships/image" Target="../media/image5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707609" name="think-cell Slide" r:id="rId6" imgW="377" imgH="377" progId="TCLayout.ActiveDocument.1">
                  <p:embed/>
                </p:oleObj>
              </mc:Choice>
              <mc:Fallback>
                <p:oleObj name="think-cell Slide" r:id="rId6" imgW="377" imgH="377" progId="TCLayout.ActiveDocument.1">
                  <p:embed/>
                  <p:pic>
                    <p:nvPicPr>
                      <p:cNvPr id="3" name="Object 2" hidden="1"/>
                      <p:cNvPicPr/>
                      <p:nvPr/>
                    </p:nvPicPr>
                    <p:blipFill>
                      <a:blip r:embed="rId7"/>
                      <a:stretch>
                        <a:fillRect/>
                      </a:stretch>
                    </p:blipFill>
                    <p:spPr>
                      <a:xfrm>
                        <a:off x="3177" y="1589"/>
                        <a:ext cx="1587" cy="1587"/>
                      </a:xfrm>
                      <a:prstGeom prst="rect">
                        <a:avLst/>
                      </a:prstGeom>
                    </p:spPr>
                  </p:pic>
                </p:oleObj>
              </mc:Fallback>
            </mc:AlternateContent>
          </a:graphicData>
        </a:graphic>
      </p:graphicFrame>
      <p:sp>
        <p:nvSpPr>
          <p:cNvPr id="853" name="Freeform 852"/>
          <p:cNvSpPr>
            <a:spLocks noEditPoints="1"/>
          </p:cNvSpPr>
          <p:nvPr/>
        </p:nvSpPr>
        <p:spPr bwMode="black">
          <a:xfrm>
            <a:off x="9717147" y="1560245"/>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2200" b="0" i="0" u="none" strike="noStrike" kern="0" cap="none" spc="-122"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812889" y="1522583"/>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2200" b="0" i="0" u="none" strike="noStrike" kern="0" cap="none" spc="-122"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80047" y="937158"/>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1440" tIns="45720" rIns="91440" bIns="45720" numCol="1" anchor="t" anchorCtr="0" compatLnSpc="1">
            <a:prstTxWarp prst="textNoShape">
              <a:avLst/>
            </a:prstTxWarp>
          </a:bodyPr>
          <a:lstStyle/>
          <a:p>
            <a:pPr marL="0" marR="0" lvl="0" indent="0" defTabSz="1218939"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615814" y="1072930"/>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1440" tIns="45720" rIns="91440" bIns="45720" numCol="1" anchor="t" anchorCtr="0" compatLnSpc="1">
            <a:prstTxWarp prst="textNoShape">
              <a:avLst/>
            </a:prstTxWarp>
          </a:bodyPr>
          <a:lstStyle/>
          <a:p>
            <a:pPr marL="0" marR="0" lvl="0" indent="0" defTabSz="1218939"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solidFill>
                  <a:srgbClr val="505050">
                    <a:alpha val="0"/>
                  </a:srgbClr>
                </a:solidFill>
              </a:ln>
              <a:solidFill>
                <a:srgbClr val="000000"/>
              </a:solidFill>
              <a:effectLst/>
              <a:uLnTx/>
              <a:uFillTx/>
            </a:endParaRPr>
          </a:p>
        </p:txBody>
      </p:sp>
      <p:sp>
        <p:nvSpPr>
          <p:cNvPr id="831" name="Freeform 830"/>
          <p:cNvSpPr/>
          <p:nvPr/>
        </p:nvSpPr>
        <p:spPr>
          <a:xfrm rot="18900000">
            <a:off x="2247362" y="2901538"/>
            <a:ext cx="196850" cy="751190"/>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365892" y="2709003"/>
            <a:ext cx="317500" cy="1089859"/>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02854" y="2672778"/>
            <a:ext cx="400050" cy="1255922"/>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460286" y="2603892"/>
            <a:ext cx="298450" cy="106571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557564" y="2535981"/>
            <a:ext cx="310735" cy="123716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25609" y="2512139"/>
            <a:ext cx="301625" cy="101933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652664" y="2405480"/>
            <a:ext cx="301778" cy="126535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651643" y="2230656"/>
            <a:ext cx="519112" cy="119853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189564" y="-468324"/>
            <a:ext cx="819150" cy="3028950"/>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462867" y="-105732"/>
            <a:ext cx="768350" cy="1104900"/>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854925" y="-240953"/>
            <a:ext cx="1275656" cy="1716009"/>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18992" y="-290497"/>
            <a:ext cx="1309003" cy="3306948"/>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5927008" y="2154747"/>
            <a:ext cx="1153178" cy="1348441"/>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492697" y="869132"/>
            <a:ext cx="1559508" cy="1064460"/>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35143" y="926798"/>
            <a:ext cx="1487591" cy="1397158"/>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11752" y="1116369"/>
            <a:ext cx="1473164" cy="1405808"/>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14853" y="562824"/>
            <a:ext cx="2644417" cy="2748252"/>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056365" y="614600"/>
            <a:ext cx="2564892" cy="2827340"/>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084664" y="682781"/>
            <a:ext cx="2487198" cy="2894060"/>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2973432" y="1043470"/>
            <a:ext cx="1835312" cy="2248812"/>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21699" y="1173298"/>
            <a:ext cx="1670935" cy="206807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72" name="Freeform 471"/>
          <p:cNvSpPr/>
          <p:nvPr/>
        </p:nvSpPr>
        <p:spPr>
          <a:xfrm>
            <a:off x="9274176" y="1422401"/>
            <a:ext cx="2919412" cy="2524125"/>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436102" y="2389189"/>
            <a:ext cx="2757487" cy="1595437"/>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659939" y="2470151"/>
            <a:ext cx="2524125" cy="1681163"/>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736139" y="3260725"/>
            <a:ext cx="2462213" cy="1581150"/>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76" name="Freeform 675"/>
          <p:cNvSpPr/>
          <p:nvPr/>
        </p:nvSpPr>
        <p:spPr>
          <a:xfrm>
            <a:off x="8561388" y="3841750"/>
            <a:ext cx="3644900" cy="2628900"/>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77" name="Freeform 676"/>
          <p:cNvSpPr/>
          <p:nvPr/>
        </p:nvSpPr>
        <p:spPr>
          <a:xfrm>
            <a:off x="8485188" y="3905250"/>
            <a:ext cx="3714750" cy="2781300"/>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2" name="Freeform 821"/>
          <p:cNvSpPr/>
          <p:nvPr/>
        </p:nvSpPr>
        <p:spPr>
          <a:xfrm flipV="1">
            <a:off x="5143588" y="1905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3" name="Freeform 822"/>
          <p:cNvSpPr/>
          <p:nvPr/>
        </p:nvSpPr>
        <p:spPr>
          <a:xfrm flipV="1">
            <a:off x="5245188" y="127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4" name="Freeform 823"/>
          <p:cNvSpPr/>
          <p:nvPr/>
        </p:nvSpPr>
        <p:spPr>
          <a:xfrm flipV="1">
            <a:off x="5302338" y="1905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5" name="Freeform 824"/>
          <p:cNvSpPr/>
          <p:nvPr/>
        </p:nvSpPr>
        <p:spPr>
          <a:xfrm flipV="1">
            <a:off x="5359488" y="127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6" name="Freeform 825"/>
          <p:cNvSpPr/>
          <p:nvPr/>
        </p:nvSpPr>
        <p:spPr>
          <a:xfrm flipV="1">
            <a:off x="5562688" y="1270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7" name="Freeform 826"/>
          <p:cNvSpPr/>
          <p:nvPr/>
        </p:nvSpPr>
        <p:spPr>
          <a:xfrm flipV="1">
            <a:off x="6000838" y="254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8" name="Freeform 827"/>
          <p:cNvSpPr/>
          <p:nvPr/>
        </p:nvSpPr>
        <p:spPr>
          <a:xfrm flipV="1">
            <a:off x="6127838" y="1905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9" name="Freeform 828"/>
          <p:cNvSpPr/>
          <p:nvPr/>
        </p:nvSpPr>
        <p:spPr>
          <a:xfrm flipV="1">
            <a:off x="6197688" y="127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0" name="Freeform 829"/>
          <p:cNvSpPr/>
          <p:nvPr/>
        </p:nvSpPr>
        <p:spPr>
          <a:xfrm flipV="1">
            <a:off x="6292938" y="127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79" name="Freeform 678"/>
          <p:cNvSpPr/>
          <p:nvPr/>
        </p:nvSpPr>
        <p:spPr>
          <a:xfrm>
            <a:off x="10460038" y="4121150"/>
            <a:ext cx="1727200" cy="977900"/>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81" name="Freeform 680"/>
          <p:cNvSpPr/>
          <p:nvPr/>
        </p:nvSpPr>
        <p:spPr>
          <a:xfrm>
            <a:off x="7431088" y="4273550"/>
            <a:ext cx="2597150" cy="2616200"/>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82" name="Freeform 681"/>
          <p:cNvSpPr/>
          <p:nvPr/>
        </p:nvSpPr>
        <p:spPr>
          <a:xfrm>
            <a:off x="7005638" y="4394200"/>
            <a:ext cx="2546350" cy="2463800"/>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83" name="Freeform 682"/>
          <p:cNvSpPr/>
          <p:nvPr/>
        </p:nvSpPr>
        <p:spPr>
          <a:xfrm>
            <a:off x="6865938" y="4273550"/>
            <a:ext cx="2971800" cy="2597150"/>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299032" y="3340640"/>
            <a:ext cx="2384108" cy="2272261"/>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28319" y="2537759"/>
            <a:ext cx="2578769" cy="1294598"/>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08720" y="127000"/>
            <a:ext cx="3231668" cy="1386840"/>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25406" y="2179638"/>
            <a:ext cx="2510132" cy="342900"/>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84" name="Freeform 783"/>
          <p:cNvSpPr/>
          <p:nvPr/>
        </p:nvSpPr>
        <p:spPr>
          <a:xfrm>
            <a:off x="6421639" y="2669273"/>
            <a:ext cx="2916454" cy="4215864"/>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85" name="Freeform 784"/>
          <p:cNvSpPr/>
          <p:nvPr/>
        </p:nvSpPr>
        <p:spPr>
          <a:xfrm>
            <a:off x="8750952" y="2650023"/>
            <a:ext cx="134754" cy="2021305"/>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2" name="Freeform 801"/>
          <p:cNvSpPr/>
          <p:nvPr/>
        </p:nvSpPr>
        <p:spPr>
          <a:xfrm>
            <a:off x="2263776" y="1274763"/>
            <a:ext cx="723900" cy="176212"/>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3" name="Freeform 802"/>
          <p:cNvSpPr/>
          <p:nvPr/>
        </p:nvSpPr>
        <p:spPr>
          <a:xfrm>
            <a:off x="2296395" y="1284288"/>
            <a:ext cx="938213" cy="214312"/>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02014" y="1112838"/>
            <a:ext cx="671513" cy="3667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5" name="Freeform 804"/>
          <p:cNvSpPr/>
          <p:nvPr/>
        </p:nvSpPr>
        <p:spPr>
          <a:xfrm>
            <a:off x="8240814" y="2226511"/>
            <a:ext cx="433137" cy="1097280"/>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6" name="Freeform 805"/>
          <p:cNvSpPr/>
          <p:nvPr/>
        </p:nvSpPr>
        <p:spPr>
          <a:xfrm>
            <a:off x="8221563" y="3651049"/>
            <a:ext cx="385010" cy="1078030"/>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7" name="Freeform 806"/>
          <p:cNvSpPr/>
          <p:nvPr/>
        </p:nvSpPr>
        <p:spPr>
          <a:xfrm>
            <a:off x="8240814" y="3959059"/>
            <a:ext cx="231007"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8" name="Freeform 807"/>
          <p:cNvSpPr/>
          <p:nvPr/>
        </p:nvSpPr>
        <p:spPr>
          <a:xfrm>
            <a:off x="611188" y="3644900"/>
            <a:ext cx="6426200" cy="323850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9" name="Freeform 808"/>
          <p:cNvSpPr/>
          <p:nvPr/>
        </p:nvSpPr>
        <p:spPr>
          <a:xfrm>
            <a:off x="763588" y="3975100"/>
            <a:ext cx="6261100" cy="2895600"/>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68388" y="4318000"/>
            <a:ext cx="6896100" cy="2540000"/>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2" name="Freeform 811"/>
          <p:cNvSpPr/>
          <p:nvPr/>
        </p:nvSpPr>
        <p:spPr>
          <a:xfrm>
            <a:off x="6923088" y="4241800"/>
            <a:ext cx="723900" cy="1651000"/>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3" name="Freeform 812"/>
          <p:cNvSpPr/>
          <p:nvPr/>
        </p:nvSpPr>
        <p:spPr>
          <a:xfrm>
            <a:off x="7024688" y="4241800"/>
            <a:ext cx="330200" cy="1181100"/>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4" name="Freeform 813"/>
          <p:cNvSpPr/>
          <p:nvPr/>
        </p:nvSpPr>
        <p:spPr>
          <a:xfrm>
            <a:off x="6797024" y="2274638"/>
            <a:ext cx="856648" cy="798897"/>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5" name="Freeform 814"/>
          <p:cNvSpPr/>
          <p:nvPr/>
        </p:nvSpPr>
        <p:spPr>
          <a:xfrm>
            <a:off x="6797025" y="2120633"/>
            <a:ext cx="1135781" cy="91440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6" name="Freeform 815"/>
          <p:cNvSpPr/>
          <p:nvPr/>
        </p:nvSpPr>
        <p:spPr>
          <a:xfrm>
            <a:off x="6787399" y="1976254"/>
            <a:ext cx="510138"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8" name="Freeform 817"/>
          <p:cNvSpPr/>
          <p:nvPr/>
        </p:nvSpPr>
        <p:spPr>
          <a:xfrm>
            <a:off x="9336088" y="523240"/>
            <a:ext cx="1059180" cy="419100"/>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endParaRPr>
          </a:p>
        </p:txBody>
      </p:sp>
      <p:sp>
        <p:nvSpPr>
          <p:cNvPr id="819" name="Freeform 818"/>
          <p:cNvSpPr/>
          <p:nvPr/>
        </p:nvSpPr>
        <p:spPr>
          <a:xfrm>
            <a:off x="8932228" y="340360"/>
            <a:ext cx="1455420" cy="58674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158" name="Rounded Rectangle 5"/>
          <p:cNvSpPr/>
          <p:nvPr/>
        </p:nvSpPr>
        <p:spPr>
          <a:xfrm>
            <a:off x="7197130" y="3342052"/>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1121" y="3018642"/>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grpSp>
      <p:grpSp>
        <p:nvGrpSpPr>
          <p:cNvPr id="956" name="Group 955"/>
          <p:cNvGrpSpPr/>
          <p:nvPr/>
        </p:nvGrpSpPr>
        <p:grpSpPr>
          <a:xfrm>
            <a:off x="107064" y="1293492"/>
            <a:ext cx="2253840" cy="3513705"/>
            <a:chOff x="3945730" y="1235076"/>
            <a:chExt cx="1850233" cy="2884487"/>
          </a:xfrm>
        </p:grpSpPr>
        <p:grpSp>
          <p:nvGrpSpPr>
            <p:cNvPr id="999" name="Group 998"/>
            <p:cNvGrpSpPr/>
            <p:nvPr/>
          </p:nvGrpSpPr>
          <p:grpSpPr>
            <a:xfrm>
              <a:off x="4614862" y="1235076"/>
              <a:ext cx="1181101" cy="2884487"/>
              <a:chOff x="4614862" y="1235076"/>
              <a:chExt cx="1181101" cy="2884487"/>
            </a:xfrm>
          </p:grpSpPr>
          <p:sp>
            <p:nvSpPr>
              <p:cNvPr id="1013" name="Freeform 1012"/>
              <p:cNvSpPr/>
              <p:nvPr/>
            </p:nvSpPr>
            <p:spPr>
              <a:xfrm>
                <a:off x="5143501"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4" name="Freeform 1013"/>
              <p:cNvSpPr/>
              <p:nvPr/>
            </p:nvSpPr>
            <p:spPr>
              <a:xfrm>
                <a:off x="5100638"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5" name="Freeform 1014"/>
              <p:cNvSpPr/>
              <p:nvPr/>
            </p:nvSpPr>
            <p:spPr>
              <a:xfrm>
                <a:off x="5053013"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6" name="Freeform 1015"/>
              <p:cNvSpPr/>
              <p:nvPr/>
            </p:nvSpPr>
            <p:spPr>
              <a:xfrm>
                <a:off x="5000626"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7" name="Freeform 1016"/>
              <p:cNvSpPr/>
              <p:nvPr/>
            </p:nvSpPr>
            <p:spPr>
              <a:xfrm>
                <a:off x="4957763" y="1612901"/>
                <a:ext cx="788987" cy="2506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788987"/>
                  <a:gd name="connsiteY0" fmla="*/ 2506662 h 2506662"/>
                  <a:gd name="connsiteX1" fmla="*/ 33337 w 788987"/>
                  <a:gd name="connsiteY1" fmla="*/ 1892300 h 2506662"/>
                  <a:gd name="connsiteX2" fmla="*/ 176212 w 788987"/>
                  <a:gd name="connsiteY2" fmla="*/ 1644650 h 2506662"/>
                  <a:gd name="connsiteX3" fmla="*/ 185737 w 788987"/>
                  <a:gd name="connsiteY3" fmla="*/ 1368425 h 2506662"/>
                  <a:gd name="connsiteX4" fmla="*/ 280987 w 788987"/>
                  <a:gd name="connsiteY4" fmla="*/ 1044575 h 2506662"/>
                  <a:gd name="connsiteX5" fmla="*/ 585787 w 788987"/>
                  <a:gd name="connsiteY5" fmla="*/ 558800 h 2506662"/>
                  <a:gd name="connsiteX6" fmla="*/ 788987 w 788987"/>
                  <a:gd name="connsiteY6" fmla="*/ 0 h 25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987" h="2506662">
                    <a:moveTo>
                      <a:pt x="0" y="2506662"/>
                    </a:moveTo>
                    <a:cubicBezTo>
                      <a:pt x="43656" y="2383631"/>
                      <a:pt x="3968" y="2035969"/>
                      <a:pt x="33337" y="1892300"/>
                    </a:cubicBezTo>
                    <a:cubicBezTo>
                      <a:pt x="62706" y="1748631"/>
                      <a:pt x="150812" y="1731962"/>
                      <a:pt x="176212" y="1644650"/>
                    </a:cubicBezTo>
                    <a:cubicBezTo>
                      <a:pt x="201612" y="1557338"/>
                      <a:pt x="168275" y="1468437"/>
                      <a:pt x="185737" y="1368425"/>
                    </a:cubicBezTo>
                    <a:cubicBezTo>
                      <a:pt x="203199" y="1268413"/>
                      <a:pt x="214312" y="1179512"/>
                      <a:pt x="280987" y="1044575"/>
                    </a:cubicBezTo>
                    <a:cubicBezTo>
                      <a:pt x="347662" y="909638"/>
                      <a:pt x="501120" y="732896"/>
                      <a:pt x="585787" y="558800"/>
                    </a:cubicBezTo>
                    <a:cubicBezTo>
                      <a:pt x="670454" y="384704"/>
                      <a:pt x="500855" y="182562"/>
                      <a:pt x="78898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8" name="Freeform 1017"/>
              <p:cNvSpPr/>
              <p:nvPr/>
            </p:nvSpPr>
            <p:spPr>
              <a:xfrm>
                <a:off x="4905376" y="1504951"/>
                <a:ext cx="804862" cy="261461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804862"/>
                  <a:gd name="connsiteY0" fmla="*/ 2614612 h 2614612"/>
                  <a:gd name="connsiteX1" fmla="*/ 33337 w 804862"/>
                  <a:gd name="connsiteY1" fmla="*/ 2000250 h 2614612"/>
                  <a:gd name="connsiteX2" fmla="*/ 176212 w 804862"/>
                  <a:gd name="connsiteY2" fmla="*/ 1752600 h 2614612"/>
                  <a:gd name="connsiteX3" fmla="*/ 185737 w 804862"/>
                  <a:gd name="connsiteY3" fmla="*/ 1476375 h 2614612"/>
                  <a:gd name="connsiteX4" fmla="*/ 280987 w 804862"/>
                  <a:gd name="connsiteY4" fmla="*/ 1152525 h 2614612"/>
                  <a:gd name="connsiteX5" fmla="*/ 585787 w 804862"/>
                  <a:gd name="connsiteY5" fmla="*/ 666750 h 2614612"/>
                  <a:gd name="connsiteX6" fmla="*/ 804862 w 804862"/>
                  <a:gd name="connsiteY6" fmla="*/ 0 h 26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4862" h="2614612">
                    <a:moveTo>
                      <a:pt x="0" y="2614612"/>
                    </a:moveTo>
                    <a:cubicBezTo>
                      <a:pt x="43656" y="2491581"/>
                      <a:pt x="3968" y="2143919"/>
                      <a:pt x="33337" y="2000250"/>
                    </a:cubicBezTo>
                    <a:cubicBezTo>
                      <a:pt x="62706" y="1856581"/>
                      <a:pt x="150812" y="1839912"/>
                      <a:pt x="176212" y="1752600"/>
                    </a:cubicBezTo>
                    <a:cubicBezTo>
                      <a:pt x="201612" y="1665288"/>
                      <a:pt x="168275" y="1576387"/>
                      <a:pt x="185737" y="1476375"/>
                    </a:cubicBezTo>
                    <a:cubicBezTo>
                      <a:pt x="203199" y="1376363"/>
                      <a:pt x="214312" y="1287462"/>
                      <a:pt x="280987" y="1152525"/>
                    </a:cubicBezTo>
                    <a:cubicBezTo>
                      <a:pt x="347662" y="1017588"/>
                      <a:pt x="498474" y="858838"/>
                      <a:pt x="585787" y="666750"/>
                    </a:cubicBezTo>
                    <a:cubicBezTo>
                      <a:pt x="673100" y="474662"/>
                      <a:pt x="519905" y="204787"/>
                      <a:pt x="8048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9" name="Freeform 1018"/>
              <p:cNvSpPr/>
              <p:nvPr/>
            </p:nvSpPr>
            <p:spPr>
              <a:xfrm>
                <a:off x="4852989" y="1435101"/>
                <a:ext cx="782637" cy="26844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782637"/>
                  <a:gd name="connsiteY0" fmla="*/ 2684462 h 2684462"/>
                  <a:gd name="connsiteX1" fmla="*/ 33337 w 782637"/>
                  <a:gd name="connsiteY1" fmla="*/ 2070100 h 2684462"/>
                  <a:gd name="connsiteX2" fmla="*/ 176212 w 782637"/>
                  <a:gd name="connsiteY2" fmla="*/ 1822450 h 2684462"/>
                  <a:gd name="connsiteX3" fmla="*/ 185737 w 782637"/>
                  <a:gd name="connsiteY3" fmla="*/ 1546225 h 2684462"/>
                  <a:gd name="connsiteX4" fmla="*/ 280987 w 782637"/>
                  <a:gd name="connsiteY4" fmla="*/ 1222375 h 2684462"/>
                  <a:gd name="connsiteX5" fmla="*/ 585787 w 782637"/>
                  <a:gd name="connsiteY5" fmla="*/ 736600 h 2684462"/>
                  <a:gd name="connsiteX6" fmla="*/ 782637 w 782637"/>
                  <a:gd name="connsiteY6" fmla="*/ 0 h 268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2637" h="2684462">
                    <a:moveTo>
                      <a:pt x="0" y="2684462"/>
                    </a:moveTo>
                    <a:cubicBezTo>
                      <a:pt x="43656" y="2561431"/>
                      <a:pt x="3968" y="2213769"/>
                      <a:pt x="33337" y="2070100"/>
                    </a:cubicBezTo>
                    <a:cubicBezTo>
                      <a:pt x="62706" y="1926431"/>
                      <a:pt x="150812" y="1909762"/>
                      <a:pt x="176212" y="1822450"/>
                    </a:cubicBezTo>
                    <a:cubicBezTo>
                      <a:pt x="201612" y="1735138"/>
                      <a:pt x="168275" y="1646237"/>
                      <a:pt x="185737" y="1546225"/>
                    </a:cubicBezTo>
                    <a:cubicBezTo>
                      <a:pt x="203199" y="1446213"/>
                      <a:pt x="214312" y="1357312"/>
                      <a:pt x="280987" y="1222375"/>
                    </a:cubicBezTo>
                    <a:cubicBezTo>
                      <a:pt x="347662" y="1087438"/>
                      <a:pt x="502179" y="940329"/>
                      <a:pt x="585787" y="736600"/>
                    </a:cubicBezTo>
                    <a:cubicBezTo>
                      <a:pt x="669395" y="532871"/>
                      <a:pt x="504030" y="255587"/>
                      <a:pt x="7826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20" name="Freeform 1019"/>
              <p:cNvSpPr/>
              <p:nvPr/>
            </p:nvSpPr>
            <p:spPr>
              <a:xfrm>
                <a:off x="4810125" y="1358901"/>
                <a:ext cx="769937" cy="2760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43795"/>
                  <a:gd name="connsiteY0" fmla="*/ 2659062 h 2662311"/>
                  <a:gd name="connsiteX1" fmla="*/ 228600 w 843795"/>
                  <a:gd name="connsiteY1" fmla="*/ 2535237 h 2662311"/>
                  <a:gd name="connsiteX2" fmla="*/ 261937 w 843795"/>
                  <a:gd name="connsiteY2" fmla="*/ 1920875 h 2662311"/>
                  <a:gd name="connsiteX3" fmla="*/ 404812 w 843795"/>
                  <a:gd name="connsiteY3" fmla="*/ 1673225 h 2662311"/>
                  <a:gd name="connsiteX4" fmla="*/ 414337 w 843795"/>
                  <a:gd name="connsiteY4" fmla="*/ 1397000 h 2662311"/>
                  <a:gd name="connsiteX5" fmla="*/ 509587 w 843795"/>
                  <a:gd name="connsiteY5" fmla="*/ 1073150 h 2662311"/>
                  <a:gd name="connsiteX6" fmla="*/ 814387 w 843795"/>
                  <a:gd name="connsiteY6" fmla="*/ 587375 h 2662311"/>
                  <a:gd name="connsiteX7" fmla="*/ 833437 w 843795"/>
                  <a:gd name="connsiteY7" fmla="*/ 0 h 266231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769937"/>
                  <a:gd name="connsiteY0" fmla="*/ 2760662 h 2760662"/>
                  <a:gd name="connsiteX1" fmla="*/ 33337 w 769937"/>
                  <a:gd name="connsiteY1" fmla="*/ 2146300 h 2760662"/>
                  <a:gd name="connsiteX2" fmla="*/ 176212 w 769937"/>
                  <a:gd name="connsiteY2" fmla="*/ 1898650 h 2760662"/>
                  <a:gd name="connsiteX3" fmla="*/ 185737 w 769937"/>
                  <a:gd name="connsiteY3" fmla="*/ 1622425 h 2760662"/>
                  <a:gd name="connsiteX4" fmla="*/ 280987 w 769937"/>
                  <a:gd name="connsiteY4" fmla="*/ 1298575 h 2760662"/>
                  <a:gd name="connsiteX5" fmla="*/ 585787 w 769937"/>
                  <a:gd name="connsiteY5" fmla="*/ 812800 h 2760662"/>
                  <a:gd name="connsiteX6" fmla="*/ 769937 w 769937"/>
                  <a:gd name="connsiteY6" fmla="*/ 0 h 27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9937" h="2760662">
                    <a:moveTo>
                      <a:pt x="0" y="2760662"/>
                    </a:moveTo>
                    <a:cubicBezTo>
                      <a:pt x="43656" y="2637631"/>
                      <a:pt x="3968" y="2289969"/>
                      <a:pt x="33337" y="2146300"/>
                    </a:cubicBezTo>
                    <a:cubicBezTo>
                      <a:pt x="62706" y="2002631"/>
                      <a:pt x="150812" y="1985962"/>
                      <a:pt x="176212" y="1898650"/>
                    </a:cubicBezTo>
                    <a:cubicBezTo>
                      <a:pt x="201612" y="1811338"/>
                      <a:pt x="168275" y="1722437"/>
                      <a:pt x="185737" y="1622425"/>
                    </a:cubicBezTo>
                    <a:cubicBezTo>
                      <a:pt x="203199" y="1522413"/>
                      <a:pt x="214312" y="1433512"/>
                      <a:pt x="280987" y="1298575"/>
                    </a:cubicBezTo>
                    <a:cubicBezTo>
                      <a:pt x="347662" y="1163638"/>
                      <a:pt x="504295" y="1029229"/>
                      <a:pt x="585787" y="812800"/>
                    </a:cubicBezTo>
                    <a:cubicBezTo>
                      <a:pt x="667279" y="596371"/>
                      <a:pt x="438942" y="441325"/>
                      <a:pt x="7699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21" name="Freeform 1020"/>
              <p:cNvSpPr/>
              <p:nvPr/>
            </p:nvSpPr>
            <p:spPr>
              <a:xfrm>
                <a:off x="4752976" y="1266826"/>
                <a:ext cx="738187" cy="285273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738187"/>
                  <a:gd name="connsiteY0" fmla="*/ 2852737 h 2852737"/>
                  <a:gd name="connsiteX1" fmla="*/ 33337 w 738187"/>
                  <a:gd name="connsiteY1" fmla="*/ 2238375 h 2852737"/>
                  <a:gd name="connsiteX2" fmla="*/ 176212 w 738187"/>
                  <a:gd name="connsiteY2" fmla="*/ 1990725 h 2852737"/>
                  <a:gd name="connsiteX3" fmla="*/ 185737 w 738187"/>
                  <a:gd name="connsiteY3" fmla="*/ 1714500 h 2852737"/>
                  <a:gd name="connsiteX4" fmla="*/ 280987 w 738187"/>
                  <a:gd name="connsiteY4" fmla="*/ 1390650 h 2852737"/>
                  <a:gd name="connsiteX5" fmla="*/ 585787 w 738187"/>
                  <a:gd name="connsiteY5" fmla="*/ 904875 h 2852737"/>
                  <a:gd name="connsiteX6" fmla="*/ 738187 w 738187"/>
                  <a:gd name="connsiteY6" fmla="*/ 0 h 285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187" h="2852737">
                    <a:moveTo>
                      <a:pt x="0" y="2852737"/>
                    </a:moveTo>
                    <a:cubicBezTo>
                      <a:pt x="43656" y="2729706"/>
                      <a:pt x="3968" y="2382044"/>
                      <a:pt x="33337" y="2238375"/>
                    </a:cubicBezTo>
                    <a:cubicBezTo>
                      <a:pt x="62706" y="2094706"/>
                      <a:pt x="150812" y="2078037"/>
                      <a:pt x="176212" y="1990725"/>
                    </a:cubicBezTo>
                    <a:cubicBezTo>
                      <a:pt x="201612" y="1903413"/>
                      <a:pt x="168275" y="1814512"/>
                      <a:pt x="185737" y="1714500"/>
                    </a:cubicBezTo>
                    <a:cubicBezTo>
                      <a:pt x="203199" y="1614488"/>
                      <a:pt x="214312" y="1525587"/>
                      <a:pt x="280987" y="1390650"/>
                    </a:cubicBezTo>
                    <a:cubicBezTo>
                      <a:pt x="347662" y="1255713"/>
                      <a:pt x="509587" y="1136650"/>
                      <a:pt x="585787" y="904875"/>
                    </a:cubicBezTo>
                    <a:cubicBezTo>
                      <a:pt x="661987" y="673100"/>
                      <a:pt x="383380" y="612774"/>
                      <a:pt x="73818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22" name="Freeform 1021"/>
              <p:cNvSpPr/>
              <p:nvPr/>
            </p:nvSpPr>
            <p:spPr>
              <a:xfrm>
                <a:off x="4705351" y="1235076"/>
                <a:ext cx="706437" cy="28844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706437"/>
                  <a:gd name="connsiteY0" fmla="*/ 2884487 h 2884487"/>
                  <a:gd name="connsiteX1" fmla="*/ 33337 w 706437"/>
                  <a:gd name="connsiteY1" fmla="*/ 2270125 h 2884487"/>
                  <a:gd name="connsiteX2" fmla="*/ 176212 w 706437"/>
                  <a:gd name="connsiteY2" fmla="*/ 2022475 h 2884487"/>
                  <a:gd name="connsiteX3" fmla="*/ 185737 w 706437"/>
                  <a:gd name="connsiteY3" fmla="*/ 1746250 h 2884487"/>
                  <a:gd name="connsiteX4" fmla="*/ 280987 w 706437"/>
                  <a:gd name="connsiteY4" fmla="*/ 1422400 h 2884487"/>
                  <a:gd name="connsiteX5" fmla="*/ 585787 w 706437"/>
                  <a:gd name="connsiteY5" fmla="*/ 936625 h 2884487"/>
                  <a:gd name="connsiteX6" fmla="*/ 706437 w 706437"/>
                  <a:gd name="connsiteY6" fmla="*/ 0 h 28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6437" h="2884487">
                    <a:moveTo>
                      <a:pt x="0" y="2884487"/>
                    </a:moveTo>
                    <a:cubicBezTo>
                      <a:pt x="43656" y="2761456"/>
                      <a:pt x="3968" y="2413794"/>
                      <a:pt x="33337" y="2270125"/>
                    </a:cubicBezTo>
                    <a:cubicBezTo>
                      <a:pt x="62706" y="2126456"/>
                      <a:pt x="150812" y="2109787"/>
                      <a:pt x="176212" y="2022475"/>
                    </a:cubicBezTo>
                    <a:cubicBezTo>
                      <a:pt x="201612" y="1935163"/>
                      <a:pt x="168275" y="1846262"/>
                      <a:pt x="185737" y="1746250"/>
                    </a:cubicBezTo>
                    <a:cubicBezTo>
                      <a:pt x="203199" y="1646238"/>
                      <a:pt x="214312" y="1557337"/>
                      <a:pt x="280987" y="1422400"/>
                    </a:cubicBezTo>
                    <a:cubicBezTo>
                      <a:pt x="347662" y="1287463"/>
                      <a:pt x="514879" y="1173692"/>
                      <a:pt x="585787" y="936625"/>
                    </a:cubicBezTo>
                    <a:cubicBezTo>
                      <a:pt x="656695" y="699558"/>
                      <a:pt x="348455" y="611187"/>
                      <a:pt x="7064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23" name="Freeform 1022"/>
              <p:cNvSpPr/>
              <p:nvPr/>
            </p:nvSpPr>
            <p:spPr>
              <a:xfrm>
                <a:off x="4662488" y="1287463"/>
                <a:ext cx="591708" cy="283209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642"/>
                  <a:gd name="connsiteY0" fmla="*/ 2800349 h 2803598"/>
                  <a:gd name="connsiteX1" fmla="*/ 228600 w 814642"/>
                  <a:gd name="connsiteY1" fmla="*/ 2676524 h 2803598"/>
                  <a:gd name="connsiteX2" fmla="*/ 261937 w 814642"/>
                  <a:gd name="connsiteY2" fmla="*/ 2062162 h 2803598"/>
                  <a:gd name="connsiteX3" fmla="*/ 404812 w 814642"/>
                  <a:gd name="connsiteY3" fmla="*/ 1814512 h 2803598"/>
                  <a:gd name="connsiteX4" fmla="*/ 414337 w 814642"/>
                  <a:gd name="connsiteY4" fmla="*/ 1538287 h 2803598"/>
                  <a:gd name="connsiteX5" fmla="*/ 509587 w 814642"/>
                  <a:gd name="connsiteY5" fmla="*/ 1214437 h 2803598"/>
                  <a:gd name="connsiteX6" fmla="*/ 814387 w 814642"/>
                  <a:gd name="connsiteY6" fmla="*/ 728662 h 2803598"/>
                  <a:gd name="connsiteX7" fmla="*/ 566737 w 814642"/>
                  <a:gd name="connsiteY7" fmla="*/ 0 h 2803598"/>
                  <a:gd name="connsiteX0" fmla="*/ 0 w 814548"/>
                  <a:gd name="connsiteY0" fmla="*/ 2800349 h 2803598"/>
                  <a:gd name="connsiteX1" fmla="*/ 228600 w 814548"/>
                  <a:gd name="connsiteY1" fmla="*/ 2676524 h 2803598"/>
                  <a:gd name="connsiteX2" fmla="*/ 261937 w 814548"/>
                  <a:gd name="connsiteY2" fmla="*/ 2062162 h 2803598"/>
                  <a:gd name="connsiteX3" fmla="*/ 404812 w 814548"/>
                  <a:gd name="connsiteY3" fmla="*/ 1814512 h 2803598"/>
                  <a:gd name="connsiteX4" fmla="*/ 414337 w 814548"/>
                  <a:gd name="connsiteY4" fmla="*/ 1538287 h 2803598"/>
                  <a:gd name="connsiteX5" fmla="*/ 509587 w 814548"/>
                  <a:gd name="connsiteY5" fmla="*/ 1214437 h 2803598"/>
                  <a:gd name="connsiteX6" fmla="*/ 814387 w 814548"/>
                  <a:gd name="connsiteY6" fmla="*/ 728662 h 2803598"/>
                  <a:gd name="connsiteX7" fmla="*/ 566737 w 814548"/>
                  <a:gd name="connsiteY7" fmla="*/ 0 h 2803598"/>
                  <a:gd name="connsiteX0" fmla="*/ 0 w 820308"/>
                  <a:gd name="connsiteY0" fmla="*/ 2955924 h 2959173"/>
                  <a:gd name="connsiteX1" fmla="*/ 228600 w 820308"/>
                  <a:gd name="connsiteY1" fmla="*/ 2832099 h 2959173"/>
                  <a:gd name="connsiteX2" fmla="*/ 261937 w 820308"/>
                  <a:gd name="connsiteY2" fmla="*/ 2217737 h 2959173"/>
                  <a:gd name="connsiteX3" fmla="*/ 404812 w 820308"/>
                  <a:gd name="connsiteY3" fmla="*/ 1970087 h 2959173"/>
                  <a:gd name="connsiteX4" fmla="*/ 414337 w 820308"/>
                  <a:gd name="connsiteY4" fmla="*/ 1693862 h 2959173"/>
                  <a:gd name="connsiteX5" fmla="*/ 509587 w 820308"/>
                  <a:gd name="connsiteY5" fmla="*/ 1370012 h 2959173"/>
                  <a:gd name="connsiteX6" fmla="*/ 814387 w 820308"/>
                  <a:gd name="connsiteY6" fmla="*/ 884237 h 2959173"/>
                  <a:gd name="connsiteX7" fmla="*/ 782637 w 820308"/>
                  <a:gd name="connsiteY7" fmla="*/ 0 h 2959173"/>
                  <a:gd name="connsiteX0" fmla="*/ 0 w 591708"/>
                  <a:gd name="connsiteY0" fmla="*/ 2832099 h 2832099"/>
                  <a:gd name="connsiteX1" fmla="*/ 33337 w 591708"/>
                  <a:gd name="connsiteY1" fmla="*/ 2217737 h 2832099"/>
                  <a:gd name="connsiteX2" fmla="*/ 176212 w 591708"/>
                  <a:gd name="connsiteY2" fmla="*/ 1970087 h 2832099"/>
                  <a:gd name="connsiteX3" fmla="*/ 185737 w 591708"/>
                  <a:gd name="connsiteY3" fmla="*/ 1693862 h 2832099"/>
                  <a:gd name="connsiteX4" fmla="*/ 280987 w 591708"/>
                  <a:gd name="connsiteY4" fmla="*/ 1370012 h 2832099"/>
                  <a:gd name="connsiteX5" fmla="*/ 585787 w 591708"/>
                  <a:gd name="connsiteY5" fmla="*/ 884237 h 2832099"/>
                  <a:gd name="connsiteX6" fmla="*/ 554037 w 591708"/>
                  <a:gd name="connsiteY6" fmla="*/ 0 h 283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708" h="2832099">
                    <a:moveTo>
                      <a:pt x="0" y="2832099"/>
                    </a:moveTo>
                    <a:cubicBezTo>
                      <a:pt x="43656" y="2709068"/>
                      <a:pt x="3968" y="2361406"/>
                      <a:pt x="33337" y="2217737"/>
                    </a:cubicBezTo>
                    <a:cubicBezTo>
                      <a:pt x="62706" y="2074068"/>
                      <a:pt x="150812" y="2057399"/>
                      <a:pt x="176212" y="1970087"/>
                    </a:cubicBezTo>
                    <a:cubicBezTo>
                      <a:pt x="201612" y="1882775"/>
                      <a:pt x="168275" y="1793874"/>
                      <a:pt x="185737" y="1693862"/>
                    </a:cubicBezTo>
                    <a:cubicBezTo>
                      <a:pt x="203199" y="1593850"/>
                      <a:pt x="214312" y="1504949"/>
                      <a:pt x="280987" y="1370012"/>
                    </a:cubicBezTo>
                    <a:cubicBezTo>
                      <a:pt x="347662" y="1235075"/>
                      <a:pt x="540279" y="1112572"/>
                      <a:pt x="585787" y="884237"/>
                    </a:cubicBezTo>
                    <a:cubicBezTo>
                      <a:pt x="631295" y="655902"/>
                      <a:pt x="394492" y="455612"/>
                      <a:pt x="5540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24" name="Freeform 1023"/>
              <p:cNvSpPr/>
              <p:nvPr/>
            </p:nvSpPr>
            <p:spPr>
              <a:xfrm>
                <a:off x="4614862" y="1309689"/>
                <a:ext cx="577533" cy="2809874"/>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909"/>
                  <a:gd name="connsiteY0" fmla="*/ 2800349 h 2803598"/>
                  <a:gd name="connsiteX1" fmla="*/ 228600 w 814909"/>
                  <a:gd name="connsiteY1" fmla="*/ 2676524 h 2803598"/>
                  <a:gd name="connsiteX2" fmla="*/ 261937 w 814909"/>
                  <a:gd name="connsiteY2" fmla="*/ 2062162 h 2803598"/>
                  <a:gd name="connsiteX3" fmla="*/ 404812 w 814909"/>
                  <a:gd name="connsiteY3" fmla="*/ 1814512 h 2803598"/>
                  <a:gd name="connsiteX4" fmla="*/ 414337 w 814909"/>
                  <a:gd name="connsiteY4" fmla="*/ 1538287 h 2803598"/>
                  <a:gd name="connsiteX5" fmla="*/ 509587 w 814909"/>
                  <a:gd name="connsiteY5" fmla="*/ 1214437 h 2803598"/>
                  <a:gd name="connsiteX6" fmla="*/ 814387 w 814909"/>
                  <a:gd name="connsiteY6" fmla="*/ 728662 h 2803598"/>
                  <a:gd name="connsiteX7" fmla="*/ 428624 w 814909"/>
                  <a:gd name="connsiteY7" fmla="*/ 0 h 2803598"/>
                  <a:gd name="connsiteX0" fmla="*/ 0 w 748375"/>
                  <a:gd name="connsiteY0" fmla="*/ 2800349 h 2803598"/>
                  <a:gd name="connsiteX1" fmla="*/ 228600 w 748375"/>
                  <a:gd name="connsiteY1" fmla="*/ 2676524 h 2803598"/>
                  <a:gd name="connsiteX2" fmla="*/ 261937 w 748375"/>
                  <a:gd name="connsiteY2" fmla="*/ 2062162 h 2803598"/>
                  <a:gd name="connsiteX3" fmla="*/ 404812 w 748375"/>
                  <a:gd name="connsiteY3" fmla="*/ 1814512 h 2803598"/>
                  <a:gd name="connsiteX4" fmla="*/ 414337 w 748375"/>
                  <a:gd name="connsiteY4" fmla="*/ 1538287 h 2803598"/>
                  <a:gd name="connsiteX5" fmla="*/ 509587 w 748375"/>
                  <a:gd name="connsiteY5" fmla="*/ 1214437 h 2803598"/>
                  <a:gd name="connsiteX6" fmla="*/ 747712 w 748375"/>
                  <a:gd name="connsiteY6" fmla="*/ 723900 h 2803598"/>
                  <a:gd name="connsiteX7" fmla="*/ 428624 w 748375"/>
                  <a:gd name="connsiteY7" fmla="*/ 0 h 2803598"/>
                  <a:gd name="connsiteX0" fmla="*/ 0 w 752341"/>
                  <a:gd name="connsiteY0" fmla="*/ 2955924 h 2959173"/>
                  <a:gd name="connsiteX1" fmla="*/ 228600 w 752341"/>
                  <a:gd name="connsiteY1" fmla="*/ 2832099 h 2959173"/>
                  <a:gd name="connsiteX2" fmla="*/ 261937 w 752341"/>
                  <a:gd name="connsiteY2" fmla="*/ 2217737 h 2959173"/>
                  <a:gd name="connsiteX3" fmla="*/ 404812 w 752341"/>
                  <a:gd name="connsiteY3" fmla="*/ 1970087 h 2959173"/>
                  <a:gd name="connsiteX4" fmla="*/ 414337 w 752341"/>
                  <a:gd name="connsiteY4" fmla="*/ 1693862 h 2959173"/>
                  <a:gd name="connsiteX5" fmla="*/ 509587 w 752341"/>
                  <a:gd name="connsiteY5" fmla="*/ 1370012 h 2959173"/>
                  <a:gd name="connsiteX6" fmla="*/ 747712 w 752341"/>
                  <a:gd name="connsiteY6" fmla="*/ 879475 h 2959173"/>
                  <a:gd name="connsiteX7" fmla="*/ 692149 w 752341"/>
                  <a:gd name="connsiteY7" fmla="*/ 0 h 2959173"/>
                  <a:gd name="connsiteX0" fmla="*/ 0 w 805083"/>
                  <a:gd name="connsiteY0" fmla="*/ 2955924 h 2959173"/>
                  <a:gd name="connsiteX1" fmla="*/ 228600 w 805083"/>
                  <a:gd name="connsiteY1" fmla="*/ 2832099 h 2959173"/>
                  <a:gd name="connsiteX2" fmla="*/ 261937 w 805083"/>
                  <a:gd name="connsiteY2" fmla="*/ 2217737 h 2959173"/>
                  <a:gd name="connsiteX3" fmla="*/ 404812 w 805083"/>
                  <a:gd name="connsiteY3" fmla="*/ 1970087 h 2959173"/>
                  <a:gd name="connsiteX4" fmla="*/ 414337 w 805083"/>
                  <a:gd name="connsiteY4" fmla="*/ 1693862 h 2959173"/>
                  <a:gd name="connsiteX5" fmla="*/ 509587 w 805083"/>
                  <a:gd name="connsiteY5" fmla="*/ 1370012 h 2959173"/>
                  <a:gd name="connsiteX6" fmla="*/ 801687 w 805083"/>
                  <a:gd name="connsiteY6" fmla="*/ 901700 h 2959173"/>
                  <a:gd name="connsiteX7" fmla="*/ 692149 w 805083"/>
                  <a:gd name="connsiteY7" fmla="*/ 0 h 2959173"/>
                  <a:gd name="connsiteX0" fmla="*/ 0 w 806133"/>
                  <a:gd name="connsiteY0" fmla="*/ 2933699 h 2936948"/>
                  <a:gd name="connsiteX1" fmla="*/ 228600 w 806133"/>
                  <a:gd name="connsiteY1" fmla="*/ 2809874 h 2936948"/>
                  <a:gd name="connsiteX2" fmla="*/ 261937 w 806133"/>
                  <a:gd name="connsiteY2" fmla="*/ 2195512 h 2936948"/>
                  <a:gd name="connsiteX3" fmla="*/ 404812 w 806133"/>
                  <a:gd name="connsiteY3" fmla="*/ 1947862 h 2936948"/>
                  <a:gd name="connsiteX4" fmla="*/ 414337 w 806133"/>
                  <a:gd name="connsiteY4" fmla="*/ 1671637 h 2936948"/>
                  <a:gd name="connsiteX5" fmla="*/ 509587 w 806133"/>
                  <a:gd name="connsiteY5" fmla="*/ 1347787 h 2936948"/>
                  <a:gd name="connsiteX6" fmla="*/ 801687 w 806133"/>
                  <a:gd name="connsiteY6" fmla="*/ 879475 h 2936948"/>
                  <a:gd name="connsiteX7" fmla="*/ 711199 w 806133"/>
                  <a:gd name="connsiteY7" fmla="*/ 0 h 2936948"/>
                  <a:gd name="connsiteX0" fmla="*/ 0 w 577533"/>
                  <a:gd name="connsiteY0" fmla="*/ 2809874 h 2809874"/>
                  <a:gd name="connsiteX1" fmla="*/ 33337 w 577533"/>
                  <a:gd name="connsiteY1" fmla="*/ 2195512 h 2809874"/>
                  <a:gd name="connsiteX2" fmla="*/ 176212 w 577533"/>
                  <a:gd name="connsiteY2" fmla="*/ 1947862 h 2809874"/>
                  <a:gd name="connsiteX3" fmla="*/ 185737 w 577533"/>
                  <a:gd name="connsiteY3" fmla="*/ 1671637 h 2809874"/>
                  <a:gd name="connsiteX4" fmla="*/ 280987 w 577533"/>
                  <a:gd name="connsiteY4" fmla="*/ 1347787 h 2809874"/>
                  <a:gd name="connsiteX5" fmla="*/ 573087 w 577533"/>
                  <a:gd name="connsiteY5" fmla="*/ 879475 h 2809874"/>
                  <a:gd name="connsiteX6" fmla="*/ 482599 w 577533"/>
                  <a:gd name="connsiteY6" fmla="*/ 0 h 280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533" h="2809874">
                    <a:moveTo>
                      <a:pt x="0" y="2809874"/>
                    </a:moveTo>
                    <a:cubicBezTo>
                      <a:pt x="43656" y="2686843"/>
                      <a:pt x="3968" y="2339181"/>
                      <a:pt x="33337" y="2195512"/>
                    </a:cubicBezTo>
                    <a:cubicBezTo>
                      <a:pt x="62706" y="2051843"/>
                      <a:pt x="150812" y="2035174"/>
                      <a:pt x="176212" y="1947862"/>
                    </a:cubicBezTo>
                    <a:cubicBezTo>
                      <a:pt x="201612" y="1860550"/>
                      <a:pt x="168275" y="1771649"/>
                      <a:pt x="185737" y="1671637"/>
                    </a:cubicBezTo>
                    <a:cubicBezTo>
                      <a:pt x="203199" y="1571625"/>
                      <a:pt x="216429" y="1479814"/>
                      <a:pt x="280987" y="1347787"/>
                    </a:cubicBezTo>
                    <a:cubicBezTo>
                      <a:pt x="345545" y="1215760"/>
                      <a:pt x="539485" y="1104106"/>
                      <a:pt x="573087" y="879475"/>
                    </a:cubicBezTo>
                    <a:cubicBezTo>
                      <a:pt x="606689" y="654844"/>
                      <a:pt x="437354" y="484187"/>
                      <a:pt x="482599"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grpSp>
          <p:nvGrpSpPr>
            <p:cNvPr id="1000" name="Group 999"/>
            <p:cNvGrpSpPr/>
            <p:nvPr/>
          </p:nvGrpSpPr>
          <p:grpSpPr>
            <a:xfrm flipH="1">
              <a:off x="3945730" y="1235076"/>
              <a:ext cx="1181101" cy="2884487"/>
              <a:chOff x="4614862" y="1235076"/>
              <a:chExt cx="1181101" cy="2884487"/>
            </a:xfrm>
          </p:grpSpPr>
          <p:sp>
            <p:nvSpPr>
              <p:cNvPr id="1001" name="Freeform 1000"/>
              <p:cNvSpPr/>
              <p:nvPr/>
            </p:nvSpPr>
            <p:spPr>
              <a:xfrm>
                <a:off x="5143501"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2" name="Freeform 1001"/>
              <p:cNvSpPr/>
              <p:nvPr/>
            </p:nvSpPr>
            <p:spPr>
              <a:xfrm>
                <a:off x="5100638"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3" name="Freeform 1002"/>
              <p:cNvSpPr/>
              <p:nvPr/>
            </p:nvSpPr>
            <p:spPr>
              <a:xfrm>
                <a:off x="5053013"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4" name="Freeform 1003"/>
              <p:cNvSpPr/>
              <p:nvPr/>
            </p:nvSpPr>
            <p:spPr>
              <a:xfrm>
                <a:off x="5000626"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5" name="Freeform 1004"/>
              <p:cNvSpPr/>
              <p:nvPr/>
            </p:nvSpPr>
            <p:spPr>
              <a:xfrm>
                <a:off x="4957763" y="1612901"/>
                <a:ext cx="788987" cy="2506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788987"/>
                  <a:gd name="connsiteY0" fmla="*/ 2506662 h 2506662"/>
                  <a:gd name="connsiteX1" fmla="*/ 33337 w 788987"/>
                  <a:gd name="connsiteY1" fmla="*/ 1892300 h 2506662"/>
                  <a:gd name="connsiteX2" fmla="*/ 176212 w 788987"/>
                  <a:gd name="connsiteY2" fmla="*/ 1644650 h 2506662"/>
                  <a:gd name="connsiteX3" fmla="*/ 185737 w 788987"/>
                  <a:gd name="connsiteY3" fmla="*/ 1368425 h 2506662"/>
                  <a:gd name="connsiteX4" fmla="*/ 280987 w 788987"/>
                  <a:gd name="connsiteY4" fmla="*/ 1044575 h 2506662"/>
                  <a:gd name="connsiteX5" fmla="*/ 585787 w 788987"/>
                  <a:gd name="connsiteY5" fmla="*/ 558800 h 2506662"/>
                  <a:gd name="connsiteX6" fmla="*/ 788987 w 788987"/>
                  <a:gd name="connsiteY6" fmla="*/ 0 h 25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987" h="2506662">
                    <a:moveTo>
                      <a:pt x="0" y="2506662"/>
                    </a:moveTo>
                    <a:cubicBezTo>
                      <a:pt x="43656" y="2383631"/>
                      <a:pt x="3968" y="2035969"/>
                      <a:pt x="33337" y="1892300"/>
                    </a:cubicBezTo>
                    <a:cubicBezTo>
                      <a:pt x="62706" y="1748631"/>
                      <a:pt x="150812" y="1731962"/>
                      <a:pt x="176212" y="1644650"/>
                    </a:cubicBezTo>
                    <a:cubicBezTo>
                      <a:pt x="201612" y="1557338"/>
                      <a:pt x="168275" y="1468437"/>
                      <a:pt x="185737" y="1368425"/>
                    </a:cubicBezTo>
                    <a:cubicBezTo>
                      <a:pt x="203199" y="1268413"/>
                      <a:pt x="214312" y="1179512"/>
                      <a:pt x="280987" y="1044575"/>
                    </a:cubicBezTo>
                    <a:cubicBezTo>
                      <a:pt x="347662" y="909638"/>
                      <a:pt x="501120" y="732896"/>
                      <a:pt x="585787" y="558800"/>
                    </a:cubicBezTo>
                    <a:cubicBezTo>
                      <a:pt x="670454" y="384704"/>
                      <a:pt x="500855" y="182562"/>
                      <a:pt x="78898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6" name="Freeform 1005"/>
              <p:cNvSpPr/>
              <p:nvPr/>
            </p:nvSpPr>
            <p:spPr>
              <a:xfrm>
                <a:off x="4905376" y="1504951"/>
                <a:ext cx="804862" cy="261461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804862"/>
                  <a:gd name="connsiteY0" fmla="*/ 2614612 h 2614612"/>
                  <a:gd name="connsiteX1" fmla="*/ 33337 w 804862"/>
                  <a:gd name="connsiteY1" fmla="*/ 2000250 h 2614612"/>
                  <a:gd name="connsiteX2" fmla="*/ 176212 w 804862"/>
                  <a:gd name="connsiteY2" fmla="*/ 1752600 h 2614612"/>
                  <a:gd name="connsiteX3" fmla="*/ 185737 w 804862"/>
                  <a:gd name="connsiteY3" fmla="*/ 1476375 h 2614612"/>
                  <a:gd name="connsiteX4" fmla="*/ 280987 w 804862"/>
                  <a:gd name="connsiteY4" fmla="*/ 1152525 h 2614612"/>
                  <a:gd name="connsiteX5" fmla="*/ 585787 w 804862"/>
                  <a:gd name="connsiteY5" fmla="*/ 666750 h 2614612"/>
                  <a:gd name="connsiteX6" fmla="*/ 804862 w 804862"/>
                  <a:gd name="connsiteY6" fmla="*/ 0 h 26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4862" h="2614612">
                    <a:moveTo>
                      <a:pt x="0" y="2614612"/>
                    </a:moveTo>
                    <a:cubicBezTo>
                      <a:pt x="43656" y="2491581"/>
                      <a:pt x="3968" y="2143919"/>
                      <a:pt x="33337" y="2000250"/>
                    </a:cubicBezTo>
                    <a:cubicBezTo>
                      <a:pt x="62706" y="1856581"/>
                      <a:pt x="150812" y="1839912"/>
                      <a:pt x="176212" y="1752600"/>
                    </a:cubicBezTo>
                    <a:cubicBezTo>
                      <a:pt x="201612" y="1665288"/>
                      <a:pt x="168275" y="1576387"/>
                      <a:pt x="185737" y="1476375"/>
                    </a:cubicBezTo>
                    <a:cubicBezTo>
                      <a:pt x="203199" y="1376363"/>
                      <a:pt x="214312" y="1287462"/>
                      <a:pt x="280987" y="1152525"/>
                    </a:cubicBezTo>
                    <a:cubicBezTo>
                      <a:pt x="347662" y="1017588"/>
                      <a:pt x="498474" y="858838"/>
                      <a:pt x="585787" y="666750"/>
                    </a:cubicBezTo>
                    <a:cubicBezTo>
                      <a:pt x="673100" y="474662"/>
                      <a:pt x="519905" y="204787"/>
                      <a:pt x="8048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7" name="Freeform 1006"/>
              <p:cNvSpPr/>
              <p:nvPr/>
            </p:nvSpPr>
            <p:spPr>
              <a:xfrm>
                <a:off x="4852989" y="1435101"/>
                <a:ext cx="782637" cy="26844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782637"/>
                  <a:gd name="connsiteY0" fmla="*/ 2684462 h 2684462"/>
                  <a:gd name="connsiteX1" fmla="*/ 33337 w 782637"/>
                  <a:gd name="connsiteY1" fmla="*/ 2070100 h 2684462"/>
                  <a:gd name="connsiteX2" fmla="*/ 176212 w 782637"/>
                  <a:gd name="connsiteY2" fmla="*/ 1822450 h 2684462"/>
                  <a:gd name="connsiteX3" fmla="*/ 185737 w 782637"/>
                  <a:gd name="connsiteY3" fmla="*/ 1546225 h 2684462"/>
                  <a:gd name="connsiteX4" fmla="*/ 280987 w 782637"/>
                  <a:gd name="connsiteY4" fmla="*/ 1222375 h 2684462"/>
                  <a:gd name="connsiteX5" fmla="*/ 585787 w 782637"/>
                  <a:gd name="connsiteY5" fmla="*/ 736600 h 2684462"/>
                  <a:gd name="connsiteX6" fmla="*/ 782637 w 782637"/>
                  <a:gd name="connsiteY6" fmla="*/ 0 h 268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2637" h="2684462">
                    <a:moveTo>
                      <a:pt x="0" y="2684462"/>
                    </a:moveTo>
                    <a:cubicBezTo>
                      <a:pt x="43656" y="2561431"/>
                      <a:pt x="3968" y="2213769"/>
                      <a:pt x="33337" y="2070100"/>
                    </a:cubicBezTo>
                    <a:cubicBezTo>
                      <a:pt x="62706" y="1926431"/>
                      <a:pt x="150812" y="1909762"/>
                      <a:pt x="176212" y="1822450"/>
                    </a:cubicBezTo>
                    <a:cubicBezTo>
                      <a:pt x="201612" y="1735138"/>
                      <a:pt x="168275" y="1646237"/>
                      <a:pt x="185737" y="1546225"/>
                    </a:cubicBezTo>
                    <a:cubicBezTo>
                      <a:pt x="203199" y="1446213"/>
                      <a:pt x="214312" y="1357312"/>
                      <a:pt x="280987" y="1222375"/>
                    </a:cubicBezTo>
                    <a:cubicBezTo>
                      <a:pt x="347662" y="1087438"/>
                      <a:pt x="502179" y="940329"/>
                      <a:pt x="585787" y="736600"/>
                    </a:cubicBezTo>
                    <a:cubicBezTo>
                      <a:pt x="669395" y="532871"/>
                      <a:pt x="504030" y="255587"/>
                      <a:pt x="7826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8" name="Freeform 1007"/>
              <p:cNvSpPr/>
              <p:nvPr/>
            </p:nvSpPr>
            <p:spPr>
              <a:xfrm>
                <a:off x="4810125" y="1358901"/>
                <a:ext cx="769937" cy="2760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43795"/>
                  <a:gd name="connsiteY0" fmla="*/ 2659062 h 2662311"/>
                  <a:gd name="connsiteX1" fmla="*/ 228600 w 843795"/>
                  <a:gd name="connsiteY1" fmla="*/ 2535237 h 2662311"/>
                  <a:gd name="connsiteX2" fmla="*/ 261937 w 843795"/>
                  <a:gd name="connsiteY2" fmla="*/ 1920875 h 2662311"/>
                  <a:gd name="connsiteX3" fmla="*/ 404812 w 843795"/>
                  <a:gd name="connsiteY3" fmla="*/ 1673225 h 2662311"/>
                  <a:gd name="connsiteX4" fmla="*/ 414337 w 843795"/>
                  <a:gd name="connsiteY4" fmla="*/ 1397000 h 2662311"/>
                  <a:gd name="connsiteX5" fmla="*/ 509587 w 843795"/>
                  <a:gd name="connsiteY5" fmla="*/ 1073150 h 2662311"/>
                  <a:gd name="connsiteX6" fmla="*/ 814387 w 843795"/>
                  <a:gd name="connsiteY6" fmla="*/ 587375 h 2662311"/>
                  <a:gd name="connsiteX7" fmla="*/ 833437 w 843795"/>
                  <a:gd name="connsiteY7" fmla="*/ 0 h 266231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769937"/>
                  <a:gd name="connsiteY0" fmla="*/ 2760662 h 2760662"/>
                  <a:gd name="connsiteX1" fmla="*/ 33337 w 769937"/>
                  <a:gd name="connsiteY1" fmla="*/ 2146300 h 2760662"/>
                  <a:gd name="connsiteX2" fmla="*/ 176212 w 769937"/>
                  <a:gd name="connsiteY2" fmla="*/ 1898650 h 2760662"/>
                  <a:gd name="connsiteX3" fmla="*/ 185737 w 769937"/>
                  <a:gd name="connsiteY3" fmla="*/ 1622425 h 2760662"/>
                  <a:gd name="connsiteX4" fmla="*/ 280987 w 769937"/>
                  <a:gd name="connsiteY4" fmla="*/ 1298575 h 2760662"/>
                  <a:gd name="connsiteX5" fmla="*/ 585787 w 769937"/>
                  <a:gd name="connsiteY5" fmla="*/ 812800 h 2760662"/>
                  <a:gd name="connsiteX6" fmla="*/ 769937 w 769937"/>
                  <a:gd name="connsiteY6" fmla="*/ 0 h 27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9937" h="2760662">
                    <a:moveTo>
                      <a:pt x="0" y="2760662"/>
                    </a:moveTo>
                    <a:cubicBezTo>
                      <a:pt x="43656" y="2637631"/>
                      <a:pt x="3968" y="2289969"/>
                      <a:pt x="33337" y="2146300"/>
                    </a:cubicBezTo>
                    <a:cubicBezTo>
                      <a:pt x="62706" y="2002631"/>
                      <a:pt x="150812" y="1985962"/>
                      <a:pt x="176212" y="1898650"/>
                    </a:cubicBezTo>
                    <a:cubicBezTo>
                      <a:pt x="201612" y="1811338"/>
                      <a:pt x="168275" y="1722437"/>
                      <a:pt x="185737" y="1622425"/>
                    </a:cubicBezTo>
                    <a:cubicBezTo>
                      <a:pt x="203199" y="1522413"/>
                      <a:pt x="214312" y="1433512"/>
                      <a:pt x="280987" y="1298575"/>
                    </a:cubicBezTo>
                    <a:cubicBezTo>
                      <a:pt x="347662" y="1163638"/>
                      <a:pt x="504295" y="1029229"/>
                      <a:pt x="585787" y="812800"/>
                    </a:cubicBezTo>
                    <a:cubicBezTo>
                      <a:pt x="667279" y="596371"/>
                      <a:pt x="438942" y="441325"/>
                      <a:pt x="7699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9" name="Freeform 1008"/>
              <p:cNvSpPr/>
              <p:nvPr/>
            </p:nvSpPr>
            <p:spPr>
              <a:xfrm>
                <a:off x="4752976" y="1266826"/>
                <a:ext cx="738187" cy="285273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738187"/>
                  <a:gd name="connsiteY0" fmla="*/ 2852737 h 2852737"/>
                  <a:gd name="connsiteX1" fmla="*/ 33337 w 738187"/>
                  <a:gd name="connsiteY1" fmla="*/ 2238375 h 2852737"/>
                  <a:gd name="connsiteX2" fmla="*/ 176212 w 738187"/>
                  <a:gd name="connsiteY2" fmla="*/ 1990725 h 2852737"/>
                  <a:gd name="connsiteX3" fmla="*/ 185737 w 738187"/>
                  <a:gd name="connsiteY3" fmla="*/ 1714500 h 2852737"/>
                  <a:gd name="connsiteX4" fmla="*/ 280987 w 738187"/>
                  <a:gd name="connsiteY4" fmla="*/ 1390650 h 2852737"/>
                  <a:gd name="connsiteX5" fmla="*/ 585787 w 738187"/>
                  <a:gd name="connsiteY5" fmla="*/ 904875 h 2852737"/>
                  <a:gd name="connsiteX6" fmla="*/ 738187 w 738187"/>
                  <a:gd name="connsiteY6" fmla="*/ 0 h 285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187" h="2852737">
                    <a:moveTo>
                      <a:pt x="0" y="2852737"/>
                    </a:moveTo>
                    <a:cubicBezTo>
                      <a:pt x="43656" y="2729706"/>
                      <a:pt x="3968" y="2382044"/>
                      <a:pt x="33337" y="2238375"/>
                    </a:cubicBezTo>
                    <a:cubicBezTo>
                      <a:pt x="62706" y="2094706"/>
                      <a:pt x="150812" y="2078037"/>
                      <a:pt x="176212" y="1990725"/>
                    </a:cubicBezTo>
                    <a:cubicBezTo>
                      <a:pt x="201612" y="1903413"/>
                      <a:pt x="168275" y="1814512"/>
                      <a:pt x="185737" y="1714500"/>
                    </a:cubicBezTo>
                    <a:cubicBezTo>
                      <a:pt x="203199" y="1614488"/>
                      <a:pt x="214312" y="1525587"/>
                      <a:pt x="280987" y="1390650"/>
                    </a:cubicBezTo>
                    <a:cubicBezTo>
                      <a:pt x="347662" y="1255713"/>
                      <a:pt x="509587" y="1136650"/>
                      <a:pt x="585787" y="904875"/>
                    </a:cubicBezTo>
                    <a:cubicBezTo>
                      <a:pt x="661987" y="673100"/>
                      <a:pt x="383380" y="612774"/>
                      <a:pt x="73818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0" name="Freeform 1009"/>
              <p:cNvSpPr/>
              <p:nvPr/>
            </p:nvSpPr>
            <p:spPr>
              <a:xfrm>
                <a:off x="4705351" y="1235076"/>
                <a:ext cx="706437" cy="28844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706437"/>
                  <a:gd name="connsiteY0" fmla="*/ 2884487 h 2884487"/>
                  <a:gd name="connsiteX1" fmla="*/ 33337 w 706437"/>
                  <a:gd name="connsiteY1" fmla="*/ 2270125 h 2884487"/>
                  <a:gd name="connsiteX2" fmla="*/ 176212 w 706437"/>
                  <a:gd name="connsiteY2" fmla="*/ 2022475 h 2884487"/>
                  <a:gd name="connsiteX3" fmla="*/ 185737 w 706437"/>
                  <a:gd name="connsiteY3" fmla="*/ 1746250 h 2884487"/>
                  <a:gd name="connsiteX4" fmla="*/ 280987 w 706437"/>
                  <a:gd name="connsiteY4" fmla="*/ 1422400 h 2884487"/>
                  <a:gd name="connsiteX5" fmla="*/ 585787 w 706437"/>
                  <a:gd name="connsiteY5" fmla="*/ 936625 h 2884487"/>
                  <a:gd name="connsiteX6" fmla="*/ 706437 w 706437"/>
                  <a:gd name="connsiteY6" fmla="*/ 0 h 28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6437" h="2884487">
                    <a:moveTo>
                      <a:pt x="0" y="2884487"/>
                    </a:moveTo>
                    <a:cubicBezTo>
                      <a:pt x="43656" y="2761456"/>
                      <a:pt x="3968" y="2413794"/>
                      <a:pt x="33337" y="2270125"/>
                    </a:cubicBezTo>
                    <a:cubicBezTo>
                      <a:pt x="62706" y="2126456"/>
                      <a:pt x="150812" y="2109787"/>
                      <a:pt x="176212" y="2022475"/>
                    </a:cubicBezTo>
                    <a:cubicBezTo>
                      <a:pt x="201612" y="1935163"/>
                      <a:pt x="168275" y="1846262"/>
                      <a:pt x="185737" y="1746250"/>
                    </a:cubicBezTo>
                    <a:cubicBezTo>
                      <a:pt x="203199" y="1646238"/>
                      <a:pt x="214312" y="1557337"/>
                      <a:pt x="280987" y="1422400"/>
                    </a:cubicBezTo>
                    <a:cubicBezTo>
                      <a:pt x="347662" y="1287463"/>
                      <a:pt x="514879" y="1173692"/>
                      <a:pt x="585787" y="936625"/>
                    </a:cubicBezTo>
                    <a:cubicBezTo>
                      <a:pt x="656695" y="699558"/>
                      <a:pt x="348455" y="611187"/>
                      <a:pt x="7064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1" name="Freeform 1010"/>
              <p:cNvSpPr/>
              <p:nvPr/>
            </p:nvSpPr>
            <p:spPr>
              <a:xfrm>
                <a:off x="4662488" y="1287463"/>
                <a:ext cx="591708" cy="283209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642"/>
                  <a:gd name="connsiteY0" fmla="*/ 2800349 h 2803598"/>
                  <a:gd name="connsiteX1" fmla="*/ 228600 w 814642"/>
                  <a:gd name="connsiteY1" fmla="*/ 2676524 h 2803598"/>
                  <a:gd name="connsiteX2" fmla="*/ 261937 w 814642"/>
                  <a:gd name="connsiteY2" fmla="*/ 2062162 h 2803598"/>
                  <a:gd name="connsiteX3" fmla="*/ 404812 w 814642"/>
                  <a:gd name="connsiteY3" fmla="*/ 1814512 h 2803598"/>
                  <a:gd name="connsiteX4" fmla="*/ 414337 w 814642"/>
                  <a:gd name="connsiteY4" fmla="*/ 1538287 h 2803598"/>
                  <a:gd name="connsiteX5" fmla="*/ 509587 w 814642"/>
                  <a:gd name="connsiteY5" fmla="*/ 1214437 h 2803598"/>
                  <a:gd name="connsiteX6" fmla="*/ 814387 w 814642"/>
                  <a:gd name="connsiteY6" fmla="*/ 728662 h 2803598"/>
                  <a:gd name="connsiteX7" fmla="*/ 566737 w 814642"/>
                  <a:gd name="connsiteY7" fmla="*/ 0 h 2803598"/>
                  <a:gd name="connsiteX0" fmla="*/ 0 w 814548"/>
                  <a:gd name="connsiteY0" fmla="*/ 2800349 h 2803598"/>
                  <a:gd name="connsiteX1" fmla="*/ 228600 w 814548"/>
                  <a:gd name="connsiteY1" fmla="*/ 2676524 h 2803598"/>
                  <a:gd name="connsiteX2" fmla="*/ 261937 w 814548"/>
                  <a:gd name="connsiteY2" fmla="*/ 2062162 h 2803598"/>
                  <a:gd name="connsiteX3" fmla="*/ 404812 w 814548"/>
                  <a:gd name="connsiteY3" fmla="*/ 1814512 h 2803598"/>
                  <a:gd name="connsiteX4" fmla="*/ 414337 w 814548"/>
                  <a:gd name="connsiteY4" fmla="*/ 1538287 h 2803598"/>
                  <a:gd name="connsiteX5" fmla="*/ 509587 w 814548"/>
                  <a:gd name="connsiteY5" fmla="*/ 1214437 h 2803598"/>
                  <a:gd name="connsiteX6" fmla="*/ 814387 w 814548"/>
                  <a:gd name="connsiteY6" fmla="*/ 728662 h 2803598"/>
                  <a:gd name="connsiteX7" fmla="*/ 566737 w 814548"/>
                  <a:gd name="connsiteY7" fmla="*/ 0 h 2803598"/>
                  <a:gd name="connsiteX0" fmla="*/ 0 w 820308"/>
                  <a:gd name="connsiteY0" fmla="*/ 2955924 h 2959173"/>
                  <a:gd name="connsiteX1" fmla="*/ 228600 w 820308"/>
                  <a:gd name="connsiteY1" fmla="*/ 2832099 h 2959173"/>
                  <a:gd name="connsiteX2" fmla="*/ 261937 w 820308"/>
                  <a:gd name="connsiteY2" fmla="*/ 2217737 h 2959173"/>
                  <a:gd name="connsiteX3" fmla="*/ 404812 w 820308"/>
                  <a:gd name="connsiteY3" fmla="*/ 1970087 h 2959173"/>
                  <a:gd name="connsiteX4" fmla="*/ 414337 w 820308"/>
                  <a:gd name="connsiteY4" fmla="*/ 1693862 h 2959173"/>
                  <a:gd name="connsiteX5" fmla="*/ 509587 w 820308"/>
                  <a:gd name="connsiteY5" fmla="*/ 1370012 h 2959173"/>
                  <a:gd name="connsiteX6" fmla="*/ 814387 w 820308"/>
                  <a:gd name="connsiteY6" fmla="*/ 884237 h 2959173"/>
                  <a:gd name="connsiteX7" fmla="*/ 782637 w 820308"/>
                  <a:gd name="connsiteY7" fmla="*/ 0 h 2959173"/>
                  <a:gd name="connsiteX0" fmla="*/ 0 w 591708"/>
                  <a:gd name="connsiteY0" fmla="*/ 2832099 h 2832099"/>
                  <a:gd name="connsiteX1" fmla="*/ 33337 w 591708"/>
                  <a:gd name="connsiteY1" fmla="*/ 2217737 h 2832099"/>
                  <a:gd name="connsiteX2" fmla="*/ 176212 w 591708"/>
                  <a:gd name="connsiteY2" fmla="*/ 1970087 h 2832099"/>
                  <a:gd name="connsiteX3" fmla="*/ 185737 w 591708"/>
                  <a:gd name="connsiteY3" fmla="*/ 1693862 h 2832099"/>
                  <a:gd name="connsiteX4" fmla="*/ 280987 w 591708"/>
                  <a:gd name="connsiteY4" fmla="*/ 1370012 h 2832099"/>
                  <a:gd name="connsiteX5" fmla="*/ 585787 w 591708"/>
                  <a:gd name="connsiteY5" fmla="*/ 884237 h 2832099"/>
                  <a:gd name="connsiteX6" fmla="*/ 554037 w 591708"/>
                  <a:gd name="connsiteY6" fmla="*/ 0 h 283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708" h="2832099">
                    <a:moveTo>
                      <a:pt x="0" y="2832099"/>
                    </a:moveTo>
                    <a:cubicBezTo>
                      <a:pt x="43656" y="2709068"/>
                      <a:pt x="3968" y="2361406"/>
                      <a:pt x="33337" y="2217737"/>
                    </a:cubicBezTo>
                    <a:cubicBezTo>
                      <a:pt x="62706" y="2074068"/>
                      <a:pt x="150812" y="2057399"/>
                      <a:pt x="176212" y="1970087"/>
                    </a:cubicBezTo>
                    <a:cubicBezTo>
                      <a:pt x="201612" y="1882775"/>
                      <a:pt x="168275" y="1793874"/>
                      <a:pt x="185737" y="1693862"/>
                    </a:cubicBezTo>
                    <a:cubicBezTo>
                      <a:pt x="203199" y="1593850"/>
                      <a:pt x="214312" y="1504949"/>
                      <a:pt x="280987" y="1370012"/>
                    </a:cubicBezTo>
                    <a:cubicBezTo>
                      <a:pt x="347662" y="1235075"/>
                      <a:pt x="540279" y="1112572"/>
                      <a:pt x="585787" y="884237"/>
                    </a:cubicBezTo>
                    <a:cubicBezTo>
                      <a:pt x="631295" y="655902"/>
                      <a:pt x="394492" y="455612"/>
                      <a:pt x="5540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2" name="Freeform 1011"/>
              <p:cNvSpPr/>
              <p:nvPr/>
            </p:nvSpPr>
            <p:spPr>
              <a:xfrm>
                <a:off x="4614862" y="1309689"/>
                <a:ext cx="577533" cy="2809874"/>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909"/>
                  <a:gd name="connsiteY0" fmla="*/ 2800349 h 2803598"/>
                  <a:gd name="connsiteX1" fmla="*/ 228600 w 814909"/>
                  <a:gd name="connsiteY1" fmla="*/ 2676524 h 2803598"/>
                  <a:gd name="connsiteX2" fmla="*/ 261937 w 814909"/>
                  <a:gd name="connsiteY2" fmla="*/ 2062162 h 2803598"/>
                  <a:gd name="connsiteX3" fmla="*/ 404812 w 814909"/>
                  <a:gd name="connsiteY3" fmla="*/ 1814512 h 2803598"/>
                  <a:gd name="connsiteX4" fmla="*/ 414337 w 814909"/>
                  <a:gd name="connsiteY4" fmla="*/ 1538287 h 2803598"/>
                  <a:gd name="connsiteX5" fmla="*/ 509587 w 814909"/>
                  <a:gd name="connsiteY5" fmla="*/ 1214437 h 2803598"/>
                  <a:gd name="connsiteX6" fmla="*/ 814387 w 814909"/>
                  <a:gd name="connsiteY6" fmla="*/ 728662 h 2803598"/>
                  <a:gd name="connsiteX7" fmla="*/ 428624 w 814909"/>
                  <a:gd name="connsiteY7" fmla="*/ 0 h 2803598"/>
                  <a:gd name="connsiteX0" fmla="*/ 0 w 748375"/>
                  <a:gd name="connsiteY0" fmla="*/ 2800349 h 2803598"/>
                  <a:gd name="connsiteX1" fmla="*/ 228600 w 748375"/>
                  <a:gd name="connsiteY1" fmla="*/ 2676524 h 2803598"/>
                  <a:gd name="connsiteX2" fmla="*/ 261937 w 748375"/>
                  <a:gd name="connsiteY2" fmla="*/ 2062162 h 2803598"/>
                  <a:gd name="connsiteX3" fmla="*/ 404812 w 748375"/>
                  <a:gd name="connsiteY3" fmla="*/ 1814512 h 2803598"/>
                  <a:gd name="connsiteX4" fmla="*/ 414337 w 748375"/>
                  <a:gd name="connsiteY4" fmla="*/ 1538287 h 2803598"/>
                  <a:gd name="connsiteX5" fmla="*/ 509587 w 748375"/>
                  <a:gd name="connsiteY5" fmla="*/ 1214437 h 2803598"/>
                  <a:gd name="connsiteX6" fmla="*/ 747712 w 748375"/>
                  <a:gd name="connsiteY6" fmla="*/ 723900 h 2803598"/>
                  <a:gd name="connsiteX7" fmla="*/ 428624 w 748375"/>
                  <a:gd name="connsiteY7" fmla="*/ 0 h 2803598"/>
                  <a:gd name="connsiteX0" fmla="*/ 0 w 752341"/>
                  <a:gd name="connsiteY0" fmla="*/ 2955924 h 2959173"/>
                  <a:gd name="connsiteX1" fmla="*/ 228600 w 752341"/>
                  <a:gd name="connsiteY1" fmla="*/ 2832099 h 2959173"/>
                  <a:gd name="connsiteX2" fmla="*/ 261937 w 752341"/>
                  <a:gd name="connsiteY2" fmla="*/ 2217737 h 2959173"/>
                  <a:gd name="connsiteX3" fmla="*/ 404812 w 752341"/>
                  <a:gd name="connsiteY3" fmla="*/ 1970087 h 2959173"/>
                  <a:gd name="connsiteX4" fmla="*/ 414337 w 752341"/>
                  <a:gd name="connsiteY4" fmla="*/ 1693862 h 2959173"/>
                  <a:gd name="connsiteX5" fmla="*/ 509587 w 752341"/>
                  <a:gd name="connsiteY5" fmla="*/ 1370012 h 2959173"/>
                  <a:gd name="connsiteX6" fmla="*/ 747712 w 752341"/>
                  <a:gd name="connsiteY6" fmla="*/ 879475 h 2959173"/>
                  <a:gd name="connsiteX7" fmla="*/ 692149 w 752341"/>
                  <a:gd name="connsiteY7" fmla="*/ 0 h 2959173"/>
                  <a:gd name="connsiteX0" fmla="*/ 0 w 805083"/>
                  <a:gd name="connsiteY0" fmla="*/ 2955924 h 2959173"/>
                  <a:gd name="connsiteX1" fmla="*/ 228600 w 805083"/>
                  <a:gd name="connsiteY1" fmla="*/ 2832099 h 2959173"/>
                  <a:gd name="connsiteX2" fmla="*/ 261937 w 805083"/>
                  <a:gd name="connsiteY2" fmla="*/ 2217737 h 2959173"/>
                  <a:gd name="connsiteX3" fmla="*/ 404812 w 805083"/>
                  <a:gd name="connsiteY3" fmla="*/ 1970087 h 2959173"/>
                  <a:gd name="connsiteX4" fmla="*/ 414337 w 805083"/>
                  <a:gd name="connsiteY4" fmla="*/ 1693862 h 2959173"/>
                  <a:gd name="connsiteX5" fmla="*/ 509587 w 805083"/>
                  <a:gd name="connsiteY5" fmla="*/ 1370012 h 2959173"/>
                  <a:gd name="connsiteX6" fmla="*/ 801687 w 805083"/>
                  <a:gd name="connsiteY6" fmla="*/ 901700 h 2959173"/>
                  <a:gd name="connsiteX7" fmla="*/ 692149 w 805083"/>
                  <a:gd name="connsiteY7" fmla="*/ 0 h 2959173"/>
                  <a:gd name="connsiteX0" fmla="*/ 0 w 806133"/>
                  <a:gd name="connsiteY0" fmla="*/ 2933699 h 2936948"/>
                  <a:gd name="connsiteX1" fmla="*/ 228600 w 806133"/>
                  <a:gd name="connsiteY1" fmla="*/ 2809874 h 2936948"/>
                  <a:gd name="connsiteX2" fmla="*/ 261937 w 806133"/>
                  <a:gd name="connsiteY2" fmla="*/ 2195512 h 2936948"/>
                  <a:gd name="connsiteX3" fmla="*/ 404812 w 806133"/>
                  <a:gd name="connsiteY3" fmla="*/ 1947862 h 2936948"/>
                  <a:gd name="connsiteX4" fmla="*/ 414337 w 806133"/>
                  <a:gd name="connsiteY4" fmla="*/ 1671637 h 2936948"/>
                  <a:gd name="connsiteX5" fmla="*/ 509587 w 806133"/>
                  <a:gd name="connsiteY5" fmla="*/ 1347787 h 2936948"/>
                  <a:gd name="connsiteX6" fmla="*/ 801687 w 806133"/>
                  <a:gd name="connsiteY6" fmla="*/ 879475 h 2936948"/>
                  <a:gd name="connsiteX7" fmla="*/ 711199 w 806133"/>
                  <a:gd name="connsiteY7" fmla="*/ 0 h 2936948"/>
                  <a:gd name="connsiteX0" fmla="*/ 0 w 577533"/>
                  <a:gd name="connsiteY0" fmla="*/ 2809874 h 2809874"/>
                  <a:gd name="connsiteX1" fmla="*/ 33337 w 577533"/>
                  <a:gd name="connsiteY1" fmla="*/ 2195512 h 2809874"/>
                  <a:gd name="connsiteX2" fmla="*/ 176212 w 577533"/>
                  <a:gd name="connsiteY2" fmla="*/ 1947862 h 2809874"/>
                  <a:gd name="connsiteX3" fmla="*/ 185737 w 577533"/>
                  <a:gd name="connsiteY3" fmla="*/ 1671637 h 2809874"/>
                  <a:gd name="connsiteX4" fmla="*/ 280987 w 577533"/>
                  <a:gd name="connsiteY4" fmla="*/ 1347787 h 2809874"/>
                  <a:gd name="connsiteX5" fmla="*/ 573087 w 577533"/>
                  <a:gd name="connsiteY5" fmla="*/ 879475 h 2809874"/>
                  <a:gd name="connsiteX6" fmla="*/ 482599 w 577533"/>
                  <a:gd name="connsiteY6" fmla="*/ 0 h 280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533" h="2809874">
                    <a:moveTo>
                      <a:pt x="0" y="2809874"/>
                    </a:moveTo>
                    <a:cubicBezTo>
                      <a:pt x="43656" y="2686843"/>
                      <a:pt x="3968" y="2339181"/>
                      <a:pt x="33337" y="2195512"/>
                    </a:cubicBezTo>
                    <a:cubicBezTo>
                      <a:pt x="62706" y="2051843"/>
                      <a:pt x="150812" y="2035174"/>
                      <a:pt x="176212" y="1947862"/>
                    </a:cubicBezTo>
                    <a:cubicBezTo>
                      <a:pt x="201612" y="1860550"/>
                      <a:pt x="168275" y="1771649"/>
                      <a:pt x="185737" y="1671637"/>
                    </a:cubicBezTo>
                    <a:cubicBezTo>
                      <a:pt x="203199" y="1571625"/>
                      <a:pt x="216429" y="1479814"/>
                      <a:pt x="280987" y="1347787"/>
                    </a:cubicBezTo>
                    <a:cubicBezTo>
                      <a:pt x="345545" y="1215760"/>
                      <a:pt x="539485" y="1104106"/>
                      <a:pt x="573087" y="879475"/>
                    </a:cubicBezTo>
                    <a:cubicBezTo>
                      <a:pt x="606689" y="654844"/>
                      <a:pt x="437354" y="484187"/>
                      <a:pt x="482599"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grpSp>
      <p:sp>
        <p:nvSpPr>
          <p:cNvPr id="957" name="Freeform 956"/>
          <p:cNvSpPr/>
          <p:nvPr/>
        </p:nvSpPr>
        <p:spPr>
          <a:xfrm>
            <a:off x="1420910" y="867844"/>
            <a:ext cx="999637" cy="399298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826" h="3518407">
                <a:moveTo>
                  <a:pt x="0" y="3515158"/>
                </a:moveTo>
                <a:cubicBezTo>
                  <a:pt x="58737" y="3526270"/>
                  <a:pt x="184944" y="3514364"/>
                  <a:pt x="228600" y="3391333"/>
                </a:cubicBezTo>
                <a:cubicBezTo>
                  <a:pt x="272256" y="3268302"/>
                  <a:pt x="232568" y="2920640"/>
                  <a:pt x="261937" y="2776971"/>
                </a:cubicBezTo>
                <a:cubicBezTo>
                  <a:pt x="291306" y="2633302"/>
                  <a:pt x="379412" y="2616633"/>
                  <a:pt x="404812" y="2529321"/>
                </a:cubicBezTo>
                <a:cubicBezTo>
                  <a:pt x="430212" y="2442009"/>
                  <a:pt x="396875" y="2353108"/>
                  <a:pt x="414337" y="2253096"/>
                </a:cubicBezTo>
                <a:cubicBezTo>
                  <a:pt x="431799" y="2153084"/>
                  <a:pt x="448781" y="2057304"/>
                  <a:pt x="509587" y="1929246"/>
                </a:cubicBezTo>
                <a:cubicBezTo>
                  <a:pt x="570393" y="1801188"/>
                  <a:pt x="704080" y="1643496"/>
                  <a:pt x="779174" y="1484746"/>
                </a:cubicBezTo>
                <a:cubicBezTo>
                  <a:pt x="854268" y="1325996"/>
                  <a:pt x="1144804" y="548698"/>
                  <a:pt x="206808"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58" name="Freeform 957"/>
          <p:cNvSpPr/>
          <p:nvPr/>
        </p:nvSpPr>
        <p:spPr>
          <a:xfrm flipH="1">
            <a:off x="43587" y="867844"/>
            <a:ext cx="999637" cy="399298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826" h="3518407">
                <a:moveTo>
                  <a:pt x="0" y="3515158"/>
                </a:moveTo>
                <a:cubicBezTo>
                  <a:pt x="58737" y="3526270"/>
                  <a:pt x="184944" y="3514364"/>
                  <a:pt x="228600" y="3391333"/>
                </a:cubicBezTo>
                <a:cubicBezTo>
                  <a:pt x="272256" y="3268302"/>
                  <a:pt x="232568" y="2920640"/>
                  <a:pt x="261937" y="2776971"/>
                </a:cubicBezTo>
                <a:cubicBezTo>
                  <a:pt x="291306" y="2633302"/>
                  <a:pt x="379412" y="2616633"/>
                  <a:pt x="404812" y="2529321"/>
                </a:cubicBezTo>
                <a:cubicBezTo>
                  <a:pt x="430212" y="2442009"/>
                  <a:pt x="396875" y="2353108"/>
                  <a:pt x="414337" y="2253096"/>
                </a:cubicBezTo>
                <a:cubicBezTo>
                  <a:pt x="431799" y="2153084"/>
                  <a:pt x="448781" y="2057304"/>
                  <a:pt x="509587" y="1929246"/>
                </a:cubicBezTo>
                <a:cubicBezTo>
                  <a:pt x="570393" y="1801188"/>
                  <a:pt x="704080" y="1643496"/>
                  <a:pt x="779174" y="1484746"/>
                </a:cubicBezTo>
                <a:cubicBezTo>
                  <a:pt x="854268" y="1325996"/>
                  <a:pt x="1144804" y="548698"/>
                  <a:pt x="206808"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nvGrpSpPr>
          <p:cNvPr id="959" name="Group 958"/>
          <p:cNvGrpSpPr/>
          <p:nvPr/>
        </p:nvGrpSpPr>
        <p:grpSpPr>
          <a:xfrm>
            <a:off x="1226326" y="687828"/>
            <a:ext cx="349366" cy="2382386"/>
            <a:chOff x="4795828" y="569609"/>
            <a:chExt cx="307843" cy="2099231"/>
          </a:xfrm>
        </p:grpSpPr>
        <p:sp>
          <p:nvSpPr>
            <p:cNvPr id="996" name="Freeform 995"/>
            <p:cNvSpPr/>
            <p:nvPr/>
          </p:nvSpPr>
          <p:spPr>
            <a:xfrm rot="10800000">
              <a:off x="4798974" y="616871"/>
              <a:ext cx="304697" cy="205196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Lst>
              <a:ahLst/>
              <a:cxnLst>
                <a:cxn ang="0">
                  <a:pos x="connsiteX0" y="connsiteY0"/>
                </a:cxn>
                <a:cxn ang="0">
                  <a:pos x="connsiteX1" y="connsiteY1"/>
                </a:cxn>
                <a:cxn ang="0">
                  <a:pos x="connsiteX2" y="connsiteY2"/>
                </a:cxn>
                <a:cxn ang="0">
                  <a:pos x="connsiteX3" y="connsiteY3"/>
                </a:cxn>
              </a:cxnLst>
              <a:rect l="l" t="t" r="r" b="b"/>
              <a:pathLst>
                <a:path w="378537" h="1772866">
                  <a:moveTo>
                    <a:pt x="378537" y="0"/>
                  </a:moveTo>
                  <a:cubicBezTo>
                    <a:pt x="252529" y="231483"/>
                    <a:pt x="-76696" y="316422"/>
                    <a:pt x="30019" y="592247"/>
                  </a:cubicBezTo>
                  <a:cubicBezTo>
                    <a:pt x="136734" y="868072"/>
                    <a:pt x="195503" y="1112546"/>
                    <a:pt x="190500" y="1309316"/>
                  </a:cubicBezTo>
                  <a:cubicBezTo>
                    <a:pt x="185497" y="1506086"/>
                    <a:pt x="97896" y="1663857"/>
                    <a:pt x="0" y="1772866"/>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97" name="Freeform 996"/>
            <p:cNvSpPr/>
            <p:nvPr/>
          </p:nvSpPr>
          <p:spPr>
            <a:xfrm rot="10800000">
              <a:off x="4795828" y="584317"/>
              <a:ext cx="254954" cy="2074194"/>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Lst>
              <a:ahLst/>
              <a:cxnLst>
                <a:cxn ang="0">
                  <a:pos x="connsiteX0" y="connsiteY0"/>
                </a:cxn>
                <a:cxn ang="0">
                  <a:pos x="connsiteX1" y="connsiteY1"/>
                </a:cxn>
                <a:cxn ang="0">
                  <a:pos x="connsiteX2" y="connsiteY2"/>
                </a:cxn>
                <a:cxn ang="0">
                  <a:pos x="connsiteX3" y="connsiteY3"/>
                </a:cxn>
              </a:cxnLst>
              <a:rect l="l" t="t" r="r" b="b"/>
              <a:pathLst>
                <a:path w="316739" h="1792068">
                  <a:moveTo>
                    <a:pt x="316739" y="0"/>
                  </a:moveTo>
                  <a:cubicBezTo>
                    <a:pt x="190731" y="231483"/>
                    <a:pt x="-94447" y="324193"/>
                    <a:pt x="31333" y="614192"/>
                  </a:cubicBezTo>
                  <a:cubicBezTo>
                    <a:pt x="157113" y="904191"/>
                    <a:pt x="219826" y="1132205"/>
                    <a:pt x="219424" y="1328518"/>
                  </a:cubicBezTo>
                  <a:cubicBezTo>
                    <a:pt x="219023" y="1524831"/>
                    <a:pt x="126820" y="1683059"/>
                    <a:pt x="28924" y="1792068"/>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98" name="Freeform 997"/>
            <p:cNvSpPr/>
            <p:nvPr/>
          </p:nvSpPr>
          <p:spPr>
            <a:xfrm rot="10800000">
              <a:off x="4797350" y="569609"/>
              <a:ext cx="178722" cy="208371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 name="connsiteX0" fmla="*/ 212871 w 212871"/>
                <a:gd name="connsiteY0" fmla="*/ 0 h 1805784"/>
                <a:gd name="connsiteX1" fmla="*/ 2409 w 212871"/>
                <a:gd name="connsiteY1" fmla="*/ 627908 h 1805784"/>
                <a:gd name="connsiteX2" fmla="*/ 190500 w 212871"/>
                <a:gd name="connsiteY2" fmla="*/ 1342234 h 1805784"/>
                <a:gd name="connsiteX3" fmla="*/ 0 w 212871"/>
                <a:gd name="connsiteY3" fmla="*/ 1805784 h 1805784"/>
                <a:gd name="connsiteX0" fmla="*/ 244746 w 244746"/>
                <a:gd name="connsiteY0" fmla="*/ 0 h 1805784"/>
                <a:gd name="connsiteX1" fmla="*/ 34284 w 244746"/>
                <a:gd name="connsiteY1" fmla="*/ 627908 h 1805784"/>
                <a:gd name="connsiteX2" fmla="*/ 222375 w 244746"/>
                <a:gd name="connsiteY2" fmla="*/ 1342234 h 1805784"/>
                <a:gd name="connsiteX3" fmla="*/ 31875 w 244746"/>
                <a:gd name="connsiteY3" fmla="*/ 1805784 h 1805784"/>
                <a:gd name="connsiteX0" fmla="*/ 226986 w 226986"/>
                <a:gd name="connsiteY0" fmla="*/ 0 h 1805784"/>
                <a:gd name="connsiteX1" fmla="*/ 16524 w 226986"/>
                <a:gd name="connsiteY1" fmla="*/ 627908 h 1805784"/>
                <a:gd name="connsiteX2" fmla="*/ 204615 w 226986"/>
                <a:gd name="connsiteY2" fmla="*/ 1342234 h 1805784"/>
                <a:gd name="connsiteX3" fmla="*/ 14115 w 226986"/>
                <a:gd name="connsiteY3" fmla="*/ 1805784 h 1805784"/>
                <a:gd name="connsiteX0" fmla="*/ 243199 w 243199"/>
                <a:gd name="connsiteY0" fmla="*/ 0 h 1805784"/>
                <a:gd name="connsiteX1" fmla="*/ 32737 w 243199"/>
                <a:gd name="connsiteY1" fmla="*/ 627908 h 1805784"/>
                <a:gd name="connsiteX2" fmla="*/ 220828 w 243199"/>
                <a:gd name="connsiteY2" fmla="*/ 1342234 h 1805784"/>
                <a:gd name="connsiteX3" fmla="*/ 30328 w 243199"/>
                <a:gd name="connsiteY3" fmla="*/ 1805784 h 1805784"/>
                <a:gd name="connsiteX0" fmla="*/ 181315 w 190500"/>
                <a:gd name="connsiteY0" fmla="*/ 0 h 1800298"/>
                <a:gd name="connsiteX1" fmla="*/ 2409 w 190500"/>
                <a:gd name="connsiteY1" fmla="*/ 622422 h 1800298"/>
                <a:gd name="connsiteX2" fmla="*/ 190500 w 190500"/>
                <a:gd name="connsiteY2" fmla="*/ 1336748 h 1800298"/>
                <a:gd name="connsiteX3" fmla="*/ 0 w 190500"/>
                <a:gd name="connsiteY3" fmla="*/ 1800298 h 1800298"/>
                <a:gd name="connsiteX0" fmla="*/ 198733 w 207919"/>
                <a:gd name="connsiteY0" fmla="*/ 0 h 1800298"/>
                <a:gd name="connsiteX1" fmla="*/ 19827 w 207919"/>
                <a:gd name="connsiteY1" fmla="*/ 622422 h 1800298"/>
                <a:gd name="connsiteX2" fmla="*/ 207918 w 207919"/>
                <a:gd name="connsiteY2" fmla="*/ 1336748 h 1800298"/>
                <a:gd name="connsiteX3" fmla="*/ 17418 w 207919"/>
                <a:gd name="connsiteY3" fmla="*/ 1800298 h 1800298"/>
                <a:gd name="connsiteX0" fmla="*/ 211242 w 220428"/>
                <a:gd name="connsiteY0" fmla="*/ 0 h 1800298"/>
                <a:gd name="connsiteX1" fmla="*/ 32336 w 220428"/>
                <a:gd name="connsiteY1" fmla="*/ 622422 h 1800298"/>
                <a:gd name="connsiteX2" fmla="*/ 220427 w 220428"/>
                <a:gd name="connsiteY2" fmla="*/ 1336748 h 1800298"/>
                <a:gd name="connsiteX3" fmla="*/ 29927 w 220428"/>
                <a:gd name="connsiteY3" fmla="*/ 1800298 h 1800298"/>
                <a:gd name="connsiteX0" fmla="*/ 212848 w 222034"/>
                <a:gd name="connsiteY0" fmla="*/ 0 h 1800298"/>
                <a:gd name="connsiteX1" fmla="*/ 33942 w 222034"/>
                <a:gd name="connsiteY1" fmla="*/ 622422 h 1800298"/>
                <a:gd name="connsiteX2" fmla="*/ 222033 w 222034"/>
                <a:gd name="connsiteY2" fmla="*/ 1336748 h 1800298"/>
                <a:gd name="connsiteX3" fmla="*/ 31533 w 222034"/>
                <a:gd name="connsiteY3" fmla="*/ 1800298 h 1800298"/>
              </a:gdLst>
              <a:ahLst/>
              <a:cxnLst>
                <a:cxn ang="0">
                  <a:pos x="connsiteX0" y="connsiteY0"/>
                </a:cxn>
                <a:cxn ang="0">
                  <a:pos x="connsiteX1" y="connsiteY1"/>
                </a:cxn>
                <a:cxn ang="0">
                  <a:pos x="connsiteX2" y="connsiteY2"/>
                </a:cxn>
                <a:cxn ang="0">
                  <a:pos x="connsiteX3" y="connsiteY3"/>
                </a:cxn>
              </a:cxnLst>
              <a:rect l="l" t="t" r="r" b="b"/>
              <a:pathLst>
                <a:path w="222034" h="1800298">
                  <a:moveTo>
                    <a:pt x="212848" y="0"/>
                  </a:moveTo>
                  <a:cubicBezTo>
                    <a:pt x="86840" y="231483"/>
                    <a:pt x="-70144" y="331053"/>
                    <a:pt x="33942" y="622422"/>
                  </a:cubicBezTo>
                  <a:cubicBezTo>
                    <a:pt x="138028" y="913791"/>
                    <a:pt x="222435" y="1140435"/>
                    <a:pt x="222033" y="1336748"/>
                  </a:cubicBezTo>
                  <a:cubicBezTo>
                    <a:pt x="221632" y="1533061"/>
                    <a:pt x="129429" y="1691289"/>
                    <a:pt x="31533" y="1800298"/>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grpSp>
        <p:nvGrpSpPr>
          <p:cNvPr id="960" name="Group 959"/>
          <p:cNvGrpSpPr/>
          <p:nvPr/>
        </p:nvGrpSpPr>
        <p:grpSpPr>
          <a:xfrm flipH="1">
            <a:off x="888029" y="701776"/>
            <a:ext cx="349366" cy="2382386"/>
            <a:chOff x="4795828" y="569609"/>
            <a:chExt cx="307843" cy="2099231"/>
          </a:xfrm>
        </p:grpSpPr>
        <p:sp>
          <p:nvSpPr>
            <p:cNvPr id="993" name="Freeform 992"/>
            <p:cNvSpPr/>
            <p:nvPr/>
          </p:nvSpPr>
          <p:spPr>
            <a:xfrm rot="10800000">
              <a:off x="4798974" y="616871"/>
              <a:ext cx="304697" cy="205196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Lst>
              <a:ahLst/>
              <a:cxnLst>
                <a:cxn ang="0">
                  <a:pos x="connsiteX0" y="connsiteY0"/>
                </a:cxn>
                <a:cxn ang="0">
                  <a:pos x="connsiteX1" y="connsiteY1"/>
                </a:cxn>
                <a:cxn ang="0">
                  <a:pos x="connsiteX2" y="connsiteY2"/>
                </a:cxn>
                <a:cxn ang="0">
                  <a:pos x="connsiteX3" y="connsiteY3"/>
                </a:cxn>
              </a:cxnLst>
              <a:rect l="l" t="t" r="r" b="b"/>
              <a:pathLst>
                <a:path w="378537" h="1772866">
                  <a:moveTo>
                    <a:pt x="378537" y="0"/>
                  </a:moveTo>
                  <a:cubicBezTo>
                    <a:pt x="252529" y="231483"/>
                    <a:pt x="-76696" y="316422"/>
                    <a:pt x="30019" y="592247"/>
                  </a:cubicBezTo>
                  <a:cubicBezTo>
                    <a:pt x="136734" y="868072"/>
                    <a:pt x="195503" y="1112546"/>
                    <a:pt x="190500" y="1309316"/>
                  </a:cubicBezTo>
                  <a:cubicBezTo>
                    <a:pt x="185497" y="1506086"/>
                    <a:pt x="97896" y="1663857"/>
                    <a:pt x="0" y="1772866"/>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94" name="Freeform 993"/>
            <p:cNvSpPr/>
            <p:nvPr/>
          </p:nvSpPr>
          <p:spPr>
            <a:xfrm rot="10800000">
              <a:off x="4795828" y="584317"/>
              <a:ext cx="254954" cy="2074194"/>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Lst>
              <a:ahLst/>
              <a:cxnLst>
                <a:cxn ang="0">
                  <a:pos x="connsiteX0" y="connsiteY0"/>
                </a:cxn>
                <a:cxn ang="0">
                  <a:pos x="connsiteX1" y="connsiteY1"/>
                </a:cxn>
                <a:cxn ang="0">
                  <a:pos x="connsiteX2" y="connsiteY2"/>
                </a:cxn>
                <a:cxn ang="0">
                  <a:pos x="connsiteX3" y="connsiteY3"/>
                </a:cxn>
              </a:cxnLst>
              <a:rect l="l" t="t" r="r" b="b"/>
              <a:pathLst>
                <a:path w="316739" h="1792068">
                  <a:moveTo>
                    <a:pt x="316739" y="0"/>
                  </a:moveTo>
                  <a:cubicBezTo>
                    <a:pt x="190731" y="231483"/>
                    <a:pt x="-94447" y="324193"/>
                    <a:pt x="31333" y="614192"/>
                  </a:cubicBezTo>
                  <a:cubicBezTo>
                    <a:pt x="157113" y="904191"/>
                    <a:pt x="219826" y="1132205"/>
                    <a:pt x="219424" y="1328518"/>
                  </a:cubicBezTo>
                  <a:cubicBezTo>
                    <a:pt x="219023" y="1524831"/>
                    <a:pt x="126820" y="1683059"/>
                    <a:pt x="28924" y="1792068"/>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95" name="Freeform 994"/>
            <p:cNvSpPr/>
            <p:nvPr/>
          </p:nvSpPr>
          <p:spPr>
            <a:xfrm rot="10800000">
              <a:off x="4797350" y="569609"/>
              <a:ext cx="178722" cy="208371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 name="connsiteX0" fmla="*/ 212871 w 212871"/>
                <a:gd name="connsiteY0" fmla="*/ 0 h 1805784"/>
                <a:gd name="connsiteX1" fmla="*/ 2409 w 212871"/>
                <a:gd name="connsiteY1" fmla="*/ 627908 h 1805784"/>
                <a:gd name="connsiteX2" fmla="*/ 190500 w 212871"/>
                <a:gd name="connsiteY2" fmla="*/ 1342234 h 1805784"/>
                <a:gd name="connsiteX3" fmla="*/ 0 w 212871"/>
                <a:gd name="connsiteY3" fmla="*/ 1805784 h 1805784"/>
                <a:gd name="connsiteX0" fmla="*/ 244746 w 244746"/>
                <a:gd name="connsiteY0" fmla="*/ 0 h 1805784"/>
                <a:gd name="connsiteX1" fmla="*/ 34284 w 244746"/>
                <a:gd name="connsiteY1" fmla="*/ 627908 h 1805784"/>
                <a:gd name="connsiteX2" fmla="*/ 222375 w 244746"/>
                <a:gd name="connsiteY2" fmla="*/ 1342234 h 1805784"/>
                <a:gd name="connsiteX3" fmla="*/ 31875 w 244746"/>
                <a:gd name="connsiteY3" fmla="*/ 1805784 h 1805784"/>
                <a:gd name="connsiteX0" fmla="*/ 226986 w 226986"/>
                <a:gd name="connsiteY0" fmla="*/ 0 h 1805784"/>
                <a:gd name="connsiteX1" fmla="*/ 16524 w 226986"/>
                <a:gd name="connsiteY1" fmla="*/ 627908 h 1805784"/>
                <a:gd name="connsiteX2" fmla="*/ 204615 w 226986"/>
                <a:gd name="connsiteY2" fmla="*/ 1342234 h 1805784"/>
                <a:gd name="connsiteX3" fmla="*/ 14115 w 226986"/>
                <a:gd name="connsiteY3" fmla="*/ 1805784 h 1805784"/>
                <a:gd name="connsiteX0" fmla="*/ 243199 w 243199"/>
                <a:gd name="connsiteY0" fmla="*/ 0 h 1805784"/>
                <a:gd name="connsiteX1" fmla="*/ 32737 w 243199"/>
                <a:gd name="connsiteY1" fmla="*/ 627908 h 1805784"/>
                <a:gd name="connsiteX2" fmla="*/ 220828 w 243199"/>
                <a:gd name="connsiteY2" fmla="*/ 1342234 h 1805784"/>
                <a:gd name="connsiteX3" fmla="*/ 30328 w 243199"/>
                <a:gd name="connsiteY3" fmla="*/ 1805784 h 1805784"/>
                <a:gd name="connsiteX0" fmla="*/ 181315 w 190500"/>
                <a:gd name="connsiteY0" fmla="*/ 0 h 1800298"/>
                <a:gd name="connsiteX1" fmla="*/ 2409 w 190500"/>
                <a:gd name="connsiteY1" fmla="*/ 622422 h 1800298"/>
                <a:gd name="connsiteX2" fmla="*/ 190500 w 190500"/>
                <a:gd name="connsiteY2" fmla="*/ 1336748 h 1800298"/>
                <a:gd name="connsiteX3" fmla="*/ 0 w 190500"/>
                <a:gd name="connsiteY3" fmla="*/ 1800298 h 1800298"/>
                <a:gd name="connsiteX0" fmla="*/ 198733 w 207919"/>
                <a:gd name="connsiteY0" fmla="*/ 0 h 1800298"/>
                <a:gd name="connsiteX1" fmla="*/ 19827 w 207919"/>
                <a:gd name="connsiteY1" fmla="*/ 622422 h 1800298"/>
                <a:gd name="connsiteX2" fmla="*/ 207918 w 207919"/>
                <a:gd name="connsiteY2" fmla="*/ 1336748 h 1800298"/>
                <a:gd name="connsiteX3" fmla="*/ 17418 w 207919"/>
                <a:gd name="connsiteY3" fmla="*/ 1800298 h 1800298"/>
                <a:gd name="connsiteX0" fmla="*/ 211242 w 220428"/>
                <a:gd name="connsiteY0" fmla="*/ 0 h 1800298"/>
                <a:gd name="connsiteX1" fmla="*/ 32336 w 220428"/>
                <a:gd name="connsiteY1" fmla="*/ 622422 h 1800298"/>
                <a:gd name="connsiteX2" fmla="*/ 220427 w 220428"/>
                <a:gd name="connsiteY2" fmla="*/ 1336748 h 1800298"/>
                <a:gd name="connsiteX3" fmla="*/ 29927 w 220428"/>
                <a:gd name="connsiteY3" fmla="*/ 1800298 h 1800298"/>
                <a:gd name="connsiteX0" fmla="*/ 212848 w 222034"/>
                <a:gd name="connsiteY0" fmla="*/ 0 h 1800298"/>
                <a:gd name="connsiteX1" fmla="*/ 33942 w 222034"/>
                <a:gd name="connsiteY1" fmla="*/ 622422 h 1800298"/>
                <a:gd name="connsiteX2" fmla="*/ 222033 w 222034"/>
                <a:gd name="connsiteY2" fmla="*/ 1336748 h 1800298"/>
                <a:gd name="connsiteX3" fmla="*/ 31533 w 222034"/>
                <a:gd name="connsiteY3" fmla="*/ 1800298 h 1800298"/>
              </a:gdLst>
              <a:ahLst/>
              <a:cxnLst>
                <a:cxn ang="0">
                  <a:pos x="connsiteX0" y="connsiteY0"/>
                </a:cxn>
                <a:cxn ang="0">
                  <a:pos x="connsiteX1" y="connsiteY1"/>
                </a:cxn>
                <a:cxn ang="0">
                  <a:pos x="connsiteX2" y="connsiteY2"/>
                </a:cxn>
                <a:cxn ang="0">
                  <a:pos x="connsiteX3" y="connsiteY3"/>
                </a:cxn>
              </a:cxnLst>
              <a:rect l="l" t="t" r="r" b="b"/>
              <a:pathLst>
                <a:path w="222034" h="1800298">
                  <a:moveTo>
                    <a:pt x="212848" y="0"/>
                  </a:moveTo>
                  <a:cubicBezTo>
                    <a:pt x="86840" y="231483"/>
                    <a:pt x="-70144" y="331053"/>
                    <a:pt x="33942" y="622422"/>
                  </a:cubicBezTo>
                  <a:cubicBezTo>
                    <a:pt x="138028" y="913791"/>
                    <a:pt x="222435" y="1140435"/>
                    <a:pt x="222033" y="1336748"/>
                  </a:cubicBezTo>
                  <a:cubicBezTo>
                    <a:pt x="221632" y="1533061"/>
                    <a:pt x="129429" y="1691289"/>
                    <a:pt x="31533" y="1800298"/>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sp>
        <p:nvSpPr>
          <p:cNvPr id="961" name="Freeform 960"/>
          <p:cNvSpPr/>
          <p:nvPr/>
        </p:nvSpPr>
        <p:spPr>
          <a:xfrm>
            <a:off x="1246259" y="2207657"/>
            <a:ext cx="140623" cy="875593"/>
          </a:xfrm>
          <a:custGeom>
            <a:avLst/>
            <a:gdLst>
              <a:gd name="connsiteX0" fmla="*/ 0 w 136990"/>
              <a:gd name="connsiteY0" fmla="*/ 752475 h 752475"/>
              <a:gd name="connsiteX1" fmla="*/ 28575 w 136990"/>
              <a:gd name="connsiteY1" fmla="*/ 450850 h 752475"/>
              <a:gd name="connsiteX2" fmla="*/ 136525 w 136990"/>
              <a:gd name="connsiteY2" fmla="*/ 269875 h 752475"/>
              <a:gd name="connsiteX3" fmla="*/ 60325 w 136990"/>
              <a:gd name="connsiteY3" fmla="*/ 0 h 752475"/>
              <a:gd name="connsiteX0" fmla="*/ 0 w 124290"/>
              <a:gd name="connsiteY0" fmla="*/ 771525 h 771525"/>
              <a:gd name="connsiteX1" fmla="*/ 15875 w 124290"/>
              <a:gd name="connsiteY1" fmla="*/ 450850 h 771525"/>
              <a:gd name="connsiteX2" fmla="*/ 123825 w 124290"/>
              <a:gd name="connsiteY2" fmla="*/ 269875 h 771525"/>
              <a:gd name="connsiteX3" fmla="*/ 47625 w 124290"/>
              <a:gd name="connsiteY3" fmla="*/ 0 h 771525"/>
              <a:gd name="connsiteX0" fmla="*/ 0 w 124008"/>
              <a:gd name="connsiteY0" fmla="*/ 771525 h 771525"/>
              <a:gd name="connsiteX1" fmla="*/ 28575 w 124008"/>
              <a:gd name="connsiteY1" fmla="*/ 527050 h 771525"/>
              <a:gd name="connsiteX2" fmla="*/ 123825 w 124008"/>
              <a:gd name="connsiteY2" fmla="*/ 269875 h 771525"/>
              <a:gd name="connsiteX3" fmla="*/ 47625 w 124008"/>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Lst>
            <a:ahLst/>
            <a:cxnLst>
              <a:cxn ang="0">
                <a:pos x="connsiteX0" y="connsiteY0"/>
              </a:cxn>
              <a:cxn ang="0">
                <a:pos x="connsiteX1" y="connsiteY1"/>
              </a:cxn>
              <a:cxn ang="0">
                <a:pos x="connsiteX2" y="connsiteY2"/>
              </a:cxn>
              <a:cxn ang="0">
                <a:pos x="connsiteX3" y="connsiteY3"/>
              </a:cxn>
            </a:cxnLst>
            <a:rect l="l" t="t" r="r" b="b"/>
            <a:pathLst>
              <a:path w="123910" h="771525">
                <a:moveTo>
                  <a:pt x="0" y="771525"/>
                </a:moveTo>
                <a:cubicBezTo>
                  <a:pt x="2910" y="660929"/>
                  <a:pt x="-1587" y="674158"/>
                  <a:pt x="34925" y="590550"/>
                </a:cubicBezTo>
                <a:cubicBezTo>
                  <a:pt x="71437" y="506942"/>
                  <a:pt x="121708" y="368300"/>
                  <a:pt x="123825" y="269875"/>
                </a:cubicBezTo>
                <a:cubicBezTo>
                  <a:pt x="125942" y="171450"/>
                  <a:pt x="88371" y="97366"/>
                  <a:pt x="47625"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62" name="Freeform 961"/>
          <p:cNvSpPr/>
          <p:nvPr/>
        </p:nvSpPr>
        <p:spPr>
          <a:xfrm flipH="1">
            <a:off x="1087487" y="2207657"/>
            <a:ext cx="140623" cy="875593"/>
          </a:xfrm>
          <a:custGeom>
            <a:avLst/>
            <a:gdLst>
              <a:gd name="connsiteX0" fmla="*/ 0 w 136990"/>
              <a:gd name="connsiteY0" fmla="*/ 752475 h 752475"/>
              <a:gd name="connsiteX1" fmla="*/ 28575 w 136990"/>
              <a:gd name="connsiteY1" fmla="*/ 450850 h 752475"/>
              <a:gd name="connsiteX2" fmla="*/ 136525 w 136990"/>
              <a:gd name="connsiteY2" fmla="*/ 269875 h 752475"/>
              <a:gd name="connsiteX3" fmla="*/ 60325 w 136990"/>
              <a:gd name="connsiteY3" fmla="*/ 0 h 752475"/>
              <a:gd name="connsiteX0" fmla="*/ 0 w 124290"/>
              <a:gd name="connsiteY0" fmla="*/ 771525 h 771525"/>
              <a:gd name="connsiteX1" fmla="*/ 15875 w 124290"/>
              <a:gd name="connsiteY1" fmla="*/ 450850 h 771525"/>
              <a:gd name="connsiteX2" fmla="*/ 123825 w 124290"/>
              <a:gd name="connsiteY2" fmla="*/ 269875 h 771525"/>
              <a:gd name="connsiteX3" fmla="*/ 47625 w 124290"/>
              <a:gd name="connsiteY3" fmla="*/ 0 h 771525"/>
              <a:gd name="connsiteX0" fmla="*/ 0 w 124008"/>
              <a:gd name="connsiteY0" fmla="*/ 771525 h 771525"/>
              <a:gd name="connsiteX1" fmla="*/ 28575 w 124008"/>
              <a:gd name="connsiteY1" fmla="*/ 527050 h 771525"/>
              <a:gd name="connsiteX2" fmla="*/ 123825 w 124008"/>
              <a:gd name="connsiteY2" fmla="*/ 269875 h 771525"/>
              <a:gd name="connsiteX3" fmla="*/ 47625 w 124008"/>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Lst>
            <a:ahLst/>
            <a:cxnLst>
              <a:cxn ang="0">
                <a:pos x="connsiteX0" y="connsiteY0"/>
              </a:cxn>
              <a:cxn ang="0">
                <a:pos x="connsiteX1" y="connsiteY1"/>
              </a:cxn>
              <a:cxn ang="0">
                <a:pos x="connsiteX2" y="connsiteY2"/>
              </a:cxn>
              <a:cxn ang="0">
                <a:pos x="connsiteX3" y="connsiteY3"/>
              </a:cxn>
            </a:cxnLst>
            <a:rect l="l" t="t" r="r" b="b"/>
            <a:pathLst>
              <a:path w="123910" h="771525">
                <a:moveTo>
                  <a:pt x="0" y="771525"/>
                </a:moveTo>
                <a:cubicBezTo>
                  <a:pt x="2910" y="660929"/>
                  <a:pt x="-1587" y="674158"/>
                  <a:pt x="34925" y="590550"/>
                </a:cubicBezTo>
                <a:cubicBezTo>
                  <a:pt x="71437" y="506942"/>
                  <a:pt x="121708" y="368300"/>
                  <a:pt x="123825" y="269875"/>
                </a:cubicBezTo>
                <a:cubicBezTo>
                  <a:pt x="125942" y="171450"/>
                  <a:pt x="88371" y="97366"/>
                  <a:pt x="47625"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cxnSp>
        <p:nvCxnSpPr>
          <p:cNvPr id="963" name="Straight Connector 962"/>
          <p:cNvCxnSpPr/>
          <p:nvPr/>
        </p:nvCxnSpPr>
        <p:spPr>
          <a:xfrm flipV="1">
            <a:off x="1235317" y="1956183"/>
            <a:ext cx="0" cy="1130670"/>
          </a:xfrm>
          <a:prstGeom prst="line">
            <a:avLst/>
          </a:prstGeom>
          <a:noFill/>
          <a:ln w="12700">
            <a:gradFill>
              <a:gsLst>
                <a:gs pos="9400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cxnSp>
      <p:sp>
        <p:nvSpPr>
          <p:cNvPr id="964" name="Freeform 963"/>
          <p:cNvSpPr/>
          <p:nvPr/>
        </p:nvSpPr>
        <p:spPr>
          <a:xfrm>
            <a:off x="1595606" y="944619"/>
            <a:ext cx="824359" cy="161923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 name="connsiteX0" fmla="*/ 0 w 804781"/>
              <a:gd name="connsiteY0" fmla="*/ 3464575 h 3467824"/>
              <a:gd name="connsiteX1" fmla="*/ 228600 w 804781"/>
              <a:gd name="connsiteY1" fmla="*/ 3340750 h 3467824"/>
              <a:gd name="connsiteX2" fmla="*/ 261937 w 804781"/>
              <a:gd name="connsiteY2" fmla="*/ 2726388 h 3467824"/>
              <a:gd name="connsiteX3" fmla="*/ 404812 w 804781"/>
              <a:gd name="connsiteY3" fmla="*/ 2478738 h 3467824"/>
              <a:gd name="connsiteX4" fmla="*/ 414337 w 804781"/>
              <a:gd name="connsiteY4" fmla="*/ 2202513 h 3467824"/>
              <a:gd name="connsiteX5" fmla="*/ 509587 w 804781"/>
              <a:gd name="connsiteY5" fmla="*/ 1878663 h 3467824"/>
              <a:gd name="connsiteX6" fmla="*/ 779174 w 804781"/>
              <a:gd name="connsiteY6" fmla="*/ 1434163 h 3467824"/>
              <a:gd name="connsiteX7" fmla="*/ 156225 w 804781"/>
              <a:gd name="connsiteY7" fmla="*/ 0 h 3467824"/>
              <a:gd name="connsiteX0" fmla="*/ 0 w 849795"/>
              <a:gd name="connsiteY0" fmla="*/ 3464575 h 3467824"/>
              <a:gd name="connsiteX1" fmla="*/ 228600 w 849795"/>
              <a:gd name="connsiteY1" fmla="*/ 3340750 h 3467824"/>
              <a:gd name="connsiteX2" fmla="*/ 261937 w 849795"/>
              <a:gd name="connsiteY2" fmla="*/ 2726388 h 3467824"/>
              <a:gd name="connsiteX3" fmla="*/ 404812 w 849795"/>
              <a:gd name="connsiteY3" fmla="*/ 2478738 h 3467824"/>
              <a:gd name="connsiteX4" fmla="*/ 414337 w 849795"/>
              <a:gd name="connsiteY4" fmla="*/ 2202513 h 3467824"/>
              <a:gd name="connsiteX5" fmla="*/ 509587 w 849795"/>
              <a:gd name="connsiteY5" fmla="*/ 1878663 h 3467824"/>
              <a:gd name="connsiteX6" fmla="*/ 779174 w 849795"/>
              <a:gd name="connsiteY6" fmla="*/ 1434163 h 3467824"/>
              <a:gd name="connsiteX7" fmla="*/ 156225 w 849795"/>
              <a:gd name="connsiteY7" fmla="*/ 0 h 3467824"/>
              <a:gd name="connsiteX0" fmla="*/ 0 w 936807"/>
              <a:gd name="connsiteY0" fmla="*/ 3464575 h 3467824"/>
              <a:gd name="connsiteX1" fmla="*/ 228600 w 936807"/>
              <a:gd name="connsiteY1" fmla="*/ 3340750 h 3467824"/>
              <a:gd name="connsiteX2" fmla="*/ 261937 w 936807"/>
              <a:gd name="connsiteY2" fmla="*/ 2726388 h 3467824"/>
              <a:gd name="connsiteX3" fmla="*/ 404812 w 936807"/>
              <a:gd name="connsiteY3" fmla="*/ 2478738 h 3467824"/>
              <a:gd name="connsiteX4" fmla="*/ 414337 w 936807"/>
              <a:gd name="connsiteY4" fmla="*/ 2202513 h 3467824"/>
              <a:gd name="connsiteX5" fmla="*/ 509587 w 936807"/>
              <a:gd name="connsiteY5" fmla="*/ 1878663 h 3467824"/>
              <a:gd name="connsiteX6" fmla="*/ 779174 w 936807"/>
              <a:gd name="connsiteY6" fmla="*/ 1434163 h 3467824"/>
              <a:gd name="connsiteX7" fmla="*/ 156225 w 936807"/>
              <a:gd name="connsiteY7" fmla="*/ 0 h 3467824"/>
              <a:gd name="connsiteX0" fmla="*/ 0 w 898890"/>
              <a:gd name="connsiteY0" fmla="*/ 3464575 h 3467824"/>
              <a:gd name="connsiteX1" fmla="*/ 228600 w 898890"/>
              <a:gd name="connsiteY1" fmla="*/ 3340750 h 3467824"/>
              <a:gd name="connsiteX2" fmla="*/ 261937 w 898890"/>
              <a:gd name="connsiteY2" fmla="*/ 2726388 h 3467824"/>
              <a:gd name="connsiteX3" fmla="*/ 404812 w 898890"/>
              <a:gd name="connsiteY3" fmla="*/ 2478738 h 3467824"/>
              <a:gd name="connsiteX4" fmla="*/ 414337 w 898890"/>
              <a:gd name="connsiteY4" fmla="*/ 2202513 h 3467824"/>
              <a:gd name="connsiteX5" fmla="*/ 509587 w 898890"/>
              <a:gd name="connsiteY5" fmla="*/ 1878663 h 3467824"/>
              <a:gd name="connsiteX6" fmla="*/ 779174 w 898890"/>
              <a:gd name="connsiteY6" fmla="*/ 1434163 h 3467824"/>
              <a:gd name="connsiteX7" fmla="*/ 156225 w 898890"/>
              <a:gd name="connsiteY7" fmla="*/ 0 h 3467824"/>
              <a:gd name="connsiteX0" fmla="*/ 0 w 898021"/>
              <a:gd name="connsiteY0" fmla="*/ 3464575 h 3467824"/>
              <a:gd name="connsiteX1" fmla="*/ 228600 w 898021"/>
              <a:gd name="connsiteY1" fmla="*/ 3340750 h 3467824"/>
              <a:gd name="connsiteX2" fmla="*/ 261937 w 898021"/>
              <a:gd name="connsiteY2" fmla="*/ 2726388 h 3467824"/>
              <a:gd name="connsiteX3" fmla="*/ 404812 w 898021"/>
              <a:gd name="connsiteY3" fmla="*/ 2478738 h 3467824"/>
              <a:gd name="connsiteX4" fmla="*/ 414337 w 898021"/>
              <a:gd name="connsiteY4" fmla="*/ 2202513 h 3467824"/>
              <a:gd name="connsiteX5" fmla="*/ 509587 w 898021"/>
              <a:gd name="connsiteY5" fmla="*/ 1878663 h 3467824"/>
              <a:gd name="connsiteX6" fmla="*/ 779174 w 898021"/>
              <a:gd name="connsiteY6" fmla="*/ 1434163 h 3467824"/>
              <a:gd name="connsiteX7" fmla="*/ 156225 w 898021"/>
              <a:gd name="connsiteY7" fmla="*/ 0 h 3467824"/>
              <a:gd name="connsiteX0" fmla="*/ 0 w 887090"/>
              <a:gd name="connsiteY0" fmla="*/ 3464575 h 3467824"/>
              <a:gd name="connsiteX1" fmla="*/ 228600 w 887090"/>
              <a:gd name="connsiteY1" fmla="*/ 3340750 h 3467824"/>
              <a:gd name="connsiteX2" fmla="*/ 261937 w 887090"/>
              <a:gd name="connsiteY2" fmla="*/ 2726388 h 3467824"/>
              <a:gd name="connsiteX3" fmla="*/ 404812 w 887090"/>
              <a:gd name="connsiteY3" fmla="*/ 2478738 h 3467824"/>
              <a:gd name="connsiteX4" fmla="*/ 414337 w 887090"/>
              <a:gd name="connsiteY4" fmla="*/ 2202513 h 3467824"/>
              <a:gd name="connsiteX5" fmla="*/ 509587 w 887090"/>
              <a:gd name="connsiteY5" fmla="*/ 1878663 h 3467824"/>
              <a:gd name="connsiteX6" fmla="*/ 760206 w 887090"/>
              <a:gd name="connsiteY6" fmla="*/ 1429948 h 3467824"/>
              <a:gd name="connsiteX7" fmla="*/ 156225 w 887090"/>
              <a:gd name="connsiteY7" fmla="*/ 0 h 3467824"/>
              <a:gd name="connsiteX0" fmla="*/ 72375 w 730865"/>
              <a:gd name="connsiteY0" fmla="*/ 3340750 h 3340750"/>
              <a:gd name="connsiteX1" fmla="*/ 105712 w 730865"/>
              <a:gd name="connsiteY1" fmla="*/ 2726388 h 3340750"/>
              <a:gd name="connsiteX2" fmla="*/ 248587 w 730865"/>
              <a:gd name="connsiteY2" fmla="*/ 2478738 h 3340750"/>
              <a:gd name="connsiteX3" fmla="*/ 258112 w 730865"/>
              <a:gd name="connsiteY3" fmla="*/ 2202513 h 3340750"/>
              <a:gd name="connsiteX4" fmla="*/ 353362 w 730865"/>
              <a:gd name="connsiteY4" fmla="*/ 1878663 h 3340750"/>
              <a:gd name="connsiteX5" fmla="*/ 603981 w 730865"/>
              <a:gd name="connsiteY5" fmla="*/ 1429948 h 3340750"/>
              <a:gd name="connsiteX6" fmla="*/ 0 w 730865"/>
              <a:gd name="connsiteY6" fmla="*/ 0 h 3340750"/>
              <a:gd name="connsiteX0" fmla="*/ 105712 w 730865"/>
              <a:gd name="connsiteY0" fmla="*/ 2726388 h 2726388"/>
              <a:gd name="connsiteX1" fmla="*/ 248587 w 730865"/>
              <a:gd name="connsiteY1" fmla="*/ 2478738 h 2726388"/>
              <a:gd name="connsiteX2" fmla="*/ 258112 w 730865"/>
              <a:gd name="connsiteY2" fmla="*/ 2202513 h 2726388"/>
              <a:gd name="connsiteX3" fmla="*/ 353362 w 730865"/>
              <a:gd name="connsiteY3" fmla="*/ 1878663 h 2726388"/>
              <a:gd name="connsiteX4" fmla="*/ 603981 w 730865"/>
              <a:gd name="connsiteY4" fmla="*/ 1429948 h 2726388"/>
              <a:gd name="connsiteX5" fmla="*/ 0 w 730865"/>
              <a:gd name="connsiteY5" fmla="*/ 0 h 2726388"/>
              <a:gd name="connsiteX0" fmla="*/ 248587 w 730865"/>
              <a:gd name="connsiteY0" fmla="*/ 2478738 h 2478738"/>
              <a:gd name="connsiteX1" fmla="*/ 258112 w 730865"/>
              <a:gd name="connsiteY1" fmla="*/ 2202513 h 2478738"/>
              <a:gd name="connsiteX2" fmla="*/ 353362 w 730865"/>
              <a:gd name="connsiteY2" fmla="*/ 1878663 h 2478738"/>
              <a:gd name="connsiteX3" fmla="*/ 603981 w 730865"/>
              <a:gd name="connsiteY3" fmla="*/ 1429948 h 2478738"/>
              <a:gd name="connsiteX4" fmla="*/ 0 w 730865"/>
              <a:gd name="connsiteY4" fmla="*/ 0 h 2478738"/>
              <a:gd name="connsiteX0" fmla="*/ 258112 w 730865"/>
              <a:gd name="connsiteY0" fmla="*/ 2202513 h 2202513"/>
              <a:gd name="connsiteX1" fmla="*/ 353362 w 730865"/>
              <a:gd name="connsiteY1" fmla="*/ 1878663 h 2202513"/>
              <a:gd name="connsiteX2" fmla="*/ 603981 w 730865"/>
              <a:gd name="connsiteY2" fmla="*/ 1429948 h 2202513"/>
              <a:gd name="connsiteX3" fmla="*/ 0 w 730865"/>
              <a:gd name="connsiteY3" fmla="*/ 0 h 2202513"/>
              <a:gd name="connsiteX0" fmla="*/ 353362 w 730865"/>
              <a:gd name="connsiteY0" fmla="*/ 1878663 h 1878663"/>
              <a:gd name="connsiteX1" fmla="*/ 603981 w 730865"/>
              <a:gd name="connsiteY1" fmla="*/ 1429948 h 1878663"/>
              <a:gd name="connsiteX2" fmla="*/ 0 w 730865"/>
              <a:gd name="connsiteY2" fmla="*/ 0 h 1878663"/>
              <a:gd name="connsiteX0" fmla="*/ 603981 w 730865"/>
              <a:gd name="connsiteY0" fmla="*/ 1429948 h 1429948"/>
              <a:gd name="connsiteX1" fmla="*/ 0 w 730865"/>
              <a:gd name="connsiteY1" fmla="*/ 0 h 1429948"/>
              <a:gd name="connsiteX0" fmla="*/ 619788 w 739955"/>
              <a:gd name="connsiteY0" fmla="*/ 1426787 h 1426787"/>
              <a:gd name="connsiteX1" fmla="*/ 0 w 739955"/>
              <a:gd name="connsiteY1" fmla="*/ 0 h 1426787"/>
              <a:gd name="connsiteX0" fmla="*/ 619788 w 726381"/>
              <a:gd name="connsiteY0" fmla="*/ 1426787 h 1426787"/>
              <a:gd name="connsiteX1" fmla="*/ 0 w 726381"/>
              <a:gd name="connsiteY1" fmla="*/ 0 h 1426787"/>
            </a:gdLst>
            <a:ahLst/>
            <a:cxnLst>
              <a:cxn ang="0">
                <a:pos x="connsiteX0" y="connsiteY0"/>
              </a:cxn>
              <a:cxn ang="0">
                <a:pos x="connsiteX1" y="connsiteY1"/>
              </a:cxn>
            </a:cxnLst>
            <a:rect l="l" t="t" r="r" b="b"/>
            <a:pathLst>
              <a:path w="726381" h="1426787">
                <a:moveTo>
                  <a:pt x="619788" y="1426787"/>
                </a:moveTo>
                <a:cubicBezTo>
                  <a:pt x="646991" y="1334871"/>
                  <a:pt x="1074571" y="558815"/>
                  <a:pt x="0"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65" name="Freeform 964"/>
          <p:cNvSpPr/>
          <p:nvPr/>
        </p:nvSpPr>
        <p:spPr>
          <a:xfrm flipH="1">
            <a:off x="39875" y="944619"/>
            <a:ext cx="824359" cy="161923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 name="connsiteX0" fmla="*/ 0 w 804781"/>
              <a:gd name="connsiteY0" fmla="*/ 3464575 h 3467824"/>
              <a:gd name="connsiteX1" fmla="*/ 228600 w 804781"/>
              <a:gd name="connsiteY1" fmla="*/ 3340750 h 3467824"/>
              <a:gd name="connsiteX2" fmla="*/ 261937 w 804781"/>
              <a:gd name="connsiteY2" fmla="*/ 2726388 h 3467824"/>
              <a:gd name="connsiteX3" fmla="*/ 404812 w 804781"/>
              <a:gd name="connsiteY3" fmla="*/ 2478738 h 3467824"/>
              <a:gd name="connsiteX4" fmla="*/ 414337 w 804781"/>
              <a:gd name="connsiteY4" fmla="*/ 2202513 h 3467824"/>
              <a:gd name="connsiteX5" fmla="*/ 509587 w 804781"/>
              <a:gd name="connsiteY5" fmla="*/ 1878663 h 3467824"/>
              <a:gd name="connsiteX6" fmla="*/ 779174 w 804781"/>
              <a:gd name="connsiteY6" fmla="*/ 1434163 h 3467824"/>
              <a:gd name="connsiteX7" fmla="*/ 156225 w 804781"/>
              <a:gd name="connsiteY7" fmla="*/ 0 h 3467824"/>
              <a:gd name="connsiteX0" fmla="*/ 0 w 849795"/>
              <a:gd name="connsiteY0" fmla="*/ 3464575 h 3467824"/>
              <a:gd name="connsiteX1" fmla="*/ 228600 w 849795"/>
              <a:gd name="connsiteY1" fmla="*/ 3340750 h 3467824"/>
              <a:gd name="connsiteX2" fmla="*/ 261937 w 849795"/>
              <a:gd name="connsiteY2" fmla="*/ 2726388 h 3467824"/>
              <a:gd name="connsiteX3" fmla="*/ 404812 w 849795"/>
              <a:gd name="connsiteY3" fmla="*/ 2478738 h 3467824"/>
              <a:gd name="connsiteX4" fmla="*/ 414337 w 849795"/>
              <a:gd name="connsiteY4" fmla="*/ 2202513 h 3467824"/>
              <a:gd name="connsiteX5" fmla="*/ 509587 w 849795"/>
              <a:gd name="connsiteY5" fmla="*/ 1878663 h 3467824"/>
              <a:gd name="connsiteX6" fmla="*/ 779174 w 849795"/>
              <a:gd name="connsiteY6" fmla="*/ 1434163 h 3467824"/>
              <a:gd name="connsiteX7" fmla="*/ 156225 w 849795"/>
              <a:gd name="connsiteY7" fmla="*/ 0 h 3467824"/>
              <a:gd name="connsiteX0" fmla="*/ 0 w 936807"/>
              <a:gd name="connsiteY0" fmla="*/ 3464575 h 3467824"/>
              <a:gd name="connsiteX1" fmla="*/ 228600 w 936807"/>
              <a:gd name="connsiteY1" fmla="*/ 3340750 h 3467824"/>
              <a:gd name="connsiteX2" fmla="*/ 261937 w 936807"/>
              <a:gd name="connsiteY2" fmla="*/ 2726388 h 3467824"/>
              <a:gd name="connsiteX3" fmla="*/ 404812 w 936807"/>
              <a:gd name="connsiteY3" fmla="*/ 2478738 h 3467824"/>
              <a:gd name="connsiteX4" fmla="*/ 414337 w 936807"/>
              <a:gd name="connsiteY4" fmla="*/ 2202513 h 3467824"/>
              <a:gd name="connsiteX5" fmla="*/ 509587 w 936807"/>
              <a:gd name="connsiteY5" fmla="*/ 1878663 h 3467824"/>
              <a:gd name="connsiteX6" fmla="*/ 779174 w 936807"/>
              <a:gd name="connsiteY6" fmla="*/ 1434163 h 3467824"/>
              <a:gd name="connsiteX7" fmla="*/ 156225 w 936807"/>
              <a:gd name="connsiteY7" fmla="*/ 0 h 3467824"/>
              <a:gd name="connsiteX0" fmla="*/ 0 w 898890"/>
              <a:gd name="connsiteY0" fmla="*/ 3464575 h 3467824"/>
              <a:gd name="connsiteX1" fmla="*/ 228600 w 898890"/>
              <a:gd name="connsiteY1" fmla="*/ 3340750 h 3467824"/>
              <a:gd name="connsiteX2" fmla="*/ 261937 w 898890"/>
              <a:gd name="connsiteY2" fmla="*/ 2726388 h 3467824"/>
              <a:gd name="connsiteX3" fmla="*/ 404812 w 898890"/>
              <a:gd name="connsiteY3" fmla="*/ 2478738 h 3467824"/>
              <a:gd name="connsiteX4" fmla="*/ 414337 w 898890"/>
              <a:gd name="connsiteY4" fmla="*/ 2202513 h 3467824"/>
              <a:gd name="connsiteX5" fmla="*/ 509587 w 898890"/>
              <a:gd name="connsiteY5" fmla="*/ 1878663 h 3467824"/>
              <a:gd name="connsiteX6" fmla="*/ 779174 w 898890"/>
              <a:gd name="connsiteY6" fmla="*/ 1434163 h 3467824"/>
              <a:gd name="connsiteX7" fmla="*/ 156225 w 898890"/>
              <a:gd name="connsiteY7" fmla="*/ 0 h 3467824"/>
              <a:gd name="connsiteX0" fmla="*/ 0 w 898021"/>
              <a:gd name="connsiteY0" fmla="*/ 3464575 h 3467824"/>
              <a:gd name="connsiteX1" fmla="*/ 228600 w 898021"/>
              <a:gd name="connsiteY1" fmla="*/ 3340750 h 3467824"/>
              <a:gd name="connsiteX2" fmla="*/ 261937 w 898021"/>
              <a:gd name="connsiteY2" fmla="*/ 2726388 h 3467824"/>
              <a:gd name="connsiteX3" fmla="*/ 404812 w 898021"/>
              <a:gd name="connsiteY3" fmla="*/ 2478738 h 3467824"/>
              <a:gd name="connsiteX4" fmla="*/ 414337 w 898021"/>
              <a:gd name="connsiteY4" fmla="*/ 2202513 h 3467824"/>
              <a:gd name="connsiteX5" fmla="*/ 509587 w 898021"/>
              <a:gd name="connsiteY5" fmla="*/ 1878663 h 3467824"/>
              <a:gd name="connsiteX6" fmla="*/ 779174 w 898021"/>
              <a:gd name="connsiteY6" fmla="*/ 1434163 h 3467824"/>
              <a:gd name="connsiteX7" fmla="*/ 156225 w 898021"/>
              <a:gd name="connsiteY7" fmla="*/ 0 h 3467824"/>
              <a:gd name="connsiteX0" fmla="*/ 0 w 887090"/>
              <a:gd name="connsiteY0" fmla="*/ 3464575 h 3467824"/>
              <a:gd name="connsiteX1" fmla="*/ 228600 w 887090"/>
              <a:gd name="connsiteY1" fmla="*/ 3340750 h 3467824"/>
              <a:gd name="connsiteX2" fmla="*/ 261937 w 887090"/>
              <a:gd name="connsiteY2" fmla="*/ 2726388 h 3467824"/>
              <a:gd name="connsiteX3" fmla="*/ 404812 w 887090"/>
              <a:gd name="connsiteY3" fmla="*/ 2478738 h 3467824"/>
              <a:gd name="connsiteX4" fmla="*/ 414337 w 887090"/>
              <a:gd name="connsiteY4" fmla="*/ 2202513 h 3467824"/>
              <a:gd name="connsiteX5" fmla="*/ 509587 w 887090"/>
              <a:gd name="connsiteY5" fmla="*/ 1878663 h 3467824"/>
              <a:gd name="connsiteX6" fmla="*/ 760206 w 887090"/>
              <a:gd name="connsiteY6" fmla="*/ 1429948 h 3467824"/>
              <a:gd name="connsiteX7" fmla="*/ 156225 w 887090"/>
              <a:gd name="connsiteY7" fmla="*/ 0 h 3467824"/>
              <a:gd name="connsiteX0" fmla="*/ 72375 w 730865"/>
              <a:gd name="connsiteY0" fmla="*/ 3340750 h 3340750"/>
              <a:gd name="connsiteX1" fmla="*/ 105712 w 730865"/>
              <a:gd name="connsiteY1" fmla="*/ 2726388 h 3340750"/>
              <a:gd name="connsiteX2" fmla="*/ 248587 w 730865"/>
              <a:gd name="connsiteY2" fmla="*/ 2478738 h 3340750"/>
              <a:gd name="connsiteX3" fmla="*/ 258112 w 730865"/>
              <a:gd name="connsiteY3" fmla="*/ 2202513 h 3340750"/>
              <a:gd name="connsiteX4" fmla="*/ 353362 w 730865"/>
              <a:gd name="connsiteY4" fmla="*/ 1878663 h 3340750"/>
              <a:gd name="connsiteX5" fmla="*/ 603981 w 730865"/>
              <a:gd name="connsiteY5" fmla="*/ 1429948 h 3340750"/>
              <a:gd name="connsiteX6" fmla="*/ 0 w 730865"/>
              <a:gd name="connsiteY6" fmla="*/ 0 h 3340750"/>
              <a:gd name="connsiteX0" fmla="*/ 105712 w 730865"/>
              <a:gd name="connsiteY0" fmla="*/ 2726388 h 2726388"/>
              <a:gd name="connsiteX1" fmla="*/ 248587 w 730865"/>
              <a:gd name="connsiteY1" fmla="*/ 2478738 h 2726388"/>
              <a:gd name="connsiteX2" fmla="*/ 258112 w 730865"/>
              <a:gd name="connsiteY2" fmla="*/ 2202513 h 2726388"/>
              <a:gd name="connsiteX3" fmla="*/ 353362 w 730865"/>
              <a:gd name="connsiteY3" fmla="*/ 1878663 h 2726388"/>
              <a:gd name="connsiteX4" fmla="*/ 603981 w 730865"/>
              <a:gd name="connsiteY4" fmla="*/ 1429948 h 2726388"/>
              <a:gd name="connsiteX5" fmla="*/ 0 w 730865"/>
              <a:gd name="connsiteY5" fmla="*/ 0 h 2726388"/>
              <a:gd name="connsiteX0" fmla="*/ 248587 w 730865"/>
              <a:gd name="connsiteY0" fmla="*/ 2478738 h 2478738"/>
              <a:gd name="connsiteX1" fmla="*/ 258112 w 730865"/>
              <a:gd name="connsiteY1" fmla="*/ 2202513 h 2478738"/>
              <a:gd name="connsiteX2" fmla="*/ 353362 w 730865"/>
              <a:gd name="connsiteY2" fmla="*/ 1878663 h 2478738"/>
              <a:gd name="connsiteX3" fmla="*/ 603981 w 730865"/>
              <a:gd name="connsiteY3" fmla="*/ 1429948 h 2478738"/>
              <a:gd name="connsiteX4" fmla="*/ 0 w 730865"/>
              <a:gd name="connsiteY4" fmla="*/ 0 h 2478738"/>
              <a:gd name="connsiteX0" fmla="*/ 258112 w 730865"/>
              <a:gd name="connsiteY0" fmla="*/ 2202513 h 2202513"/>
              <a:gd name="connsiteX1" fmla="*/ 353362 w 730865"/>
              <a:gd name="connsiteY1" fmla="*/ 1878663 h 2202513"/>
              <a:gd name="connsiteX2" fmla="*/ 603981 w 730865"/>
              <a:gd name="connsiteY2" fmla="*/ 1429948 h 2202513"/>
              <a:gd name="connsiteX3" fmla="*/ 0 w 730865"/>
              <a:gd name="connsiteY3" fmla="*/ 0 h 2202513"/>
              <a:gd name="connsiteX0" fmla="*/ 353362 w 730865"/>
              <a:gd name="connsiteY0" fmla="*/ 1878663 h 1878663"/>
              <a:gd name="connsiteX1" fmla="*/ 603981 w 730865"/>
              <a:gd name="connsiteY1" fmla="*/ 1429948 h 1878663"/>
              <a:gd name="connsiteX2" fmla="*/ 0 w 730865"/>
              <a:gd name="connsiteY2" fmla="*/ 0 h 1878663"/>
              <a:gd name="connsiteX0" fmla="*/ 603981 w 730865"/>
              <a:gd name="connsiteY0" fmla="*/ 1429948 h 1429948"/>
              <a:gd name="connsiteX1" fmla="*/ 0 w 730865"/>
              <a:gd name="connsiteY1" fmla="*/ 0 h 1429948"/>
              <a:gd name="connsiteX0" fmla="*/ 619788 w 739955"/>
              <a:gd name="connsiteY0" fmla="*/ 1426787 h 1426787"/>
              <a:gd name="connsiteX1" fmla="*/ 0 w 739955"/>
              <a:gd name="connsiteY1" fmla="*/ 0 h 1426787"/>
              <a:gd name="connsiteX0" fmla="*/ 619788 w 726381"/>
              <a:gd name="connsiteY0" fmla="*/ 1426787 h 1426787"/>
              <a:gd name="connsiteX1" fmla="*/ 0 w 726381"/>
              <a:gd name="connsiteY1" fmla="*/ 0 h 1426787"/>
            </a:gdLst>
            <a:ahLst/>
            <a:cxnLst>
              <a:cxn ang="0">
                <a:pos x="connsiteX0" y="connsiteY0"/>
              </a:cxn>
              <a:cxn ang="0">
                <a:pos x="connsiteX1" y="connsiteY1"/>
              </a:cxn>
            </a:cxnLst>
            <a:rect l="l" t="t" r="r" b="b"/>
            <a:pathLst>
              <a:path w="726381" h="1426787">
                <a:moveTo>
                  <a:pt x="619788" y="1426787"/>
                </a:moveTo>
                <a:cubicBezTo>
                  <a:pt x="646991" y="1334871"/>
                  <a:pt x="1074571" y="558815"/>
                  <a:pt x="0"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66" name="Freeform 2191"/>
          <p:cNvSpPr>
            <a:spLocks noEditPoints="1"/>
          </p:cNvSpPr>
          <p:nvPr/>
        </p:nvSpPr>
        <p:spPr bwMode="auto">
          <a:xfrm>
            <a:off x="781880" y="4114526"/>
            <a:ext cx="326797" cy="32819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67" name="Freeform 2191"/>
          <p:cNvSpPr>
            <a:spLocks noEditPoints="1"/>
          </p:cNvSpPr>
          <p:nvPr/>
        </p:nvSpPr>
        <p:spPr bwMode="auto">
          <a:xfrm>
            <a:off x="941499" y="3831933"/>
            <a:ext cx="334544" cy="33597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68" name="Freeform 2191"/>
          <p:cNvSpPr>
            <a:spLocks noEditPoints="1"/>
          </p:cNvSpPr>
          <p:nvPr/>
        </p:nvSpPr>
        <p:spPr bwMode="auto">
          <a:xfrm>
            <a:off x="1037139" y="4247598"/>
            <a:ext cx="421927" cy="423734"/>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69" name="Freeform 2191"/>
          <p:cNvSpPr>
            <a:spLocks noEditPoints="1"/>
          </p:cNvSpPr>
          <p:nvPr/>
        </p:nvSpPr>
        <p:spPr bwMode="auto">
          <a:xfrm>
            <a:off x="1105822" y="4171076"/>
            <a:ext cx="96529" cy="9694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0" name="Freeform 2191"/>
          <p:cNvSpPr>
            <a:spLocks noEditPoints="1"/>
          </p:cNvSpPr>
          <p:nvPr/>
        </p:nvSpPr>
        <p:spPr bwMode="auto">
          <a:xfrm>
            <a:off x="1195791" y="4139654"/>
            <a:ext cx="96529" cy="9694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1" name="Freeform 2191"/>
          <p:cNvSpPr>
            <a:spLocks noEditPoints="1"/>
          </p:cNvSpPr>
          <p:nvPr/>
        </p:nvSpPr>
        <p:spPr bwMode="auto">
          <a:xfrm>
            <a:off x="1269424" y="4029919"/>
            <a:ext cx="164362" cy="16506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2" name="Freeform 2191"/>
          <p:cNvSpPr>
            <a:spLocks noEditPoints="1"/>
          </p:cNvSpPr>
          <p:nvPr/>
        </p:nvSpPr>
        <p:spPr bwMode="auto">
          <a:xfrm>
            <a:off x="1292262" y="4203573"/>
            <a:ext cx="87671" cy="8804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3" name="Freeform 2191"/>
          <p:cNvSpPr>
            <a:spLocks noEditPoints="1"/>
          </p:cNvSpPr>
          <p:nvPr/>
        </p:nvSpPr>
        <p:spPr bwMode="auto">
          <a:xfrm>
            <a:off x="1396581" y="4077998"/>
            <a:ext cx="326797" cy="32819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4" name="Freeform 2191"/>
          <p:cNvSpPr>
            <a:spLocks noEditPoints="1"/>
          </p:cNvSpPr>
          <p:nvPr/>
        </p:nvSpPr>
        <p:spPr bwMode="auto">
          <a:xfrm>
            <a:off x="1288937" y="3823165"/>
            <a:ext cx="215296" cy="216218"/>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5" name="Freeform 2191"/>
          <p:cNvSpPr>
            <a:spLocks noEditPoints="1"/>
          </p:cNvSpPr>
          <p:nvPr/>
        </p:nvSpPr>
        <p:spPr bwMode="auto">
          <a:xfrm>
            <a:off x="1430698" y="4014792"/>
            <a:ext cx="96529" cy="9694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6" name="Freeform 2191"/>
          <p:cNvSpPr>
            <a:spLocks noEditPoints="1"/>
          </p:cNvSpPr>
          <p:nvPr/>
        </p:nvSpPr>
        <p:spPr bwMode="auto">
          <a:xfrm>
            <a:off x="1499191" y="3902026"/>
            <a:ext cx="134844" cy="13542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7" name="Freeform 2191"/>
          <p:cNvSpPr>
            <a:spLocks noEditPoints="1"/>
          </p:cNvSpPr>
          <p:nvPr/>
        </p:nvSpPr>
        <p:spPr bwMode="auto">
          <a:xfrm>
            <a:off x="1435468" y="4414187"/>
            <a:ext cx="279310" cy="28050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8" name="Freeform 2191"/>
          <p:cNvSpPr>
            <a:spLocks noEditPoints="1"/>
          </p:cNvSpPr>
          <p:nvPr/>
        </p:nvSpPr>
        <p:spPr bwMode="auto">
          <a:xfrm>
            <a:off x="820128" y="4457110"/>
            <a:ext cx="241586" cy="242621"/>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9" name="Freeform 2191"/>
          <p:cNvSpPr>
            <a:spLocks noEditPoints="1"/>
          </p:cNvSpPr>
          <p:nvPr/>
        </p:nvSpPr>
        <p:spPr bwMode="auto">
          <a:xfrm>
            <a:off x="1269424" y="4640467"/>
            <a:ext cx="164362" cy="16506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0" name="Freeform 2191"/>
          <p:cNvSpPr>
            <a:spLocks noEditPoints="1"/>
          </p:cNvSpPr>
          <p:nvPr/>
        </p:nvSpPr>
        <p:spPr bwMode="auto">
          <a:xfrm>
            <a:off x="1057539" y="4640467"/>
            <a:ext cx="164362" cy="16506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1" name="Freeform 2191"/>
          <p:cNvSpPr>
            <a:spLocks noEditPoints="1"/>
          </p:cNvSpPr>
          <p:nvPr/>
        </p:nvSpPr>
        <p:spPr bwMode="auto">
          <a:xfrm>
            <a:off x="1573647" y="3731322"/>
            <a:ext cx="206990" cy="20787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2" name="Freeform 2191"/>
          <p:cNvSpPr>
            <a:spLocks noEditPoints="1"/>
          </p:cNvSpPr>
          <p:nvPr/>
        </p:nvSpPr>
        <p:spPr bwMode="auto">
          <a:xfrm>
            <a:off x="1485602" y="3814124"/>
            <a:ext cx="96529" cy="9694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3" name="Freeform 2191"/>
          <p:cNvSpPr>
            <a:spLocks noEditPoints="1"/>
          </p:cNvSpPr>
          <p:nvPr/>
        </p:nvSpPr>
        <p:spPr bwMode="auto">
          <a:xfrm>
            <a:off x="1219718" y="3814124"/>
            <a:ext cx="96529" cy="9694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4" name="Freeform 2191"/>
          <p:cNvSpPr>
            <a:spLocks noEditPoints="1"/>
          </p:cNvSpPr>
          <p:nvPr/>
        </p:nvSpPr>
        <p:spPr bwMode="auto">
          <a:xfrm>
            <a:off x="669889" y="3731322"/>
            <a:ext cx="206990" cy="20787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5" name="Freeform 2191"/>
          <p:cNvSpPr>
            <a:spLocks noEditPoints="1"/>
          </p:cNvSpPr>
          <p:nvPr/>
        </p:nvSpPr>
        <p:spPr bwMode="auto">
          <a:xfrm>
            <a:off x="862466" y="3853703"/>
            <a:ext cx="111905" cy="112385"/>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6" name="Freeform 2191"/>
          <p:cNvSpPr>
            <a:spLocks noEditPoints="1"/>
          </p:cNvSpPr>
          <p:nvPr/>
        </p:nvSpPr>
        <p:spPr bwMode="auto">
          <a:xfrm>
            <a:off x="826798" y="3963627"/>
            <a:ext cx="111905" cy="112385"/>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7" name="Freeform 2191"/>
          <p:cNvSpPr>
            <a:spLocks noEditPoints="1"/>
          </p:cNvSpPr>
          <p:nvPr/>
        </p:nvSpPr>
        <p:spPr bwMode="auto">
          <a:xfrm>
            <a:off x="723282" y="3963627"/>
            <a:ext cx="97250" cy="9766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8" name="Freeform 2191"/>
          <p:cNvSpPr>
            <a:spLocks noEditPoints="1"/>
          </p:cNvSpPr>
          <p:nvPr/>
        </p:nvSpPr>
        <p:spPr bwMode="auto">
          <a:xfrm>
            <a:off x="739539" y="4066913"/>
            <a:ext cx="97250" cy="9766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9" name="Freeform 2191"/>
          <p:cNvSpPr>
            <a:spLocks noEditPoints="1"/>
          </p:cNvSpPr>
          <p:nvPr/>
        </p:nvSpPr>
        <p:spPr bwMode="auto">
          <a:xfrm>
            <a:off x="756956" y="4405387"/>
            <a:ext cx="111905" cy="112385"/>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90" name="Freeform 2191"/>
          <p:cNvSpPr>
            <a:spLocks noEditPoints="1"/>
          </p:cNvSpPr>
          <p:nvPr/>
        </p:nvSpPr>
        <p:spPr bwMode="auto">
          <a:xfrm>
            <a:off x="944076" y="4680636"/>
            <a:ext cx="111905" cy="112385"/>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91" name="Freeform 2191"/>
          <p:cNvSpPr>
            <a:spLocks noEditPoints="1"/>
          </p:cNvSpPr>
          <p:nvPr/>
        </p:nvSpPr>
        <p:spPr bwMode="auto">
          <a:xfrm>
            <a:off x="1433992" y="4680636"/>
            <a:ext cx="98243" cy="98664"/>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92" name="Freeform 2191"/>
          <p:cNvSpPr>
            <a:spLocks noEditPoints="1"/>
          </p:cNvSpPr>
          <p:nvPr/>
        </p:nvSpPr>
        <p:spPr bwMode="auto">
          <a:xfrm>
            <a:off x="1607742" y="3975936"/>
            <a:ext cx="147476" cy="14810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448" name="Freeform 447"/>
          <p:cNvSpPr/>
          <p:nvPr/>
        </p:nvSpPr>
        <p:spPr>
          <a:xfrm>
            <a:off x="753869" y="5138367"/>
            <a:ext cx="2498446" cy="164507"/>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183882" y="4851338"/>
            <a:ext cx="271697" cy="391563"/>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90" name="Freeform 789"/>
          <p:cNvSpPr/>
          <p:nvPr/>
        </p:nvSpPr>
        <p:spPr>
          <a:xfrm>
            <a:off x="10887097" y="5003167"/>
            <a:ext cx="159822" cy="26370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91" name="Freeform 790"/>
          <p:cNvSpPr/>
          <p:nvPr/>
        </p:nvSpPr>
        <p:spPr>
          <a:xfrm>
            <a:off x="9184995" y="5602499"/>
            <a:ext cx="663260" cy="807100"/>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96" name="Title 2"/>
          <p:cNvSpPr txBox="1">
            <a:spLocks/>
          </p:cNvSpPr>
          <p:nvPr>
            <p:custDataLst>
              <p:tags r:id="rId3"/>
            </p:custDataLst>
          </p:nvPr>
        </p:nvSpPr>
        <p:spPr>
          <a:xfrm>
            <a:off x="-5398" y="4519245"/>
            <a:ext cx="12211686" cy="2386328"/>
          </a:xfrm>
          <a:prstGeom prst="rect">
            <a:avLst/>
          </a:prstGeom>
          <a:solidFill>
            <a:schemeClr val="bg1"/>
          </a:solidFill>
          <a:ln>
            <a:noFill/>
          </a:ln>
        </p:spPr>
        <p:txBody>
          <a:bodyPr wrap="square" lIns="365760" rIns="4389120" bIns="45720"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marL="0" marR="0" lvl="0" indent="0" algn="l" defTabSz="914325" rtl="0" eaLnBrk="1" fontAlgn="auto" latinLnBrk="0" hangingPunct="1">
              <a:lnSpc>
                <a:spcPct val="90000"/>
              </a:lnSpc>
              <a:spcBef>
                <a:spcPts val="1200"/>
              </a:spcBef>
              <a:spcAft>
                <a:spcPts val="0"/>
              </a:spcAft>
              <a:buClrTx/>
              <a:buSzTx/>
              <a:buFontTx/>
              <a:buNone/>
              <a:tabLst/>
              <a:defRPr/>
            </a:pPr>
            <a:r>
              <a:rPr kumimoji="0" lang="en-US" sz="3600" b="0" i="0" u="none" strike="noStrike" kern="1200" cap="none" spc="-58" normalizeH="0" baseline="0" noProof="0" dirty="0">
                <a:ln>
                  <a:noFill/>
                </a:ln>
                <a:solidFill>
                  <a:srgbClr val="0072C6"/>
                </a:solidFill>
                <a:effectLst/>
                <a:uLnTx/>
                <a:uFillTx/>
                <a:latin typeface="Segoe UI Light"/>
                <a:ea typeface="Segoe UI" pitchFamily="34" charset="0"/>
                <a:cs typeface="Segoe UI" pitchFamily="34" charset="0"/>
              </a:rPr>
              <a:t>What to be prepared for ?</a:t>
            </a:r>
          </a:p>
          <a:p>
            <a:pPr marL="0" marR="0" lvl="0" indent="0" algn="l" defTabSz="914325" rtl="0" eaLnBrk="1" fontAlgn="auto" latinLnBrk="0" hangingPunct="1">
              <a:lnSpc>
                <a:spcPct val="90000"/>
              </a:lnSpc>
              <a:spcBef>
                <a:spcPts val="1200"/>
              </a:spcBef>
              <a:spcAft>
                <a:spcPts val="0"/>
              </a:spcAft>
              <a:buClrTx/>
              <a:buSzTx/>
              <a:buFontTx/>
              <a:buNone/>
              <a:tabLst/>
              <a:defRPr/>
            </a:pPr>
            <a:endParaRPr kumimoji="0" lang="en-US" sz="100" b="0" i="0" u="none" strike="noStrike" kern="1200" cap="none" spc="-100" normalizeH="0" baseline="0" noProof="0" dirty="0">
              <a:ln w="3175">
                <a:noFill/>
              </a:ln>
              <a:solidFill>
                <a:srgbClr val="0072C6"/>
              </a:solidFill>
              <a:effectLst/>
              <a:uLnTx/>
              <a:uFillTx/>
              <a:latin typeface="Segoe UI Light"/>
              <a:ea typeface="Segoe UI" pitchFamily="34" charset="0"/>
              <a:cs typeface="Segoe UI" pitchFamily="34" charset="0"/>
            </a:endParaRPr>
          </a:p>
        </p:txBody>
      </p:sp>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89" y="1"/>
            <a:ext cx="2187575" cy="804685"/>
          </a:xfrm>
          <a:prstGeom prst="rect">
            <a:avLst/>
          </a:prstGeom>
        </p:spPr>
      </p:pic>
      <p:sp>
        <p:nvSpPr>
          <p:cNvPr id="382" name="Title 2"/>
          <p:cNvSpPr txBox="1">
            <a:spLocks/>
          </p:cNvSpPr>
          <p:nvPr/>
        </p:nvSpPr>
        <p:spPr>
          <a:xfrm>
            <a:off x="2429515" y="1646346"/>
            <a:ext cx="7473033" cy="1067659"/>
          </a:xfrm>
          <a:prstGeom prst="rect">
            <a:avLst/>
          </a:prstGeom>
          <a:noFill/>
          <a:ln>
            <a:noFill/>
          </a:ln>
        </p:spPr>
        <p:txBody>
          <a:bodyPr wrap="square" lIns="365760" bIns="45720"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marL="0" marR="0" lvl="0" indent="0" algn="l" defTabSz="914325" rtl="0" eaLnBrk="1" fontAlgn="auto" latinLnBrk="0" hangingPunct="1">
              <a:lnSpc>
                <a:spcPct val="90000"/>
              </a:lnSpc>
              <a:spcBef>
                <a:spcPts val="1200"/>
              </a:spcBef>
              <a:spcAft>
                <a:spcPts val="0"/>
              </a:spcAft>
              <a:buClrTx/>
              <a:buSzTx/>
              <a:buFontTx/>
              <a:buNone/>
              <a:tabLst/>
              <a:defRPr/>
            </a:pPr>
            <a:r>
              <a:rPr kumimoji="0" lang="en-US" sz="5400" b="0" i="0" u="none" strike="noStrike" kern="1200" cap="none" spc="-58" normalizeH="0" baseline="0" noProof="0" dirty="0">
                <a:ln>
                  <a:noFill/>
                </a:ln>
                <a:solidFill>
                  <a:prstClr val="white"/>
                </a:solidFill>
                <a:effectLst/>
                <a:uLnTx/>
                <a:uFillTx/>
                <a:latin typeface="Segoe UI Light"/>
                <a:ea typeface="Segoe UI" pitchFamily="34" charset="0"/>
                <a:cs typeface="Segoe UI" pitchFamily="34" charset="0"/>
              </a:rPr>
              <a:t>Future Cities &amp; </a:t>
            </a:r>
          </a:p>
          <a:p>
            <a:pPr marL="0" marR="0" lvl="0" indent="0" algn="l" defTabSz="914325" rtl="0" eaLnBrk="1" fontAlgn="auto" latinLnBrk="0" hangingPunct="1">
              <a:lnSpc>
                <a:spcPct val="90000"/>
              </a:lnSpc>
              <a:spcBef>
                <a:spcPts val="1200"/>
              </a:spcBef>
              <a:spcAft>
                <a:spcPts val="0"/>
              </a:spcAft>
              <a:buClrTx/>
              <a:buSzTx/>
              <a:buFontTx/>
              <a:buNone/>
              <a:tabLst/>
              <a:defRPr/>
            </a:pPr>
            <a:r>
              <a:rPr kumimoji="0" lang="en-US" sz="5400" b="0" i="0" u="none" strike="noStrike" kern="1200" cap="none" spc="-58" normalizeH="0" baseline="0" noProof="0" dirty="0">
                <a:ln>
                  <a:noFill/>
                </a:ln>
                <a:solidFill>
                  <a:prstClr val="white"/>
                </a:solidFill>
                <a:effectLst/>
                <a:uLnTx/>
                <a:uFillTx/>
                <a:latin typeface="Segoe UI Light"/>
                <a:ea typeface="Segoe UI" pitchFamily="34" charset="0"/>
                <a:cs typeface="Segoe UI" pitchFamily="34" charset="0"/>
              </a:rPr>
              <a:t>Impact of Cybersecurity</a:t>
            </a:r>
          </a:p>
        </p:txBody>
      </p:sp>
      <p:sp>
        <p:nvSpPr>
          <p:cNvPr id="374" name="Freeform 788"/>
          <p:cNvSpPr/>
          <p:nvPr/>
        </p:nvSpPr>
        <p:spPr>
          <a:xfrm>
            <a:off x="10212389" y="4861084"/>
            <a:ext cx="271697" cy="391563"/>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88105"/>
            <a:endParaRPr lang="en-US" sz="2200" dirty="0">
              <a:solidFill>
                <a:prstClr val="white"/>
              </a:solidFill>
            </a:endParaRPr>
          </a:p>
        </p:txBody>
      </p:sp>
      <p:sp>
        <p:nvSpPr>
          <p:cNvPr id="375" name="Freeform 789"/>
          <p:cNvSpPr/>
          <p:nvPr/>
        </p:nvSpPr>
        <p:spPr>
          <a:xfrm>
            <a:off x="10915604" y="5012913"/>
            <a:ext cx="159822" cy="26370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88105"/>
            <a:endParaRPr lang="en-US" sz="2200" dirty="0">
              <a:solidFill>
                <a:prstClr val="white"/>
              </a:solidFill>
            </a:endParaRPr>
          </a:p>
        </p:txBody>
      </p:sp>
      <p:sp>
        <p:nvSpPr>
          <p:cNvPr id="376" name="Freeform 790"/>
          <p:cNvSpPr/>
          <p:nvPr/>
        </p:nvSpPr>
        <p:spPr>
          <a:xfrm>
            <a:off x="9213502" y="5612245"/>
            <a:ext cx="663260" cy="807100"/>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88105"/>
            <a:endParaRPr lang="en-US" sz="2200" dirty="0">
              <a:solidFill>
                <a:prstClr val="white"/>
              </a:solidFill>
            </a:endParaRPr>
          </a:p>
        </p:txBody>
      </p:sp>
      <p:grpSp>
        <p:nvGrpSpPr>
          <p:cNvPr id="377" name="Group 376"/>
          <p:cNvGrpSpPr/>
          <p:nvPr/>
        </p:nvGrpSpPr>
        <p:grpSpPr>
          <a:xfrm>
            <a:off x="8242069" y="4679019"/>
            <a:ext cx="3800779" cy="2037717"/>
            <a:chOff x="8246271" y="4669272"/>
            <a:chExt cx="3800779" cy="2037717"/>
          </a:xfrm>
        </p:grpSpPr>
        <p:sp>
          <p:nvSpPr>
            <p:cNvPr id="378" name="Rectangle 377"/>
            <p:cNvSpPr/>
            <p:nvPr/>
          </p:nvSpPr>
          <p:spPr>
            <a:xfrm>
              <a:off x="8246271" y="4669272"/>
              <a:ext cx="2747546" cy="20377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088105"/>
              <a:endParaRPr lang="en-US" sz="1200" dirty="0">
                <a:solidFill>
                  <a:prstClr val="white"/>
                </a:solidFill>
              </a:endParaRPr>
            </a:p>
          </p:txBody>
        </p:sp>
        <p:grpSp>
          <p:nvGrpSpPr>
            <p:cNvPr id="379" name="Group 378"/>
            <p:cNvGrpSpPr/>
            <p:nvPr/>
          </p:nvGrpSpPr>
          <p:grpSpPr>
            <a:xfrm>
              <a:off x="8799402" y="4805534"/>
              <a:ext cx="1673901" cy="1655048"/>
              <a:chOff x="10028285" y="16223"/>
              <a:chExt cx="2145645" cy="2081343"/>
            </a:xfrm>
          </p:grpSpPr>
          <p:sp>
            <p:nvSpPr>
              <p:cNvPr id="442" name="Freeform 594"/>
              <p:cNvSpPr>
                <a:spLocks/>
              </p:cNvSpPr>
              <p:nvPr/>
            </p:nvSpPr>
            <p:spPr bwMode="auto">
              <a:xfrm rot="5400000">
                <a:off x="10396525" y="55967"/>
                <a:ext cx="1408022" cy="2144502"/>
              </a:xfrm>
              <a:custGeom>
                <a:avLst/>
                <a:gdLst>
                  <a:gd name="connsiteX0" fmla="*/ 0 w 1408022"/>
                  <a:gd name="connsiteY0" fmla="*/ 5689 h 2144502"/>
                  <a:gd name="connsiteX1" fmla="*/ 37313 w 1408022"/>
                  <a:gd name="connsiteY1" fmla="*/ 0 h 2144502"/>
                  <a:gd name="connsiteX2" fmla="*/ 39508 w 1408022"/>
                  <a:gd name="connsiteY2" fmla="*/ 113781 h 2144502"/>
                  <a:gd name="connsiteX3" fmla="*/ 68042 w 1408022"/>
                  <a:gd name="connsiteY3" fmla="*/ 270799 h 2144502"/>
                  <a:gd name="connsiteX4" fmla="*/ 199735 w 1408022"/>
                  <a:gd name="connsiteY4" fmla="*/ 309485 h 2144502"/>
                  <a:gd name="connsiteX5" fmla="*/ 567379 w 1408022"/>
                  <a:gd name="connsiteY5" fmla="*/ 309485 h 2144502"/>
                  <a:gd name="connsiteX6" fmla="*/ 911977 w 1408022"/>
                  <a:gd name="connsiteY6" fmla="*/ 508602 h 2144502"/>
                  <a:gd name="connsiteX7" fmla="*/ 911977 w 1408022"/>
                  <a:gd name="connsiteY7" fmla="*/ 512016 h 2144502"/>
                  <a:gd name="connsiteX8" fmla="*/ 913074 w 1408022"/>
                  <a:gd name="connsiteY8" fmla="*/ 629211 h 2144502"/>
                  <a:gd name="connsiteX9" fmla="*/ 962459 w 1408022"/>
                  <a:gd name="connsiteY9" fmla="*/ 880668 h 2144502"/>
                  <a:gd name="connsiteX10" fmla="*/ 1213774 w 1408022"/>
                  <a:gd name="connsiteY10" fmla="*/ 926180 h 2144502"/>
                  <a:gd name="connsiteX11" fmla="*/ 1402535 w 1408022"/>
                  <a:gd name="connsiteY11" fmla="*/ 1108230 h 2144502"/>
                  <a:gd name="connsiteX12" fmla="*/ 1408022 w 1408022"/>
                  <a:gd name="connsiteY12" fmla="*/ 1144640 h 2144502"/>
                  <a:gd name="connsiteX13" fmla="*/ 1408022 w 1408022"/>
                  <a:gd name="connsiteY13" fmla="*/ 1149192 h 2144502"/>
                  <a:gd name="connsiteX14" fmla="*/ 1403632 w 1408022"/>
                  <a:gd name="connsiteY14" fmla="*/ 1656657 h 2144502"/>
                  <a:gd name="connsiteX15" fmla="*/ 1403632 w 1408022"/>
                  <a:gd name="connsiteY15" fmla="*/ 1658932 h 2144502"/>
                  <a:gd name="connsiteX16" fmla="*/ 1181948 w 1408022"/>
                  <a:gd name="connsiteY16" fmla="*/ 1899011 h 2144502"/>
                  <a:gd name="connsiteX17" fmla="*/ 1178656 w 1408022"/>
                  <a:gd name="connsiteY17" fmla="*/ 1899011 h 2144502"/>
                  <a:gd name="connsiteX18" fmla="*/ 1030501 w 1408022"/>
                  <a:gd name="connsiteY18" fmla="*/ 1894460 h 2144502"/>
                  <a:gd name="connsiteX19" fmla="*/ 848325 w 1408022"/>
                  <a:gd name="connsiteY19" fmla="*/ 2053754 h 2144502"/>
                  <a:gd name="connsiteX20" fmla="*/ 847471 w 1408022"/>
                  <a:gd name="connsiteY20" fmla="*/ 2144502 h 2144502"/>
                  <a:gd name="connsiteX21" fmla="*/ 810158 w 1408022"/>
                  <a:gd name="connsiteY21" fmla="*/ 2144502 h 2144502"/>
                  <a:gd name="connsiteX22" fmla="*/ 810463 w 1408022"/>
                  <a:gd name="connsiteY22" fmla="*/ 2112067 h 2144502"/>
                  <a:gd name="connsiteX23" fmla="*/ 811012 w 1408022"/>
                  <a:gd name="connsiteY23" fmla="*/ 2053754 h 2144502"/>
                  <a:gd name="connsiteX24" fmla="*/ 811012 w 1408022"/>
                  <a:gd name="connsiteY24" fmla="*/ 2052616 h 2144502"/>
                  <a:gd name="connsiteX25" fmla="*/ 1028306 w 1408022"/>
                  <a:gd name="connsiteY25" fmla="*/ 1855774 h 2144502"/>
                  <a:gd name="connsiteX26" fmla="*/ 1030501 w 1408022"/>
                  <a:gd name="connsiteY26" fmla="*/ 1855774 h 2144502"/>
                  <a:gd name="connsiteX27" fmla="*/ 1178656 w 1408022"/>
                  <a:gd name="connsiteY27" fmla="*/ 1860325 h 2144502"/>
                  <a:gd name="connsiteX28" fmla="*/ 1366319 w 1408022"/>
                  <a:gd name="connsiteY28" fmla="*/ 1654381 h 2144502"/>
                  <a:gd name="connsiteX29" fmla="*/ 1370709 w 1408022"/>
                  <a:gd name="connsiteY29" fmla="*/ 1151467 h 2144502"/>
                  <a:gd name="connsiteX30" fmla="*/ 1365222 w 1408022"/>
                  <a:gd name="connsiteY30" fmla="*/ 1113919 h 2144502"/>
                  <a:gd name="connsiteX31" fmla="*/ 1217067 w 1408022"/>
                  <a:gd name="connsiteY31" fmla="*/ 964866 h 2144502"/>
                  <a:gd name="connsiteX32" fmla="*/ 937218 w 1408022"/>
                  <a:gd name="connsiteY32" fmla="*/ 909113 h 2144502"/>
                  <a:gd name="connsiteX33" fmla="*/ 875761 w 1408022"/>
                  <a:gd name="connsiteY33" fmla="*/ 628073 h 2144502"/>
                  <a:gd name="connsiteX34" fmla="*/ 874664 w 1408022"/>
                  <a:gd name="connsiteY34" fmla="*/ 515429 h 2144502"/>
                  <a:gd name="connsiteX35" fmla="*/ 569574 w 1408022"/>
                  <a:gd name="connsiteY35" fmla="*/ 348171 h 2144502"/>
                  <a:gd name="connsiteX36" fmla="*/ 568477 w 1408022"/>
                  <a:gd name="connsiteY36" fmla="*/ 348171 h 2144502"/>
                  <a:gd name="connsiteX37" fmla="*/ 199735 w 1408022"/>
                  <a:gd name="connsiteY37" fmla="*/ 348171 h 2144502"/>
                  <a:gd name="connsiteX38" fmla="*/ 40605 w 1408022"/>
                  <a:gd name="connsiteY38" fmla="*/ 296969 h 2144502"/>
                  <a:gd name="connsiteX39" fmla="*/ 2195 w 1408022"/>
                  <a:gd name="connsiteY39" fmla="*/ 112643 h 2144502"/>
                  <a:gd name="connsiteX40" fmla="*/ 0 w 1408022"/>
                  <a:gd name="connsiteY40" fmla="*/ 5689 h 214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08022" h="2144502">
                    <a:moveTo>
                      <a:pt x="0" y="5689"/>
                    </a:moveTo>
                    <a:cubicBezTo>
                      <a:pt x="37313" y="0"/>
                      <a:pt x="37313" y="0"/>
                      <a:pt x="37313" y="0"/>
                    </a:cubicBezTo>
                    <a:cubicBezTo>
                      <a:pt x="41703" y="38685"/>
                      <a:pt x="40605" y="77371"/>
                      <a:pt x="39508" y="113781"/>
                    </a:cubicBezTo>
                    <a:cubicBezTo>
                      <a:pt x="37313" y="179774"/>
                      <a:pt x="36216" y="236665"/>
                      <a:pt x="68042" y="270799"/>
                    </a:cubicBezTo>
                    <a:cubicBezTo>
                      <a:pt x="92185" y="296969"/>
                      <a:pt x="134986" y="309485"/>
                      <a:pt x="199735" y="309485"/>
                    </a:cubicBezTo>
                    <a:cubicBezTo>
                      <a:pt x="567379" y="309485"/>
                      <a:pt x="567379" y="309485"/>
                      <a:pt x="567379" y="309485"/>
                    </a:cubicBezTo>
                    <a:cubicBezTo>
                      <a:pt x="688098" y="301520"/>
                      <a:pt x="881248" y="359549"/>
                      <a:pt x="911977" y="508602"/>
                    </a:cubicBezTo>
                    <a:cubicBezTo>
                      <a:pt x="911977" y="509740"/>
                      <a:pt x="911977" y="510878"/>
                      <a:pt x="911977" y="512016"/>
                    </a:cubicBezTo>
                    <a:cubicBezTo>
                      <a:pt x="914172" y="552977"/>
                      <a:pt x="913074" y="591663"/>
                      <a:pt x="913074" y="629211"/>
                    </a:cubicBezTo>
                    <a:cubicBezTo>
                      <a:pt x="911977" y="741854"/>
                      <a:pt x="910879" y="831742"/>
                      <a:pt x="962459" y="880668"/>
                    </a:cubicBezTo>
                    <a:cubicBezTo>
                      <a:pt x="1006357" y="922767"/>
                      <a:pt x="1085373" y="937558"/>
                      <a:pt x="1213774" y="926180"/>
                    </a:cubicBezTo>
                    <a:cubicBezTo>
                      <a:pt x="1376196" y="914802"/>
                      <a:pt x="1392658" y="1036548"/>
                      <a:pt x="1402535" y="1108230"/>
                    </a:cubicBezTo>
                    <a:cubicBezTo>
                      <a:pt x="1403632" y="1121884"/>
                      <a:pt x="1405827" y="1134400"/>
                      <a:pt x="1408022" y="1144640"/>
                    </a:cubicBezTo>
                    <a:cubicBezTo>
                      <a:pt x="1408022" y="1146916"/>
                      <a:pt x="1408022" y="1148054"/>
                      <a:pt x="1408022" y="1149192"/>
                    </a:cubicBezTo>
                    <a:cubicBezTo>
                      <a:pt x="1403632" y="1656657"/>
                      <a:pt x="1403632" y="1656657"/>
                      <a:pt x="1403632" y="1656657"/>
                    </a:cubicBezTo>
                    <a:cubicBezTo>
                      <a:pt x="1403632" y="1656657"/>
                      <a:pt x="1403632" y="1657794"/>
                      <a:pt x="1403632" y="1658932"/>
                    </a:cubicBezTo>
                    <a:cubicBezTo>
                      <a:pt x="1381683" y="1843258"/>
                      <a:pt x="1298278" y="1887633"/>
                      <a:pt x="1181948" y="1899011"/>
                    </a:cubicBezTo>
                    <a:cubicBezTo>
                      <a:pt x="1180851" y="1899011"/>
                      <a:pt x="1179753" y="1899011"/>
                      <a:pt x="1178656" y="1899011"/>
                    </a:cubicBezTo>
                    <a:cubicBezTo>
                      <a:pt x="1030501" y="1894460"/>
                      <a:pt x="1030501" y="1894460"/>
                      <a:pt x="1030501" y="1894460"/>
                    </a:cubicBezTo>
                    <a:cubicBezTo>
                      <a:pt x="859300" y="1909251"/>
                      <a:pt x="849423" y="2037824"/>
                      <a:pt x="848325" y="2053754"/>
                    </a:cubicBezTo>
                    <a:lnTo>
                      <a:pt x="847471" y="2144502"/>
                    </a:lnTo>
                    <a:lnTo>
                      <a:pt x="810158" y="2144502"/>
                    </a:lnTo>
                    <a:lnTo>
                      <a:pt x="810463" y="2112067"/>
                    </a:lnTo>
                    <a:cubicBezTo>
                      <a:pt x="811012" y="2053754"/>
                      <a:pt x="811012" y="2053754"/>
                      <a:pt x="811012" y="2053754"/>
                    </a:cubicBezTo>
                    <a:cubicBezTo>
                      <a:pt x="811012" y="2052616"/>
                      <a:pt x="811012" y="2052616"/>
                      <a:pt x="811012" y="2052616"/>
                    </a:cubicBezTo>
                    <a:cubicBezTo>
                      <a:pt x="812109" y="2034411"/>
                      <a:pt x="823084" y="1872841"/>
                      <a:pt x="1028306" y="1855774"/>
                    </a:cubicBezTo>
                    <a:cubicBezTo>
                      <a:pt x="1029404" y="1855774"/>
                      <a:pt x="1030501" y="1855774"/>
                      <a:pt x="1030501" y="1855774"/>
                    </a:cubicBezTo>
                    <a:cubicBezTo>
                      <a:pt x="1178656" y="1860325"/>
                      <a:pt x="1178656" y="1860325"/>
                      <a:pt x="1178656" y="1860325"/>
                    </a:cubicBezTo>
                    <a:cubicBezTo>
                      <a:pt x="1285108" y="1850085"/>
                      <a:pt x="1346565" y="1813675"/>
                      <a:pt x="1366319" y="1654381"/>
                    </a:cubicBezTo>
                    <a:cubicBezTo>
                      <a:pt x="1370709" y="1151467"/>
                      <a:pt x="1370709" y="1151467"/>
                      <a:pt x="1370709" y="1151467"/>
                    </a:cubicBezTo>
                    <a:cubicBezTo>
                      <a:pt x="1368514" y="1140089"/>
                      <a:pt x="1367417" y="1127573"/>
                      <a:pt x="1365222" y="1113919"/>
                    </a:cubicBezTo>
                    <a:cubicBezTo>
                      <a:pt x="1354247" y="1036548"/>
                      <a:pt x="1344370" y="955763"/>
                      <a:pt x="1217067" y="964866"/>
                    </a:cubicBezTo>
                    <a:cubicBezTo>
                      <a:pt x="1077691" y="977382"/>
                      <a:pt x="988798" y="959177"/>
                      <a:pt x="937218" y="909113"/>
                    </a:cubicBezTo>
                    <a:cubicBezTo>
                      <a:pt x="873566" y="847671"/>
                      <a:pt x="874664" y="746406"/>
                      <a:pt x="875761" y="628073"/>
                    </a:cubicBezTo>
                    <a:cubicBezTo>
                      <a:pt x="875761" y="592801"/>
                      <a:pt x="876859" y="555253"/>
                      <a:pt x="874664" y="515429"/>
                    </a:cubicBezTo>
                    <a:cubicBezTo>
                      <a:pt x="848325" y="394821"/>
                      <a:pt x="681513" y="341344"/>
                      <a:pt x="569574" y="348171"/>
                    </a:cubicBezTo>
                    <a:cubicBezTo>
                      <a:pt x="569574" y="348171"/>
                      <a:pt x="568477" y="348171"/>
                      <a:pt x="568477" y="348171"/>
                    </a:cubicBezTo>
                    <a:cubicBezTo>
                      <a:pt x="199735" y="348171"/>
                      <a:pt x="199735" y="348171"/>
                      <a:pt x="199735" y="348171"/>
                    </a:cubicBezTo>
                    <a:cubicBezTo>
                      <a:pt x="124011" y="348171"/>
                      <a:pt x="72431" y="331103"/>
                      <a:pt x="40605" y="296969"/>
                    </a:cubicBezTo>
                    <a:cubicBezTo>
                      <a:pt x="-2195" y="251456"/>
                      <a:pt x="0" y="184325"/>
                      <a:pt x="2195" y="112643"/>
                    </a:cubicBezTo>
                    <a:cubicBezTo>
                      <a:pt x="3292" y="77371"/>
                      <a:pt x="4390" y="39823"/>
                      <a:pt x="0" y="5689"/>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3" name="Freeform 595"/>
              <p:cNvSpPr>
                <a:spLocks/>
              </p:cNvSpPr>
              <p:nvPr/>
            </p:nvSpPr>
            <p:spPr bwMode="auto">
              <a:xfrm rot="5400000">
                <a:off x="10542060" y="-149976"/>
                <a:ext cx="1109410" cy="2136959"/>
              </a:xfrm>
              <a:custGeom>
                <a:avLst/>
                <a:gdLst>
                  <a:gd name="connsiteX0" fmla="*/ 0 w 1109410"/>
                  <a:gd name="connsiteY0" fmla="*/ 897480 h 2136959"/>
                  <a:gd name="connsiteX1" fmla="*/ 0 w 1109410"/>
                  <a:gd name="connsiteY1" fmla="*/ 895205 h 2136959"/>
                  <a:gd name="connsiteX2" fmla="*/ 77903 w 1109410"/>
                  <a:gd name="connsiteY2" fmla="*/ 723444 h 2136959"/>
                  <a:gd name="connsiteX3" fmla="*/ 274307 w 1109410"/>
                  <a:gd name="connsiteY3" fmla="*/ 679082 h 2136959"/>
                  <a:gd name="connsiteX4" fmla="*/ 904116 w 1109410"/>
                  <a:gd name="connsiteY4" fmla="*/ 684770 h 2136959"/>
                  <a:gd name="connsiteX5" fmla="*/ 1053339 w 1109410"/>
                  <a:gd name="connsiteY5" fmla="*/ 478884 h 2136959"/>
                  <a:gd name="connsiteX6" fmla="*/ 1048950 w 1109410"/>
                  <a:gd name="connsiteY6" fmla="*/ 0 h 2136959"/>
                  <a:gd name="connsiteX7" fmla="*/ 1086256 w 1109410"/>
                  <a:gd name="connsiteY7" fmla="*/ 0 h 2136959"/>
                  <a:gd name="connsiteX8" fmla="*/ 1090645 w 1109410"/>
                  <a:gd name="connsiteY8" fmla="*/ 480022 h 2136959"/>
                  <a:gd name="connsiteX9" fmla="*/ 1090645 w 1109410"/>
                  <a:gd name="connsiteY9" fmla="*/ 483434 h 2136959"/>
                  <a:gd name="connsiteX10" fmla="*/ 907408 w 1109410"/>
                  <a:gd name="connsiteY10" fmla="*/ 723444 h 2136959"/>
                  <a:gd name="connsiteX11" fmla="*/ 905213 w 1109410"/>
                  <a:gd name="connsiteY11" fmla="*/ 723444 h 2136959"/>
                  <a:gd name="connsiteX12" fmla="*/ 273210 w 1109410"/>
                  <a:gd name="connsiteY12" fmla="*/ 717757 h 2136959"/>
                  <a:gd name="connsiteX13" fmla="*/ 271015 w 1109410"/>
                  <a:gd name="connsiteY13" fmla="*/ 717757 h 2136959"/>
                  <a:gd name="connsiteX14" fmla="*/ 100945 w 1109410"/>
                  <a:gd name="connsiteY14" fmla="*/ 753019 h 2136959"/>
                  <a:gd name="connsiteX15" fmla="*/ 37306 w 1109410"/>
                  <a:gd name="connsiteY15" fmla="*/ 897480 h 2136959"/>
                  <a:gd name="connsiteX16" fmla="*/ 39500 w 1109410"/>
                  <a:gd name="connsiteY16" fmla="*/ 990754 h 2136959"/>
                  <a:gd name="connsiteX17" fmla="*/ 46084 w 1109410"/>
                  <a:gd name="connsiteY17" fmla="*/ 1152278 h 2136959"/>
                  <a:gd name="connsiteX18" fmla="*/ 254557 w 1109410"/>
                  <a:gd name="connsiteY18" fmla="*/ 1319489 h 2136959"/>
                  <a:gd name="connsiteX19" fmla="*/ 255654 w 1109410"/>
                  <a:gd name="connsiteY19" fmla="*/ 1318351 h 2136959"/>
                  <a:gd name="connsiteX20" fmla="*/ 869005 w 1109410"/>
                  <a:gd name="connsiteY20" fmla="*/ 1318351 h 2136959"/>
                  <a:gd name="connsiteX21" fmla="*/ 1035784 w 1109410"/>
                  <a:gd name="connsiteY21" fmla="*/ 1370676 h 2136959"/>
                  <a:gd name="connsiteX22" fmla="*/ 1108201 w 1109410"/>
                  <a:gd name="connsiteY22" fmla="*/ 1592486 h 2136959"/>
                  <a:gd name="connsiteX23" fmla="*/ 1103007 w 1109410"/>
                  <a:gd name="connsiteY23" fmla="*/ 2136959 h 2136959"/>
                  <a:gd name="connsiteX24" fmla="*/ 1065697 w 1109410"/>
                  <a:gd name="connsiteY24" fmla="*/ 2136959 h 2136959"/>
                  <a:gd name="connsiteX25" fmla="*/ 1066187 w 1109410"/>
                  <a:gd name="connsiteY25" fmla="*/ 2085548 h 2136959"/>
                  <a:gd name="connsiteX26" fmla="*/ 1070895 w 1109410"/>
                  <a:gd name="connsiteY26" fmla="*/ 1591349 h 2136959"/>
                  <a:gd name="connsiteX27" fmla="*/ 1070895 w 1109410"/>
                  <a:gd name="connsiteY27" fmla="*/ 1589073 h 2136959"/>
                  <a:gd name="connsiteX28" fmla="*/ 1010547 w 1109410"/>
                  <a:gd name="connsiteY28" fmla="*/ 1397975 h 2136959"/>
                  <a:gd name="connsiteX29" fmla="*/ 872297 w 1109410"/>
                  <a:gd name="connsiteY29" fmla="*/ 1357026 h 2136959"/>
                  <a:gd name="connsiteX30" fmla="*/ 870102 w 1109410"/>
                  <a:gd name="connsiteY30" fmla="*/ 1358163 h 2136959"/>
                  <a:gd name="connsiteX31" fmla="*/ 256751 w 1109410"/>
                  <a:gd name="connsiteY31" fmla="*/ 1358163 h 2136959"/>
                  <a:gd name="connsiteX32" fmla="*/ 8778 w 1109410"/>
                  <a:gd name="connsiteY32" fmla="*/ 1157965 h 2136959"/>
                  <a:gd name="connsiteX33" fmla="*/ 8778 w 1109410"/>
                  <a:gd name="connsiteY33" fmla="*/ 1156828 h 2136959"/>
                  <a:gd name="connsiteX34" fmla="*/ 1097 w 1109410"/>
                  <a:gd name="connsiteY34" fmla="*/ 990754 h 2136959"/>
                  <a:gd name="connsiteX35" fmla="*/ 0 w 1109410"/>
                  <a:gd name="connsiteY35" fmla="*/ 897480 h 213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09410" h="2136959">
                    <a:moveTo>
                      <a:pt x="0" y="897480"/>
                    </a:moveTo>
                    <a:cubicBezTo>
                      <a:pt x="0" y="896343"/>
                      <a:pt x="0" y="896343"/>
                      <a:pt x="0" y="895205"/>
                    </a:cubicBezTo>
                    <a:cubicBezTo>
                      <a:pt x="6583" y="818993"/>
                      <a:pt x="32917" y="760982"/>
                      <a:pt x="77903" y="723444"/>
                    </a:cubicBezTo>
                    <a:cubicBezTo>
                      <a:pt x="123987" y="683632"/>
                      <a:pt x="190918" y="668845"/>
                      <a:pt x="274307" y="679082"/>
                    </a:cubicBezTo>
                    <a:cubicBezTo>
                      <a:pt x="904116" y="684770"/>
                      <a:pt x="904116" y="684770"/>
                      <a:pt x="904116" y="684770"/>
                    </a:cubicBezTo>
                    <a:cubicBezTo>
                      <a:pt x="985311" y="674532"/>
                      <a:pt x="1034686" y="605146"/>
                      <a:pt x="1053339" y="478884"/>
                    </a:cubicBezTo>
                    <a:cubicBezTo>
                      <a:pt x="1048950" y="0"/>
                      <a:pt x="1048950" y="0"/>
                      <a:pt x="1048950" y="0"/>
                    </a:cubicBezTo>
                    <a:cubicBezTo>
                      <a:pt x="1086256" y="0"/>
                      <a:pt x="1086256" y="0"/>
                      <a:pt x="1086256" y="0"/>
                    </a:cubicBezTo>
                    <a:cubicBezTo>
                      <a:pt x="1090645" y="480022"/>
                      <a:pt x="1090645" y="480022"/>
                      <a:pt x="1090645" y="480022"/>
                    </a:cubicBezTo>
                    <a:cubicBezTo>
                      <a:pt x="1090645" y="481159"/>
                      <a:pt x="1090645" y="482297"/>
                      <a:pt x="1090645" y="483434"/>
                    </a:cubicBezTo>
                    <a:cubicBezTo>
                      <a:pt x="1064312" y="666570"/>
                      <a:pt x="976533" y="715482"/>
                      <a:pt x="907408" y="723444"/>
                    </a:cubicBezTo>
                    <a:cubicBezTo>
                      <a:pt x="906311" y="723444"/>
                      <a:pt x="906311" y="723444"/>
                      <a:pt x="905213" y="723444"/>
                    </a:cubicBezTo>
                    <a:cubicBezTo>
                      <a:pt x="273210" y="717757"/>
                      <a:pt x="273210" y="717757"/>
                      <a:pt x="273210" y="717757"/>
                    </a:cubicBezTo>
                    <a:cubicBezTo>
                      <a:pt x="272113" y="717757"/>
                      <a:pt x="272113" y="717757"/>
                      <a:pt x="271015" y="717757"/>
                    </a:cubicBezTo>
                    <a:cubicBezTo>
                      <a:pt x="197501" y="708657"/>
                      <a:pt x="139348" y="721169"/>
                      <a:pt x="100945" y="753019"/>
                    </a:cubicBezTo>
                    <a:cubicBezTo>
                      <a:pt x="64737" y="783731"/>
                      <a:pt x="43889" y="832643"/>
                      <a:pt x="37306" y="897480"/>
                    </a:cubicBezTo>
                    <a:cubicBezTo>
                      <a:pt x="38403" y="936155"/>
                      <a:pt x="38403" y="964592"/>
                      <a:pt x="39500" y="990754"/>
                    </a:cubicBezTo>
                    <a:cubicBezTo>
                      <a:pt x="39500" y="1046491"/>
                      <a:pt x="39500" y="1082891"/>
                      <a:pt x="46084" y="1152278"/>
                    </a:cubicBezTo>
                    <a:cubicBezTo>
                      <a:pt x="60348" y="1241002"/>
                      <a:pt x="122890" y="1330863"/>
                      <a:pt x="254557" y="1319489"/>
                    </a:cubicBezTo>
                    <a:cubicBezTo>
                      <a:pt x="254557" y="1318351"/>
                      <a:pt x="255654" y="1318351"/>
                      <a:pt x="255654" y="1318351"/>
                    </a:cubicBezTo>
                    <a:cubicBezTo>
                      <a:pt x="869005" y="1318351"/>
                      <a:pt x="869005" y="1318351"/>
                      <a:pt x="869005" y="1318351"/>
                    </a:cubicBezTo>
                    <a:cubicBezTo>
                      <a:pt x="935936" y="1309251"/>
                      <a:pt x="992992" y="1327451"/>
                      <a:pt x="1035784" y="1370676"/>
                    </a:cubicBezTo>
                    <a:cubicBezTo>
                      <a:pt x="1095034" y="1428688"/>
                      <a:pt x="1114784" y="1524237"/>
                      <a:pt x="1108201" y="1592486"/>
                    </a:cubicBezTo>
                    <a:lnTo>
                      <a:pt x="1103007" y="2136959"/>
                    </a:lnTo>
                    <a:lnTo>
                      <a:pt x="1065697" y="2136959"/>
                    </a:lnTo>
                    <a:lnTo>
                      <a:pt x="1066187" y="2085548"/>
                    </a:lnTo>
                    <a:cubicBezTo>
                      <a:pt x="1070895" y="1591349"/>
                      <a:pt x="1070895" y="1591349"/>
                      <a:pt x="1070895" y="1591349"/>
                    </a:cubicBezTo>
                    <a:cubicBezTo>
                      <a:pt x="1070895" y="1590211"/>
                      <a:pt x="1070895" y="1590211"/>
                      <a:pt x="1070895" y="1589073"/>
                    </a:cubicBezTo>
                    <a:cubicBezTo>
                      <a:pt x="1076381" y="1532199"/>
                      <a:pt x="1059923" y="1448025"/>
                      <a:pt x="1010547" y="1397975"/>
                    </a:cubicBezTo>
                    <a:cubicBezTo>
                      <a:pt x="975436" y="1362713"/>
                      <a:pt x="929353" y="1349063"/>
                      <a:pt x="872297" y="1357026"/>
                    </a:cubicBezTo>
                    <a:cubicBezTo>
                      <a:pt x="872297" y="1358163"/>
                      <a:pt x="871199" y="1358163"/>
                      <a:pt x="870102" y="1358163"/>
                    </a:cubicBezTo>
                    <a:cubicBezTo>
                      <a:pt x="256751" y="1358163"/>
                      <a:pt x="256751" y="1358163"/>
                      <a:pt x="256751" y="1358163"/>
                    </a:cubicBezTo>
                    <a:cubicBezTo>
                      <a:pt x="99848" y="1371813"/>
                      <a:pt x="25236" y="1259202"/>
                      <a:pt x="8778" y="1157965"/>
                    </a:cubicBezTo>
                    <a:cubicBezTo>
                      <a:pt x="8778" y="1157965"/>
                      <a:pt x="8778" y="1156828"/>
                      <a:pt x="8778" y="1156828"/>
                    </a:cubicBezTo>
                    <a:cubicBezTo>
                      <a:pt x="2195" y="1085166"/>
                      <a:pt x="2195" y="1045354"/>
                      <a:pt x="1097" y="990754"/>
                    </a:cubicBezTo>
                    <a:cubicBezTo>
                      <a:pt x="1097" y="964592"/>
                      <a:pt x="1097" y="936155"/>
                      <a:pt x="0" y="89748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4" name="Freeform 188"/>
              <p:cNvSpPr>
                <a:spLocks/>
              </p:cNvSpPr>
              <p:nvPr/>
            </p:nvSpPr>
            <p:spPr bwMode="auto">
              <a:xfrm rot="5400000">
                <a:off x="11664279" y="1486985"/>
                <a:ext cx="371110" cy="630819"/>
              </a:xfrm>
              <a:custGeom>
                <a:avLst/>
                <a:gdLst>
                  <a:gd name="T0" fmla="*/ 266 w 338"/>
                  <a:gd name="T1" fmla="*/ 555 h 555"/>
                  <a:gd name="T2" fmla="*/ 52 w 338"/>
                  <a:gd name="T3" fmla="*/ 498 h 555"/>
                  <a:gd name="T4" fmla="*/ 0 w 338"/>
                  <a:gd name="T5" fmla="*/ 350 h 555"/>
                  <a:gd name="T6" fmla="*/ 0 w 338"/>
                  <a:gd name="T7" fmla="*/ 0 h 555"/>
                  <a:gd name="T8" fmla="*/ 34 w 338"/>
                  <a:gd name="T9" fmla="*/ 0 h 555"/>
                  <a:gd name="T10" fmla="*/ 34 w 338"/>
                  <a:gd name="T11" fmla="*/ 349 h 555"/>
                  <a:gd name="T12" fmla="*/ 75 w 338"/>
                  <a:gd name="T13" fmla="*/ 472 h 555"/>
                  <a:gd name="T14" fmla="*/ 336 w 338"/>
                  <a:gd name="T15" fmla="*/ 519 h 555"/>
                  <a:gd name="T16" fmla="*/ 338 w 338"/>
                  <a:gd name="T17" fmla="*/ 553 h 555"/>
                  <a:gd name="T18" fmla="*/ 266 w 338"/>
                  <a:gd name="T19" fmla="*/ 555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555">
                    <a:moveTo>
                      <a:pt x="266" y="555"/>
                    </a:moveTo>
                    <a:cubicBezTo>
                      <a:pt x="165" y="555"/>
                      <a:pt x="95" y="536"/>
                      <a:pt x="52" y="498"/>
                    </a:cubicBezTo>
                    <a:cubicBezTo>
                      <a:pt x="7" y="456"/>
                      <a:pt x="0" y="399"/>
                      <a:pt x="0" y="350"/>
                    </a:cubicBezTo>
                    <a:cubicBezTo>
                      <a:pt x="0" y="0"/>
                      <a:pt x="0" y="0"/>
                      <a:pt x="0" y="0"/>
                    </a:cubicBezTo>
                    <a:cubicBezTo>
                      <a:pt x="34" y="0"/>
                      <a:pt x="34" y="0"/>
                      <a:pt x="34" y="0"/>
                    </a:cubicBezTo>
                    <a:cubicBezTo>
                      <a:pt x="34" y="349"/>
                      <a:pt x="34" y="349"/>
                      <a:pt x="34" y="349"/>
                    </a:cubicBezTo>
                    <a:cubicBezTo>
                      <a:pt x="34" y="392"/>
                      <a:pt x="40" y="440"/>
                      <a:pt x="75" y="472"/>
                    </a:cubicBezTo>
                    <a:cubicBezTo>
                      <a:pt x="120" y="513"/>
                      <a:pt x="205" y="528"/>
                      <a:pt x="336" y="519"/>
                    </a:cubicBezTo>
                    <a:cubicBezTo>
                      <a:pt x="338" y="553"/>
                      <a:pt x="338" y="553"/>
                      <a:pt x="338" y="553"/>
                    </a:cubicBezTo>
                    <a:cubicBezTo>
                      <a:pt x="312" y="555"/>
                      <a:pt x="288" y="555"/>
                      <a:pt x="266" y="555"/>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5" name="Freeform 597"/>
              <p:cNvSpPr>
                <a:spLocks/>
              </p:cNvSpPr>
              <p:nvPr/>
            </p:nvSpPr>
            <p:spPr bwMode="auto">
              <a:xfrm rot="5400000">
                <a:off x="10137309" y="1406308"/>
                <a:ext cx="498812" cy="716860"/>
              </a:xfrm>
              <a:custGeom>
                <a:avLst/>
                <a:gdLst>
                  <a:gd name="connsiteX0" fmla="*/ 266 w 498812"/>
                  <a:gd name="connsiteY0" fmla="*/ 294156 h 716860"/>
                  <a:gd name="connsiteX1" fmla="*/ 48040 w 498812"/>
                  <a:gd name="connsiteY1" fmla="*/ 152511 h 716860"/>
                  <a:gd name="connsiteX2" fmla="*/ 176675 w 498812"/>
                  <a:gd name="connsiteY2" fmla="*/ 75117 h 716860"/>
                  <a:gd name="connsiteX3" fmla="*/ 178874 w 498812"/>
                  <a:gd name="connsiteY3" fmla="*/ 75117 h 716860"/>
                  <a:gd name="connsiteX4" fmla="*/ 281122 w 498812"/>
                  <a:gd name="connsiteY4" fmla="*/ 75117 h 716860"/>
                  <a:gd name="connsiteX5" fmla="*/ 349288 w 498812"/>
                  <a:gd name="connsiteY5" fmla="*/ 62598 h 716860"/>
                  <a:gd name="connsiteX6" fmla="*/ 465829 w 498812"/>
                  <a:gd name="connsiteY6" fmla="*/ 0 h 716860"/>
                  <a:gd name="connsiteX7" fmla="*/ 498812 w 498812"/>
                  <a:gd name="connsiteY7" fmla="*/ 18210 h 716860"/>
                  <a:gd name="connsiteX8" fmla="*/ 352586 w 498812"/>
                  <a:gd name="connsiteY8" fmla="*/ 101295 h 716860"/>
                  <a:gd name="connsiteX9" fmla="*/ 292117 w 498812"/>
                  <a:gd name="connsiteY9" fmla="*/ 112676 h 716860"/>
                  <a:gd name="connsiteX10" fmla="*/ 284421 w 498812"/>
                  <a:gd name="connsiteY10" fmla="*/ 113814 h 716860"/>
                  <a:gd name="connsiteX11" fmla="*/ 179974 w 498812"/>
                  <a:gd name="connsiteY11" fmla="*/ 113814 h 716860"/>
                  <a:gd name="connsiteX12" fmla="*/ 77725 w 498812"/>
                  <a:gd name="connsiteY12" fmla="*/ 175274 h 716860"/>
                  <a:gd name="connsiteX13" fmla="*/ 39245 w 498812"/>
                  <a:gd name="connsiteY13" fmla="*/ 324370 h 716860"/>
                  <a:gd name="connsiteX14" fmla="*/ 39245 w 498812"/>
                  <a:gd name="connsiteY14" fmla="*/ 327784 h 716860"/>
                  <a:gd name="connsiteX15" fmla="*/ 39245 w 498812"/>
                  <a:gd name="connsiteY15" fmla="*/ 716860 h 716860"/>
                  <a:gd name="connsiteX16" fmla="*/ 1864 w 498812"/>
                  <a:gd name="connsiteY16" fmla="*/ 716860 h 716860"/>
                  <a:gd name="connsiteX17" fmla="*/ 1864 w 498812"/>
                  <a:gd name="connsiteY17" fmla="*/ 651763 h 716860"/>
                  <a:gd name="connsiteX18" fmla="*/ 1864 w 498812"/>
                  <a:gd name="connsiteY18" fmla="*/ 330061 h 716860"/>
                  <a:gd name="connsiteX19" fmla="*/ 266 w 498812"/>
                  <a:gd name="connsiteY19" fmla="*/ 294156 h 71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8812" h="716860">
                    <a:moveTo>
                      <a:pt x="266" y="294156"/>
                    </a:moveTo>
                    <a:cubicBezTo>
                      <a:pt x="2276" y="252383"/>
                      <a:pt x="15882" y="196045"/>
                      <a:pt x="48040" y="152511"/>
                    </a:cubicBezTo>
                    <a:cubicBezTo>
                      <a:pt x="78825" y="106985"/>
                      <a:pt x="122802" y="81946"/>
                      <a:pt x="176675" y="75117"/>
                    </a:cubicBezTo>
                    <a:cubicBezTo>
                      <a:pt x="177775" y="75117"/>
                      <a:pt x="177775" y="75117"/>
                      <a:pt x="178874" y="75117"/>
                    </a:cubicBezTo>
                    <a:cubicBezTo>
                      <a:pt x="281122" y="75117"/>
                      <a:pt x="281122" y="75117"/>
                      <a:pt x="281122" y="75117"/>
                    </a:cubicBezTo>
                    <a:cubicBezTo>
                      <a:pt x="303111" y="66012"/>
                      <a:pt x="326199" y="64874"/>
                      <a:pt x="349288" y="62598"/>
                    </a:cubicBezTo>
                    <a:cubicBezTo>
                      <a:pt x="396564" y="59183"/>
                      <a:pt x="438343" y="56907"/>
                      <a:pt x="465829" y="0"/>
                    </a:cubicBezTo>
                    <a:cubicBezTo>
                      <a:pt x="498812" y="18210"/>
                      <a:pt x="498812" y="18210"/>
                      <a:pt x="498812" y="18210"/>
                    </a:cubicBezTo>
                    <a:cubicBezTo>
                      <a:pt x="461431" y="93328"/>
                      <a:pt x="400962" y="97880"/>
                      <a:pt x="352586" y="101295"/>
                    </a:cubicBezTo>
                    <a:cubicBezTo>
                      <a:pt x="330597" y="103571"/>
                      <a:pt x="308608" y="104709"/>
                      <a:pt x="292117" y="112676"/>
                    </a:cubicBezTo>
                    <a:cubicBezTo>
                      <a:pt x="288818" y="113814"/>
                      <a:pt x="286620" y="113814"/>
                      <a:pt x="284421" y="113814"/>
                    </a:cubicBezTo>
                    <a:cubicBezTo>
                      <a:pt x="179974" y="113814"/>
                      <a:pt x="179974" y="113814"/>
                      <a:pt x="179974" y="113814"/>
                    </a:cubicBezTo>
                    <a:cubicBezTo>
                      <a:pt x="137095" y="119505"/>
                      <a:pt x="103013" y="139991"/>
                      <a:pt x="77725" y="175274"/>
                    </a:cubicBezTo>
                    <a:cubicBezTo>
                      <a:pt x="40344" y="227628"/>
                      <a:pt x="33748" y="298193"/>
                      <a:pt x="39245" y="324370"/>
                    </a:cubicBezTo>
                    <a:cubicBezTo>
                      <a:pt x="39245" y="325508"/>
                      <a:pt x="39245" y="326646"/>
                      <a:pt x="39245" y="327784"/>
                    </a:cubicBezTo>
                    <a:lnTo>
                      <a:pt x="39245" y="716860"/>
                    </a:lnTo>
                    <a:lnTo>
                      <a:pt x="1864" y="716860"/>
                    </a:lnTo>
                    <a:lnTo>
                      <a:pt x="1864" y="651763"/>
                    </a:lnTo>
                    <a:cubicBezTo>
                      <a:pt x="1864" y="330061"/>
                      <a:pt x="1864" y="330061"/>
                      <a:pt x="1864" y="330061"/>
                    </a:cubicBezTo>
                    <a:cubicBezTo>
                      <a:pt x="215" y="320387"/>
                      <a:pt x="-404" y="308081"/>
                      <a:pt x="266" y="294156"/>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6" name="Freeform 598"/>
              <p:cNvSpPr>
                <a:spLocks/>
              </p:cNvSpPr>
              <p:nvPr/>
            </p:nvSpPr>
            <p:spPr bwMode="auto">
              <a:xfrm rot="5400000">
                <a:off x="9945058" y="1692033"/>
                <a:ext cx="377688" cy="211234"/>
              </a:xfrm>
              <a:custGeom>
                <a:avLst/>
                <a:gdLst>
                  <a:gd name="connsiteX0" fmla="*/ 0 w 377688"/>
                  <a:gd name="connsiteY0" fmla="*/ 211234 h 211234"/>
                  <a:gd name="connsiteX1" fmla="*/ 2434 w 377688"/>
                  <a:gd name="connsiteY1" fmla="*/ 162783 h 211234"/>
                  <a:gd name="connsiteX2" fmla="*/ 47888 w 377688"/>
                  <a:gd name="connsiteY2" fmla="*/ 54959 h 211234"/>
                  <a:gd name="connsiteX3" fmla="*/ 377688 w 377688"/>
                  <a:gd name="connsiteY3" fmla="*/ 3766 h 211234"/>
                  <a:gd name="connsiteX4" fmla="*/ 375497 w 377688"/>
                  <a:gd name="connsiteY4" fmla="*/ 42445 h 211234"/>
                  <a:gd name="connsiteX5" fmla="*/ 74184 w 377688"/>
                  <a:gd name="connsiteY5" fmla="*/ 83399 h 211234"/>
                  <a:gd name="connsiteX6" fmla="*/ 39516 w 377688"/>
                  <a:gd name="connsiteY6" fmla="*/ 170906 h 211234"/>
                  <a:gd name="connsiteX7" fmla="*/ 38231 w 377688"/>
                  <a:gd name="connsiteY7" fmla="*/ 211234 h 21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688" h="211234">
                    <a:moveTo>
                      <a:pt x="0" y="211234"/>
                    </a:moveTo>
                    <a:lnTo>
                      <a:pt x="2434" y="162783"/>
                    </a:lnTo>
                    <a:cubicBezTo>
                      <a:pt x="8033" y="113403"/>
                      <a:pt x="22413" y="79701"/>
                      <a:pt x="47888" y="54959"/>
                    </a:cubicBezTo>
                    <a:cubicBezTo>
                      <a:pt x="98289" y="6041"/>
                      <a:pt x="187040" y="-7610"/>
                      <a:pt x="377688" y="3766"/>
                    </a:cubicBezTo>
                    <a:cubicBezTo>
                      <a:pt x="375497" y="42445"/>
                      <a:pt x="375497" y="42445"/>
                      <a:pt x="375497" y="42445"/>
                    </a:cubicBezTo>
                    <a:cubicBezTo>
                      <a:pt x="199092" y="31069"/>
                      <a:pt x="114725" y="42445"/>
                      <a:pt x="74184" y="83399"/>
                    </a:cubicBezTo>
                    <a:cubicBezTo>
                      <a:pt x="54462" y="102169"/>
                      <a:pt x="43368" y="129259"/>
                      <a:pt x="39516" y="170906"/>
                    </a:cubicBezTo>
                    <a:lnTo>
                      <a:pt x="38231" y="211234"/>
                    </a:ln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7" name="Freeform 599"/>
              <p:cNvSpPr>
                <a:spLocks/>
              </p:cNvSpPr>
              <p:nvPr/>
            </p:nvSpPr>
            <p:spPr bwMode="auto">
              <a:xfrm rot="5400000">
                <a:off x="10216505" y="118823"/>
                <a:ext cx="874655" cy="1251093"/>
              </a:xfrm>
              <a:custGeom>
                <a:avLst/>
                <a:gdLst>
                  <a:gd name="connsiteX0" fmla="*/ 0 w 874655"/>
                  <a:gd name="connsiteY0" fmla="*/ 38680 h 1251093"/>
                  <a:gd name="connsiteX1" fmla="*/ 0 w 874655"/>
                  <a:gd name="connsiteY1" fmla="*/ 0 h 1251093"/>
                  <a:gd name="connsiteX2" fmla="*/ 233754 w 874655"/>
                  <a:gd name="connsiteY2" fmla="*/ 3412 h 1251093"/>
                  <a:gd name="connsiteX3" fmla="*/ 237046 w 874655"/>
                  <a:gd name="connsiteY3" fmla="*/ 3412 h 1251093"/>
                  <a:gd name="connsiteX4" fmla="*/ 398369 w 874655"/>
                  <a:gd name="connsiteY4" fmla="*/ 179749 h 1251093"/>
                  <a:gd name="connsiteX5" fmla="*/ 399466 w 874655"/>
                  <a:gd name="connsiteY5" fmla="*/ 183162 h 1251093"/>
                  <a:gd name="connsiteX6" fmla="*/ 390687 w 874655"/>
                  <a:gd name="connsiteY6" fmla="*/ 906712 h 1251093"/>
                  <a:gd name="connsiteX7" fmla="*/ 545425 w 874655"/>
                  <a:gd name="connsiteY7" fmla="*/ 1068260 h 1251093"/>
                  <a:gd name="connsiteX8" fmla="*/ 683701 w 874655"/>
                  <a:gd name="connsiteY8" fmla="*/ 1068260 h 1251093"/>
                  <a:gd name="connsiteX9" fmla="*/ 874655 w 874655"/>
                  <a:gd name="connsiteY9" fmla="*/ 1233220 h 1251093"/>
                  <a:gd name="connsiteX10" fmla="*/ 874655 w 874655"/>
                  <a:gd name="connsiteY10" fmla="*/ 1237771 h 1251093"/>
                  <a:gd name="connsiteX11" fmla="*/ 874655 w 874655"/>
                  <a:gd name="connsiteY11" fmla="*/ 1251093 h 1251093"/>
                  <a:gd name="connsiteX12" fmla="*/ 837342 w 874655"/>
                  <a:gd name="connsiteY12" fmla="*/ 1251093 h 1251093"/>
                  <a:gd name="connsiteX13" fmla="*/ 837342 w 874655"/>
                  <a:gd name="connsiteY13" fmla="*/ 1247210 h 1251093"/>
                  <a:gd name="connsiteX14" fmla="*/ 837342 w 874655"/>
                  <a:gd name="connsiteY14" fmla="*/ 1241184 h 1251093"/>
                  <a:gd name="connsiteX15" fmla="*/ 683701 w 874655"/>
                  <a:gd name="connsiteY15" fmla="*/ 1106940 h 1251093"/>
                  <a:gd name="connsiteX16" fmla="*/ 544327 w 874655"/>
                  <a:gd name="connsiteY16" fmla="*/ 1106940 h 1251093"/>
                  <a:gd name="connsiteX17" fmla="*/ 542133 w 874655"/>
                  <a:gd name="connsiteY17" fmla="*/ 1106940 h 1251093"/>
                  <a:gd name="connsiteX18" fmla="*/ 353374 w 874655"/>
                  <a:gd name="connsiteY18" fmla="*/ 908988 h 1251093"/>
                  <a:gd name="connsiteX19" fmla="*/ 353374 w 874655"/>
                  <a:gd name="connsiteY19" fmla="*/ 907850 h 1251093"/>
                  <a:gd name="connsiteX20" fmla="*/ 362153 w 874655"/>
                  <a:gd name="connsiteY20" fmla="*/ 184300 h 1251093"/>
                  <a:gd name="connsiteX21" fmla="*/ 230461 w 874655"/>
                  <a:gd name="connsiteY21" fmla="*/ 42093 h 1251093"/>
                  <a:gd name="connsiteX22" fmla="*/ 0 w 874655"/>
                  <a:gd name="connsiteY22" fmla="*/ 38680 h 125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655" h="1251093">
                    <a:moveTo>
                      <a:pt x="0" y="38680"/>
                    </a:moveTo>
                    <a:cubicBezTo>
                      <a:pt x="0" y="0"/>
                      <a:pt x="0" y="0"/>
                      <a:pt x="0" y="0"/>
                    </a:cubicBezTo>
                    <a:cubicBezTo>
                      <a:pt x="233754" y="3412"/>
                      <a:pt x="233754" y="3412"/>
                      <a:pt x="233754" y="3412"/>
                    </a:cubicBezTo>
                    <a:cubicBezTo>
                      <a:pt x="234851" y="3412"/>
                      <a:pt x="235948" y="3412"/>
                      <a:pt x="237046" y="3412"/>
                    </a:cubicBezTo>
                    <a:cubicBezTo>
                      <a:pt x="358861" y="30716"/>
                      <a:pt x="387394" y="112628"/>
                      <a:pt x="398369" y="179749"/>
                    </a:cubicBezTo>
                    <a:cubicBezTo>
                      <a:pt x="399466" y="180887"/>
                      <a:pt x="399466" y="182025"/>
                      <a:pt x="399466" y="183162"/>
                    </a:cubicBezTo>
                    <a:cubicBezTo>
                      <a:pt x="390687" y="906712"/>
                      <a:pt x="390687" y="906712"/>
                      <a:pt x="390687" y="906712"/>
                    </a:cubicBezTo>
                    <a:cubicBezTo>
                      <a:pt x="400564" y="1029579"/>
                      <a:pt x="470799" y="1056883"/>
                      <a:pt x="545425" y="1068260"/>
                    </a:cubicBezTo>
                    <a:cubicBezTo>
                      <a:pt x="683701" y="1068260"/>
                      <a:pt x="683701" y="1068260"/>
                      <a:pt x="683701" y="1068260"/>
                    </a:cubicBezTo>
                    <a:cubicBezTo>
                      <a:pt x="823076" y="1069397"/>
                      <a:pt x="864778" y="1194540"/>
                      <a:pt x="874655" y="1233220"/>
                    </a:cubicBezTo>
                    <a:cubicBezTo>
                      <a:pt x="874655" y="1235495"/>
                      <a:pt x="874655" y="1236633"/>
                      <a:pt x="874655" y="1237771"/>
                    </a:cubicBezTo>
                    <a:lnTo>
                      <a:pt x="874655" y="1251093"/>
                    </a:lnTo>
                    <a:lnTo>
                      <a:pt x="837342" y="1251093"/>
                    </a:lnTo>
                    <a:lnTo>
                      <a:pt x="837342" y="1247210"/>
                    </a:lnTo>
                    <a:cubicBezTo>
                      <a:pt x="837342" y="1241184"/>
                      <a:pt x="837342" y="1241184"/>
                      <a:pt x="837342" y="1241184"/>
                    </a:cubicBezTo>
                    <a:cubicBezTo>
                      <a:pt x="826368" y="1199090"/>
                      <a:pt x="791250" y="1108078"/>
                      <a:pt x="683701" y="1106940"/>
                    </a:cubicBezTo>
                    <a:cubicBezTo>
                      <a:pt x="544327" y="1106940"/>
                      <a:pt x="544327" y="1106940"/>
                      <a:pt x="544327" y="1106940"/>
                    </a:cubicBezTo>
                    <a:cubicBezTo>
                      <a:pt x="543230" y="1106940"/>
                      <a:pt x="543230" y="1106940"/>
                      <a:pt x="542133" y="1106940"/>
                    </a:cubicBezTo>
                    <a:cubicBezTo>
                      <a:pt x="460922" y="1094426"/>
                      <a:pt x="365446" y="1061434"/>
                      <a:pt x="353374" y="908988"/>
                    </a:cubicBezTo>
                    <a:cubicBezTo>
                      <a:pt x="353374" y="908988"/>
                      <a:pt x="353374" y="907850"/>
                      <a:pt x="353374" y="907850"/>
                    </a:cubicBezTo>
                    <a:cubicBezTo>
                      <a:pt x="362153" y="184300"/>
                      <a:pt x="362153" y="184300"/>
                      <a:pt x="362153" y="184300"/>
                    </a:cubicBezTo>
                    <a:cubicBezTo>
                      <a:pt x="351179" y="124004"/>
                      <a:pt x="328133" y="64846"/>
                      <a:pt x="230461" y="42093"/>
                    </a:cubicBezTo>
                    <a:cubicBezTo>
                      <a:pt x="0" y="38680"/>
                      <a:pt x="0" y="38680"/>
                      <a:pt x="0" y="3868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9" name="Freeform 600"/>
              <p:cNvSpPr>
                <a:spLocks/>
              </p:cNvSpPr>
              <p:nvPr/>
            </p:nvSpPr>
            <p:spPr bwMode="auto">
              <a:xfrm rot="5400000">
                <a:off x="9938317" y="1410617"/>
                <a:ext cx="664391" cy="484452"/>
              </a:xfrm>
              <a:custGeom>
                <a:avLst/>
                <a:gdLst>
                  <a:gd name="connsiteX0" fmla="*/ 45 w 664391"/>
                  <a:gd name="connsiteY0" fmla="*/ 252601 h 484452"/>
                  <a:gd name="connsiteX1" fmla="*/ 192211 w 664391"/>
                  <a:gd name="connsiteY1" fmla="*/ 13654 h 484452"/>
                  <a:gd name="connsiteX2" fmla="*/ 304217 w 664391"/>
                  <a:gd name="connsiteY2" fmla="*/ 9103 h 484452"/>
                  <a:gd name="connsiteX3" fmla="*/ 664391 w 664391"/>
                  <a:gd name="connsiteY3" fmla="*/ 0 h 484452"/>
                  <a:gd name="connsiteX4" fmla="*/ 664391 w 664391"/>
                  <a:gd name="connsiteY4" fmla="*/ 38687 h 484452"/>
                  <a:gd name="connsiteX5" fmla="*/ 306413 w 664391"/>
                  <a:gd name="connsiteY5" fmla="*/ 47789 h 484452"/>
                  <a:gd name="connsiteX6" fmla="*/ 193309 w 664391"/>
                  <a:gd name="connsiteY6" fmla="*/ 52341 h 484452"/>
                  <a:gd name="connsiteX7" fmla="*/ 37380 w 664391"/>
                  <a:gd name="connsiteY7" fmla="*/ 252601 h 484452"/>
                  <a:gd name="connsiteX8" fmla="*/ 38830 w 664391"/>
                  <a:gd name="connsiteY8" fmla="*/ 453159 h 484452"/>
                  <a:gd name="connsiteX9" fmla="*/ 39056 w 664391"/>
                  <a:gd name="connsiteY9" fmla="*/ 484452 h 484452"/>
                  <a:gd name="connsiteX10" fmla="*/ 1721 w 664391"/>
                  <a:gd name="connsiteY10" fmla="*/ 484452 h 484452"/>
                  <a:gd name="connsiteX11" fmla="*/ 1473 w 664391"/>
                  <a:gd name="connsiteY11" fmla="*/ 450044 h 484452"/>
                  <a:gd name="connsiteX12" fmla="*/ 45 w 664391"/>
                  <a:gd name="connsiteY12" fmla="*/ 252601 h 48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4391" h="484452">
                    <a:moveTo>
                      <a:pt x="45" y="252601"/>
                    </a:moveTo>
                    <a:cubicBezTo>
                      <a:pt x="-2151" y="119473"/>
                      <a:pt x="78010" y="18205"/>
                      <a:pt x="192211" y="13654"/>
                    </a:cubicBezTo>
                    <a:cubicBezTo>
                      <a:pt x="227350" y="12516"/>
                      <a:pt x="264685" y="10241"/>
                      <a:pt x="304217" y="9103"/>
                    </a:cubicBezTo>
                    <a:cubicBezTo>
                      <a:pt x="415124" y="4551"/>
                      <a:pt x="541405" y="0"/>
                      <a:pt x="664391" y="0"/>
                    </a:cubicBezTo>
                    <a:cubicBezTo>
                      <a:pt x="664391" y="38687"/>
                      <a:pt x="664391" y="38687"/>
                      <a:pt x="664391" y="38687"/>
                    </a:cubicBezTo>
                    <a:cubicBezTo>
                      <a:pt x="542503" y="38687"/>
                      <a:pt x="416222" y="43238"/>
                      <a:pt x="306413" y="47789"/>
                    </a:cubicBezTo>
                    <a:cubicBezTo>
                      <a:pt x="266882" y="48927"/>
                      <a:pt x="229547" y="51203"/>
                      <a:pt x="193309" y="52341"/>
                    </a:cubicBezTo>
                    <a:cubicBezTo>
                      <a:pt x="101070" y="55754"/>
                      <a:pt x="35184" y="139954"/>
                      <a:pt x="37380" y="252601"/>
                    </a:cubicBezTo>
                    <a:cubicBezTo>
                      <a:pt x="37929" y="328552"/>
                      <a:pt x="38410" y="395009"/>
                      <a:pt x="38830" y="453159"/>
                    </a:cubicBezTo>
                    <a:lnTo>
                      <a:pt x="39056" y="484452"/>
                    </a:lnTo>
                    <a:lnTo>
                      <a:pt x="1721" y="484452"/>
                    </a:lnTo>
                    <a:lnTo>
                      <a:pt x="1473" y="450044"/>
                    </a:lnTo>
                    <a:cubicBezTo>
                      <a:pt x="45" y="252601"/>
                      <a:pt x="45" y="252601"/>
                      <a:pt x="45" y="252601"/>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0" name="Freeform 193"/>
              <p:cNvSpPr>
                <a:spLocks noEditPoints="1"/>
              </p:cNvSpPr>
              <p:nvPr/>
            </p:nvSpPr>
            <p:spPr bwMode="auto">
              <a:xfrm>
                <a:off x="10242246" y="1048594"/>
                <a:ext cx="184828" cy="241462"/>
              </a:xfrm>
              <a:custGeom>
                <a:avLst/>
                <a:gdLst>
                  <a:gd name="T0" fmla="*/ 95 w 169"/>
                  <a:gd name="T1" fmla="*/ 105 h 212"/>
                  <a:gd name="T2" fmla="*/ 134 w 169"/>
                  <a:gd name="T3" fmla="*/ 212 h 212"/>
                  <a:gd name="T4" fmla="*/ 113 w 169"/>
                  <a:gd name="T5" fmla="*/ 212 h 212"/>
                  <a:gd name="T6" fmla="*/ 85 w 169"/>
                  <a:gd name="T7" fmla="*/ 188 h 212"/>
                  <a:gd name="T8" fmla="*/ 56 w 169"/>
                  <a:gd name="T9" fmla="*/ 212 h 212"/>
                  <a:gd name="T10" fmla="*/ 36 w 169"/>
                  <a:gd name="T11" fmla="*/ 212 h 212"/>
                  <a:gd name="T12" fmla="*/ 74 w 169"/>
                  <a:gd name="T13" fmla="*/ 105 h 212"/>
                  <a:gd name="T14" fmla="*/ 67 w 169"/>
                  <a:gd name="T15" fmla="*/ 90 h 212"/>
                  <a:gd name="T16" fmla="*/ 85 w 169"/>
                  <a:gd name="T17" fmla="*/ 72 h 212"/>
                  <a:gd name="T18" fmla="*/ 102 w 169"/>
                  <a:gd name="T19" fmla="*/ 90 h 212"/>
                  <a:gd name="T20" fmla="*/ 95 w 169"/>
                  <a:gd name="T21" fmla="*/ 105 h 212"/>
                  <a:gd name="T22" fmla="*/ 85 w 169"/>
                  <a:gd name="T23" fmla="*/ 36 h 212"/>
                  <a:gd name="T24" fmla="*/ 136 w 169"/>
                  <a:gd name="T25" fmla="*/ 87 h 212"/>
                  <a:gd name="T26" fmla="*/ 112 w 169"/>
                  <a:gd name="T27" fmla="*/ 129 h 212"/>
                  <a:gd name="T28" fmla="*/ 111 w 169"/>
                  <a:gd name="T29" fmla="*/ 122 h 212"/>
                  <a:gd name="T30" fmla="*/ 126 w 169"/>
                  <a:gd name="T31" fmla="*/ 90 h 212"/>
                  <a:gd name="T32" fmla="*/ 85 w 169"/>
                  <a:gd name="T33" fmla="*/ 49 h 212"/>
                  <a:gd name="T34" fmla="*/ 44 w 169"/>
                  <a:gd name="T35" fmla="*/ 90 h 212"/>
                  <a:gd name="T36" fmla="*/ 59 w 169"/>
                  <a:gd name="T37" fmla="*/ 122 h 212"/>
                  <a:gd name="T38" fmla="*/ 57 w 169"/>
                  <a:gd name="T39" fmla="*/ 129 h 212"/>
                  <a:gd name="T40" fmla="*/ 35 w 169"/>
                  <a:gd name="T41" fmla="*/ 87 h 212"/>
                  <a:gd name="T42" fmla="*/ 85 w 169"/>
                  <a:gd name="T43" fmla="*/ 36 h 212"/>
                  <a:gd name="T44" fmla="*/ 85 w 169"/>
                  <a:gd name="T45" fmla="*/ 0 h 212"/>
                  <a:gd name="T46" fmla="*/ 169 w 169"/>
                  <a:gd name="T47" fmla="*/ 85 h 212"/>
                  <a:gd name="T48" fmla="*/ 123 w 169"/>
                  <a:gd name="T49" fmla="*/ 161 h 212"/>
                  <a:gd name="T50" fmla="*/ 120 w 169"/>
                  <a:gd name="T51" fmla="*/ 155 h 212"/>
                  <a:gd name="T52" fmla="*/ 160 w 169"/>
                  <a:gd name="T53" fmla="*/ 89 h 212"/>
                  <a:gd name="T54" fmla="*/ 85 w 169"/>
                  <a:gd name="T55" fmla="*/ 14 h 212"/>
                  <a:gd name="T56" fmla="*/ 11 w 169"/>
                  <a:gd name="T57" fmla="*/ 89 h 212"/>
                  <a:gd name="T58" fmla="*/ 49 w 169"/>
                  <a:gd name="T59" fmla="*/ 155 h 212"/>
                  <a:gd name="T60" fmla="*/ 47 w 169"/>
                  <a:gd name="T61" fmla="*/ 161 h 212"/>
                  <a:gd name="T62" fmla="*/ 0 w 169"/>
                  <a:gd name="T63" fmla="*/ 85 h 212"/>
                  <a:gd name="T64" fmla="*/ 85 w 169"/>
                  <a:gd name="T65" fmla="*/ 0 h 212"/>
                  <a:gd name="T66" fmla="*/ 85 w 169"/>
                  <a:gd name="T67" fmla="*/ 130 h 212"/>
                  <a:gd name="T68" fmla="*/ 93 w 169"/>
                  <a:gd name="T69" fmla="*/ 138 h 212"/>
                  <a:gd name="T70" fmla="*/ 85 w 169"/>
                  <a:gd name="T71" fmla="*/ 145 h 212"/>
                  <a:gd name="T72" fmla="*/ 76 w 169"/>
                  <a:gd name="T73" fmla="*/ 138 h 212"/>
                  <a:gd name="T74" fmla="*/ 85 w 169"/>
                  <a:gd name="T75" fmla="*/ 130 h 212"/>
                  <a:gd name="T76" fmla="*/ 85 w 169"/>
                  <a:gd name="T77" fmla="*/ 179 h 212"/>
                  <a:gd name="T78" fmla="*/ 99 w 169"/>
                  <a:gd name="T79" fmla="*/ 167 h 212"/>
                  <a:gd name="T80" fmla="*/ 85 w 169"/>
                  <a:gd name="T81" fmla="*/ 156 h 212"/>
                  <a:gd name="T82" fmla="*/ 71 w 169"/>
                  <a:gd name="T83" fmla="*/ 167 h 212"/>
                  <a:gd name="T84" fmla="*/ 85 w 169"/>
                  <a:gd name="T85" fmla="*/ 17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9" h="212">
                    <a:moveTo>
                      <a:pt x="95" y="105"/>
                    </a:moveTo>
                    <a:cubicBezTo>
                      <a:pt x="102" y="151"/>
                      <a:pt x="119" y="189"/>
                      <a:pt x="134" y="212"/>
                    </a:cubicBezTo>
                    <a:cubicBezTo>
                      <a:pt x="113" y="212"/>
                      <a:pt x="113" y="212"/>
                      <a:pt x="113" y="212"/>
                    </a:cubicBezTo>
                    <a:cubicBezTo>
                      <a:pt x="113" y="199"/>
                      <a:pt x="104" y="188"/>
                      <a:pt x="85" y="188"/>
                    </a:cubicBezTo>
                    <a:cubicBezTo>
                      <a:pt x="66" y="188"/>
                      <a:pt x="57" y="199"/>
                      <a:pt x="56" y="212"/>
                    </a:cubicBezTo>
                    <a:cubicBezTo>
                      <a:pt x="36" y="212"/>
                      <a:pt x="36" y="212"/>
                      <a:pt x="36" y="212"/>
                    </a:cubicBezTo>
                    <a:cubicBezTo>
                      <a:pt x="51" y="189"/>
                      <a:pt x="67" y="151"/>
                      <a:pt x="74" y="105"/>
                    </a:cubicBezTo>
                    <a:cubicBezTo>
                      <a:pt x="70" y="102"/>
                      <a:pt x="67" y="96"/>
                      <a:pt x="67" y="90"/>
                    </a:cubicBezTo>
                    <a:cubicBezTo>
                      <a:pt x="67" y="81"/>
                      <a:pt x="75" y="72"/>
                      <a:pt x="85" y="72"/>
                    </a:cubicBezTo>
                    <a:cubicBezTo>
                      <a:pt x="95" y="72"/>
                      <a:pt x="102" y="81"/>
                      <a:pt x="102" y="90"/>
                    </a:cubicBezTo>
                    <a:cubicBezTo>
                      <a:pt x="102" y="96"/>
                      <a:pt x="100" y="102"/>
                      <a:pt x="95" y="105"/>
                    </a:cubicBezTo>
                    <a:close/>
                    <a:moveTo>
                      <a:pt x="85" y="36"/>
                    </a:moveTo>
                    <a:cubicBezTo>
                      <a:pt x="113" y="36"/>
                      <a:pt x="136" y="59"/>
                      <a:pt x="136" y="87"/>
                    </a:cubicBezTo>
                    <a:cubicBezTo>
                      <a:pt x="136" y="105"/>
                      <a:pt x="126" y="120"/>
                      <a:pt x="112" y="129"/>
                    </a:cubicBezTo>
                    <a:cubicBezTo>
                      <a:pt x="112" y="127"/>
                      <a:pt x="111" y="125"/>
                      <a:pt x="111" y="122"/>
                    </a:cubicBezTo>
                    <a:cubicBezTo>
                      <a:pt x="120" y="115"/>
                      <a:pt x="126" y="104"/>
                      <a:pt x="126" y="90"/>
                    </a:cubicBezTo>
                    <a:cubicBezTo>
                      <a:pt x="126" y="67"/>
                      <a:pt x="108" y="49"/>
                      <a:pt x="85" y="49"/>
                    </a:cubicBezTo>
                    <a:cubicBezTo>
                      <a:pt x="62" y="49"/>
                      <a:pt x="44" y="67"/>
                      <a:pt x="44" y="90"/>
                    </a:cubicBezTo>
                    <a:cubicBezTo>
                      <a:pt x="44" y="104"/>
                      <a:pt x="49" y="115"/>
                      <a:pt x="59" y="122"/>
                    </a:cubicBezTo>
                    <a:cubicBezTo>
                      <a:pt x="59" y="125"/>
                      <a:pt x="57" y="127"/>
                      <a:pt x="57" y="129"/>
                    </a:cubicBezTo>
                    <a:cubicBezTo>
                      <a:pt x="44" y="120"/>
                      <a:pt x="35" y="105"/>
                      <a:pt x="35" y="87"/>
                    </a:cubicBezTo>
                    <a:cubicBezTo>
                      <a:pt x="35" y="59"/>
                      <a:pt x="56" y="36"/>
                      <a:pt x="85" y="36"/>
                    </a:cubicBezTo>
                    <a:close/>
                    <a:moveTo>
                      <a:pt x="85" y="0"/>
                    </a:moveTo>
                    <a:cubicBezTo>
                      <a:pt x="132" y="0"/>
                      <a:pt x="169" y="39"/>
                      <a:pt x="169" y="85"/>
                    </a:cubicBezTo>
                    <a:cubicBezTo>
                      <a:pt x="169" y="118"/>
                      <a:pt x="150" y="148"/>
                      <a:pt x="123" y="161"/>
                    </a:cubicBezTo>
                    <a:cubicBezTo>
                      <a:pt x="122" y="159"/>
                      <a:pt x="121" y="157"/>
                      <a:pt x="120" y="155"/>
                    </a:cubicBezTo>
                    <a:cubicBezTo>
                      <a:pt x="144" y="142"/>
                      <a:pt x="160" y="117"/>
                      <a:pt x="160" y="89"/>
                    </a:cubicBezTo>
                    <a:cubicBezTo>
                      <a:pt x="160" y="47"/>
                      <a:pt x="126" y="14"/>
                      <a:pt x="85" y="14"/>
                    </a:cubicBezTo>
                    <a:cubicBezTo>
                      <a:pt x="44" y="14"/>
                      <a:pt x="11" y="47"/>
                      <a:pt x="11" y="89"/>
                    </a:cubicBezTo>
                    <a:cubicBezTo>
                      <a:pt x="11" y="117"/>
                      <a:pt x="26" y="142"/>
                      <a:pt x="49" y="155"/>
                    </a:cubicBezTo>
                    <a:cubicBezTo>
                      <a:pt x="48" y="157"/>
                      <a:pt x="48" y="159"/>
                      <a:pt x="47" y="161"/>
                    </a:cubicBezTo>
                    <a:cubicBezTo>
                      <a:pt x="19" y="148"/>
                      <a:pt x="0" y="118"/>
                      <a:pt x="0" y="85"/>
                    </a:cubicBezTo>
                    <a:cubicBezTo>
                      <a:pt x="0" y="39"/>
                      <a:pt x="38" y="0"/>
                      <a:pt x="85" y="0"/>
                    </a:cubicBezTo>
                    <a:close/>
                    <a:moveTo>
                      <a:pt x="85" y="130"/>
                    </a:moveTo>
                    <a:cubicBezTo>
                      <a:pt x="91" y="130"/>
                      <a:pt x="93" y="134"/>
                      <a:pt x="93" y="138"/>
                    </a:cubicBezTo>
                    <a:cubicBezTo>
                      <a:pt x="93" y="141"/>
                      <a:pt x="91" y="145"/>
                      <a:pt x="85" y="145"/>
                    </a:cubicBezTo>
                    <a:cubicBezTo>
                      <a:pt x="78" y="145"/>
                      <a:pt x="76" y="141"/>
                      <a:pt x="76" y="138"/>
                    </a:cubicBezTo>
                    <a:cubicBezTo>
                      <a:pt x="76" y="134"/>
                      <a:pt x="78" y="130"/>
                      <a:pt x="85" y="130"/>
                    </a:cubicBezTo>
                    <a:close/>
                    <a:moveTo>
                      <a:pt x="85" y="179"/>
                    </a:moveTo>
                    <a:cubicBezTo>
                      <a:pt x="95" y="179"/>
                      <a:pt x="99" y="174"/>
                      <a:pt x="99" y="167"/>
                    </a:cubicBezTo>
                    <a:cubicBezTo>
                      <a:pt x="99" y="161"/>
                      <a:pt x="95" y="156"/>
                      <a:pt x="85" y="156"/>
                    </a:cubicBezTo>
                    <a:cubicBezTo>
                      <a:pt x="74" y="156"/>
                      <a:pt x="71" y="161"/>
                      <a:pt x="71" y="167"/>
                    </a:cubicBezTo>
                    <a:cubicBezTo>
                      <a:pt x="71" y="174"/>
                      <a:pt x="74" y="179"/>
                      <a:pt x="85" y="179"/>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1" name="Freeform 194"/>
              <p:cNvSpPr>
                <a:spLocks noEditPoints="1"/>
              </p:cNvSpPr>
              <p:nvPr/>
            </p:nvSpPr>
            <p:spPr bwMode="auto">
              <a:xfrm>
                <a:off x="11233665" y="802912"/>
                <a:ext cx="188741" cy="320267"/>
              </a:xfrm>
              <a:custGeom>
                <a:avLst/>
                <a:gdLst>
                  <a:gd name="T0" fmla="*/ 180 w 219"/>
                  <a:gd name="T1" fmla="*/ 29 h 358"/>
                  <a:gd name="T2" fmla="*/ 159 w 219"/>
                  <a:gd name="T3" fmla="*/ 35 h 358"/>
                  <a:gd name="T4" fmla="*/ 104 w 219"/>
                  <a:gd name="T5" fmla="*/ 0 h 358"/>
                  <a:gd name="T6" fmla="*/ 44 w 219"/>
                  <a:gd name="T7" fmla="*/ 48 h 358"/>
                  <a:gd name="T8" fmla="*/ 31 w 219"/>
                  <a:gd name="T9" fmla="*/ 45 h 358"/>
                  <a:gd name="T10" fmla="*/ 0 w 219"/>
                  <a:gd name="T11" fmla="*/ 76 h 358"/>
                  <a:gd name="T12" fmla="*/ 31 w 219"/>
                  <a:gd name="T13" fmla="*/ 108 h 358"/>
                  <a:gd name="T14" fmla="*/ 180 w 219"/>
                  <a:gd name="T15" fmla="*/ 108 h 358"/>
                  <a:gd name="T16" fmla="*/ 219 w 219"/>
                  <a:gd name="T17" fmla="*/ 68 h 358"/>
                  <a:gd name="T18" fmla="*/ 180 w 219"/>
                  <a:gd name="T19" fmla="*/ 29 h 358"/>
                  <a:gd name="T20" fmla="*/ 47 w 219"/>
                  <a:gd name="T21" fmla="*/ 299 h 358"/>
                  <a:gd name="T22" fmla="*/ 47 w 219"/>
                  <a:gd name="T23" fmla="*/ 353 h 358"/>
                  <a:gd name="T24" fmla="*/ 51 w 219"/>
                  <a:gd name="T25" fmla="*/ 358 h 358"/>
                  <a:gd name="T26" fmla="*/ 89 w 219"/>
                  <a:gd name="T27" fmla="*/ 358 h 358"/>
                  <a:gd name="T28" fmla="*/ 89 w 219"/>
                  <a:gd name="T29" fmla="*/ 307 h 358"/>
                  <a:gd name="T30" fmla="*/ 94 w 219"/>
                  <a:gd name="T31" fmla="*/ 303 h 358"/>
                  <a:gd name="T32" fmla="*/ 125 w 219"/>
                  <a:gd name="T33" fmla="*/ 303 h 358"/>
                  <a:gd name="T34" fmla="*/ 130 w 219"/>
                  <a:gd name="T35" fmla="*/ 307 h 358"/>
                  <a:gd name="T36" fmla="*/ 130 w 219"/>
                  <a:gd name="T37" fmla="*/ 358 h 358"/>
                  <a:gd name="T38" fmla="*/ 168 w 219"/>
                  <a:gd name="T39" fmla="*/ 358 h 358"/>
                  <a:gd name="T40" fmla="*/ 172 w 219"/>
                  <a:gd name="T41" fmla="*/ 353 h 358"/>
                  <a:gd name="T42" fmla="*/ 172 w 219"/>
                  <a:gd name="T43" fmla="*/ 299 h 358"/>
                  <a:gd name="T44" fmla="*/ 109 w 219"/>
                  <a:gd name="T45" fmla="*/ 243 h 358"/>
                  <a:gd name="T46" fmla="*/ 47 w 219"/>
                  <a:gd name="T47" fmla="*/ 299 h 358"/>
                  <a:gd name="T48" fmla="*/ 47 w 219"/>
                  <a:gd name="T49" fmla="*/ 299 h 358"/>
                  <a:gd name="T50" fmla="*/ 160 w 219"/>
                  <a:gd name="T51" fmla="*/ 218 h 358"/>
                  <a:gd name="T52" fmla="*/ 136 w 219"/>
                  <a:gd name="T53" fmla="*/ 218 h 358"/>
                  <a:gd name="T54" fmla="*/ 136 w 219"/>
                  <a:gd name="T55" fmla="*/ 235 h 358"/>
                  <a:gd name="T56" fmla="*/ 109 w 219"/>
                  <a:gd name="T57" fmla="*/ 212 h 358"/>
                  <a:gd name="T58" fmla="*/ 29 w 219"/>
                  <a:gd name="T59" fmla="*/ 283 h 358"/>
                  <a:gd name="T60" fmla="*/ 29 w 219"/>
                  <a:gd name="T61" fmla="*/ 304 h 358"/>
                  <a:gd name="T62" fmla="*/ 109 w 219"/>
                  <a:gd name="T63" fmla="*/ 234 h 358"/>
                  <a:gd name="T64" fmla="*/ 190 w 219"/>
                  <a:gd name="T65" fmla="*/ 304 h 358"/>
                  <a:gd name="T66" fmla="*/ 190 w 219"/>
                  <a:gd name="T67" fmla="*/ 283 h 358"/>
                  <a:gd name="T68" fmla="*/ 160 w 219"/>
                  <a:gd name="T69" fmla="*/ 256 h 358"/>
                  <a:gd name="T70" fmla="*/ 160 w 219"/>
                  <a:gd name="T71" fmla="*/ 218 h 358"/>
                  <a:gd name="T72" fmla="*/ 160 w 219"/>
                  <a:gd name="T73" fmla="*/ 218 h 358"/>
                  <a:gd name="T74" fmla="*/ 109 w 219"/>
                  <a:gd name="T75" fmla="*/ 189 h 358"/>
                  <a:gd name="T76" fmla="*/ 160 w 219"/>
                  <a:gd name="T77" fmla="*/ 159 h 358"/>
                  <a:gd name="T78" fmla="*/ 109 w 219"/>
                  <a:gd name="T79" fmla="*/ 180 h 358"/>
                  <a:gd name="T80" fmla="*/ 59 w 219"/>
                  <a:gd name="T81" fmla="*/ 159 h 358"/>
                  <a:gd name="T82" fmla="*/ 109 w 219"/>
                  <a:gd name="T83" fmla="*/ 189 h 358"/>
                  <a:gd name="T84" fmla="*/ 109 w 219"/>
                  <a:gd name="T85" fmla="*/ 164 h 358"/>
                  <a:gd name="T86" fmla="*/ 144 w 219"/>
                  <a:gd name="T87" fmla="*/ 141 h 358"/>
                  <a:gd name="T88" fmla="*/ 109 w 219"/>
                  <a:gd name="T89" fmla="*/ 156 h 358"/>
                  <a:gd name="T90" fmla="*/ 75 w 219"/>
                  <a:gd name="T91" fmla="*/ 141 h 358"/>
                  <a:gd name="T92" fmla="*/ 109 w 219"/>
                  <a:gd name="T93" fmla="*/ 164 h 358"/>
                  <a:gd name="T94" fmla="*/ 130 w 219"/>
                  <a:gd name="T95" fmla="*/ 127 h 358"/>
                  <a:gd name="T96" fmla="*/ 109 w 219"/>
                  <a:gd name="T97" fmla="*/ 135 h 358"/>
                  <a:gd name="T98" fmla="*/ 89 w 219"/>
                  <a:gd name="T99" fmla="*/ 127 h 358"/>
                  <a:gd name="T100" fmla="*/ 109 w 219"/>
                  <a:gd name="T101" fmla="*/ 142 h 358"/>
                  <a:gd name="T102" fmla="*/ 130 w 219"/>
                  <a:gd name="T103" fmla="*/ 12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 h="358">
                    <a:moveTo>
                      <a:pt x="180" y="29"/>
                    </a:moveTo>
                    <a:cubicBezTo>
                      <a:pt x="172" y="29"/>
                      <a:pt x="165" y="31"/>
                      <a:pt x="159" y="35"/>
                    </a:cubicBezTo>
                    <a:cubicBezTo>
                      <a:pt x="149" y="14"/>
                      <a:pt x="128" y="0"/>
                      <a:pt x="104" y="0"/>
                    </a:cubicBezTo>
                    <a:cubicBezTo>
                      <a:pt x="74" y="0"/>
                      <a:pt x="50" y="20"/>
                      <a:pt x="44" y="48"/>
                    </a:cubicBezTo>
                    <a:cubicBezTo>
                      <a:pt x="40" y="46"/>
                      <a:pt x="36" y="45"/>
                      <a:pt x="31" y="45"/>
                    </a:cubicBezTo>
                    <a:cubicBezTo>
                      <a:pt x="14" y="45"/>
                      <a:pt x="0" y="59"/>
                      <a:pt x="0" y="76"/>
                    </a:cubicBezTo>
                    <a:cubicBezTo>
                      <a:pt x="0" y="94"/>
                      <a:pt x="14" y="108"/>
                      <a:pt x="31" y="108"/>
                    </a:cubicBezTo>
                    <a:cubicBezTo>
                      <a:pt x="180" y="108"/>
                      <a:pt x="180" y="108"/>
                      <a:pt x="180" y="108"/>
                    </a:cubicBezTo>
                    <a:cubicBezTo>
                      <a:pt x="201" y="108"/>
                      <a:pt x="219" y="90"/>
                      <a:pt x="219" y="68"/>
                    </a:cubicBezTo>
                    <a:cubicBezTo>
                      <a:pt x="219" y="46"/>
                      <a:pt x="201" y="29"/>
                      <a:pt x="180" y="29"/>
                    </a:cubicBezTo>
                    <a:close/>
                    <a:moveTo>
                      <a:pt x="47" y="299"/>
                    </a:moveTo>
                    <a:cubicBezTo>
                      <a:pt x="47" y="353"/>
                      <a:pt x="47" y="353"/>
                      <a:pt x="47" y="353"/>
                    </a:cubicBezTo>
                    <a:cubicBezTo>
                      <a:pt x="47" y="355"/>
                      <a:pt x="49" y="358"/>
                      <a:pt x="51" y="358"/>
                    </a:cubicBezTo>
                    <a:cubicBezTo>
                      <a:pt x="89" y="358"/>
                      <a:pt x="89" y="358"/>
                      <a:pt x="89" y="358"/>
                    </a:cubicBezTo>
                    <a:cubicBezTo>
                      <a:pt x="89" y="307"/>
                      <a:pt x="89" y="307"/>
                      <a:pt x="89" y="307"/>
                    </a:cubicBezTo>
                    <a:cubicBezTo>
                      <a:pt x="89" y="305"/>
                      <a:pt x="91" y="303"/>
                      <a:pt x="94" y="303"/>
                    </a:cubicBezTo>
                    <a:cubicBezTo>
                      <a:pt x="125" y="303"/>
                      <a:pt x="125" y="303"/>
                      <a:pt x="125" y="303"/>
                    </a:cubicBezTo>
                    <a:cubicBezTo>
                      <a:pt x="128" y="303"/>
                      <a:pt x="130" y="305"/>
                      <a:pt x="130" y="307"/>
                    </a:cubicBezTo>
                    <a:cubicBezTo>
                      <a:pt x="130" y="358"/>
                      <a:pt x="130" y="358"/>
                      <a:pt x="130" y="358"/>
                    </a:cubicBezTo>
                    <a:cubicBezTo>
                      <a:pt x="168" y="358"/>
                      <a:pt x="168" y="358"/>
                      <a:pt x="168" y="358"/>
                    </a:cubicBezTo>
                    <a:cubicBezTo>
                      <a:pt x="170" y="358"/>
                      <a:pt x="172" y="355"/>
                      <a:pt x="172" y="353"/>
                    </a:cubicBezTo>
                    <a:cubicBezTo>
                      <a:pt x="172" y="299"/>
                      <a:pt x="172" y="299"/>
                      <a:pt x="172" y="299"/>
                    </a:cubicBezTo>
                    <a:cubicBezTo>
                      <a:pt x="109" y="243"/>
                      <a:pt x="109" y="243"/>
                      <a:pt x="109" y="243"/>
                    </a:cubicBezTo>
                    <a:cubicBezTo>
                      <a:pt x="47" y="299"/>
                      <a:pt x="47" y="299"/>
                      <a:pt x="47" y="299"/>
                    </a:cubicBezTo>
                    <a:cubicBezTo>
                      <a:pt x="47" y="299"/>
                      <a:pt x="47" y="299"/>
                      <a:pt x="47" y="299"/>
                    </a:cubicBezTo>
                    <a:close/>
                    <a:moveTo>
                      <a:pt x="160" y="218"/>
                    </a:moveTo>
                    <a:cubicBezTo>
                      <a:pt x="136" y="218"/>
                      <a:pt x="136" y="218"/>
                      <a:pt x="136" y="218"/>
                    </a:cubicBezTo>
                    <a:cubicBezTo>
                      <a:pt x="136" y="235"/>
                      <a:pt x="136" y="235"/>
                      <a:pt x="136" y="235"/>
                    </a:cubicBezTo>
                    <a:cubicBezTo>
                      <a:pt x="109" y="212"/>
                      <a:pt x="109" y="212"/>
                      <a:pt x="109" y="212"/>
                    </a:cubicBezTo>
                    <a:cubicBezTo>
                      <a:pt x="29" y="283"/>
                      <a:pt x="29" y="283"/>
                      <a:pt x="29" y="283"/>
                    </a:cubicBezTo>
                    <a:cubicBezTo>
                      <a:pt x="29" y="304"/>
                      <a:pt x="29" y="304"/>
                      <a:pt x="29" y="304"/>
                    </a:cubicBezTo>
                    <a:cubicBezTo>
                      <a:pt x="109" y="234"/>
                      <a:pt x="109" y="234"/>
                      <a:pt x="109" y="234"/>
                    </a:cubicBezTo>
                    <a:cubicBezTo>
                      <a:pt x="190" y="304"/>
                      <a:pt x="190" y="304"/>
                      <a:pt x="190" y="304"/>
                    </a:cubicBezTo>
                    <a:cubicBezTo>
                      <a:pt x="190" y="283"/>
                      <a:pt x="190" y="283"/>
                      <a:pt x="190" y="283"/>
                    </a:cubicBezTo>
                    <a:cubicBezTo>
                      <a:pt x="160" y="256"/>
                      <a:pt x="160" y="256"/>
                      <a:pt x="160" y="256"/>
                    </a:cubicBezTo>
                    <a:cubicBezTo>
                      <a:pt x="160" y="218"/>
                      <a:pt x="160" y="218"/>
                      <a:pt x="160" y="218"/>
                    </a:cubicBezTo>
                    <a:cubicBezTo>
                      <a:pt x="160" y="218"/>
                      <a:pt x="160" y="218"/>
                      <a:pt x="160" y="218"/>
                    </a:cubicBezTo>
                    <a:close/>
                    <a:moveTo>
                      <a:pt x="109" y="189"/>
                    </a:moveTo>
                    <a:cubicBezTo>
                      <a:pt x="133" y="189"/>
                      <a:pt x="153" y="175"/>
                      <a:pt x="160" y="159"/>
                    </a:cubicBezTo>
                    <a:cubicBezTo>
                      <a:pt x="147" y="173"/>
                      <a:pt x="128" y="180"/>
                      <a:pt x="109" y="180"/>
                    </a:cubicBezTo>
                    <a:cubicBezTo>
                      <a:pt x="91" y="180"/>
                      <a:pt x="72" y="173"/>
                      <a:pt x="59" y="159"/>
                    </a:cubicBezTo>
                    <a:cubicBezTo>
                      <a:pt x="66" y="175"/>
                      <a:pt x="86" y="189"/>
                      <a:pt x="109" y="189"/>
                    </a:cubicBezTo>
                    <a:close/>
                    <a:moveTo>
                      <a:pt x="109" y="164"/>
                    </a:moveTo>
                    <a:cubicBezTo>
                      <a:pt x="127" y="164"/>
                      <a:pt x="140" y="152"/>
                      <a:pt x="144" y="141"/>
                    </a:cubicBezTo>
                    <a:cubicBezTo>
                      <a:pt x="135" y="150"/>
                      <a:pt x="122" y="156"/>
                      <a:pt x="109" y="156"/>
                    </a:cubicBezTo>
                    <a:cubicBezTo>
                      <a:pt x="96" y="156"/>
                      <a:pt x="84" y="150"/>
                      <a:pt x="75" y="141"/>
                    </a:cubicBezTo>
                    <a:cubicBezTo>
                      <a:pt x="79" y="152"/>
                      <a:pt x="92" y="164"/>
                      <a:pt x="109" y="164"/>
                    </a:cubicBezTo>
                    <a:close/>
                    <a:moveTo>
                      <a:pt x="130" y="127"/>
                    </a:moveTo>
                    <a:cubicBezTo>
                      <a:pt x="124" y="132"/>
                      <a:pt x="117" y="135"/>
                      <a:pt x="109" y="135"/>
                    </a:cubicBezTo>
                    <a:cubicBezTo>
                      <a:pt x="102" y="135"/>
                      <a:pt x="95" y="132"/>
                      <a:pt x="89" y="127"/>
                    </a:cubicBezTo>
                    <a:cubicBezTo>
                      <a:pt x="91" y="135"/>
                      <a:pt x="99" y="142"/>
                      <a:pt x="109" y="142"/>
                    </a:cubicBezTo>
                    <a:cubicBezTo>
                      <a:pt x="120" y="142"/>
                      <a:pt x="128" y="135"/>
                      <a:pt x="130" y="127"/>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2" name="Freeform 195"/>
              <p:cNvSpPr>
                <a:spLocks noEditPoints="1"/>
              </p:cNvSpPr>
              <p:nvPr/>
            </p:nvSpPr>
            <p:spPr bwMode="auto">
              <a:xfrm>
                <a:off x="11639761" y="1680208"/>
                <a:ext cx="187738" cy="241462"/>
              </a:xfrm>
              <a:custGeom>
                <a:avLst/>
                <a:gdLst>
                  <a:gd name="T0" fmla="*/ 62 w 171"/>
                  <a:gd name="T1" fmla="*/ 187 h 212"/>
                  <a:gd name="T2" fmla="*/ 118 w 171"/>
                  <a:gd name="T3" fmla="*/ 175 h 212"/>
                  <a:gd name="T4" fmla="*/ 118 w 171"/>
                  <a:gd name="T5" fmla="*/ 11 h 212"/>
                  <a:gd name="T6" fmla="*/ 62 w 171"/>
                  <a:gd name="T7" fmla="*/ 0 h 212"/>
                  <a:gd name="T8" fmla="*/ 55 w 171"/>
                  <a:gd name="T9" fmla="*/ 34 h 212"/>
                  <a:gd name="T10" fmla="*/ 74 w 171"/>
                  <a:gd name="T11" fmla="*/ 45 h 212"/>
                  <a:gd name="T12" fmla="*/ 58 w 171"/>
                  <a:gd name="T13" fmla="*/ 56 h 212"/>
                  <a:gd name="T14" fmla="*/ 74 w 171"/>
                  <a:gd name="T15" fmla="*/ 67 h 212"/>
                  <a:gd name="T16" fmla="*/ 59 w 171"/>
                  <a:gd name="T17" fmla="*/ 78 h 212"/>
                  <a:gd name="T18" fmla="*/ 74 w 171"/>
                  <a:gd name="T19" fmla="*/ 89 h 212"/>
                  <a:gd name="T20" fmla="*/ 53 w 171"/>
                  <a:gd name="T21" fmla="*/ 170 h 212"/>
                  <a:gd name="T22" fmla="*/ 85 w 171"/>
                  <a:gd name="T23" fmla="*/ 146 h 212"/>
                  <a:gd name="T24" fmla="*/ 85 w 171"/>
                  <a:gd name="T25" fmla="*/ 168 h 212"/>
                  <a:gd name="T26" fmla="*/ 85 w 171"/>
                  <a:gd name="T27" fmla="*/ 146 h 212"/>
                  <a:gd name="T28" fmla="*/ 90 w 171"/>
                  <a:gd name="T29" fmla="*/ 157 h 212"/>
                  <a:gd name="T30" fmla="*/ 80 w 171"/>
                  <a:gd name="T31" fmla="*/ 157 h 212"/>
                  <a:gd name="T32" fmla="*/ 129 w 171"/>
                  <a:gd name="T33" fmla="*/ 170 h 212"/>
                  <a:gd name="T34" fmla="*/ 125 w 171"/>
                  <a:gd name="T35" fmla="*/ 174 h 212"/>
                  <a:gd name="T36" fmla="*/ 108 w 171"/>
                  <a:gd name="T37" fmla="*/ 194 h 212"/>
                  <a:gd name="T38" fmla="*/ 49 w 171"/>
                  <a:gd name="T39" fmla="*/ 188 h 212"/>
                  <a:gd name="T40" fmla="*/ 45 w 171"/>
                  <a:gd name="T41" fmla="*/ 170 h 212"/>
                  <a:gd name="T42" fmla="*/ 26 w 171"/>
                  <a:gd name="T43" fmla="*/ 185 h 212"/>
                  <a:gd name="T44" fmla="*/ 41 w 171"/>
                  <a:gd name="T45" fmla="*/ 212 h 212"/>
                  <a:gd name="T46" fmla="*/ 144 w 171"/>
                  <a:gd name="T47" fmla="*/ 197 h 212"/>
                  <a:gd name="T48" fmla="*/ 129 w 171"/>
                  <a:gd name="T49" fmla="*/ 170 h 212"/>
                  <a:gd name="T50" fmla="*/ 127 w 171"/>
                  <a:gd name="T51" fmla="*/ 51 h 212"/>
                  <a:gd name="T52" fmla="*/ 138 w 171"/>
                  <a:gd name="T53" fmla="*/ 65 h 212"/>
                  <a:gd name="T54" fmla="*/ 43 w 171"/>
                  <a:gd name="T55" fmla="*/ 51 h 212"/>
                  <a:gd name="T56" fmla="*/ 43 w 171"/>
                  <a:gd name="T57" fmla="*/ 79 h 212"/>
                  <a:gd name="T58" fmla="*/ 164 w 171"/>
                  <a:gd name="T59" fmla="*/ 65 h 212"/>
                  <a:gd name="T60" fmla="*/ 170 w 171"/>
                  <a:gd name="T61" fmla="*/ 65 h 212"/>
                  <a:gd name="T62" fmla="*/ 137 w 171"/>
                  <a:gd name="T63" fmla="*/ 41 h 212"/>
                  <a:gd name="T64" fmla="*/ 137 w 171"/>
                  <a:gd name="T65" fmla="*/ 89 h 212"/>
                  <a:gd name="T66" fmla="*/ 137 w 171"/>
                  <a:gd name="T67" fmla="*/ 41 h 212"/>
                  <a:gd name="T68" fmla="*/ 34 w 171"/>
                  <a:gd name="T69" fmla="*/ 41 h 212"/>
                  <a:gd name="T70" fmla="*/ 34 w 171"/>
                  <a:gd name="T71" fmla="*/ 89 h 212"/>
                  <a:gd name="T72" fmla="*/ 21 w 171"/>
                  <a:gd name="T73" fmla="*/ 30 h 212"/>
                  <a:gd name="T74" fmla="*/ 21 w 171"/>
                  <a:gd name="T75" fmla="*/ 100 h 212"/>
                  <a:gd name="T76" fmla="*/ 21 w 171"/>
                  <a:gd name="T77" fmla="*/ 3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1" h="212">
                    <a:moveTo>
                      <a:pt x="52" y="175"/>
                    </a:moveTo>
                    <a:cubicBezTo>
                      <a:pt x="51" y="181"/>
                      <a:pt x="56" y="187"/>
                      <a:pt x="62" y="187"/>
                    </a:cubicBezTo>
                    <a:cubicBezTo>
                      <a:pt x="108" y="187"/>
                      <a:pt x="108" y="187"/>
                      <a:pt x="108" y="187"/>
                    </a:cubicBezTo>
                    <a:cubicBezTo>
                      <a:pt x="115" y="187"/>
                      <a:pt x="119" y="181"/>
                      <a:pt x="118" y="175"/>
                    </a:cubicBezTo>
                    <a:cubicBezTo>
                      <a:pt x="118" y="173"/>
                      <a:pt x="118" y="172"/>
                      <a:pt x="117" y="170"/>
                    </a:cubicBezTo>
                    <a:cubicBezTo>
                      <a:pt x="109" y="112"/>
                      <a:pt x="109" y="70"/>
                      <a:pt x="118" y="11"/>
                    </a:cubicBezTo>
                    <a:cubicBezTo>
                      <a:pt x="119" y="5"/>
                      <a:pt x="115" y="0"/>
                      <a:pt x="108" y="0"/>
                    </a:cubicBezTo>
                    <a:cubicBezTo>
                      <a:pt x="62" y="0"/>
                      <a:pt x="62" y="0"/>
                      <a:pt x="62" y="0"/>
                    </a:cubicBezTo>
                    <a:cubicBezTo>
                      <a:pt x="56" y="0"/>
                      <a:pt x="51" y="5"/>
                      <a:pt x="52" y="11"/>
                    </a:cubicBezTo>
                    <a:cubicBezTo>
                      <a:pt x="53" y="19"/>
                      <a:pt x="54" y="27"/>
                      <a:pt x="55" y="34"/>
                    </a:cubicBezTo>
                    <a:cubicBezTo>
                      <a:pt x="74" y="34"/>
                      <a:pt x="74" y="34"/>
                      <a:pt x="74" y="34"/>
                    </a:cubicBezTo>
                    <a:cubicBezTo>
                      <a:pt x="74" y="45"/>
                      <a:pt x="74" y="45"/>
                      <a:pt x="74" y="45"/>
                    </a:cubicBezTo>
                    <a:cubicBezTo>
                      <a:pt x="56" y="45"/>
                      <a:pt x="56" y="45"/>
                      <a:pt x="56" y="45"/>
                    </a:cubicBezTo>
                    <a:cubicBezTo>
                      <a:pt x="57" y="49"/>
                      <a:pt x="57" y="53"/>
                      <a:pt x="58" y="56"/>
                    </a:cubicBezTo>
                    <a:cubicBezTo>
                      <a:pt x="74" y="56"/>
                      <a:pt x="74" y="56"/>
                      <a:pt x="74" y="56"/>
                    </a:cubicBezTo>
                    <a:cubicBezTo>
                      <a:pt x="74" y="67"/>
                      <a:pt x="74" y="67"/>
                      <a:pt x="74" y="67"/>
                    </a:cubicBezTo>
                    <a:cubicBezTo>
                      <a:pt x="58" y="67"/>
                      <a:pt x="58" y="67"/>
                      <a:pt x="58" y="67"/>
                    </a:cubicBezTo>
                    <a:cubicBezTo>
                      <a:pt x="59" y="71"/>
                      <a:pt x="59" y="75"/>
                      <a:pt x="59" y="78"/>
                    </a:cubicBezTo>
                    <a:cubicBezTo>
                      <a:pt x="74" y="78"/>
                      <a:pt x="74" y="78"/>
                      <a:pt x="74" y="78"/>
                    </a:cubicBezTo>
                    <a:cubicBezTo>
                      <a:pt x="74" y="89"/>
                      <a:pt x="74" y="89"/>
                      <a:pt x="74" y="89"/>
                    </a:cubicBezTo>
                    <a:cubicBezTo>
                      <a:pt x="59" y="89"/>
                      <a:pt x="59" y="89"/>
                      <a:pt x="59" y="89"/>
                    </a:cubicBezTo>
                    <a:cubicBezTo>
                      <a:pt x="59" y="115"/>
                      <a:pt x="57" y="140"/>
                      <a:pt x="53" y="170"/>
                    </a:cubicBezTo>
                    <a:cubicBezTo>
                      <a:pt x="53" y="172"/>
                      <a:pt x="52" y="173"/>
                      <a:pt x="52" y="175"/>
                    </a:cubicBezTo>
                    <a:close/>
                    <a:moveTo>
                      <a:pt x="85" y="146"/>
                    </a:moveTo>
                    <a:cubicBezTo>
                      <a:pt x="91" y="146"/>
                      <a:pt x="97" y="151"/>
                      <a:pt x="97" y="157"/>
                    </a:cubicBezTo>
                    <a:cubicBezTo>
                      <a:pt x="97" y="163"/>
                      <a:pt x="91" y="168"/>
                      <a:pt x="85" y="168"/>
                    </a:cubicBezTo>
                    <a:cubicBezTo>
                      <a:pt x="79" y="168"/>
                      <a:pt x="74" y="163"/>
                      <a:pt x="74" y="157"/>
                    </a:cubicBezTo>
                    <a:cubicBezTo>
                      <a:pt x="74" y="151"/>
                      <a:pt x="79" y="146"/>
                      <a:pt x="85" y="146"/>
                    </a:cubicBezTo>
                    <a:close/>
                    <a:moveTo>
                      <a:pt x="85" y="162"/>
                    </a:moveTo>
                    <a:cubicBezTo>
                      <a:pt x="88" y="162"/>
                      <a:pt x="90" y="160"/>
                      <a:pt x="90" y="157"/>
                    </a:cubicBezTo>
                    <a:cubicBezTo>
                      <a:pt x="90" y="154"/>
                      <a:pt x="88" y="152"/>
                      <a:pt x="85" y="152"/>
                    </a:cubicBezTo>
                    <a:cubicBezTo>
                      <a:pt x="82" y="152"/>
                      <a:pt x="80" y="154"/>
                      <a:pt x="80" y="157"/>
                    </a:cubicBezTo>
                    <a:cubicBezTo>
                      <a:pt x="80" y="160"/>
                      <a:pt x="82" y="162"/>
                      <a:pt x="85" y="162"/>
                    </a:cubicBezTo>
                    <a:close/>
                    <a:moveTo>
                      <a:pt x="129" y="170"/>
                    </a:moveTo>
                    <a:cubicBezTo>
                      <a:pt x="125" y="170"/>
                      <a:pt x="125" y="170"/>
                      <a:pt x="125" y="170"/>
                    </a:cubicBezTo>
                    <a:cubicBezTo>
                      <a:pt x="125" y="171"/>
                      <a:pt x="125" y="173"/>
                      <a:pt x="125" y="174"/>
                    </a:cubicBezTo>
                    <a:cubicBezTo>
                      <a:pt x="126" y="179"/>
                      <a:pt x="125" y="184"/>
                      <a:pt x="121" y="188"/>
                    </a:cubicBezTo>
                    <a:cubicBezTo>
                      <a:pt x="118" y="192"/>
                      <a:pt x="114" y="194"/>
                      <a:pt x="108" y="194"/>
                    </a:cubicBezTo>
                    <a:cubicBezTo>
                      <a:pt x="62" y="194"/>
                      <a:pt x="62" y="194"/>
                      <a:pt x="62" y="194"/>
                    </a:cubicBezTo>
                    <a:cubicBezTo>
                      <a:pt x="57" y="194"/>
                      <a:pt x="52" y="192"/>
                      <a:pt x="49" y="188"/>
                    </a:cubicBezTo>
                    <a:cubicBezTo>
                      <a:pt x="45" y="184"/>
                      <a:pt x="44" y="179"/>
                      <a:pt x="45" y="174"/>
                    </a:cubicBezTo>
                    <a:cubicBezTo>
                      <a:pt x="45" y="173"/>
                      <a:pt x="45" y="171"/>
                      <a:pt x="45" y="170"/>
                    </a:cubicBezTo>
                    <a:cubicBezTo>
                      <a:pt x="41" y="170"/>
                      <a:pt x="41" y="170"/>
                      <a:pt x="41" y="170"/>
                    </a:cubicBezTo>
                    <a:cubicBezTo>
                      <a:pt x="33" y="170"/>
                      <a:pt x="26" y="177"/>
                      <a:pt x="26" y="185"/>
                    </a:cubicBezTo>
                    <a:cubicBezTo>
                      <a:pt x="26" y="197"/>
                      <a:pt x="26" y="197"/>
                      <a:pt x="26" y="197"/>
                    </a:cubicBezTo>
                    <a:cubicBezTo>
                      <a:pt x="26" y="205"/>
                      <a:pt x="33" y="212"/>
                      <a:pt x="41" y="212"/>
                    </a:cubicBezTo>
                    <a:cubicBezTo>
                      <a:pt x="129" y="212"/>
                      <a:pt x="129" y="212"/>
                      <a:pt x="129" y="212"/>
                    </a:cubicBezTo>
                    <a:cubicBezTo>
                      <a:pt x="137" y="212"/>
                      <a:pt x="144" y="205"/>
                      <a:pt x="144" y="197"/>
                    </a:cubicBezTo>
                    <a:cubicBezTo>
                      <a:pt x="144" y="185"/>
                      <a:pt x="144" y="185"/>
                      <a:pt x="144" y="185"/>
                    </a:cubicBezTo>
                    <a:cubicBezTo>
                      <a:pt x="144" y="177"/>
                      <a:pt x="137" y="170"/>
                      <a:pt x="129" y="170"/>
                    </a:cubicBezTo>
                    <a:close/>
                    <a:moveTo>
                      <a:pt x="138" y="65"/>
                    </a:moveTo>
                    <a:cubicBezTo>
                      <a:pt x="138" y="58"/>
                      <a:pt x="133" y="52"/>
                      <a:pt x="127" y="51"/>
                    </a:cubicBezTo>
                    <a:cubicBezTo>
                      <a:pt x="135" y="58"/>
                      <a:pt x="135" y="72"/>
                      <a:pt x="127" y="79"/>
                    </a:cubicBezTo>
                    <a:cubicBezTo>
                      <a:pt x="133" y="78"/>
                      <a:pt x="138" y="72"/>
                      <a:pt x="138" y="65"/>
                    </a:cubicBezTo>
                    <a:close/>
                    <a:moveTo>
                      <a:pt x="43" y="79"/>
                    </a:moveTo>
                    <a:cubicBezTo>
                      <a:pt x="35" y="72"/>
                      <a:pt x="35" y="58"/>
                      <a:pt x="43" y="51"/>
                    </a:cubicBezTo>
                    <a:cubicBezTo>
                      <a:pt x="38" y="52"/>
                      <a:pt x="32" y="58"/>
                      <a:pt x="33" y="65"/>
                    </a:cubicBezTo>
                    <a:cubicBezTo>
                      <a:pt x="32" y="72"/>
                      <a:pt x="38" y="78"/>
                      <a:pt x="43" y="79"/>
                    </a:cubicBezTo>
                    <a:close/>
                    <a:moveTo>
                      <a:pt x="150" y="30"/>
                    </a:moveTo>
                    <a:cubicBezTo>
                      <a:pt x="159" y="39"/>
                      <a:pt x="164" y="52"/>
                      <a:pt x="164" y="65"/>
                    </a:cubicBezTo>
                    <a:cubicBezTo>
                      <a:pt x="164" y="78"/>
                      <a:pt x="159" y="91"/>
                      <a:pt x="150" y="100"/>
                    </a:cubicBezTo>
                    <a:cubicBezTo>
                      <a:pt x="160" y="95"/>
                      <a:pt x="171" y="81"/>
                      <a:pt x="170" y="65"/>
                    </a:cubicBezTo>
                    <a:cubicBezTo>
                      <a:pt x="171" y="49"/>
                      <a:pt x="160" y="35"/>
                      <a:pt x="150" y="30"/>
                    </a:cubicBezTo>
                    <a:close/>
                    <a:moveTo>
                      <a:pt x="137" y="41"/>
                    </a:moveTo>
                    <a:cubicBezTo>
                      <a:pt x="143" y="47"/>
                      <a:pt x="147" y="56"/>
                      <a:pt x="147" y="65"/>
                    </a:cubicBezTo>
                    <a:cubicBezTo>
                      <a:pt x="147" y="74"/>
                      <a:pt x="143" y="83"/>
                      <a:pt x="137" y="89"/>
                    </a:cubicBezTo>
                    <a:cubicBezTo>
                      <a:pt x="145" y="86"/>
                      <a:pt x="153" y="77"/>
                      <a:pt x="153" y="65"/>
                    </a:cubicBezTo>
                    <a:cubicBezTo>
                      <a:pt x="153" y="53"/>
                      <a:pt x="145" y="44"/>
                      <a:pt x="137" y="41"/>
                    </a:cubicBezTo>
                    <a:close/>
                    <a:moveTo>
                      <a:pt x="23" y="65"/>
                    </a:moveTo>
                    <a:cubicBezTo>
                      <a:pt x="23" y="56"/>
                      <a:pt x="27" y="47"/>
                      <a:pt x="34" y="41"/>
                    </a:cubicBezTo>
                    <a:cubicBezTo>
                      <a:pt x="26" y="44"/>
                      <a:pt x="17" y="53"/>
                      <a:pt x="17" y="65"/>
                    </a:cubicBezTo>
                    <a:cubicBezTo>
                      <a:pt x="17" y="77"/>
                      <a:pt x="26" y="86"/>
                      <a:pt x="34" y="89"/>
                    </a:cubicBezTo>
                    <a:cubicBezTo>
                      <a:pt x="27" y="83"/>
                      <a:pt x="23" y="74"/>
                      <a:pt x="23" y="65"/>
                    </a:cubicBezTo>
                    <a:close/>
                    <a:moveTo>
                      <a:pt x="21" y="30"/>
                    </a:moveTo>
                    <a:cubicBezTo>
                      <a:pt x="10" y="35"/>
                      <a:pt x="0" y="49"/>
                      <a:pt x="0" y="65"/>
                    </a:cubicBezTo>
                    <a:cubicBezTo>
                      <a:pt x="0" y="81"/>
                      <a:pt x="10" y="95"/>
                      <a:pt x="21" y="100"/>
                    </a:cubicBezTo>
                    <a:cubicBezTo>
                      <a:pt x="11" y="91"/>
                      <a:pt x="6" y="78"/>
                      <a:pt x="6" y="65"/>
                    </a:cubicBezTo>
                    <a:cubicBezTo>
                      <a:pt x="6" y="52"/>
                      <a:pt x="11" y="39"/>
                      <a:pt x="21" y="3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3" name="Freeform 196"/>
              <p:cNvSpPr>
                <a:spLocks noEditPoints="1"/>
              </p:cNvSpPr>
              <p:nvPr/>
            </p:nvSpPr>
            <p:spPr bwMode="auto">
              <a:xfrm rot="5400000">
                <a:off x="10331851" y="762351"/>
                <a:ext cx="215389" cy="215806"/>
              </a:xfrm>
              <a:custGeom>
                <a:avLst/>
                <a:gdLst>
                  <a:gd name="T0" fmla="*/ 155 w 196"/>
                  <a:gd name="T1" fmla="*/ 76 h 190"/>
                  <a:gd name="T2" fmla="*/ 147 w 196"/>
                  <a:gd name="T3" fmla="*/ 29 h 190"/>
                  <a:gd name="T4" fmla="*/ 117 w 196"/>
                  <a:gd name="T5" fmla="*/ 28 h 190"/>
                  <a:gd name="T6" fmla="*/ 92 w 196"/>
                  <a:gd name="T7" fmla="*/ 0 h 190"/>
                  <a:gd name="T8" fmla="*/ 70 w 196"/>
                  <a:gd name="T9" fmla="*/ 36 h 190"/>
                  <a:gd name="T10" fmla="*/ 35 w 196"/>
                  <a:gd name="T11" fmla="*/ 28 h 190"/>
                  <a:gd name="T12" fmla="*/ 21 w 196"/>
                  <a:gd name="T13" fmla="*/ 73 h 190"/>
                  <a:gd name="T14" fmla="*/ 0 w 196"/>
                  <a:gd name="T15" fmla="*/ 99 h 190"/>
                  <a:gd name="T16" fmla="*/ 29 w 196"/>
                  <a:gd name="T17" fmla="*/ 121 h 190"/>
                  <a:gd name="T18" fmla="*/ 14 w 196"/>
                  <a:gd name="T19" fmla="*/ 163 h 190"/>
                  <a:gd name="T20" fmla="*/ 66 w 196"/>
                  <a:gd name="T21" fmla="*/ 170 h 190"/>
                  <a:gd name="T22" fmla="*/ 91 w 196"/>
                  <a:gd name="T23" fmla="*/ 190 h 190"/>
                  <a:gd name="T24" fmla="*/ 93 w 196"/>
                  <a:gd name="T25" fmla="*/ 190 h 190"/>
                  <a:gd name="T26" fmla="*/ 102 w 196"/>
                  <a:gd name="T27" fmla="*/ 169 h 190"/>
                  <a:gd name="T28" fmla="*/ 143 w 196"/>
                  <a:gd name="T29" fmla="*/ 162 h 190"/>
                  <a:gd name="T30" fmla="*/ 161 w 196"/>
                  <a:gd name="T31" fmla="*/ 151 h 190"/>
                  <a:gd name="T32" fmla="*/ 178 w 196"/>
                  <a:gd name="T33" fmla="*/ 110 h 190"/>
                  <a:gd name="T34" fmla="*/ 167 w 196"/>
                  <a:gd name="T35" fmla="*/ 119 h 190"/>
                  <a:gd name="T36" fmla="*/ 119 w 196"/>
                  <a:gd name="T37" fmla="*/ 111 h 190"/>
                  <a:gd name="T38" fmla="*/ 158 w 196"/>
                  <a:gd name="T39" fmla="*/ 150 h 190"/>
                  <a:gd name="T40" fmla="*/ 112 w 196"/>
                  <a:gd name="T41" fmla="*/ 121 h 190"/>
                  <a:gd name="T42" fmla="*/ 123 w 196"/>
                  <a:gd name="T43" fmla="*/ 152 h 190"/>
                  <a:gd name="T44" fmla="*/ 103 w 196"/>
                  <a:gd name="T45" fmla="*/ 127 h 190"/>
                  <a:gd name="T46" fmla="*/ 99 w 196"/>
                  <a:gd name="T47" fmla="*/ 167 h 190"/>
                  <a:gd name="T48" fmla="*/ 91 w 196"/>
                  <a:gd name="T49" fmla="*/ 129 h 190"/>
                  <a:gd name="T50" fmla="*/ 75 w 196"/>
                  <a:gd name="T51" fmla="*/ 161 h 190"/>
                  <a:gd name="T52" fmla="*/ 69 w 196"/>
                  <a:gd name="T53" fmla="*/ 152 h 190"/>
                  <a:gd name="T54" fmla="*/ 37 w 196"/>
                  <a:gd name="T55" fmla="*/ 155 h 190"/>
                  <a:gd name="T56" fmla="*/ 31 w 196"/>
                  <a:gd name="T57" fmla="*/ 151 h 190"/>
                  <a:gd name="T58" fmla="*/ 47 w 196"/>
                  <a:gd name="T59" fmla="*/ 118 h 190"/>
                  <a:gd name="T60" fmla="*/ 38 w 196"/>
                  <a:gd name="T61" fmla="*/ 112 h 190"/>
                  <a:gd name="T62" fmla="*/ 62 w 196"/>
                  <a:gd name="T63" fmla="*/ 100 h 190"/>
                  <a:gd name="T64" fmla="*/ 21 w 196"/>
                  <a:gd name="T65" fmla="*/ 89 h 190"/>
                  <a:gd name="T66" fmla="*/ 64 w 196"/>
                  <a:gd name="T67" fmla="*/ 88 h 190"/>
                  <a:gd name="T68" fmla="*/ 33 w 196"/>
                  <a:gd name="T69" fmla="*/ 64 h 190"/>
                  <a:gd name="T70" fmla="*/ 70 w 196"/>
                  <a:gd name="T71" fmla="*/ 78 h 190"/>
                  <a:gd name="T72" fmla="*/ 60 w 196"/>
                  <a:gd name="T73" fmla="*/ 46 h 190"/>
                  <a:gd name="T74" fmla="*/ 81 w 196"/>
                  <a:gd name="T75" fmla="*/ 71 h 190"/>
                  <a:gd name="T76" fmla="*/ 86 w 196"/>
                  <a:gd name="T77" fmla="*/ 25 h 190"/>
                  <a:gd name="T78" fmla="*/ 93 w 196"/>
                  <a:gd name="T79" fmla="*/ 69 h 190"/>
                  <a:gd name="T80" fmla="*/ 108 w 196"/>
                  <a:gd name="T81" fmla="*/ 37 h 190"/>
                  <a:gd name="T82" fmla="*/ 115 w 196"/>
                  <a:gd name="T83" fmla="*/ 46 h 190"/>
                  <a:gd name="T84" fmla="*/ 134 w 196"/>
                  <a:gd name="T85" fmla="*/ 43 h 190"/>
                  <a:gd name="T86" fmla="*/ 139 w 196"/>
                  <a:gd name="T87" fmla="*/ 53 h 190"/>
                  <a:gd name="T88" fmla="*/ 137 w 196"/>
                  <a:gd name="T89" fmla="*/ 79 h 190"/>
                  <a:gd name="T90" fmla="*/ 146 w 196"/>
                  <a:gd name="T91" fmla="*/ 86 h 190"/>
                  <a:gd name="T92" fmla="*/ 122 w 196"/>
                  <a:gd name="T93" fmla="*/ 97 h 190"/>
                  <a:gd name="T94" fmla="*/ 175 w 196"/>
                  <a:gd name="T95" fmla="*/ 109 h 190"/>
                  <a:gd name="T96" fmla="*/ 116 w 196"/>
                  <a:gd name="T97" fmla="*/ 88 h 190"/>
                  <a:gd name="T98" fmla="*/ 101 w 196"/>
                  <a:gd name="T99" fmla="*/ 74 h 190"/>
                  <a:gd name="T100" fmla="*/ 83 w 196"/>
                  <a:gd name="T101" fmla="*/ 74 h 190"/>
                  <a:gd name="T102" fmla="*/ 68 w 196"/>
                  <a:gd name="T103" fmla="*/ 88 h 190"/>
                  <a:gd name="T104" fmla="*/ 66 w 196"/>
                  <a:gd name="T105" fmla="*/ 100 h 190"/>
                  <a:gd name="T106" fmla="*/ 74 w 196"/>
                  <a:gd name="T107" fmla="*/ 118 h 190"/>
                  <a:gd name="T108" fmla="*/ 92 w 196"/>
                  <a:gd name="T109" fmla="*/ 125 h 190"/>
                  <a:gd name="T110" fmla="*/ 109 w 196"/>
                  <a:gd name="T111" fmla="*/ 118 h 190"/>
                  <a:gd name="T112" fmla="*/ 118 w 196"/>
                  <a:gd name="T113" fmla="*/ 10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6" h="190">
                    <a:moveTo>
                      <a:pt x="183" y="85"/>
                    </a:moveTo>
                    <a:cubicBezTo>
                      <a:pt x="179" y="85"/>
                      <a:pt x="175" y="87"/>
                      <a:pt x="173" y="91"/>
                    </a:cubicBezTo>
                    <a:cubicBezTo>
                      <a:pt x="154" y="81"/>
                      <a:pt x="154" y="81"/>
                      <a:pt x="154" y="81"/>
                    </a:cubicBezTo>
                    <a:cubicBezTo>
                      <a:pt x="155" y="79"/>
                      <a:pt x="155" y="78"/>
                      <a:pt x="155" y="76"/>
                    </a:cubicBezTo>
                    <a:cubicBezTo>
                      <a:pt x="155" y="72"/>
                      <a:pt x="152" y="68"/>
                      <a:pt x="148" y="67"/>
                    </a:cubicBezTo>
                    <a:cubicBezTo>
                      <a:pt x="149" y="56"/>
                      <a:pt x="149" y="56"/>
                      <a:pt x="149" y="56"/>
                    </a:cubicBezTo>
                    <a:cubicBezTo>
                      <a:pt x="155" y="55"/>
                      <a:pt x="161" y="49"/>
                      <a:pt x="161" y="43"/>
                    </a:cubicBezTo>
                    <a:cubicBezTo>
                      <a:pt x="161" y="35"/>
                      <a:pt x="155" y="29"/>
                      <a:pt x="147" y="29"/>
                    </a:cubicBezTo>
                    <a:cubicBezTo>
                      <a:pt x="142" y="29"/>
                      <a:pt x="137" y="33"/>
                      <a:pt x="135" y="38"/>
                    </a:cubicBezTo>
                    <a:cubicBezTo>
                      <a:pt x="127" y="37"/>
                      <a:pt x="127" y="37"/>
                      <a:pt x="127" y="37"/>
                    </a:cubicBezTo>
                    <a:cubicBezTo>
                      <a:pt x="127" y="37"/>
                      <a:pt x="127" y="37"/>
                      <a:pt x="127" y="37"/>
                    </a:cubicBezTo>
                    <a:cubicBezTo>
                      <a:pt x="127" y="32"/>
                      <a:pt x="122" y="28"/>
                      <a:pt x="117" y="28"/>
                    </a:cubicBezTo>
                    <a:cubicBezTo>
                      <a:pt x="115" y="28"/>
                      <a:pt x="113" y="29"/>
                      <a:pt x="111" y="30"/>
                    </a:cubicBezTo>
                    <a:cubicBezTo>
                      <a:pt x="102" y="22"/>
                      <a:pt x="102" y="22"/>
                      <a:pt x="102" y="22"/>
                    </a:cubicBezTo>
                    <a:cubicBezTo>
                      <a:pt x="104" y="20"/>
                      <a:pt x="105" y="17"/>
                      <a:pt x="105" y="14"/>
                    </a:cubicBezTo>
                    <a:cubicBezTo>
                      <a:pt x="105" y="6"/>
                      <a:pt x="99" y="0"/>
                      <a:pt x="92" y="0"/>
                    </a:cubicBezTo>
                    <a:cubicBezTo>
                      <a:pt x="85" y="0"/>
                      <a:pt x="79" y="6"/>
                      <a:pt x="79" y="14"/>
                    </a:cubicBezTo>
                    <a:cubicBezTo>
                      <a:pt x="79" y="17"/>
                      <a:pt x="80" y="21"/>
                      <a:pt x="83" y="23"/>
                    </a:cubicBezTo>
                    <a:cubicBezTo>
                      <a:pt x="74" y="37"/>
                      <a:pt x="74" y="37"/>
                      <a:pt x="74" y="37"/>
                    </a:cubicBezTo>
                    <a:cubicBezTo>
                      <a:pt x="72" y="36"/>
                      <a:pt x="71" y="36"/>
                      <a:pt x="70" y="36"/>
                    </a:cubicBezTo>
                    <a:cubicBezTo>
                      <a:pt x="65" y="36"/>
                      <a:pt x="61" y="39"/>
                      <a:pt x="60" y="43"/>
                    </a:cubicBezTo>
                    <a:cubicBezTo>
                      <a:pt x="48" y="42"/>
                      <a:pt x="48" y="42"/>
                      <a:pt x="48" y="42"/>
                    </a:cubicBezTo>
                    <a:cubicBezTo>
                      <a:pt x="48" y="42"/>
                      <a:pt x="48" y="42"/>
                      <a:pt x="48" y="42"/>
                    </a:cubicBezTo>
                    <a:cubicBezTo>
                      <a:pt x="48" y="34"/>
                      <a:pt x="42" y="28"/>
                      <a:pt x="35" y="28"/>
                    </a:cubicBezTo>
                    <a:cubicBezTo>
                      <a:pt x="28" y="28"/>
                      <a:pt x="22" y="34"/>
                      <a:pt x="22" y="42"/>
                    </a:cubicBezTo>
                    <a:cubicBezTo>
                      <a:pt x="22" y="48"/>
                      <a:pt x="25" y="52"/>
                      <a:pt x="31" y="54"/>
                    </a:cubicBezTo>
                    <a:cubicBezTo>
                      <a:pt x="30" y="64"/>
                      <a:pt x="30" y="64"/>
                      <a:pt x="30" y="64"/>
                    </a:cubicBezTo>
                    <a:cubicBezTo>
                      <a:pt x="25" y="64"/>
                      <a:pt x="21" y="68"/>
                      <a:pt x="21" y="73"/>
                    </a:cubicBezTo>
                    <a:cubicBezTo>
                      <a:pt x="21" y="76"/>
                      <a:pt x="22" y="78"/>
                      <a:pt x="24" y="80"/>
                    </a:cubicBezTo>
                    <a:cubicBezTo>
                      <a:pt x="19" y="87"/>
                      <a:pt x="19" y="87"/>
                      <a:pt x="19" y="87"/>
                    </a:cubicBezTo>
                    <a:cubicBezTo>
                      <a:pt x="17" y="86"/>
                      <a:pt x="15" y="85"/>
                      <a:pt x="13" y="85"/>
                    </a:cubicBezTo>
                    <a:cubicBezTo>
                      <a:pt x="5" y="85"/>
                      <a:pt x="0" y="91"/>
                      <a:pt x="0" y="99"/>
                    </a:cubicBezTo>
                    <a:cubicBezTo>
                      <a:pt x="0" y="106"/>
                      <a:pt x="5" y="112"/>
                      <a:pt x="13" y="112"/>
                    </a:cubicBezTo>
                    <a:cubicBezTo>
                      <a:pt x="16" y="112"/>
                      <a:pt x="19" y="111"/>
                      <a:pt x="21" y="109"/>
                    </a:cubicBezTo>
                    <a:cubicBezTo>
                      <a:pt x="30" y="116"/>
                      <a:pt x="30" y="116"/>
                      <a:pt x="30" y="116"/>
                    </a:cubicBezTo>
                    <a:cubicBezTo>
                      <a:pt x="29" y="117"/>
                      <a:pt x="29" y="119"/>
                      <a:pt x="29" y="121"/>
                    </a:cubicBezTo>
                    <a:cubicBezTo>
                      <a:pt x="29" y="124"/>
                      <a:pt x="31" y="127"/>
                      <a:pt x="33" y="129"/>
                    </a:cubicBezTo>
                    <a:cubicBezTo>
                      <a:pt x="28" y="150"/>
                      <a:pt x="28" y="150"/>
                      <a:pt x="28" y="150"/>
                    </a:cubicBezTo>
                    <a:cubicBezTo>
                      <a:pt x="28" y="150"/>
                      <a:pt x="27" y="150"/>
                      <a:pt x="27" y="150"/>
                    </a:cubicBezTo>
                    <a:cubicBezTo>
                      <a:pt x="20" y="150"/>
                      <a:pt x="14" y="156"/>
                      <a:pt x="14" y="163"/>
                    </a:cubicBezTo>
                    <a:cubicBezTo>
                      <a:pt x="14" y="170"/>
                      <a:pt x="20" y="176"/>
                      <a:pt x="27" y="176"/>
                    </a:cubicBezTo>
                    <a:cubicBezTo>
                      <a:pt x="34" y="176"/>
                      <a:pt x="40" y="171"/>
                      <a:pt x="40" y="164"/>
                    </a:cubicBezTo>
                    <a:cubicBezTo>
                      <a:pt x="57" y="163"/>
                      <a:pt x="57" y="163"/>
                      <a:pt x="57" y="163"/>
                    </a:cubicBezTo>
                    <a:cubicBezTo>
                      <a:pt x="58" y="167"/>
                      <a:pt x="62" y="170"/>
                      <a:pt x="66" y="170"/>
                    </a:cubicBezTo>
                    <a:cubicBezTo>
                      <a:pt x="69" y="170"/>
                      <a:pt x="71" y="169"/>
                      <a:pt x="73" y="167"/>
                    </a:cubicBezTo>
                    <a:cubicBezTo>
                      <a:pt x="80" y="172"/>
                      <a:pt x="80" y="172"/>
                      <a:pt x="80" y="172"/>
                    </a:cubicBezTo>
                    <a:cubicBezTo>
                      <a:pt x="79" y="173"/>
                      <a:pt x="79" y="175"/>
                      <a:pt x="79" y="177"/>
                    </a:cubicBezTo>
                    <a:cubicBezTo>
                      <a:pt x="79" y="184"/>
                      <a:pt x="84" y="190"/>
                      <a:pt x="91" y="190"/>
                    </a:cubicBezTo>
                    <a:cubicBezTo>
                      <a:pt x="91" y="190"/>
                      <a:pt x="91" y="190"/>
                      <a:pt x="91" y="190"/>
                    </a:cubicBezTo>
                    <a:cubicBezTo>
                      <a:pt x="91" y="190"/>
                      <a:pt x="91" y="190"/>
                      <a:pt x="91" y="190"/>
                    </a:cubicBezTo>
                    <a:cubicBezTo>
                      <a:pt x="91" y="190"/>
                      <a:pt x="91" y="190"/>
                      <a:pt x="92" y="190"/>
                    </a:cubicBezTo>
                    <a:cubicBezTo>
                      <a:pt x="92" y="190"/>
                      <a:pt x="93" y="190"/>
                      <a:pt x="93" y="190"/>
                    </a:cubicBezTo>
                    <a:cubicBezTo>
                      <a:pt x="93" y="190"/>
                      <a:pt x="93" y="190"/>
                      <a:pt x="93" y="190"/>
                    </a:cubicBezTo>
                    <a:cubicBezTo>
                      <a:pt x="93" y="190"/>
                      <a:pt x="93" y="190"/>
                      <a:pt x="93" y="190"/>
                    </a:cubicBezTo>
                    <a:cubicBezTo>
                      <a:pt x="100" y="190"/>
                      <a:pt x="105" y="184"/>
                      <a:pt x="105" y="177"/>
                    </a:cubicBezTo>
                    <a:cubicBezTo>
                      <a:pt x="105" y="174"/>
                      <a:pt x="104" y="171"/>
                      <a:pt x="102" y="169"/>
                    </a:cubicBezTo>
                    <a:cubicBezTo>
                      <a:pt x="109" y="160"/>
                      <a:pt x="109" y="160"/>
                      <a:pt x="109" y="160"/>
                    </a:cubicBezTo>
                    <a:cubicBezTo>
                      <a:pt x="111" y="161"/>
                      <a:pt x="112" y="162"/>
                      <a:pt x="114" y="162"/>
                    </a:cubicBezTo>
                    <a:cubicBezTo>
                      <a:pt x="117" y="162"/>
                      <a:pt x="120" y="160"/>
                      <a:pt x="122" y="157"/>
                    </a:cubicBezTo>
                    <a:cubicBezTo>
                      <a:pt x="143" y="162"/>
                      <a:pt x="143" y="162"/>
                      <a:pt x="143" y="162"/>
                    </a:cubicBezTo>
                    <a:cubicBezTo>
                      <a:pt x="143" y="162"/>
                      <a:pt x="143" y="163"/>
                      <a:pt x="143" y="163"/>
                    </a:cubicBezTo>
                    <a:cubicBezTo>
                      <a:pt x="143" y="170"/>
                      <a:pt x="149" y="176"/>
                      <a:pt x="157" y="176"/>
                    </a:cubicBezTo>
                    <a:cubicBezTo>
                      <a:pt x="164" y="176"/>
                      <a:pt x="170" y="170"/>
                      <a:pt x="170" y="163"/>
                    </a:cubicBezTo>
                    <a:cubicBezTo>
                      <a:pt x="170" y="158"/>
                      <a:pt x="166" y="153"/>
                      <a:pt x="161" y="151"/>
                    </a:cubicBezTo>
                    <a:cubicBezTo>
                      <a:pt x="163" y="136"/>
                      <a:pt x="163" y="136"/>
                      <a:pt x="163" y="136"/>
                    </a:cubicBezTo>
                    <a:cubicBezTo>
                      <a:pt x="168" y="136"/>
                      <a:pt x="172" y="132"/>
                      <a:pt x="172" y="127"/>
                    </a:cubicBezTo>
                    <a:cubicBezTo>
                      <a:pt x="172" y="124"/>
                      <a:pt x="171" y="122"/>
                      <a:pt x="170" y="121"/>
                    </a:cubicBezTo>
                    <a:cubicBezTo>
                      <a:pt x="178" y="110"/>
                      <a:pt x="178" y="110"/>
                      <a:pt x="178" y="110"/>
                    </a:cubicBezTo>
                    <a:cubicBezTo>
                      <a:pt x="179" y="111"/>
                      <a:pt x="181" y="112"/>
                      <a:pt x="183" y="112"/>
                    </a:cubicBezTo>
                    <a:cubicBezTo>
                      <a:pt x="190" y="112"/>
                      <a:pt x="196" y="106"/>
                      <a:pt x="196" y="98"/>
                    </a:cubicBezTo>
                    <a:cubicBezTo>
                      <a:pt x="196" y="91"/>
                      <a:pt x="190" y="85"/>
                      <a:pt x="183" y="85"/>
                    </a:cubicBezTo>
                    <a:close/>
                    <a:moveTo>
                      <a:pt x="167" y="119"/>
                    </a:moveTo>
                    <a:cubicBezTo>
                      <a:pt x="166" y="118"/>
                      <a:pt x="164" y="117"/>
                      <a:pt x="162" y="117"/>
                    </a:cubicBezTo>
                    <a:cubicBezTo>
                      <a:pt x="158" y="117"/>
                      <a:pt x="155" y="120"/>
                      <a:pt x="154" y="123"/>
                    </a:cubicBezTo>
                    <a:cubicBezTo>
                      <a:pt x="120" y="109"/>
                      <a:pt x="120" y="109"/>
                      <a:pt x="120" y="109"/>
                    </a:cubicBezTo>
                    <a:cubicBezTo>
                      <a:pt x="120" y="110"/>
                      <a:pt x="119" y="110"/>
                      <a:pt x="119" y="111"/>
                    </a:cubicBezTo>
                    <a:cubicBezTo>
                      <a:pt x="153" y="125"/>
                      <a:pt x="153" y="125"/>
                      <a:pt x="153" y="125"/>
                    </a:cubicBezTo>
                    <a:cubicBezTo>
                      <a:pt x="153" y="125"/>
                      <a:pt x="153" y="126"/>
                      <a:pt x="153" y="127"/>
                    </a:cubicBezTo>
                    <a:cubicBezTo>
                      <a:pt x="153" y="131"/>
                      <a:pt x="156" y="135"/>
                      <a:pt x="160" y="136"/>
                    </a:cubicBezTo>
                    <a:cubicBezTo>
                      <a:pt x="158" y="150"/>
                      <a:pt x="158" y="150"/>
                      <a:pt x="158" y="150"/>
                    </a:cubicBezTo>
                    <a:cubicBezTo>
                      <a:pt x="158" y="150"/>
                      <a:pt x="157" y="150"/>
                      <a:pt x="157" y="150"/>
                    </a:cubicBezTo>
                    <a:cubicBezTo>
                      <a:pt x="153" y="150"/>
                      <a:pt x="150" y="151"/>
                      <a:pt x="148" y="153"/>
                    </a:cubicBezTo>
                    <a:cubicBezTo>
                      <a:pt x="114" y="119"/>
                      <a:pt x="114" y="119"/>
                      <a:pt x="114" y="119"/>
                    </a:cubicBezTo>
                    <a:cubicBezTo>
                      <a:pt x="113" y="119"/>
                      <a:pt x="113" y="120"/>
                      <a:pt x="112" y="121"/>
                    </a:cubicBezTo>
                    <a:cubicBezTo>
                      <a:pt x="146" y="155"/>
                      <a:pt x="146" y="155"/>
                      <a:pt x="146" y="155"/>
                    </a:cubicBezTo>
                    <a:cubicBezTo>
                      <a:pt x="145" y="156"/>
                      <a:pt x="145" y="157"/>
                      <a:pt x="144" y="159"/>
                    </a:cubicBezTo>
                    <a:cubicBezTo>
                      <a:pt x="123" y="154"/>
                      <a:pt x="123" y="154"/>
                      <a:pt x="123" y="154"/>
                    </a:cubicBezTo>
                    <a:cubicBezTo>
                      <a:pt x="123" y="153"/>
                      <a:pt x="123" y="153"/>
                      <a:pt x="123" y="152"/>
                    </a:cubicBezTo>
                    <a:cubicBezTo>
                      <a:pt x="123" y="147"/>
                      <a:pt x="119" y="143"/>
                      <a:pt x="114" y="143"/>
                    </a:cubicBezTo>
                    <a:cubicBezTo>
                      <a:pt x="113" y="143"/>
                      <a:pt x="112" y="143"/>
                      <a:pt x="111" y="143"/>
                    </a:cubicBezTo>
                    <a:cubicBezTo>
                      <a:pt x="104" y="126"/>
                      <a:pt x="104" y="126"/>
                      <a:pt x="104" y="126"/>
                    </a:cubicBezTo>
                    <a:cubicBezTo>
                      <a:pt x="104" y="126"/>
                      <a:pt x="103" y="126"/>
                      <a:pt x="103" y="127"/>
                    </a:cubicBezTo>
                    <a:cubicBezTo>
                      <a:pt x="110" y="144"/>
                      <a:pt x="110" y="144"/>
                      <a:pt x="110" y="144"/>
                    </a:cubicBezTo>
                    <a:cubicBezTo>
                      <a:pt x="107" y="145"/>
                      <a:pt x="105" y="149"/>
                      <a:pt x="105" y="152"/>
                    </a:cubicBezTo>
                    <a:cubicBezTo>
                      <a:pt x="105" y="155"/>
                      <a:pt x="105" y="157"/>
                      <a:pt x="107" y="158"/>
                    </a:cubicBezTo>
                    <a:cubicBezTo>
                      <a:pt x="99" y="167"/>
                      <a:pt x="99" y="167"/>
                      <a:pt x="99" y="167"/>
                    </a:cubicBezTo>
                    <a:cubicBezTo>
                      <a:pt x="98" y="165"/>
                      <a:pt x="95" y="164"/>
                      <a:pt x="93" y="164"/>
                    </a:cubicBezTo>
                    <a:cubicBezTo>
                      <a:pt x="93" y="129"/>
                      <a:pt x="93" y="129"/>
                      <a:pt x="93" y="129"/>
                    </a:cubicBezTo>
                    <a:cubicBezTo>
                      <a:pt x="93" y="129"/>
                      <a:pt x="92" y="129"/>
                      <a:pt x="92" y="129"/>
                    </a:cubicBezTo>
                    <a:cubicBezTo>
                      <a:pt x="91" y="129"/>
                      <a:pt x="91" y="129"/>
                      <a:pt x="91" y="129"/>
                    </a:cubicBezTo>
                    <a:cubicBezTo>
                      <a:pt x="91" y="164"/>
                      <a:pt x="91" y="164"/>
                      <a:pt x="91" y="164"/>
                    </a:cubicBezTo>
                    <a:cubicBezTo>
                      <a:pt x="87" y="165"/>
                      <a:pt x="84" y="166"/>
                      <a:pt x="82" y="169"/>
                    </a:cubicBezTo>
                    <a:cubicBezTo>
                      <a:pt x="75" y="164"/>
                      <a:pt x="75" y="164"/>
                      <a:pt x="75" y="164"/>
                    </a:cubicBezTo>
                    <a:cubicBezTo>
                      <a:pt x="75" y="163"/>
                      <a:pt x="75" y="162"/>
                      <a:pt x="75" y="161"/>
                    </a:cubicBezTo>
                    <a:cubicBezTo>
                      <a:pt x="75" y="157"/>
                      <a:pt x="73" y="154"/>
                      <a:pt x="70" y="152"/>
                    </a:cubicBezTo>
                    <a:cubicBezTo>
                      <a:pt x="81" y="127"/>
                      <a:pt x="81" y="127"/>
                      <a:pt x="81" y="127"/>
                    </a:cubicBezTo>
                    <a:cubicBezTo>
                      <a:pt x="81" y="126"/>
                      <a:pt x="80" y="126"/>
                      <a:pt x="80" y="126"/>
                    </a:cubicBezTo>
                    <a:cubicBezTo>
                      <a:pt x="69" y="152"/>
                      <a:pt x="69" y="152"/>
                      <a:pt x="69" y="152"/>
                    </a:cubicBezTo>
                    <a:cubicBezTo>
                      <a:pt x="68" y="151"/>
                      <a:pt x="67" y="151"/>
                      <a:pt x="66" y="151"/>
                    </a:cubicBezTo>
                    <a:cubicBezTo>
                      <a:pt x="61" y="151"/>
                      <a:pt x="57" y="155"/>
                      <a:pt x="57" y="160"/>
                    </a:cubicBezTo>
                    <a:cubicBezTo>
                      <a:pt x="40" y="161"/>
                      <a:pt x="40" y="161"/>
                      <a:pt x="40" y="161"/>
                    </a:cubicBezTo>
                    <a:cubicBezTo>
                      <a:pt x="40" y="159"/>
                      <a:pt x="39" y="157"/>
                      <a:pt x="37" y="155"/>
                    </a:cubicBezTo>
                    <a:cubicBezTo>
                      <a:pt x="72" y="121"/>
                      <a:pt x="72" y="121"/>
                      <a:pt x="72" y="121"/>
                    </a:cubicBezTo>
                    <a:cubicBezTo>
                      <a:pt x="71" y="120"/>
                      <a:pt x="70" y="119"/>
                      <a:pt x="70" y="119"/>
                    </a:cubicBezTo>
                    <a:cubicBezTo>
                      <a:pt x="36" y="153"/>
                      <a:pt x="36" y="153"/>
                      <a:pt x="36" y="153"/>
                    </a:cubicBezTo>
                    <a:cubicBezTo>
                      <a:pt x="34" y="152"/>
                      <a:pt x="33" y="151"/>
                      <a:pt x="31" y="151"/>
                    </a:cubicBezTo>
                    <a:cubicBezTo>
                      <a:pt x="37" y="130"/>
                      <a:pt x="37" y="130"/>
                      <a:pt x="37" y="130"/>
                    </a:cubicBezTo>
                    <a:cubicBezTo>
                      <a:pt x="37" y="130"/>
                      <a:pt x="38" y="130"/>
                      <a:pt x="38" y="130"/>
                    </a:cubicBezTo>
                    <a:cubicBezTo>
                      <a:pt x="43" y="130"/>
                      <a:pt x="48" y="126"/>
                      <a:pt x="48" y="121"/>
                    </a:cubicBezTo>
                    <a:cubicBezTo>
                      <a:pt x="48" y="120"/>
                      <a:pt x="47" y="119"/>
                      <a:pt x="47" y="118"/>
                    </a:cubicBezTo>
                    <a:cubicBezTo>
                      <a:pt x="65" y="111"/>
                      <a:pt x="65" y="111"/>
                      <a:pt x="65" y="111"/>
                    </a:cubicBezTo>
                    <a:cubicBezTo>
                      <a:pt x="64" y="110"/>
                      <a:pt x="64" y="110"/>
                      <a:pt x="64" y="109"/>
                    </a:cubicBezTo>
                    <a:cubicBezTo>
                      <a:pt x="47" y="117"/>
                      <a:pt x="47" y="117"/>
                      <a:pt x="47" y="117"/>
                    </a:cubicBezTo>
                    <a:cubicBezTo>
                      <a:pt x="45" y="114"/>
                      <a:pt x="42" y="112"/>
                      <a:pt x="38" y="112"/>
                    </a:cubicBezTo>
                    <a:cubicBezTo>
                      <a:pt x="36" y="112"/>
                      <a:pt x="34" y="112"/>
                      <a:pt x="32" y="114"/>
                    </a:cubicBezTo>
                    <a:cubicBezTo>
                      <a:pt x="23" y="106"/>
                      <a:pt x="23" y="106"/>
                      <a:pt x="23" y="106"/>
                    </a:cubicBezTo>
                    <a:cubicBezTo>
                      <a:pt x="25" y="104"/>
                      <a:pt x="26" y="102"/>
                      <a:pt x="26" y="100"/>
                    </a:cubicBezTo>
                    <a:cubicBezTo>
                      <a:pt x="62" y="100"/>
                      <a:pt x="62" y="100"/>
                      <a:pt x="62" y="100"/>
                    </a:cubicBezTo>
                    <a:cubicBezTo>
                      <a:pt x="62" y="100"/>
                      <a:pt x="62" y="99"/>
                      <a:pt x="62" y="99"/>
                    </a:cubicBezTo>
                    <a:cubicBezTo>
                      <a:pt x="62" y="98"/>
                      <a:pt x="62" y="98"/>
                      <a:pt x="62" y="97"/>
                    </a:cubicBezTo>
                    <a:cubicBezTo>
                      <a:pt x="26" y="97"/>
                      <a:pt x="26" y="97"/>
                      <a:pt x="26" y="97"/>
                    </a:cubicBezTo>
                    <a:cubicBezTo>
                      <a:pt x="26" y="94"/>
                      <a:pt x="24" y="91"/>
                      <a:pt x="21" y="89"/>
                    </a:cubicBezTo>
                    <a:cubicBezTo>
                      <a:pt x="27" y="82"/>
                      <a:pt x="27" y="82"/>
                      <a:pt x="27" y="82"/>
                    </a:cubicBezTo>
                    <a:cubicBezTo>
                      <a:pt x="28" y="82"/>
                      <a:pt x="29" y="82"/>
                      <a:pt x="30" y="82"/>
                    </a:cubicBezTo>
                    <a:cubicBezTo>
                      <a:pt x="34" y="82"/>
                      <a:pt x="37" y="80"/>
                      <a:pt x="39" y="77"/>
                    </a:cubicBezTo>
                    <a:cubicBezTo>
                      <a:pt x="64" y="88"/>
                      <a:pt x="64" y="88"/>
                      <a:pt x="64" y="88"/>
                    </a:cubicBezTo>
                    <a:cubicBezTo>
                      <a:pt x="64" y="87"/>
                      <a:pt x="64" y="87"/>
                      <a:pt x="65" y="86"/>
                    </a:cubicBezTo>
                    <a:cubicBezTo>
                      <a:pt x="39" y="76"/>
                      <a:pt x="39" y="76"/>
                      <a:pt x="39" y="76"/>
                    </a:cubicBezTo>
                    <a:cubicBezTo>
                      <a:pt x="39" y="75"/>
                      <a:pt x="40" y="74"/>
                      <a:pt x="40" y="73"/>
                    </a:cubicBezTo>
                    <a:cubicBezTo>
                      <a:pt x="40" y="69"/>
                      <a:pt x="37" y="65"/>
                      <a:pt x="33" y="64"/>
                    </a:cubicBezTo>
                    <a:cubicBezTo>
                      <a:pt x="34" y="55"/>
                      <a:pt x="34" y="55"/>
                      <a:pt x="34" y="55"/>
                    </a:cubicBezTo>
                    <a:cubicBezTo>
                      <a:pt x="34" y="55"/>
                      <a:pt x="35" y="55"/>
                      <a:pt x="35" y="55"/>
                    </a:cubicBezTo>
                    <a:cubicBezTo>
                      <a:pt x="38" y="55"/>
                      <a:pt x="41" y="54"/>
                      <a:pt x="43" y="52"/>
                    </a:cubicBezTo>
                    <a:cubicBezTo>
                      <a:pt x="70" y="78"/>
                      <a:pt x="70" y="78"/>
                      <a:pt x="70" y="78"/>
                    </a:cubicBezTo>
                    <a:cubicBezTo>
                      <a:pt x="70" y="78"/>
                      <a:pt x="71" y="77"/>
                      <a:pt x="72" y="77"/>
                    </a:cubicBezTo>
                    <a:cubicBezTo>
                      <a:pt x="45" y="50"/>
                      <a:pt x="45" y="50"/>
                      <a:pt x="45" y="50"/>
                    </a:cubicBezTo>
                    <a:cubicBezTo>
                      <a:pt x="46" y="49"/>
                      <a:pt x="47" y="47"/>
                      <a:pt x="48" y="45"/>
                    </a:cubicBezTo>
                    <a:cubicBezTo>
                      <a:pt x="60" y="46"/>
                      <a:pt x="60" y="46"/>
                      <a:pt x="60" y="46"/>
                    </a:cubicBezTo>
                    <a:cubicBezTo>
                      <a:pt x="61" y="51"/>
                      <a:pt x="65" y="55"/>
                      <a:pt x="70" y="55"/>
                    </a:cubicBezTo>
                    <a:cubicBezTo>
                      <a:pt x="71" y="55"/>
                      <a:pt x="72" y="55"/>
                      <a:pt x="73" y="54"/>
                    </a:cubicBezTo>
                    <a:cubicBezTo>
                      <a:pt x="80" y="71"/>
                      <a:pt x="80" y="71"/>
                      <a:pt x="80" y="71"/>
                    </a:cubicBezTo>
                    <a:cubicBezTo>
                      <a:pt x="80" y="71"/>
                      <a:pt x="81" y="71"/>
                      <a:pt x="81" y="71"/>
                    </a:cubicBezTo>
                    <a:cubicBezTo>
                      <a:pt x="74" y="54"/>
                      <a:pt x="74" y="54"/>
                      <a:pt x="74" y="54"/>
                    </a:cubicBezTo>
                    <a:cubicBezTo>
                      <a:pt x="77" y="52"/>
                      <a:pt x="79" y="49"/>
                      <a:pt x="79" y="45"/>
                    </a:cubicBezTo>
                    <a:cubicBezTo>
                      <a:pt x="79" y="43"/>
                      <a:pt x="78" y="40"/>
                      <a:pt x="76" y="39"/>
                    </a:cubicBezTo>
                    <a:cubicBezTo>
                      <a:pt x="86" y="25"/>
                      <a:pt x="86" y="25"/>
                      <a:pt x="86" y="25"/>
                    </a:cubicBezTo>
                    <a:cubicBezTo>
                      <a:pt x="87" y="26"/>
                      <a:pt x="89" y="27"/>
                      <a:pt x="91" y="27"/>
                    </a:cubicBezTo>
                    <a:cubicBezTo>
                      <a:pt x="91" y="69"/>
                      <a:pt x="91" y="69"/>
                      <a:pt x="91" y="69"/>
                    </a:cubicBezTo>
                    <a:cubicBezTo>
                      <a:pt x="91" y="69"/>
                      <a:pt x="91" y="69"/>
                      <a:pt x="92" y="69"/>
                    </a:cubicBezTo>
                    <a:cubicBezTo>
                      <a:pt x="92" y="69"/>
                      <a:pt x="93" y="69"/>
                      <a:pt x="93" y="69"/>
                    </a:cubicBezTo>
                    <a:cubicBezTo>
                      <a:pt x="93" y="27"/>
                      <a:pt x="93" y="27"/>
                      <a:pt x="93" y="27"/>
                    </a:cubicBezTo>
                    <a:cubicBezTo>
                      <a:pt x="96" y="26"/>
                      <a:pt x="98" y="26"/>
                      <a:pt x="100" y="24"/>
                    </a:cubicBezTo>
                    <a:cubicBezTo>
                      <a:pt x="109" y="33"/>
                      <a:pt x="109" y="33"/>
                      <a:pt x="109" y="33"/>
                    </a:cubicBezTo>
                    <a:cubicBezTo>
                      <a:pt x="108" y="34"/>
                      <a:pt x="108" y="35"/>
                      <a:pt x="108" y="37"/>
                    </a:cubicBezTo>
                    <a:cubicBezTo>
                      <a:pt x="108" y="41"/>
                      <a:pt x="110" y="44"/>
                      <a:pt x="113" y="45"/>
                    </a:cubicBezTo>
                    <a:cubicBezTo>
                      <a:pt x="103" y="71"/>
                      <a:pt x="103" y="71"/>
                      <a:pt x="103" y="71"/>
                    </a:cubicBezTo>
                    <a:cubicBezTo>
                      <a:pt x="103" y="71"/>
                      <a:pt x="104" y="71"/>
                      <a:pt x="104" y="71"/>
                    </a:cubicBezTo>
                    <a:cubicBezTo>
                      <a:pt x="115" y="46"/>
                      <a:pt x="115" y="46"/>
                      <a:pt x="115" y="46"/>
                    </a:cubicBezTo>
                    <a:cubicBezTo>
                      <a:pt x="115" y="46"/>
                      <a:pt x="116" y="46"/>
                      <a:pt x="117" y="46"/>
                    </a:cubicBezTo>
                    <a:cubicBezTo>
                      <a:pt x="121" y="46"/>
                      <a:pt x="125" y="44"/>
                      <a:pt x="126" y="40"/>
                    </a:cubicBezTo>
                    <a:cubicBezTo>
                      <a:pt x="134" y="41"/>
                      <a:pt x="134" y="41"/>
                      <a:pt x="134" y="41"/>
                    </a:cubicBezTo>
                    <a:cubicBezTo>
                      <a:pt x="134" y="42"/>
                      <a:pt x="134" y="42"/>
                      <a:pt x="134" y="43"/>
                    </a:cubicBezTo>
                    <a:cubicBezTo>
                      <a:pt x="134" y="46"/>
                      <a:pt x="135" y="49"/>
                      <a:pt x="137" y="51"/>
                    </a:cubicBezTo>
                    <a:cubicBezTo>
                      <a:pt x="112" y="77"/>
                      <a:pt x="112" y="77"/>
                      <a:pt x="112" y="77"/>
                    </a:cubicBezTo>
                    <a:cubicBezTo>
                      <a:pt x="113" y="77"/>
                      <a:pt x="113" y="78"/>
                      <a:pt x="114" y="78"/>
                    </a:cubicBezTo>
                    <a:cubicBezTo>
                      <a:pt x="139" y="53"/>
                      <a:pt x="139" y="53"/>
                      <a:pt x="139" y="53"/>
                    </a:cubicBezTo>
                    <a:cubicBezTo>
                      <a:pt x="141" y="54"/>
                      <a:pt x="143" y="55"/>
                      <a:pt x="146" y="56"/>
                    </a:cubicBezTo>
                    <a:cubicBezTo>
                      <a:pt x="145" y="67"/>
                      <a:pt x="145" y="67"/>
                      <a:pt x="145" y="67"/>
                    </a:cubicBezTo>
                    <a:cubicBezTo>
                      <a:pt x="140" y="67"/>
                      <a:pt x="136" y="71"/>
                      <a:pt x="136" y="76"/>
                    </a:cubicBezTo>
                    <a:cubicBezTo>
                      <a:pt x="136" y="77"/>
                      <a:pt x="136" y="78"/>
                      <a:pt x="137" y="79"/>
                    </a:cubicBezTo>
                    <a:cubicBezTo>
                      <a:pt x="119" y="86"/>
                      <a:pt x="119" y="86"/>
                      <a:pt x="119" y="86"/>
                    </a:cubicBezTo>
                    <a:cubicBezTo>
                      <a:pt x="119" y="87"/>
                      <a:pt x="120" y="87"/>
                      <a:pt x="120" y="88"/>
                    </a:cubicBezTo>
                    <a:cubicBezTo>
                      <a:pt x="137" y="81"/>
                      <a:pt x="137" y="81"/>
                      <a:pt x="137" y="81"/>
                    </a:cubicBezTo>
                    <a:cubicBezTo>
                      <a:pt x="139" y="84"/>
                      <a:pt x="142" y="86"/>
                      <a:pt x="146" y="86"/>
                    </a:cubicBezTo>
                    <a:cubicBezTo>
                      <a:pt x="148" y="86"/>
                      <a:pt x="150" y="85"/>
                      <a:pt x="152" y="83"/>
                    </a:cubicBezTo>
                    <a:cubicBezTo>
                      <a:pt x="171" y="93"/>
                      <a:pt x="171" y="93"/>
                      <a:pt x="171" y="93"/>
                    </a:cubicBezTo>
                    <a:cubicBezTo>
                      <a:pt x="170" y="95"/>
                      <a:pt x="170" y="96"/>
                      <a:pt x="170" y="97"/>
                    </a:cubicBezTo>
                    <a:cubicBezTo>
                      <a:pt x="122" y="97"/>
                      <a:pt x="122" y="97"/>
                      <a:pt x="122" y="97"/>
                    </a:cubicBezTo>
                    <a:cubicBezTo>
                      <a:pt x="122" y="98"/>
                      <a:pt x="122" y="98"/>
                      <a:pt x="122" y="99"/>
                    </a:cubicBezTo>
                    <a:cubicBezTo>
                      <a:pt x="122" y="99"/>
                      <a:pt x="122" y="100"/>
                      <a:pt x="122" y="100"/>
                    </a:cubicBezTo>
                    <a:cubicBezTo>
                      <a:pt x="170" y="100"/>
                      <a:pt x="170" y="100"/>
                      <a:pt x="170" y="100"/>
                    </a:cubicBezTo>
                    <a:cubicBezTo>
                      <a:pt x="170" y="103"/>
                      <a:pt x="172" y="107"/>
                      <a:pt x="175" y="109"/>
                    </a:cubicBezTo>
                    <a:cubicBezTo>
                      <a:pt x="167" y="119"/>
                      <a:pt x="167" y="119"/>
                      <a:pt x="167" y="119"/>
                    </a:cubicBezTo>
                    <a:cubicBezTo>
                      <a:pt x="167" y="119"/>
                      <a:pt x="167" y="119"/>
                      <a:pt x="167" y="119"/>
                    </a:cubicBezTo>
                    <a:close/>
                    <a:moveTo>
                      <a:pt x="116" y="89"/>
                    </a:moveTo>
                    <a:cubicBezTo>
                      <a:pt x="116" y="89"/>
                      <a:pt x="116" y="88"/>
                      <a:pt x="116" y="88"/>
                    </a:cubicBezTo>
                    <a:cubicBezTo>
                      <a:pt x="114" y="85"/>
                      <a:pt x="113" y="83"/>
                      <a:pt x="111" y="81"/>
                    </a:cubicBezTo>
                    <a:cubicBezTo>
                      <a:pt x="111" y="81"/>
                      <a:pt x="110" y="80"/>
                      <a:pt x="109" y="79"/>
                    </a:cubicBezTo>
                    <a:cubicBezTo>
                      <a:pt x="107" y="78"/>
                      <a:pt x="105" y="76"/>
                      <a:pt x="103" y="75"/>
                    </a:cubicBezTo>
                    <a:cubicBezTo>
                      <a:pt x="102" y="75"/>
                      <a:pt x="102" y="74"/>
                      <a:pt x="101" y="74"/>
                    </a:cubicBezTo>
                    <a:cubicBezTo>
                      <a:pt x="99" y="73"/>
                      <a:pt x="96" y="73"/>
                      <a:pt x="93" y="73"/>
                    </a:cubicBezTo>
                    <a:cubicBezTo>
                      <a:pt x="93" y="73"/>
                      <a:pt x="92" y="73"/>
                      <a:pt x="92" y="73"/>
                    </a:cubicBezTo>
                    <a:cubicBezTo>
                      <a:pt x="91" y="73"/>
                      <a:pt x="91" y="73"/>
                      <a:pt x="91" y="73"/>
                    </a:cubicBezTo>
                    <a:cubicBezTo>
                      <a:pt x="88" y="73"/>
                      <a:pt x="85" y="73"/>
                      <a:pt x="83" y="74"/>
                    </a:cubicBezTo>
                    <a:cubicBezTo>
                      <a:pt x="82" y="74"/>
                      <a:pt x="82" y="75"/>
                      <a:pt x="81" y="75"/>
                    </a:cubicBezTo>
                    <a:cubicBezTo>
                      <a:pt x="79" y="76"/>
                      <a:pt x="76" y="78"/>
                      <a:pt x="74" y="79"/>
                    </a:cubicBezTo>
                    <a:cubicBezTo>
                      <a:pt x="74" y="80"/>
                      <a:pt x="73" y="81"/>
                      <a:pt x="73" y="81"/>
                    </a:cubicBezTo>
                    <a:cubicBezTo>
                      <a:pt x="71" y="83"/>
                      <a:pt x="69" y="85"/>
                      <a:pt x="68" y="88"/>
                    </a:cubicBezTo>
                    <a:cubicBezTo>
                      <a:pt x="68" y="88"/>
                      <a:pt x="68" y="89"/>
                      <a:pt x="68" y="89"/>
                    </a:cubicBezTo>
                    <a:cubicBezTo>
                      <a:pt x="67" y="92"/>
                      <a:pt x="66" y="95"/>
                      <a:pt x="66" y="97"/>
                    </a:cubicBezTo>
                    <a:cubicBezTo>
                      <a:pt x="66" y="98"/>
                      <a:pt x="66" y="98"/>
                      <a:pt x="66" y="99"/>
                    </a:cubicBezTo>
                    <a:cubicBezTo>
                      <a:pt x="66" y="99"/>
                      <a:pt x="66" y="100"/>
                      <a:pt x="66" y="100"/>
                    </a:cubicBezTo>
                    <a:cubicBezTo>
                      <a:pt x="66" y="103"/>
                      <a:pt x="67" y="105"/>
                      <a:pt x="68" y="108"/>
                    </a:cubicBezTo>
                    <a:cubicBezTo>
                      <a:pt x="68" y="108"/>
                      <a:pt x="68" y="109"/>
                      <a:pt x="68" y="109"/>
                    </a:cubicBezTo>
                    <a:cubicBezTo>
                      <a:pt x="69" y="112"/>
                      <a:pt x="71" y="114"/>
                      <a:pt x="73" y="116"/>
                    </a:cubicBezTo>
                    <a:cubicBezTo>
                      <a:pt x="73" y="117"/>
                      <a:pt x="74" y="117"/>
                      <a:pt x="74" y="118"/>
                    </a:cubicBezTo>
                    <a:cubicBezTo>
                      <a:pt x="76" y="120"/>
                      <a:pt x="79" y="121"/>
                      <a:pt x="81" y="122"/>
                    </a:cubicBezTo>
                    <a:cubicBezTo>
                      <a:pt x="82" y="123"/>
                      <a:pt x="82" y="123"/>
                      <a:pt x="83" y="123"/>
                    </a:cubicBezTo>
                    <a:cubicBezTo>
                      <a:pt x="85" y="124"/>
                      <a:pt x="88" y="124"/>
                      <a:pt x="91" y="125"/>
                    </a:cubicBezTo>
                    <a:cubicBezTo>
                      <a:pt x="91" y="125"/>
                      <a:pt x="91" y="125"/>
                      <a:pt x="92" y="125"/>
                    </a:cubicBezTo>
                    <a:cubicBezTo>
                      <a:pt x="92" y="125"/>
                      <a:pt x="93" y="125"/>
                      <a:pt x="93" y="125"/>
                    </a:cubicBezTo>
                    <a:cubicBezTo>
                      <a:pt x="96" y="124"/>
                      <a:pt x="99" y="124"/>
                      <a:pt x="101" y="123"/>
                    </a:cubicBezTo>
                    <a:cubicBezTo>
                      <a:pt x="102" y="123"/>
                      <a:pt x="102" y="123"/>
                      <a:pt x="103" y="122"/>
                    </a:cubicBezTo>
                    <a:cubicBezTo>
                      <a:pt x="105" y="121"/>
                      <a:pt x="107" y="120"/>
                      <a:pt x="109" y="118"/>
                    </a:cubicBezTo>
                    <a:cubicBezTo>
                      <a:pt x="110" y="117"/>
                      <a:pt x="111" y="117"/>
                      <a:pt x="111" y="116"/>
                    </a:cubicBezTo>
                    <a:cubicBezTo>
                      <a:pt x="113" y="114"/>
                      <a:pt x="114" y="112"/>
                      <a:pt x="116" y="109"/>
                    </a:cubicBezTo>
                    <a:cubicBezTo>
                      <a:pt x="116" y="109"/>
                      <a:pt x="116" y="108"/>
                      <a:pt x="116" y="108"/>
                    </a:cubicBezTo>
                    <a:cubicBezTo>
                      <a:pt x="117" y="105"/>
                      <a:pt x="118" y="103"/>
                      <a:pt x="118" y="100"/>
                    </a:cubicBezTo>
                    <a:cubicBezTo>
                      <a:pt x="118" y="100"/>
                      <a:pt x="118" y="99"/>
                      <a:pt x="118" y="99"/>
                    </a:cubicBezTo>
                    <a:cubicBezTo>
                      <a:pt x="118" y="98"/>
                      <a:pt x="118" y="98"/>
                      <a:pt x="118" y="97"/>
                    </a:cubicBezTo>
                    <a:cubicBezTo>
                      <a:pt x="118" y="95"/>
                      <a:pt x="117" y="92"/>
                      <a:pt x="116" y="89"/>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4" name="Freeform 197"/>
              <p:cNvSpPr>
                <a:spLocks noEditPoints="1"/>
              </p:cNvSpPr>
              <p:nvPr/>
            </p:nvSpPr>
            <p:spPr bwMode="auto">
              <a:xfrm>
                <a:off x="10442526" y="1165154"/>
                <a:ext cx="353646" cy="226371"/>
              </a:xfrm>
              <a:custGeom>
                <a:avLst/>
                <a:gdLst>
                  <a:gd name="T0" fmla="*/ 149 w 323"/>
                  <a:gd name="T1" fmla="*/ 198 h 198"/>
                  <a:gd name="T2" fmla="*/ 192 w 323"/>
                  <a:gd name="T3" fmla="*/ 172 h 198"/>
                  <a:gd name="T4" fmla="*/ 139 w 323"/>
                  <a:gd name="T5" fmla="*/ 191 h 198"/>
                  <a:gd name="T6" fmla="*/ 146 w 323"/>
                  <a:gd name="T7" fmla="*/ 192 h 198"/>
                  <a:gd name="T8" fmla="*/ 184 w 323"/>
                  <a:gd name="T9" fmla="*/ 180 h 198"/>
                  <a:gd name="T10" fmla="*/ 98 w 323"/>
                  <a:gd name="T11" fmla="*/ 109 h 198"/>
                  <a:gd name="T12" fmla="*/ 187 w 323"/>
                  <a:gd name="T13" fmla="*/ 113 h 198"/>
                  <a:gd name="T14" fmla="*/ 234 w 323"/>
                  <a:gd name="T15" fmla="*/ 76 h 198"/>
                  <a:gd name="T16" fmla="*/ 83 w 323"/>
                  <a:gd name="T17" fmla="*/ 31 h 198"/>
                  <a:gd name="T18" fmla="*/ 178 w 323"/>
                  <a:gd name="T19" fmla="*/ 79 h 198"/>
                  <a:gd name="T20" fmla="*/ 176 w 323"/>
                  <a:gd name="T21" fmla="*/ 58 h 198"/>
                  <a:gd name="T22" fmla="*/ 196 w 323"/>
                  <a:gd name="T23" fmla="*/ 49 h 198"/>
                  <a:gd name="T24" fmla="*/ 153 w 323"/>
                  <a:gd name="T25" fmla="*/ 30 h 198"/>
                  <a:gd name="T26" fmla="*/ 215 w 323"/>
                  <a:gd name="T27" fmla="*/ 89 h 198"/>
                  <a:gd name="T28" fmla="*/ 208 w 323"/>
                  <a:gd name="T29" fmla="*/ 44 h 198"/>
                  <a:gd name="T30" fmla="*/ 189 w 323"/>
                  <a:gd name="T31" fmla="*/ 21 h 198"/>
                  <a:gd name="T32" fmla="*/ 189 w 323"/>
                  <a:gd name="T33" fmla="*/ 21 h 198"/>
                  <a:gd name="T34" fmla="*/ 161 w 323"/>
                  <a:gd name="T35" fmla="*/ 7 h 198"/>
                  <a:gd name="T36" fmla="*/ 101 w 323"/>
                  <a:gd name="T37" fmla="*/ 57 h 198"/>
                  <a:gd name="T38" fmla="*/ 101 w 323"/>
                  <a:gd name="T39" fmla="*/ 49 h 198"/>
                  <a:gd name="T40" fmla="*/ 121 w 323"/>
                  <a:gd name="T41" fmla="*/ 58 h 198"/>
                  <a:gd name="T42" fmla="*/ 115 w 323"/>
                  <a:gd name="T43" fmla="*/ 89 h 198"/>
                  <a:gd name="T44" fmla="*/ 144 w 323"/>
                  <a:gd name="T45" fmla="*/ 30 h 198"/>
                  <a:gd name="T46" fmla="*/ 123 w 323"/>
                  <a:gd name="T47" fmla="*/ 11 h 198"/>
                  <a:gd name="T48" fmla="*/ 114 w 323"/>
                  <a:gd name="T49" fmla="*/ 19 h 198"/>
                  <a:gd name="T50" fmla="*/ 87 w 323"/>
                  <a:gd name="T51" fmla="*/ 38 h 198"/>
                  <a:gd name="T52" fmla="*/ 97 w 323"/>
                  <a:gd name="T53" fmla="*/ 54 h 198"/>
                  <a:gd name="T54" fmla="*/ 46 w 323"/>
                  <a:gd name="T55" fmla="*/ 101 h 198"/>
                  <a:gd name="T56" fmla="*/ 156 w 323"/>
                  <a:gd name="T57" fmla="*/ 141 h 198"/>
                  <a:gd name="T58" fmla="*/ 241 w 323"/>
                  <a:gd name="T59" fmla="*/ 83 h 198"/>
                  <a:gd name="T60" fmla="*/ 0 w 323"/>
                  <a:gd name="T61" fmla="*/ 119 h 198"/>
                  <a:gd name="T62" fmla="*/ 146 w 323"/>
                  <a:gd name="T63" fmla="*/ 169 h 198"/>
                  <a:gd name="T64" fmla="*/ 241 w 323"/>
                  <a:gd name="T65" fmla="*/ 123 h 198"/>
                  <a:gd name="T66" fmla="*/ 12 w 323"/>
                  <a:gd name="T67" fmla="*/ 108 h 198"/>
                  <a:gd name="T68" fmla="*/ 28 w 323"/>
                  <a:gd name="T69" fmla="*/ 108 h 198"/>
                  <a:gd name="T70" fmla="*/ 65 w 323"/>
                  <a:gd name="T71" fmla="*/ 127 h 198"/>
                  <a:gd name="T72" fmla="*/ 61 w 323"/>
                  <a:gd name="T73" fmla="*/ 101 h 198"/>
                  <a:gd name="T74" fmla="*/ 64 w 323"/>
                  <a:gd name="T75" fmla="*/ 113 h 198"/>
                  <a:gd name="T76" fmla="*/ 72 w 323"/>
                  <a:gd name="T77" fmla="*/ 130 h 198"/>
                  <a:gd name="T78" fmla="*/ 72 w 323"/>
                  <a:gd name="T79" fmla="*/ 114 h 198"/>
                  <a:gd name="T80" fmla="*/ 87 w 323"/>
                  <a:gd name="T81" fmla="*/ 141 h 198"/>
                  <a:gd name="T82" fmla="*/ 94 w 323"/>
                  <a:gd name="T83" fmla="*/ 129 h 198"/>
                  <a:gd name="T84" fmla="*/ 127 w 323"/>
                  <a:gd name="T85" fmla="*/ 154 h 198"/>
                  <a:gd name="T86" fmla="*/ 132 w 323"/>
                  <a:gd name="T87" fmla="*/ 139 h 198"/>
                  <a:gd name="T88" fmla="*/ 148 w 323"/>
                  <a:gd name="T89" fmla="*/ 145 h 198"/>
                  <a:gd name="T90" fmla="*/ 195 w 323"/>
                  <a:gd name="T91" fmla="*/ 153 h 198"/>
                  <a:gd name="T92" fmla="*/ 180 w 323"/>
                  <a:gd name="T93" fmla="*/ 140 h 198"/>
                  <a:gd name="T94" fmla="*/ 192 w 323"/>
                  <a:gd name="T95" fmla="*/ 150 h 198"/>
                  <a:gd name="T96" fmla="*/ 214 w 323"/>
                  <a:gd name="T97" fmla="*/ 141 h 198"/>
                  <a:gd name="T98" fmla="*/ 218 w 323"/>
                  <a:gd name="T99" fmla="*/ 121 h 198"/>
                  <a:gd name="T100" fmla="*/ 234 w 323"/>
                  <a:gd name="T101" fmla="*/ 130 h 198"/>
                  <a:gd name="T102" fmla="*/ 237 w 323"/>
                  <a:gd name="T103" fmla="*/ 104 h 198"/>
                  <a:gd name="T104" fmla="*/ 271 w 323"/>
                  <a:gd name="T105" fmla="*/ 112 h 198"/>
                  <a:gd name="T106" fmla="*/ 281 w 323"/>
                  <a:gd name="T107" fmla="*/ 108 h 198"/>
                  <a:gd name="T108" fmla="*/ 97 w 323"/>
                  <a:gd name="T109" fmla="*/ 136 h 198"/>
                  <a:gd name="T110" fmla="*/ 232 w 323"/>
                  <a:gd name="T111" fmla="*/ 11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3" h="198">
                    <a:moveTo>
                      <a:pt x="148" y="178"/>
                    </a:moveTo>
                    <a:cubicBezTo>
                      <a:pt x="130" y="178"/>
                      <a:pt x="111" y="175"/>
                      <a:pt x="95" y="169"/>
                    </a:cubicBezTo>
                    <a:cubicBezTo>
                      <a:pt x="89" y="167"/>
                      <a:pt x="83" y="164"/>
                      <a:pt x="78" y="161"/>
                    </a:cubicBezTo>
                    <a:cubicBezTo>
                      <a:pt x="84" y="169"/>
                      <a:pt x="92" y="177"/>
                      <a:pt x="101" y="183"/>
                    </a:cubicBezTo>
                    <a:cubicBezTo>
                      <a:pt x="105" y="185"/>
                      <a:pt x="109" y="188"/>
                      <a:pt x="114" y="190"/>
                    </a:cubicBezTo>
                    <a:cubicBezTo>
                      <a:pt x="118" y="192"/>
                      <a:pt x="123" y="194"/>
                      <a:pt x="129" y="195"/>
                    </a:cubicBezTo>
                    <a:cubicBezTo>
                      <a:pt x="135" y="197"/>
                      <a:pt x="142" y="198"/>
                      <a:pt x="149" y="198"/>
                    </a:cubicBezTo>
                    <a:cubicBezTo>
                      <a:pt x="149" y="198"/>
                      <a:pt x="149" y="198"/>
                      <a:pt x="149" y="198"/>
                    </a:cubicBezTo>
                    <a:cubicBezTo>
                      <a:pt x="149" y="198"/>
                      <a:pt x="149" y="198"/>
                      <a:pt x="149" y="198"/>
                    </a:cubicBezTo>
                    <a:cubicBezTo>
                      <a:pt x="149" y="198"/>
                      <a:pt x="149" y="198"/>
                      <a:pt x="149" y="198"/>
                    </a:cubicBezTo>
                    <a:cubicBezTo>
                      <a:pt x="149" y="198"/>
                      <a:pt x="149" y="198"/>
                      <a:pt x="149" y="198"/>
                    </a:cubicBezTo>
                    <a:cubicBezTo>
                      <a:pt x="156" y="198"/>
                      <a:pt x="162" y="197"/>
                      <a:pt x="169" y="195"/>
                    </a:cubicBezTo>
                    <a:cubicBezTo>
                      <a:pt x="174" y="194"/>
                      <a:pt x="179" y="192"/>
                      <a:pt x="184" y="190"/>
                    </a:cubicBezTo>
                    <a:cubicBezTo>
                      <a:pt x="188" y="188"/>
                      <a:pt x="193" y="185"/>
                      <a:pt x="197" y="183"/>
                    </a:cubicBezTo>
                    <a:cubicBezTo>
                      <a:pt x="206" y="177"/>
                      <a:pt x="214" y="169"/>
                      <a:pt x="220" y="160"/>
                    </a:cubicBezTo>
                    <a:cubicBezTo>
                      <a:pt x="212" y="165"/>
                      <a:pt x="202" y="169"/>
                      <a:pt x="192" y="172"/>
                    </a:cubicBezTo>
                    <a:cubicBezTo>
                      <a:pt x="178" y="176"/>
                      <a:pt x="163" y="178"/>
                      <a:pt x="148" y="178"/>
                    </a:cubicBezTo>
                    <a:close/>
                    <a:moveTo>
                      <a:pt x="103" y="178"/>
                    </a:moveTo>
                    <a:cubicBezTo>
                      <a:pt x="102" y="177"/>
                      <a:pt x="100" y="176"/>
                      <a:pt x="99" y="174"/>
                    </a:cubicBezTo>
                    <a:cubicBezTo>
                      <a:pt x="101" y="176"/>
                      <a:pt x="104" y="177"/>
                      <a:pt x="106" y="177"/>
                    </a:cubicBezTo>
                    <a:cubicBezTo>
                      <a:pt x="106" y="178"/>
                      <a:pt x="107" y="179"/>
                      <a:pt x="107" y="179"/>
                    </a:cubicBezTo>
                    <a:cubicBezTo>
                      <a:pt x="106" y="179"/>
                      <a:pt x="105" y="178"/>
                      <a:pt x="103" y="178"/>
                    </a:cubicBezTo>
                    <a:close/>
                    <a:moveTo>
                      <a:pt x="146" y="192"/>
                    </a:moveTo>
                    <a:cubicBezTo>
                      <a:pt x="144" y="192"/>
                      <a:pt x="142" y="192"/>
                      <a:pt x="139" y="191"/>
                    </a:cubicBezTo>
                    <a:cubicBezTo>
                      <a:pt x="136" y="191"/>
                      <a:pt x="132" y="190"/>
                      <a:pt x="129" y="189"/>
                    </a:cubicBezTo>
                    <a:cubicBezTo>
                      <a:pt x="127" y="189"/>
                      <a:pt x="124" y="188"/>
                      <a:pt x="122" y="187"/>
                    </a:cubicBezTo>
                    <a:cubicBezTo>
                      <a:pt x="120" y="187"/>
                      <a:pt x="119" y="186"/>
                      <a:pt x="117" y="185"/>
                    </a:cubicBezTo>
                    <a:cubicBezTo>
                      <a:pt x="116" y="184"/>
                      <a:pt x="115" y="182"/>
                      <a:pt x="114" y="181"/>
                    </a:cubicBezTo>
                    <a:cubicBezTo>
                      <a:pt x="114" y="180"/>
                      <a:pt x="113" y="180"/>
                      <a:pt x="113" y="180"/>
                    </a:cubicBezTo>
                    <a:cubicBezTo>
                      <a:pt x="125" y="183"/>
                      <a:pt x="136" y="185"/>
                      <a:pt x="146" y="185"/>
                    </a:cubicBezTo>
                    <a:cubicBezTo>
                      <a:pt x="146" y="192"/>
                      <a:pt x="146" y="192"/>
                      <a:pt x="146" y="192"/>
                    </a:cubicBezTo>
                    <a:cubicBezTo>
                      <a:pt x="146" y="192"/>
                      <a:pt x="146" y="192"/>
                      <a:pt x="146" y="192"/>
                    </a:cubicBezTo>
                    <a:close/>
                    <a:moveTo>
                      <a:pt x="184" y="181"/>
                    </a:moveTo>
                    <a:cubicBezTo>
                      <a:pt x="183" y="182"/>
                      <a:pt x="182" y="184"/>
                      <a:pt x="181" y="185"/>
                    </a:cubicBezTo>
                    <a:cubicBezTo>
                      <a:pt x="179" y="186"/>
                      <a:pt x="177" y="187"/>
                      <a:pt x="175" y="187"/>
                    </a:cubicBezTo>
                    <a:cubicBezTo>
                      <a:pt x="173" y="188"/>
                      <a:pt x="171" y="189"/>
                      <a:pt x="169" y="189"/>
                    </a:cubicBezTo>
                    <a:cubicBezTo>
                      <a:pt x="165" y="190"/>
                      <a:pt x="162" y="191"/>
                      <a:pt x="158" y="191"/>
                    </a:cubicBezTo>
                    <a:cubicBezTo>
                      <a:pt x="156" y="192"/>
                      <a:pt x="154" y="192"/>
                      <a:pt x="152" y="192"/>
                    </a:cubicBezTo>
                    <a:cubicBezTo>
                      <a:pt x="152" y="185"/>
                      <a:pt x="152" y="185"/>
                      <a:pt x="152" y="185"/>
                    </a:cubicBezTo>
                    <a:cubicBezTo>
                      <a:pt x="162" y="185"/>
                      <a:pt x="173" y="183"/>
                      <a:pt x="184" y="180"/>
                    </a:cubicBezTo>
                    <a:cubicBezTo>
                      <a:pt x="184" y="180"/>
                      <a:pt x="184" y="180"/>
                      <a:pt x="184" y="181"/>
                    </a:cubicBezTo>
                    <a:close/>
                    <a:moveTo>
                      <a:pt x="194" y="178"/>
                    </a:moveTo>
                    <a:cubicBezTo>
                      <a:pt x="193" y="178"/>
                      <a:pt x="192" y="179"/>
                      <a:pt x="191" y="179"/>
                    </a:cubicBezTo>
                    <a:cubicBezTo>
                      <a:pt x="191" y="179"/>
                      <a:pt x="191" y="178"/>
                      <a:pt x="191" y="177"/>
                    </a:cubicBezTo>
                    <a:cubicBezTo>
                      <a:pt x="194" y="177"/>
                      <a:pt x="196" y="175"/>
                      <a:pt x="199" y="174"/>
                    </a:cubicBezTo>
                    <a:cubicBezTo>
                      <a:pt x="197" y="176"/>
                      <a:pt x="196" y="177"/>
                      <a:pt x="194" y="178"/>
                    </a:cubicBezTo>
                    <a:close/>
                    <a:moveTo>
                      <a:pt x="66" y="83"/>
                    </a:moveTo>
                    <a:cubicBezTo>
                      <a:pt x="73" y="95"/>
                      <a:pt x="85" y="103"/>
                      <a:pt x="98" y="109"/>
                    </a:cubicBezTo>
                    <a:cubicBezTo>
                      <a:pt x="100" y="110"/>
                      <a:pt x="103" y="111"/>
                      <a:pt x="105" y="112"/>
                    </a:cubicBezTo>
                    <a:cubicBezTo>
                      <a:pt x="105" y="112"/>
                      <a:pt x="105" y="112"/>
                      <a:pt x="105" y="112"/>
                    </a:cubicBezTo>
                    <a:cubicBezTo>
                      <a:pt x="107" y="113"/>
                      <a:pt x="109" y="113"/>
                      <a:pt x="110" y="114"/>
                    </a:cubicBezTo>
                    <a:cubicBezTo>
                      <a:pt x="110" y="114"/>
                      <a:pt x="110" y="113"/>
                      <a:pt x="110" y="113"/>
                    </a:cubicBezTo>
                    <a:cubicBezTo>
                      <a:pt x="116" y="115"/>
                      <a:pt x="121" y="116"/>
                      <a:pt x="127" y="117"/>
                    </a:cubicBezTo>
                    <a:cubicBezTo>
                      <a:pt x="134" y="118"/>
                      <a:pt x="141" y="119"/>
                      <a:pt x="148" y="119"/>
                    </a:cubicBezTo>
                    <a:cubicBezTo>
                      <a:pt x="156" y="119"/>
                      <a:pt x="163" y="118"/>
                      <a:pt x="170" y="117"/>
                    </a:cubicBezTo>
                    <a:cubicBezTo>
                      <a:pt x="175" y="116"/>
                      <a:pt x="181" y="115"/>
                      <a:pt x="187" y="113"/>
                    </a:cubicBezTo>
                    <a:cubicBezTo>
                      <a:pt x="187" y="113"/>
                      <a:pt x="187" y="114"/>
                      <a:pt x="187" y="114"/>
                    </a:cubicBezTo>
                    <a:cubicBezTo>
                      <a:pt x="188" y="113"/>
                      <a:pt x="190" y="113"/>
                      <a:pt x="192" y="112"/>
                    </a:cubicBezTo>
                    <a:cubicBezTo>
                      <a:pt x="192" y="112"/>
                      <a:pt x="192" y="112"/>
                      <a:pt x="192" y="112"/>
                    </a:cubicBezTo>
                    <a:cubicBezTo>
                      <a:pt x="195" y="111"/>
                      <a:pt x="197" y="110"/>
                      <a:pt x="200" y="109"/>
                    </a:cubicBezTo>
                    <a:cubicBezTo>
                      <a:pt x="212" y="103"/>
                      <a:pt x="223" y="95"/>
                      <a:pt x="231" y="83"/>
                    </a:cubicBezTo>
                    <a:cubicBezTo>
                      <a:pt x="231" y="83"/>
                      <a:pt x="231" y="83"/>
                      <a:pt x="231" y="83"/>
                    </a:cubicBezTo>
                    <a:cubicBezTo>
                      <a:pt x="232" y="82"/>
                      <a:pt x="232" y="81"/>
                      <a:pt x="232" y="80"/>
                    </a:cubicBezTo>
                    <a:cubicBezTo>
                      <a:pt x="234" y="76"/>
                      <a:pt x="234" y="76"/>
                      <a:pt x="234" y="76"/>
                    </a:cubicBezTo>
                    <a:cubicBezTo>
                      <a:pt x="234" y="74"/>
                      <a:pt x="233" y="72"/>
                      <a:pt x="233" y="71"/>
                    </a:cubicBezTo>
                    <a:cubicBezTo>
                      <a:pt x="230" y="56"/>
                      <a:pt x="223" y="43"/>
                      <a:pt x="214" y="31"/>
                    </a:cubicBezTo>
                    <a:cubicBezTo>
                      <a:pt x="213" y="30"/>
                      <a:pt x="212" y="29"/>
                      <a:pt x="210" y="27"/>
                    </a:cubicBezTo>
                    <a:cubicBezTo>
                      <a:pt x="210" y="27"/>
                      <a:pt x="206" y="23"/>
                      <a:pt x="206" y="23"/>
                    </a:cubicBezTo>
                    <a:cubicBezTo>
                      <a:pt x="190" y="9"/>
                      <a:pt x="170" y="1"/>
                      <a:pt x="148" y="0"/>
                    </a:cubicBezTo>
                    <a:cubicBezTo>
                      <a:pt x="148" y="0"/>
                      <a:pt x="148" y="0"/>
                      <a:pt x="148" y="0"/>
                    </a:cubicBezTo>
                    <a:cubicBezTo>
                      <a:pt x="127" y="1"/>
                      <a:pt x="107" y="9"/>
                      <a:pt x="91" y="23"/>
                    </a:cubicBezTo>
                    <a:cubicBezTo>
                      <a:pt x="91" y="23"/>
                      <a:pt x="87" y="27"/>
                      <a:pt x="83" y="31"/>
                    </a:cubicBezTo>
                    <a:cubicBezTo>
                      <a:pt x="74" y="43"/>
                      <a:pt x="67" y="56"/>
                      <a:pt x="64" y="71"/>
                    </a:cubicBezTo>
                    <a:cubicBezTo>
                      <a:pt x="64" y="71"/>
                      <a:pt x="63" y="73"/>
                      <a:pt x="63" y="76"/>
                    </a:cubicBezTo>
                    <a:cubicBezTo>
                      <a:pt x="65" y="80"/>
                      <a:pt x="65" y="80"/>
                      <a:pt x="65" y="80"/>
                    </a:cubicBezTo>
                    <a:cubicBezTo>
                      <a:pt x="65" y="81"/>
                      <a:pt x="65" y="82"/>
                      <a:pt x="66" y="83"/>
                    </a:cubicBezTo>
                    <a:close/>
                    <a:moveTo>
                      <a:pt x="151" y="112"/>
                    </a:moveTo>
                    <a:cubicBezTo>
                      <a:pt x="151" y="69"/>
                      <a:pt x="151" y="69"/>
                      <a:pt x="151" y="69"/>
                    </a:cubicBezTo>
                    <a:cubicBezTo>
                      <a:pt x="158" y="69"/>
                      <a:pt x="166" y="68"/>
                      <a:pt x="173" y="66"/>
                    </a:cubicBezTo>
                    <a:cubicBezTo>
                      <a:pt x="175" y="70"/>
                      <a:pt x="177" y="75"/>
                      <a:pt x="178" y="79"/>
                    </a:cubicBezTo>
                    <a:cubicBezTo>
                      <a:pt x="180" y="83"/>
                      <a:pt x="181" y="86"/>
                      <a:pt x="182" y="89"/>
                    </a:cubicBezTo>
                    <a:cubicBezTo>
                      <a:pt x="183" y="93"/>
                      <a:pt x="183" y="96"/>
                      <a:pt x="184" y="100"/>
                    </a:cubicBezTo>
                    <a:cubicBezTo>
                      <a:pt x="185" y="102"/>
                      <a:pt x="185" y="105"/>
                      <a:pt x="186" y="107"/>
                    </a:cubicBezTo>
                    <a:cubicBezTo>
                      <a:pt x="174" y="110"/>
                      <a:pt x="162" y="112"/>
                      <a:pt x="151" y="112"/>
                    </a:cubicBezTo>
                    <a:close/>
                    <a:moveTo>
                      <a:pt x="188" y="48"/>
                    </a:moveTo>
                    <a:cubicBezTo>
                      <a:pt x="188" y="48"/>
                      <a:pt x="188" y="49"/>
                      <a:pt x="189" y="49"/>
                    </a:cubicBezTo>
                    <a:cubicBezTo>
                      <a:pt x="190" y="50"/>
                      <a:pt x="191" y="51"/>
                      <a:pt x="192" y="52"/>
                    </a:cubicBezTo>
                    <a:cubicBezTo>
                      <a:pt x="187" y="54"/>
                      <a:pt x="182" y="57"/>
                      <a:pt x="176" y="58"/>
                    </a:cubicBezTo>
                    <a:cubicBezTo>
                      <a:pt x="171" y="46"/>
                      <a:pt x="164" y="35"/>
                      <a:pt x="158" y="27"/>
                    </a:cubicBezTo>
                    <a:cubicBezTo>
                      <a:pt x="168" y="32"/>
                      <a:pt x="179" y="39"/>
                      <a:pt x="188" y="48"/>
                    </a:cubicBezTo>
                    <a:close/>
                    <a:moveTo>
                      <a:pt x="164" y="24"/>
                    </a:moveTo>
                    <a:cubicBezTo>
                      <a:pt x="172" y="25"/>
                      <a:pt x="180" y="27"/>
                      <a:pt x="186" y="30"/>
                    </a:cubicBezTo>
                    <a:cubicBezTo>
                      <a:pt x="189" y="31"/>
                      <a:pt x="191" y="32"/>
                      <a:pt x="192" y="33"/>
                    </a:cubicBezTo>
                    <a:cubicBezTo>
                      <a:pt x="196" y="35"/>
                      <a:pt x="200" y="37"/>
                      <a:pt x="203" y="40"/>
                    </a:cubicBezTo>
                    <a:cubicBezTo>
                      <a:pt x="203" y="40"/>
                      <a:pt x="202" y="41"/>
                      <a:pt x="202" y="42"/>
                    </a:cubicBezTo>
                    <a:cubicBezTo>
                      <a:pt x="201" y="44"/>
                      <a:pt x="199" y="46"/>
                      <a:pt x="196" y="49"/>
                    </a:cubicBezTo>
                    <a:cubicBezTo>
                      <a:pt x="195" y="48"/>
                      <a:pt x="194" y="47"/>
                      <a:pt x="193" y="46"/>
                    </a:cubicBezTo>
                    <a:cubicBezTo>
                      <a:pt x="193" y="45"/>
                      <a:pt x="193" y="45"/>
                      <a:pt x="193" y="45"/>
                    </a:cubicBezTo>
                    <a:cubicBezTo>
                      <a:pt x="191" y="43"/>
                      <a:pt x="189" y="42"/>
                      <a:pt x="188" y="40"/>
                    </a:cubicBezTo>
                    <a:cubicBezTo>
                      <a:pt x="180" y="34"/>
                      <a:pt x="173" y="28"/>
                      <a:pt x="164" y="24"/>
                    </a:cubicBezTo>
                    <a:close/>
                    <a:moveTo>
                      <a:pt x="171" y="60"/>
                    </a:moveTo>
                    <a:cubicBezTo>
                      <a:pt x="164" y="62"/>
                      <a:pt x="158" y="63"/>
                      <a:pt x="151" y="63"/>
                    </a:cubicBezTo>
                    <a:cubicBezTo>
                      <a:pt x="151" y="27"/>
                      <a:pt x="151" y="27"/>
                      <a:pt x="151" y="27"/>
                    </a:cubicBezTo>
                    <a:cubicBezTo>
                      <a:pt x="152" y="28"/>
                      <a:pt x="152" y="29"/>
                      <a:pt x="153" y="30"/>
                    </a:cubicBezTo>
                    <a:cubicBezTo>
                      <a:pt x="159" y="38"/>
                      <a:pt x="166" y="48"/>
                      <a:pt x="171" y="60"/>
                    </a:cubicBezTo>
                    <a:close/>
                    <a:moveTo>
                      <a:pt x="191" y="105"/>
                    </a:moveTo>
                    <a:cubicBezTo>
                      <a:pt x="190" y="100"/>
                      <a:pt x="189" y="95"/>
                      <a:pt x="187" y="89"/>
                    </a:cubicBezTo>
                    <a:cubicBezTo>
                      <a:pt x="186" y="86"/>
                      <a:pt x="185" y="83"/>
                      <a:pt x="184" y="79"/>
                    </a:cubicBezTo>
                    <a:cubicBezTo>
                      <a:pt x="184" y="79"/>
                      <a:pt x="184" y="78"/>
                      <a:pt x="184" y="78"/>
                    </a:cubicBezTo>
                    <a:cubicBezTo>
                      <a:pt x="182" y="73"/>
                      <a:pt x="180" y="69"/>
                      <a:pt x="179" y="64"/>
                    </a:cubicBezTo>
                    <a:cubicBezTo>
                      <a:pt x="185" y="62"/>
                      <a:pt x="191" y="60"/>
                      <a:pt x="196" y="57"/>
                    </a:cubicBezTo>
                    <a:cubicBezTo>
                      <a:pt x="204" y="67"/>
                      <a:pt x="211" y="78"/>
                      <a:pt x="215" y="89"/>
                    </a:cubicBezTo>
                    <a:cubicBezTo>
                      <a:pt x="215" y="90"/>
                      <a:pt x="215" y="92"/>
                      <a:pt x="216" y="93"/>
                    </a:cubicBezTo>
                    <a:cubicBezTo>
                      <a:pt x="209" y="98"/>
                      <a:pt x="200" y="102"/>
                      <a:pt x="191" y="105"/>
                    </a:cubicBezTo>
                    <a:close/>
                    <a:moveTo>
                      <a:pt x="210" y="36"/>
                    </a:moveTo>
                    <a:cubicBezTo>
                      <a:pt x="212" y="38"/>
                      <a:pt x="213" y="40"/>
                      <a:pt x="214" y="42"/>
                    </a:cubicBezTo>
                    <a:cubicBezTo>
                      <a:pt x="213" y="40"/>
                      <a:pt x="211" y="39"/>
                      <a:pt x="210" y="38"/>
                    </a:cubicBezTo>
                    <a:cubicBezTo>
                      <a:pt x="210" y="38"/>
                      <a:pt x="210" y="37"/>
                      <a:pt x="210" y="36"/>
                    </a:cubicBezTo>
                    <a:close/>
                    <a:moveTo>
                      <a:pt x="208" y="45"/>
                    </a:moveTo>
                    <a:cubicBezTo>
                      <a:pt x="208" y="45"/>
                      <a:pt x="208" y="44"/>
                      <a:pt x="208" y="44"/>
                    </a:cubicBezTo>
                    <a:cubicBezTo>
                      <a:pt x="212" y="47"/>
                      <a:pt x="215" y="51"/>
                      <a:pt x="218" y="54"/>
                    </a:cubicBezTo>
                    <a:cubicBezTo>
                      <a:pt x="221" y="58"/>
                      <a:pt x="223" y="61"/>
                      <a:pt x="225" y="65"/>
                    </a:cubicBezTo>
                    <a:cubicBezTo>
                      <a:pt x="226" y="67"/>
                      <a:pt x="227" y="70"/>
                      <a:pt x="228" y="72"/>
                    </a:cubicBezTo>
                    <a:cubicBezTo>
                      <a:pt x="228" y="73"/>
                      <a:pt x="230" y="79"/>
                      <a:pt x="220" y="89"/>
                    </a:cubicBezTo>
                    <a:cubicBezTo>
                      <a:pt x="219" y="86"/>
                      <a:pt x="218" y="83"/>
                      <a:pt x="217" y="81"/>
                    </a:cubicBezTo>
                    <a:cubicBezTo>
                      <a:pt x="213" y="71"/>
                      <a:pt x="208" y="62"/>
                      <a:pt x="200" y="53"/>
                    </a:cubicBezTo>
                    <a:cubicBezTo>
                      <a:pt x="204" y="51"/>
                      <a:pt x="206" y="48"/>
                      <a:pt x="208" y="45"/>
                    </a:cubicBezTo>
                    <a:close/>
                    <a:moveTo>
                      <a:pt x="189" y="21"/>
                    </a:moveTo>
                    <a:cubicBezTo>
                      <a:pt x="194" y="22"/>
                      <a:pt x="198" y="24"/>
                      <a:pt x="201" y="27"/>
                    </a:cubicBezTo>
                    <a:cubicBezTo>
                      <a:pt x="203" y="29"/>
                      <a:pt x="203" y="31"/>
                      <a:pt x="204" y="33"/>
                    </a:cubicBezTo>
                    <a:cubicBezTo>
                      <a:pt x="200" y="31"/>
                      <a:pt x="196" y="28"/>
                      <a:pt x="191" y="26"/>
                    </a:cubicBezTo>
                    <a:cubicBezTo>
                      <a:pt x="189" y="25"/>
                      <a:pt x="187" y="25"/>
                      <a:pt x="185" y="24"/>
                    </a:cubicBezTo>
                    <a:cubicBezTo>
                      <a:pt x="179" y="21"/>
                      <a:pt x="173" y="20"/>
                      <a:pt x="166" y="19"/>
                    </a:cubicBezTo>
                    <a:cubicBezTo>
                      <a:pt x="169" y="18"/>
                      <a:pt x="171" y="18"/>
                      <a:pt x="173" y="18"/>
                    </a:cubicBezTo>
                    <a:cubicBezTo>
                      <a:pt x="176" y="18"/>
                      <a:pt x="179" y="19"/>
                      <a:pt x="183" y="19"/>
                    </a:cubicBezTo>
                    <a:cubicBezTo>
                      <a:pt x="185" y="20"/>
                      <a:pt x="187" y="20"/>
                      <a:pt x="189" y="21"/>
                    </a:cubicBezTo>
                    <a:close/>
                    <a:moveTo>
                      <a:pt x="174" y="11"/>
                    </a:moveTo>
                    <a:cubicBezTo>
                      <a:pt x="175" y="12"/>
                      <a:pt x="177" y="12"/>
                      <a:pt x="178" y="13"/>
                    </a:cubicBezTo>
                    <a:cubicBezTo>
                      <a:pt x="176" y="13"/>
                      <a:pt x="174" y="13"/>
                      <a:pt x="173" y="13"/>
                    </a:cubicBezTo>
                    <a:cubicBezTo>
                      <a:pt x="168" y="13"/>
                      <a:pt x="164" y="13"/>
                      <a:pt x="160" y="14"/>
                    </a:cubicBezTo>
                    <a:cubicBezTo>
                      <a:pt x="163" y="12"/>
                      <a:pt x="167" y="11"/>
                      <a:pt x="170" y="11"/>
                    </a:cubicBezTo>
                    <a:cubicBezTo>
                      <a:pt x="172" y="11"/>
                      <a:pt x="173" y="11"/>
                      <a:pt x="174" y="11"/>
                    </a:cubicBezTo>
                    <a:close/>
                    <a:moveTo>
                      <a:pt x="151" y="6"/>
                    </a:moveTo>
                    <a:cubicBezTo>
                      <a:pt x="154" y="6"/>
                      <a:pt x="158" y="7"/>
                      <a:pt x="161" y="7"/>
                    </a:cubicBezTo>
                    <a:cubicBezTo>
                      <a:pt x="158" y="9"/>
                      <a:pt x="154" y="11"/>
                      <a:pt x="151" y="14"/>
                    </a:cubicBezTo>
                    <a:cubicBezTo>
                      <a:pt x="151" y="6"/>
                      <a:pt x="151" y="6"/>
                      <a:pt x="151" y="6"/>
                    </a:cubicBezTo>
                    <a:cubicBezTo>
                      <a:pt x="151" y="6"/>
                      <a:pt x="151" y="6"/>
                      <a:pt x="151" y="6"/>
                    </a:cubicBezTo>
                    <a:close/>
                    <a:moveTo>
                      <a:pt x="110" y="89"/>
                    </a:moveTo>
                    <a:cubicBezTo>
                      <a:pt x="108" y="95"/>
                      <a:pt x="107" y="100"/>
                      <a:pt x="106" y="105"/>
                    </a:cubicBezTo>
                    <a:cubicBezTo>
                      <a:pt x="97" y="102"/>
                      <a:pt x="88" y="98"/>
                      <a:pt x="81" y="93"/>
                    </a:cubicBezTo>
                    <a:cubicBezTo>
                      <a:pt x="82" y="92"/>
                      <a:pt x="82" y="90"/>
                      <a:pt x="82" y="89"/>
                    </a:cubicBezTo>
                    <a:cubicBezTo>
                      <a:pt x="86" y="78"/>
                      <a:pt x="93" y="67"/>
                      <a:pt x="101" y="57"/>
                    </a:cubicBezTo>
                    <a:cubicBezTo>
                      <a:pt x="106" y="60"/>
                      <a:pt x="112" y="62"/>
                      <a:pt x="118" y="64"/>
                    </a:cubicBezTo>
                    <a:cubicBezTo>
                      <a:pt x="116" y="69"/>
                      <a:pt x="115" y="73"/>
                      <a:pt x="113" y="78"/>
                    </a:cubicBezTo>
                    <a:cubicBezTo>
                      <a:pt x="113" y="78"/>
                      <a:pt x="113" y="79"/>
                      <a:pt x="113" y="79"/>
                    </a:cubicBezTo>
                    <a:cubicBezTo>
                      <a:pt x="112" y="83"/>
                      <a:pt x="111" y="86"/>
                      <a:pt x="110" y="89"/>
                    </a:cubicBezTo>
                    <a:close/>
                    <a:moveTo>
                      <a:pt x="109" y="40"/>
                    </a:moveTo>
                    <a:cubicBezTo>
                      <a:pt x="108" y="42"/>
                      <a:pt x="106" y="43"/>
                      <a:pt x="104" y="45"/>
                    </a:cubicBezTo>
                    <a:cubicBezTo>
                      <a:pt x="104" y="45"/>
                      <a:pt x="104" y="45"/>
                      <a:pt x="104" y="46"/>
                    </a:cubicBezTo>
                    <a:cubicBezTo>
                      <a:pt x="103" y="47"/>
                      <a:pt x="102" y="48"/>
                      <a:pt x="101" y="49"/>
                    </a:cubicBezTo>
                    <a:cubicBezTo>
                      <a:pt x="98" y="47"/>
                      <a:pt x="96" y="44"/>
                      <a:pt x="95" y="42"/>
                    </a:cubicBezTo>
                    <a:cubicBezTo>
                      <a:pt x="94" y="41"/>
                      <a:pt x="94" y="40"/>
                      <a:pt x="94" y="40"/>
                    </a:cubicBezTo>
                    <a:cubicBezTo>
                      <a:pt x="97" y="37"/>
                      <a:pt x="101" y="35"/>
                      <a:pt x="104" y="33"/>
                    </a:cubicBezTo>
                    <a:cubicBezTo>
                      <a:pt x="106" y="32"/>
                      <a:pt x="109" y="31"/>
                      <a:pt x="111" y="30"/>
                    </a:cubicBezTo>
                    <a:cubicBezTo>
                      <a:pt x="117" y="27"/>
                      <a:pt x="125" y="25"/>
                      <a:pt x="133" y="24"/>
                    </a:cubicBezTo>
                    <a:cubicBezTo>
                      <a:pt x="124" y="28"/>
                      <a:pt x="117" y="34"/>
                      <a:pt x="109" y="40"/>
                    </a:cubicBezTo>
                    <a:close/>
                    <a:moveTo>
                      <a:pt x="139" y="27"/>
                    </a:moveTo>
                    <a:cubicBezTo>
                      <a:pt x="133" y="35"/>
                      <a:pt x="126" y="46"/>
                      <a:pt x="121" y="58"/>
                    </a:cubicBezTo>
                    <a:cubicBezTo>
                      <a:pt x="115" y="57"/>
                      <a:pt x="110" y="54"/>
                      <a:pt x="105" y="52"/>
                    </a:cubicBezTo>
                    <a:cubicBezTo>
                      <a:pt x="106" y="51"/>
                      <a:pt x="107" y="50"/>
                      <a:pt x="108" y="49"/>
                    </a:cubicBezTo>
                    <a:cubicBezTo>
                      <a:pt x="109" y="49"/>
                      <a:pt x="109" y="48"/>
                      <a:pt x="109" y="48"/>
                    </a:cubicBezTo>
                    <a:cubicBezTo>
                      <a:pt x="118" y="39"/>
                      <a:pt x="129" y="32"/>
                      <a:pt x="139" y="27"/>
                    </a:cubicBezTo>
                    <a:close/>
                    <a:moveTo>
                      <a:pt x="146" y="112"/>
                    </a:moveTo>
                    <a:cubicBezTo>
                      <a:pt x="135" y="112"/>
                      <a:pt x="123" y="110"/>
                      <a:pt x="111" y="107"/>
                    </a:cubicBezTo>
                    <a:cubicBezTo>
                      <a:pt x="112" y="105"/>
                      <a:pt x="112" y="102"/>
                      <a:pt x="113" y="100"/>
                    </a:cubicBezTo>
                    <a:cubicBezTo>
                      <a:pt x="114" y="96"/>
                      <a:pt x="115" y="93"/>
                      <a:pt x="115" y="89"/>
                    </a:cubicBezTo>
                    <a:cubicBezTo>
                      <a:pt x="116" y="86"/>
                      <a:pt x="117" y="83"/>
                      <a:pt x="119" y="79"/>
                    </a:cubicBezTo>
                    <a:cubicBezTo>
                      <a:pt x="120" y="75"/>
                      <a:pt x="122" y="70"/>
                      <a:pt x="123" y="66"/>
                    </a:cubicBezTo>
                    <a:cubicBezTo>
                      <a:pt x="132" y="68"/>
                      <a:pt x="139" y="69"/>
                      <a:pt x="146" y="69"/>
                    </a:cubicBezTo>
                    <a:cubicBezTo>
                      <a:pt x="146" y="112"/>
                      <a:pt x="146" y="112"/>
                      <a:pt x="146" y="112"/>
                    </a:cubicBezTo>
                    <a:cubicBezTo>
                      <a:pt x="146" y="112"/>
                      <a:pt x="146" y="112"/>
                      <a:pt x="146" y="112"/>
                    </a:cubicBezTo>
                    <a:close/>
                    <a:moveTo>
                      <a:pt x="146" y="63"/>
                    </a:moveTo>
                    <a:cubicBezTo>
                      <a:pt x="139" y="63"/>
                      <a:pt x="133" y="62"/>
                      <a:pt x="126" y="60"/>
                    </a:cubicBezTo>
                    <a:cubicBezTo>
                      <a:pt x="131" y="48"/>
                      <a:pt x="138" y="38"/>
                      <a:pt x="144" y="30"/>
                    </a:cubicBezTo>
                    <a:cubicBezTo>
                      <a:pt x="145" y="29"/>
                      <a:pt x="145" y="28"/>
                      <a:pt x="146" y="27"/>
                    </a:cubicBezTo>
                    <a:cubicBezTo>
                      <a:pt x="146" y="63"/>
                      <a:pt x="146" y="63"/>
                      <a:pt x="146" y="63"/>
                    </a:cubicBezTo>
                    <a:cubicBezTo>
                      <a:pt x="146" y="63"/>
                      <a:pt x="146" y="63"/>
                      <a:pt x="146" y="63"/>
                    </a:cubicBezTo>
                    <a:close/>
                    <a:moveTo>
                      <a:pt x="146" y="6"/>
                    </a:moveTo>
                    <a:cubicBezTo>
                      <a:pt x="146" y="14"/>
                      <a:pt x="146" y="14"/>
                      <a:pt x="146" y="14"/>
                    </a:cubicBezTo>
                    <a:cubicBezTo>
                      <a:pt x="143" y="11"/>
                      <a:pt x="139" y="9"/>
                      <a:pt x="136" y="7"/>
                    </a:cubicBezTo>
                    <a:cubicBezTo>
                      <a:pt x="139" y="7"/>
                      <a:pt x="143" y="6"/>
                      <a:pt x="146" y="6"/>
                    </a:cubicBezTo>
                    <a:close/>
                    <a:moveTo>
                      <a:pt x="123" y="11"/>
                    </a:moveTo>
                    <a:cubicBezTo>
                      <a:pt x="124" y="11"/>
                      <a:pt x="125" y="11"/>
                      <a:pt x="127" y="11"/>
                    </a:cubicBezTo>
                    <a:cubicBezTo>
                      <a:pt x="130" y="11"/>
                      <a:pt x="134" y="12"/>
                      <a:pt x="138" y="14"/>
                    </a:cubicBezTo>
                    <a:cubicBezTo>
                      <a:pt x="133" y="13"/>
                      <a:pt x="129" y="13"/>
                      <a:pt x="124" y="13"/>
                    </a:cubicBezTo>
                    <a:cubicBezTo>
                      <a:pt x="123" y="13"/>
                      <a:pt x="121" y="13"/>
                      <a:pt x="119" y="13"/>
                    </a:cubicBezTo>
                    <a:cubicBezTo>
                      <a:pt x="120" y="12"/>
                      <a:pt x="122" y="12"/>
                      <a:pt x="123" y="11"/>
                    </a:cubicBezTo>
                    <a:close/>
                    <a:moveTo>
                      <a:pt x="96" y="27"/>
                    </a:moveTo>
                    <a:cubicBezTo>
                      <a:pt x="99" y="24"/>
                      <a:pt x="103" y="22"/>
                      <a:pt x="108" y="21"/>
                    </a:cubicBezTo>
                    <a:cubicBezTo>
                      <a:pt x="110" y="20"/>
                      <a:pt x="112" y="20"/>
                      <a:pt x="114" y="19"/>
                    </a:cubicBezTo>
                    <a:cubicBezTo>
                      <a:pt x="118" y="19"/>
                      <a:pt x="121" y="18"/>
                      <a:pt x="124" y="18"/>
                    </a:cubicBezTo>
                    <a:cubicBezTo>
                      <a:pt x="126" y="18"/>
                      <a:pt x="128" y="18"/>
                      <a:pt x="131" y="19"/>
                    </a:cubicBezTo>
                    <a:cubicBezTo>
                      <a:pt x="124" y="20"/>
                      <a:pt x="118" y="21"/>
                      <a:pt x="112" y="24"/>
                    </a:cubicBezTo>
                    <a:cubicBezTo>
                      <a:pt x="110" y="25"/>
                      <a:pt x="108" y="25"/>
                      <a:pt x="106" y="26"/>
                    </a:cubicBezTo>
                    <a:cubicBezTo>
                      <a:pt x="101" y="28"/>
                      <a:pt x="97" y="31"/>
                      <a:pt x="93" y="34"/>
                    </a:cubicBezTo>
                    <a:cubicBezTo>
                      <a:pt x="94" y="31"/>
                      <a:pt x="94" y="29"/>
                      <a:pt x="96" y="27"/>
                    </a:cubicBezTo>
                    <a:close/>
                    <a:moveTo>
                      <a:pt x="87" y="36"/>
                    </a:moveTo>
                    <a:cubicBezTo>
                      <a:pt x="87" y="37"/>
                      <a:pt x="87" y="38"/>
                      <a:pt x="87" y="38"/>
                    </a:cubicBezTo>
                    <a:cubicBezTo>
                      <a:pt x="85" y="39"/>
                      <a:pt x="84" y="40"/>
                      <a:pt x="83" y="42"/>
                    </a:cubicBezTo>
                    <a:cubicBezTo>
                      <a:pt x="84" y="40"/>
                      <a:pt x="85" y="38"/>
                      <a:pt x="87" y="36"/>
                    </a:cubicBezTo>
                    <a:close/>
                    <a:moveTo>
                      <a:pt x="70" y="71"/>
                    </a:moveTo>
                    <a:cubicBezTo>
                      <a:pt x="70" y="69"/>
                      <a:pt x="71" y="67"/>
                      <a:pt x="72" y="65"/>
                    </a:cubicBezTo>
                    <a:cubicBezTo>
                      <a:pt x="74" y="61"/>
                      <a:pt x="76" y="58"/>
                      <a:pt x="79" y="54"/>
                    </a:cubicBezTo>
                    <a:cubicBezTo>
                      <a:pt x="82" y="51"/>
                      <a:pt x="85" y="47"/>
                      <a:pt x="89" y="44"/>
                    </a:cubicBezTo>
                    <a:cubicBezTo>
                      <a:pt x="89" y="44"/>
                      <a:pt x="89" y="45"/>
                      <a:pt x="89" y="45"/>
                    </a:cubicBezTo>
                    <a:cubicBezTo>
                      <a:pt x="91" y="48"/>
                      <a:pt x="93" y="51"/>
                      <a:pt x="97" y="54"/>
                    </a:cubicBezTo>
                    <a:cubicBezTo>
                      <a:pt x="90" y="62"/>
                      <a:pt x="84" y="71"/>
                      <a:pt x="80" y="81"/>
                    </a:cubicBezTo>
                    <a:cubicBezTo>
                      <a:pt x="79" y="83"/>
                      <a:pt x="78" y="86"/>
                      <a:pt x="77" y="89"/>
                    </a:cubicBezTo>
                    <a:cubicBezTo>
                      <a:pt x="72" y="84"/>
                      <a:pt x="70" y="79"/>
                      <a:pt x="69" y="73"/>
                    </a:cubicBezTo>
                    <a:cubicBezTo>
                      <a:pt x="69" y="73"/>
                      <a:pt x="69" y="72"/>
                      <a:pt x="70" y="71"/>
                    </a:cubicBezTo>
                    <a:close/>
                    <a:moveTo>
                      <a:pt x="42" y="93"/>
                    </a:moveTo>
                    <a:cubicBezTo>
                      <a:pt x="39" y="93"/>
                      <a:pt x="38" y="99"/>
                      <a:pt x="38" y="101"/>
                    </a:cubicBezTo>
                    <a:cubicBezTo>
                      <a:pt x="38" y="108"/>
                      <a:pt x="41" y="109"/>
                      <a:pt x="42" y="109"/>
                    </a:cubicBezTo>
                    <a:cubicBezTo>
                      <a:pt x="43" y="109"/>
                      <a:pt x="46" y="108"/>
                      <a:pt x="46" y="101"/>
                    </a:cubicBezTo>
                    <a:cubicBezTo>
                      <a:pt x="46" y="99"/>
                      <a:pt x="45" y="93"/>
                      <a:pt x="42" y="93"/>
                    </a:cubicBezTo>
                    <a:close/>
                    <a:moveTo>
                      <a:pt x="256" y="93"/>
                    </a:moveTo>
                    <a:cubicBezTo>
                      <a:pt x="253" y="93"/>
                      <a:pt x="253" y="99"/>
                      <a:pt x="253" y="101"/>
                    </a:cubicBezTo>
                    <a:cubicBezTo>
                      <a:pt x="253" y="108"/>
                      <a:pt x="255" y="109"/>
                      <a:pt x="256" y="109"/>
                    </a:cubicBezTo>
                    <a:cubicBezTo>
                      <a:pt x="257" y="109"/>
                      <a:pt x="260" y="108"/>
                      <a:pt x="260" y="101"/>
                    </a:cubicBezTo>
                    <a:cubicBezTo>
                      <a:pt x="260" y="99"/>
                      <a:pt x="260" y="93"/>
                      <a:pt x="256" y="93"/>
                    </a:cubicBezTo>
                    <a:close/>
                    <a:moveTo>
                      <a:pt x="164" y="144"/>
                    </a:moveTo>
                    <a:cubicBezTo>
                      <a:pt x="162" y="137"/>
                      <a:pt x="157" y="139"/>
                      <a:pt x="156" y="141"/>
                    </a:cubicBezTo>
                    <a:cubicBezTo>
                      <a:pt x="155" y="142"/>
                      <a:pt x="154" y="143"/>
                      <a:pt x="154" y="145"/>
                    </a:cubicBezTo>
                    <a:cubicBezTo>
                      <a:pt x="153" y="149"/>
                      <a:pt x="154" y="156"/>
                      <a:pt x="159" y="156"/>
                    </a:cubicBezTo>
                    <a:cubicBezTo>
                      <a:pt x="163" y="156"/>
                      <a:pt x="164" y="151"/>
                      <a:pt x="164" y="146"/>
                    </a:cubicBezTo>
                    <a:cubicBezTo>
                      <a:pt x="164" y="145"/>
                      <a:pt x="164" y="145"/>
                      <a:pt x="164" y="144"/>
                    </a:cubicBezTo>
                    <a:close/>
                    <a:moveTo>
                      <a:pt x="323" y="101"/>
                    </a:moveTo>
                    <a:cubicBezTo>
                      <a:pt x="292" y="71"/>
                      <a:pt x="292" y="71"/>
                      <a:pt x="292" y="71"/>
                    </a:cubicBezTo>
                    <a:cubicBezTo>
                      <a:pt x="292" y="83"/>
                      <a:pt x="292" y="83"/>
                      <a:pt x="292" y="83"/>
                    </a:cubicBezTo>
                    <a:cubicBezTo>
                      <a:pt x="241" y="83"/>
                      <a:pt x="241" y="83"/>
                      <a:pt x="241" y="83"/>
                    </a:cubicBezTo>
                    <a:cubicBezTo>
                      <a:pt x="241" y="85"/>
                      <a:pt x="240" y="86"/>
                      <a:pt x="240" y="87"/>
                    </a:cubicBezTo>
                    <a:cubicBezTo>
                      <a:pt x="233" y="103"/>
                      <a:pt x="215" y="116"/>
                      <a:pt x="189" y="124"/>
                    </a:cubicBezTo>
                    <a:cubicBezTo>
                      <a:pt x="176" y="128"/>
                      <a:pt x="162" y="129"/>
                      <a:pt x="148" y="129"/>
                    </a:cubicBezTo>
                    <a:cubicBezTo>
                      <a:pt x="113" y="129"/>
                      <a:pt x="79" y="117"/>
                      <a:pt x="63" y="96"/>
                    </a:cubicBezTo>
                    <a:cubicBezTo>
                      <a:pt x="61" y="94"/>
                      <a:pt x="60" y="92"/>
                      <a:pt x="58" y="90"/>
                    </a:cubicBezTo>
                    <a:cubicBezTo>
                      <a:pt x="57" y="88"/>
                      <a:pt x="56" y="86"/>
                      <a:pt x="56" y="83"/>
                    </a:cubicBezTo>
                    <a:cubicBezTo>
                      <a:pt x="0" y="83"/>
                      <a:pt x="0" y="83"/>
                      <a:pt x="0" y="83"/>
                    </a:cubicBezTo>
                    <a:cubicBezTo>
                      <a:pt x="0" y="119"/>
                      <a:pt x="0" y="119"/>
                      <a:pt x="0" y="119"/>
                    </a:cubicBezTo>
                    <a:cubicBezTo>
                      <a:pt x="55" y="119"/>
                      <a:pt x="55" y="119"/>
                      <a:pt x="55" y="119"/>
                    </a:cubicBezTo>
                    <a:cubicBezTo>
                      <a:pt x="55" y="120"/>
                      <a:pt x="55" y="122"/>
                      <a:pt x="56" y="123"/>
                    </a:cubicBezTo>
                    <a:cubicBezTo>
                      <a:pt x="57" y="127"/>
                      <a:pt x="60" y="131"/>
                      <a:pt x="63" y="135"/>
                    </a:cubicBezTo>
                    <a:cubicBezTo>
                      <a:pt x="64" y="137"/>
                      <a:pt x="65" y="138"/>
                      <a:pt x="66" y="140"/>
                    </a:cubicBezTo>
                    <a:cubicBezTo>
                      <a:pt x="70" y="144"/>
                      <a:pt x="74" y="147"/>
                      <a:pt x="79" y="150"/>
                    </a:cubicBezTo>
                    <a:cubicBezTo>
                      <a:pt x="86" y="155"/>
                      <a:pt x="94" y="159"/>
                      <a:pt x="103" y="162"/>
                    </a:cubicBezTo>
                    <a:cubicBezTo>
                      <a:pt x="105" y="162"/>
                      <a:pt x="107" y="163"/>
                      <a:pt x="109" y="163"/>
                    </a:cubicBezTo>
                    <a:cubicBezTo>
                      <a:pt x="120" y="167"/>
                      <a:pt x="133" y="168"/>
                      <a:pt x="146" y="169"/>
                    </a:cubicBezTo>
                    <a:cubicBezTo>
                      <a:pt x="147" y="169"/>
                      <a:pt x="148" y="169"/>
                      <a:pt x="148" y="169"/>
                    </a:cubicBezTo>
                    <a:cubicBezTo>
                      <a:pt x="150" y="169"/>
                      <a:pt x="151" y="169"/>
                      <a:pt x="152" y="169"/>
                    </a:cubicBezTo>
                    <a:cubicBezTo>
                      <a:pt x="164" y="168"/>
                      <a:pt x="177" y="167"/>
                      <a:pt x="189" y="163"/>
                    </a:cubicBezTo>
                    <a:cubicBezTo>
                      <a:pt x="189" y="163"/>
                      <a:pt x="189" y="163"/>
                      <a:pt x="189" y="163"/>
                    </a:cubicBezTo>
                    <a:cubicBezTo>
                      <a:pt x="191" y="163"/>
                      <a:pt x="193" y="162"/>
                      <a:pt x="194" y="161"/>
                    </a:cubicBezTo>
                    <a:cubicBezTo>
                      <a:pt x="204" y="158"/>
                      <a:pt x="212" y="154"/>
                      <a:pt x="219" y="149"/>
                    </a:cubicBezTo>
                    <a:cubicBezTo>
                      <a:pt x="224" y="146"/>
                      <a:pt x="228" y="142"/>
                      <a:pt x="232" y="138"/>
                    </a:cubicBezTo>
                    <a:cubicBezTo>
                      <a:pt x="236" y="134"/>
                      <a:pt x="239" y="129"/>
                      <a:pt x="241" y="123"/>
                    </a:cubicBezTo>
                    <a:cubicBezTo>
                      <a:pt x="242" y="122"/>
                      <a:pt x="242" y="120"/>
                      <a:pt x="243" y="119"/>
                    </a:cubicBezTo>
                    <a:cubicBezTo>
                      <a:pt x="292" y="119"/>
                      <a:pt x="292" y="119"/>
                      <a:pt x="292" y="119"/>
                    </a:cubicBezTo>
                    <a:cubicBezTo>
                      <a:pt x="292" y="131"/>
                      <a:pt x="292" y="131"/>
                      <a:pt x="292" y="131"/>
                    </a:cubicBezTo>
                    <a:cubicBezTo>
                      <a:pt x="323" y="101"/>
                      <a:pt x="323" y="101"/>
                      <a:pt x="323" y="101"/>
                    </a:cubicBezTo>
                    <a:cubicBezTo>
                      <a:pt x="323" y="101"/>
                      <a:pt x="323" y="101"/>
                      <a:pt x="323" y="101"/>
                    </a:cubicBezTo>
                    <a:close/>
                    <a:moveTo>
                      <a:pt x="28" y="112"/>
                    </a:moveTo>
                    <a:cubicBezTo>
                      <a:pt x="12" y="112"/>
                      <a:pt x="12" y="112"/>
                      <a:pt x="12" y="112"/>
                    </a:cubicBezTo>
                    <a:cubicBezTo>
                      <a:pt x="12" y="108"/>
                      <a:pt x="12" y="108"/>
                      <a:pt x="12" y="108"/>
                    </a:cubicBezTo>
                    <a:cubicBezTo>
                      <a:pt x="18" y="108"/>
                      <a:pt x="18" y="108"/>
                      <a:pt x="18" y="108"/>
                    </a:cubicBezTo>
                    <a:cubicBezTo>
                      <a:pt x="18" y="94"/>
                      <a:pt x="18" y="94"/>
                      <a:pt x="18" y="94"/>
                    </a:cubicBezTo>
                    <a:cubicBezTo>
                      <a:pt x="13" y="97"/>
                      <a:pt x="13" y="97"/>
                      <a:pt x="13" y="97"/>
                    </a:cubicBezTo>
                    <a:cubicBezTo>
                      <a:pt x="11" y="93"/>
                      <a:pt x="11" y="93"/>
                      <a:pt x="11" y="93"/>
                    </a:cubicBezTo>
                    <a:cubicBezTo>
                      <a:pt x="19" y="90"/>
                      <a:pt x="19" y="90"/>
                      <a:pt x="19" y="90"/>
                    </a:cubicBezTo>
                    <a:cubicBezTo>
                      <a:pt x="22" y="90"/>
                      <a:pt x="22" y="90"/>
                      <a:pt x="22" y="90"/>
                    </a:cubicBezTo>
                    <a:cubicBezTo>
                      <a:pt x="22" y="108"/>
                      <a:pt x="22" y="108"/>
                      <a:pt x="22" y="108"/>
                    </a:cubicBezTo>
                    <a:cubicBezTo>
                      <a:pt x="28" y="108"/>
                      <a:pt x="28" y="108"/>
                      <a:pt x="28" y="108"/>
                    </a:cubicBezTo>
                    <a:cubicBezTo>
                      <a:pt x="28" y="112"/>
                      <a:pt x="28" y="112"/>
                      <a:pt x="28" y="112"/>
                    </a:cubicBezTo>
                    <a:cubicBezTo>
                      <a:pt x="28" y="112"/>
                      <a:pt x="28" y="112"/>
                      <a:pt x="28" y="112"/>
                    </a:cubicBezTo>
                    <a:close/>
                    <a:moveTo>
                      <a:pt x="42" y="112"/>
                    </a:moveTo>
                    <a:cubicBezTo>
                      <a:pt x="35" y="112"/>
                      <a:pt x="34" y="106"/>
                      <a:pt x="34" y="101"/>
                    </a:cubicBezTo>
                    <a:cubicBezTo>
                      <a:pt x="34" y="96"/>
                      <a:pt x="36" y="90"/>
                      <a:pt x="42" y="90"/>
                    </a:cubicBezTo>
                    <a:cubicBezTo>
                      <a:pt x="49" y="90"/>
                      <a:pt x="50" y="96"/>
                      <a:pt x="50" y="101"/>
                    </a:cubicBezTo>
                    <a:cubicBezTo>
                      <a:pt x="50" y="106"/>
                      <a:pt x="49" y="112"/>
                      <a:pt x="42" y="112"/>
                    </a:cubicBezTo>
                    <a:close/>
                    <a:moveTo>
                      <a:pt x="65" y="127"/>
                    </a:moveTo>
                    <a:cubicBezTo>
                      <a:pt x="64" y="125"/>
                      <a:pt x="62" y="123"/>
                      <a:pt x="61" y="121"/>
                    </a:cubicBezTo>
                    <a:cubicBezTo>
                      <a:pt x="60" y="120"/>
                      <a:pt x="60" y="118"/>
                      <a:pt x="59" y="117"/>
                    </a:cubicBezTo>
                    <a:cubicBezTo>
                      <a:pt x="59" y="113"/>
                      <a:pt x="59" y="113"/>
                      <a:pt x="59" y="113"/>
                    </a:cubicBezTo>
                    <a:cubicBezTo>
                      <a:pt x="60" y="114"/>
                      <a:pt x="60" y="115"/>
                      <a:pt x="61" y="116"/>
                    </a:cubicBezTo>
                    <a:cubicBezTo>
                      <a:pt x="61" y="117"/>
                      <a:pt x="61" y="117"/>
                      <a:pt x="62" y="118"/>
                    </a:cubicBezTo>
                    <a:cubicBezTo>
                      <a:pt x="62" y="110"/>
                      <a:pt x="62" y="110"/>
                      <a:pt x="62" y="110"/>
                    </a:cubicBezTo>
                    <a:cubicBezTo>
                      <a:pt x="62" y="102"/>
                      <a:pt x="62" y="102"/>
                      <a:pt x="62" y="102"/>
                    </a:cubicBezTo>
                    <a:cubicBezTo>
                      <a:pt x="61" y="102"/>
                      <a:pt x="61" y="102"/>
                      <a:pt x="61" y="101"/>
                    </a:cubicBezTo>
                    <a:cubicBezTo>
                      <a:pt x="61" y="101"/>
                      <a:pt x="61" y="101"/>
                      <a:pt x="61" y="101"/>
                    </a:cubicBezTo>
                    <a:cubicBezTo>
                      <a:pt x="60" y="101"/>
                      <a:pt x="60" y="101"/>
                      <a:pt x="59" y="100"/>
                    </a:cubicBezTo>
                    <a:cubicBezTo>
                      <a:pt x="59" y="97"/>
                      <a:pt x="59" y="97"/>
                      <a:pt x="59" y="97"/>
                    </a:cubicBezTo>
                    <a:cubicBezTo>
                      <a:pt x="59" y="95"/>
                      <a:pt x="59" y="95"/>
                      <a:pt x="59" y="95"/>
                    </a:cubicBezTo>
                    <a:cubicBezTo>
                      <a:pt x="60" y="96"/>
                      <a:pt x="61" y="97"/>
                      <a:pt x="62" y="98"/>
                    </a:cubicBezTo>
                    <a:cubicBezTo>
                      <a:pt x="63" y="99"/>
                      <a:pt x="63" y="100"/>
                      <a:pt x="64" y="100"/>
                    </a:cubicBezTo>
                    <a:cubicBezTo>
                      <a:pt x="64" y="105"/>
                      <a:pt x="64" y="105"/>
                      <a:pt x="64" y="105"/>
                    </a:cubicBezTo>
                    <a:cubicBezTo>
                      <a:pt x="64" y="113"/>
                      <a:pt x="64" y="113"/>
                      <a:pt x="64" y="113"/>
                    </a:cubicBezTo>
                    <a:cubicBezTo>
                      <a:pt x="64" y="121"/>
                      <a:pt x="64" y="121"/>
                      <a:pt x="64" y="121"/>
                    </a:cubicBezTo>
                    <a:cubicBezTo>
                      <a:pt x="64" y="122"/>
                      <a:pt x="65" y="122"/>
                      <a:pt x="65" y="123"/>
                    </a:cubicBezTo>
                    <a:cubicBezTo>
                      <a:pt x="66" y="124"/>
                      <a:pt x="67" y="125"/>
                      <a:pt x="68" y="126"/>
                    </a:cubicBezTo>
                    <a:cubicBezTo>
                      <a:pt x="68" y="130"/>
                      <a:pt x="68" y="130"/>
                      <a:pt x="68" y="130"/>
                    </a:cubicBezTo>
                    <a:cubicBezTo>
                      <a:pt x="67" y="129"/>
                      <a:pt x="66" y="128"/>
                      <a:pt x="65" y="127"/>
                    </a:cubicBezTo>
                    <a:close/>
                    <a:moveTo>
                      <a:pt x="77" y="138"/>
                    </a:moveTo>
                    <a:cubicBezTo>
                      <a:pt x="75" y="137"/>
                      <a:pt x="74" y="136"/>
                      <a:pt x="72" y="134"/>
                    </a:cubicBezTo>
                    <a:cubicBezTo>
                      <a:pt x="72" y="130"/>
                      <a:pt x="72" y="130"/>
                      <a:pt x="72" y="130"/>
                    </a:cubicBezTo>
                    <a:cubicBezTo>
                      <a:pt x="73" y="132"/>
                      <a:pt x="75" y="133"/>
                      <a:pt x="76" y="134"/>
                    </a:cubicBezTo>
                    <a:cubicBezTo>
                      <a:pt x="77" y="134"/>
                      <a:pt x="77" y="134"/>
                      <a:pt x="77" y="135"/>
                    </a:cubicBezTo>
                    <a:cubicBezTo>
                      <a:pt x="77" y="125"/>
                      <a:pt x="77" y="125"/>
                      <a:pt x="77" y="125"/>
                    </a:cubicBezTo>
                    <a:cubicBezTo>
                      <a:pt x="77" y="124"/>
                      <a:pt x="77" y="124"/>
                      <a:pt x="77" y="124"/>
                    </a:cubicBezTo>
                    <a:cubicBezTo>
                      <a:pt x="77" y="119"/>
                      <a:pt x="77" y="119"/>
                      <a:pt x="77" y="119"/>
                    </a:cubicBezTo>
                    <a:cubicBezTo>
                      <a:pt x="76" y="119"/>
                      <a:pt x="74" y="118"/>
                      <a:pt x="73" y="118"/>
                    </a:cubicBezTo>
                    <a:cubicBezTo>
                      <a:pt x="73" y="117"/>
                      <a:pt x="73" y="117"/>
                      <a:pt x="73" y="117"/>
                    </a:cubicBezTo>
                    <a:cubicBezTo>
                      <a:pt x="72" y="114"/>
                      <a:pt x="72" y="114"/>
                      <a:pt x="72" y="114"/>
                    </a:cubicBezTo>
                    <a:cubicBezTo>
                      <a:pt x="72" y="114"/>
                      <a:pt x="72" y="114"/>
                      <a:pt x="72" y="114"/>
                    </a:cubicBezTo>
                    <a:cubicBezTo>
                      <a:pt x="72" y="113"/>
                      <a:pt x="72" y="113"/>
                      <a:pt x="72" y="113"/>
                    </a:cubicBezTo>
                    <a:cubicBezTo>
                      <a:pt x="74" y="114"/>
                      <a:pt x="76" y="114"/>
                      <a:pt x="78" y="115"/>
                    </a:cubicBezTo>
                    <a:cubicBezTo>
                      <a:pt x="79" y="115"/>
                      <a:pt x="80" y="116"/>
                      <a:pt x="81" y="116"/>
                    </a:cubicBezTo>
                    <a:cubicBezTo>
                      <a:pt x="81" y="121"/>
                      <a:pt x="81" y="121"/>
                      <a:pt x="81" y="121"/>
                    </a:cubicBezTo>
                    <a:cubicBezTo>
                      <a:pt x="81" y="128"/>
                      <a:pt x="81" y="128"/>
                      <a:pt x="81" y="128"/>
                    </a:cubicBezTo>
                    <a:cubicBezTo>
                      <a:pt x="81" y="137"/>
                      <a:pt x="81" y="137"/>
                      <a:pt x="81" y="137"/>
                    </a:cubicBezTo>
                    <a:cubicBezTo>
                      <a:pt x="83" y="138"/>
                      <a:pt x="85" y="140"/>
                      <a:pt x="87" y="141"/>
                    </a:cubicBezTo>
                    <a:cubicBezTo>
                      <a:pt x="87" y="145"/>
                      <a:pt x="87" y="145"/>
                      <a:pt x="87" y="145"/>
                    </a:cubicBezTo>
                    <a:cubicBezTo>
                      <a:pt x="83" y="143"/>
                      <a:pt x="80" y="141"/>
                      <a:pt x="77" y="138"/>
                    </a:cubicBezTo>
                    <a:close/>
                    <a:moveTo>
                      <a:pt x="110" y="149"/>
                    </a:moveTo>
                    <a:cubicBezTo>
                      <a:pt x="109" y="150"/>
                      <a:pt x="109" y="150"/>
                      <a:pt x="108" y="151"/>
                    </a:cubicBezTo>
                    <a:cubicBezTo>
                      <a:pt x="107" y="153"/>
                      <a:pt x="105" y="153"/>
                      <a:pt x="103" y="153"/>
                    </a:cubicBezTo>
                    <a:cubicBezTo>
                      <a:pt x="100" y="152"/>
                      <a:pt x="96" y="149"/>
                      <a:pt x="95" y="146"/>
                    </a:cubicBezTo>
                    <a:cubicBezTo>
                      <a:pt x="94" y="145"/>
                      <a:pt x="93" y="139"/>
                      <a:pt x="93" y="134"/>
                    </a:cubicBezTo>
                    <a:cubicBezTo>
                      <a:pt x="93" y="132"/>
                      <a:pt x="93" y="130"/>
                      <a:pt x="94" y="129"/>
                    </a:cubicBezTo>
                    <a:cubicBezTo>
                      <a:pt x="95" y="126"/>
                      <a:pt x="97" y="126"/>
                      <a:pt x="101" y="127"/>
                    </a:cubicBezTo>
                    <a:cubicBezTo>
                      <a:pt x="106" y="128"/>
                      <a:pt x="108" y="131"/>
                      <a:pt x="109" y="134"/>
                    </a:cubicBezTo>
                    <a:cubicBezTo>
                      <a:pt x="109" y="135"/>
                      <a:pt x="109" y="135"/>
                      <a:pt x="110" y="135"/>
                    </a:cubicBezTo>
                    <a:cubicBezTo>
                      <a:pt x="110" y="137"/>
                      <a:pt x="110" y="138"/>
                      <a:pt x="111" y="140"/>
                    </a:cubicBezTo>
                    <a:cubicBezTo>
                      <a:pt x="111" y="145"/>
                      <a:pt x="110" y="149"/>
                      <a:pt x="110" y="149"/>
                    </a:cubicBezTo>
                    <a:close/>
                    <a:moveTo>
                      <a:pt x="119" y="157"/>
                    </a:moveTo>
                    <a:cubicBezTo>
                      <a:pt x="119" y="153"/>
                      <a:pt x="119" y="153"/>
                      <a:pt x="119" y="153"/>
                    </a:cubicBezTo>
                    <a:cubicBezTo>
                      <a:pt x="122" y="153"/>
                      <a:pt x="124" y="154"/>
                      <a:pt x="127" y="154"/>
                    </a:cubicBezTo>
                    <a:cubicBezTo>
                      <a:pt x="127" y="143"/>
                      <a:pt x="127" y="143"/>
                      <a:pt x="127" y="143"/>
                    </a:cubicBezTo>
                    <a:cubicBezTo>
                      <a:pt x="127" y="139"/>
                      <a:pt x="127" y="139"/>
                      <a:pt x="127" y="139"/>
                    </a:cubicBezTo>
                    <a:cubicBezTo>
                      <a:pt x="125" y="139"/>
                      <a:pt x="122" y="139"/>
                      <a:pt x="120" y="140"/>
                    </a:cubicBezTo>
                    <a:cubicBezTo>
                      <a:pt x="119" y="137"/>
                      <a:pt x="119" y="137"/>
                      <a:pt x="119" y="137"/>
                    </a:cubicBezTo>
                    <a:cubicBezTo>
                      <a:pt x="118" y="135"/>
                      <a:pt x="118" y="135"/>
                      <a:pt x="118" y="135"/>
                    </a:cubicBezTo>
                    <a:cubicBezTo>
                      <a:pt x="122" y="135"/>
                      <a:pt x="126" y="134"/>
                      <a:pt x="129" y="134"/>
                    </a:cubicBezTo>
                    <a:cubicBezTo>
                      <a:pt x="130" y="134"/>
                      <a:pt x="131" y="134"/>
                      <a:pt x="132" y="134"/>
                    </a:cubicBezTo>
                    <a:cubicBezTo>
                      <a:pt x="132" y="139"/>
                      <a:pt x="132" y="139"/>
                      <a:pt x="132" y="139"/>
                    </a:cubicBezTo>
                    <a:cubicBezTo>
                      <a:pt x="132" y="144"/>
                      <a:pt x="132" y="144"/>
                      <a:pt x="132" y="144"/>
                    </a:cubicBezTo>
                    <a:cubicBezTo>
                      <a:pt x="132" y="155"/>
                      <a:pt x="132" y="155"/>
                      <a:pt x="132" y="155"/>
                    </a:cubicBezTo>
                    <a:cubicBezTo>
                      <a:pt x="135" y="155"/>
                      <a:pt x="138" y="155"/>
                      <a:pt x="141" y="156"/>
                    </a:cubicBezTo>
                    <a:cubicBezTo>
                      <a:pt x="141" y="160"/>
                      <a:pt x="141" y="160"/>
                      <a:pt x="141" y="160"/>
                    </a:cubicBezTo>
                    <a:cubicBezTo>
                      <a:pt x="133" y="159"/>
                      <a:pt x="126" y="158"/>
                      <a:pt x="119" y="157"/>
                    </a:cubicBezTo>
                    <a:close/>
                    <a:moveTo>
                      <a:pt x="152" y="159"/>
                    </a:moveTo>
                    <a:cubicBezTo>
                      <a:pt x="152" y="159"/>
                      <a:pt x="152" y="159"/>
                      <a:pt x="152" y="158"/>
                    </a:cubicBezTo>
                    <a:cubicBezTo>
                      <a:pt x="148" y="155"/>
                      <a:pt x="148" y="149"/>
                      <a:pt x="148" y="145"/>
                    </a:cubicBezTo>
                    <a:cubicBezTo>
                      <a:pt x="148" y="144"/>
                      <a:pt x="149" y="143"/>
                      <a:pt x="149" y="142"/>
                    </a:cubicBezTo>
                    <a:cubicBezTo>
                      <a:pt x="149" y="141"/>
                      <a:pt x="150" y="140"/>
                      <a:pt x="150" y="139"/>
                    </a:cubicBezTo>
                    <a:cubicBezTo>
                      <a:pt x="153" y="136"/>
                      <a:pt x="157" y="135"/>
                      <a:pt x="159" y="135"/>
                    </a:cubicBezTo>
                    <a:cubicBezTo>
                      <a:pt x="163" y="135"/>
                      <a:pt x="166" y="136"/>
                      <a:pt x="167" y="138"/>
                    </a:cubicBezTo>
                    <a:cubicBezTo>
                      <a:pt x="168" y="140"/>
                      <a:pt x="169" y="141"/>
                      <a:pt x="169" y="144"/>
                    </a:cubicBezTo>
                    <a:cubicBezTo>
                      <a:pt x="169" y="144"/>
                      <a:pt x="169" y="144"/>
                      <a:pt x="169" y="144"/>
                    </a:cubicBezTo>
                    <a:cubicBezTo>
                      <a:pt x="172" y="160"/>
                      <a:pt x="158" y="163"/>
                      <a:pt x="152" y="159"/>
                    </a:cubicBezTo>
                    <a:close/>
                    <a:moveTo>
                      <a:pt x="195" y="153"/>
                    </a:moveTo>
                    <a:cubicBezTo>
                      <a:pt x="194" y="154"/>
                      <a:pt x="192" y="154"/>
                      <a:pt x="191" y="155"/>
                    </a:cubicBezTo>
                    <a:cubicBezTo>
                      <a:pt x="191" y="155"/>
                      <a:pt x="190" y="155"/>
                      <a:pt x="189" y="155"/>
                    </a:cubicBezTo>
                    <a:cubicBezTo>
                      <a:pt x="186" y="156"/>
                      <a:pt x="182" y="157"/>
                      <a:pt x="179" y="158"/>
                    </a:cubicBezTo>
                    <a:cubicBezTo>
                      <a:pt x="179" y="153"/>
                      <a:pt x="179" y="153"/>
                      <a:pt x="179" y="153"/>
                    </a:cubicBezTo>
                    <a:cubicBezTo>
                      <a:pt x="181" y="153"/>
                      <a:pt x="184" y="152"/>
                      <a:pt x="187" y="152"/>
                    </a:cubicBezTo>
                    <a:cubicBezTo>
                      <a:pt x="187" y="140"/>
                      <a:pt x="187" y="140"/>
                      <a:pt x="187" y="140"/>
                    </a:cubicBezTo>
                    <a:cubicBezTo>
                      <a:pt x="187" y="136"/>
                      <a:pt x="187" y="136"/>
                      <a:pt x="187" y="136"/>
                    </a:cubicBezTo>
                    <a:cubicBezTo>
                      <a:pt x="185" y="137"/>
                      <a:pt x="182" y="139"/>
                      <a:pt x="180" y="140"/>
                    </a:cubicBezTo>
                    <a:cubicBezTo>
                      <a:pt x="178" y="137"/>
                      <a:pt x="178" y="137"/>
                      <a:pt x="178" y="137"/>
                    </a:cubicBezTo>
                    <a:cubicBezTo>
                      <a:pt x="178" y="136"/>
                      <a:pt x="178" y="136"/>
                      <a:pt x="178" y="136"/>
                    </a:cubicBezTo>
                    <a:cubicBezTo>
                      <a:pt x="181" y="135"/>
                      <a:pt x="185" y="132"/>
                      <a:pt x="189" y="131"/>
                    </a:cubicBezTo>
                    <a:cubicBezTo>
                      <a:pt x="189" y="130"/>
                      <a:pt x="190" y="130"/>
                      <a:pt x="191" y="130"/>
                    </a:cubicBezTo>
                    <a:cubicBezTo>
                      <a:pt x="192" y="130"/>
                      <a:pt x="192" y="130"/>
                      <a:pt x="192" y="129"/>
                    </a:cubicBezTo>
                    <a:cubicBezTo>
                      <a:pt x="192" y="133"/>
                      <a:pt x="192" y="133"/>
                      <a:pt x="192" y="133"/>
                    </a:cubicBezTo>
                    <a:cubicBezTo>
                      <a:pt x="192" y="139"/>
                      <a:pt x="192" y="139"/>
                      <a:pt x="192" y="139"/>
                    </a:cubicBezTo>
                    <a:cubicBezTo>
                      <a:pt x="192" y="150"/>
                      <a:pt x="192" y="150"/>
                      <a:pt x="192" y="150"/>
                    </a:cubicBezTo>
                    <a:cubicBezTo>
                      <a:pt x="193" y="150"/>
                      <a:pt x="194" y="149"/>
                      <a:pt x="195" y="149"/>
                    </a:cubicBezTo>
                    <a:cubicBezTo>
                      <a:pt x="197" y="149"/>
                      <a:pt x="198" y="148"/>
                      <a:pt x="200" y="147"/>
                    </a:cubicBezTo>
                    <a:cubicBezTo>
                      <a:pt x="200" y="152"/>
                      <a:pt x="200" y="152"/>
                      <a:pt x="200" y="152"/>
                    </a:cubicBezTo>
                    <a:cubicBezTo>
                      <a:pt x="198" y="152"/>
                      <a:pt x="197" y="153"/>
                      <a:pt x="195" y="153"/>
                    </a:cubicBezTo>
                    <a:close/>
                    <a:moveTo>
                      <a:pt x="221" y="141"/>
                    </a:moveTo>
                    <a:cubicBezTo>
                      <a:pt x="217" y="144"/>
                      <a:pt x="212" y="147"/>
                      <a:pt x="207" y="149"/>
                    </a:cubicBezTo>
                    <a:cubicBezTo>
                      <a:pt x="207" y="145"/>
                      <a:pt x="207" y="145"/>
                      <a:pt x="207" y="145"/>
                    </a:cubicBezTo>
                    <a:cubicBezTo>
                      <a:pt x="209" y="144"/>
                      <a:pt x="211" y="143"/>
                      <a:pt x="214" y="141"/>
                    </a:cubicBezTo>
                    <a:cubicBezTo>
                      <a:pt x="214" y="129"/>
                      <a:pt x="214" y="129"/>
                      <a:pt x="214" y="129"/>
                    </a:cubicBezTo>
                    <a:cubicBezTo>
                      <a:pt x="214" y="126"/>
                      <a:pt x="214" y="126"/>
                      <a:pt x="214" y="126"/>
                    </a:cubicBezTo>
                    <a:cubicBezTo>
                      <a:pt x="212" y="128"/>
                      <a:pt x="210" y="129"/>
                      <a:pt x="208" y="131"/>
                    </a:cubicBezTo>
                    <a:cubicBezTo>
                      <a:pt x="206" y="128"/>
                      <a:pt x="206" y="128"/>
                      <a:pt x="206" y="128"/>
                    </a:cubicBezTo>
                    <a:cubicBezTo>
                      <a:pt x="207" y="128"/>
                      <a:pt x="207" y="127"/>
                      <a:pt x="208" y="127"/>
                    </a:cubicBezTo>
                    <a:cubicBezTo>
                      <a:pt x="210" y="125"/>
                      <a:pt x="213" y="122"/>
                      <a:pt x="215" y="120"/>
                    </a:cubicBezTo>
                    <a:cubicBezTo>
                      <a:pt x="216" y="120"/>
                      <a:pt x="217" y="119"/>
                      <a:pt x="218" y="118"/>
                    </a:cubicBezTo>
                    <a:cubicBezTo>
                      <a:pt x="218" y="121"/>
                      <a:pt x="218" y="121"/>
                      <a:pt x="218" y="121"/>
                    </a:cubicBezTo>
                    <a:cubicBezTo>
                      <a:pt x="218" y="127"/>
                      <a:pt x="218" y="127"/>
                      <a:pt x="218" y="127"/>
                    </a:cubicBezTo>
                    <a:cubicBezTo>
                      <a:pt x="218" y="139"/>
                      <a:pt x="218" y="139"/>
                      <a:pt x="218" y="139"/>
                    </a:cubicBezTo>
                    <a:cubicBezTo>
                      <a:pt x="219" y="138"/>
                      <a:pt x="220" y="138"/>
                      <a:pt x="221" y="137"/>
                    </a:cubicBezTo>
                    <a:cubicBezTo>
                      <a:pt x="222" y="136"/>
                      <a:pt x="223" y="136"/>
                      <a:pt x="223" y="135"/>
                    </a:cubicBezTo>
                    <a:cubicBezTo>
                      <a:pt x="223" y="139"/>
                      <a:pt x="223" y="139"/>
                      <a:pt x="223" y="139"/>
                    </a:cubicBezTo>
                    <a:cubicBezTo>
                      <a:pt x="223" y="140"/>
                      <a:pt x="222" y="141"/>
                      <a:pt x="221" y="141"/>
                    </a:cubicBezTo>
                    <a:close/>
                    <a:moveTo>
                      <a:pt x="237" y="123"/>
                    </a:moveTo>
                    <a:cubicBezTo>
                      <a:pt x="237" y="126"/>
                      <a:pt x="236" y="128"/>
                      <a:pt x="234" y="130"/>
                    </a:cubicBezTo>
                    <a:cubicBezTo>
                      <a:pt x="233" y="132"/>
                      <a:pt x="232" y="133"/>
                      <a:pt x="231" y="133"/>
                    </a:cubicBezTo>
                    <a:cubicBezTo>
                      <a:pt x="230" y="133"/>
                      <a:pt x="229" y="132"/>
                      <a:pt x="229" y="130"/>
                    </a:cubicBezTo>
                    <a:cubicBezTo>
                      <a:pt x="228" y="127"/>
                      <a:pt x="227" y="123"/>
                      <a:pt x="228" y="119"/>
                    </a:cubicBezTo>
                    <a:cubicBezTo>
                      <a:pt x="229" y="115"/>
                      <a:pt x="230" y="112"/>
                      <a:pt x="232" y="108"/>
                    </a:cubicBezTo>
                    <a:cubicBezTo>
                      <a:pt x="232" y="107"/>
                      <a:pt x="233" y="106"/>
                      <a:pt x="234" y="106"/>
                    </a:cubicBezTo>
                    <a:cubicBezTo>
                      <a:pt x="235" y="104"/>
                      <a:pt x="236" y="103"/>
                      <a:pt x="237" y="104"/>
                    </a:cubicBezTo>
                    <a:cubicBezTo>
                      <a:pt x="237" y="104"/>
                      <a:pt x="237" y="104"/>
                      <a:pt x="237" y="104"/>
                    </a:cubicBezTo>
                    <a:cubicBezTo>
                      <a:pt x="237" y="104"/>
                      <a:pt x="237" y="104"/>
                      <a:pt x="237" y="104"/>
                    </a:cubicBezTo>
                    <a:cubicBezTo>
                      <a:pt x="239" y="107"/>
                      <a:pt x="239" y="117"/>
                      <a:pt x="237" y="123"/>
                    </a:cubicBezTo>
                    <a:close/>
                    <a:moveTo>
                      <a:pt x="256" y="112"/>
                    </a:moveTo>
                    <a:cubicBezTo>
                      <a:pt x="250" y="112"/>
                      <a:pt x="249" y="106"/>
                      <a:pt x="249" y="101"/>
                    </a:cubicBezTo>
                    <a:cubicBezTo>
                      <a:pt x="249" y="96"/>
                      <a:pt x="250" y="90"/>
                      <a:pt x="256" y="90"/>
                    </a:cubicBezTo>
                    <a:cubicBezTo>
                      <a:pt x="263" y="90"/>
                      <a:pt x="264" y="96"/>
                      <a:pt x="264" y="101"/>
                    </a:cubicBezTo>
                    <a:cubicBezTo>
                      <a:pt x="264" y="106"/>
                      <a:pt x="263" y="112"/>
                      <a:pt x="256" y="112"/>
                    </a:cubicBezTo>
                    <a:close/>
                    <a:moveTo>
                      <a:pt x="287" y="112"/>
                    </a:moveTo>
                    <a:cubicBezTo>
                      <a:pt x="271" y="112"/>
                      <a:pt x="271" y="112"/>
                      <a:pt x="271" y="112"/>
                    </a:cubicBezTo>
                    <a:cubicBezTo>
                      <a:pt x="271" y="108"/>
                      <a:pt x="271" y="108"/>
                      <a:pt x="271" y="108"/>
                    </a:cubicBezTo>
                    <a:cubicBezTo>
                      <a:pt x="277" y="108"/>
                      <a:pt x="277" y="108"/>
                      <a:pt x="277" y="108"/>
                    </a:cubicBezTo>
                    <a:cubicBezTo>
                      <a:pt x="277" y="94"/>
                      <a:pt x="277" y="94"/>
                      <a:pt x="277" y="94"/>
                    </a:cubicBezTo>
                    <a:cubicBezTo>
                      <a:pt x="272" y="97"/>
                      <a:pt x="272" y="97"/>
                      <a:pt x="272" y="97"/>
                    </a:cubicBezTo>
                    <a:cubicBezTo>
                      <a:pt x="270" y="93"/>
                      <a:pt x="270" y="93"/>
                      <a:pt x="270" y="93"/>
                    </a:cubicBezTo>
                    <a:cubicBezTo>
                      <a:pt x="278" y="90"/>
                      <a:pt x="278" y="90"/>
                      <a:pt x="278" y="90"/>
                    </a:cubicBezTo>
                    <a:cubicBezTo>
                      <a:pt x="281" y="90"/>
                      <a:pt x="281" y="90"/>
                      <a:pt x="281" y="90"/>
                    </a:cubicBezTo>
                    <a:cubicBezTo>
                      <a:pt x="281" y="108"/>
                      <a:pt x="281" y="108"/>
                      <a:pt x="281" y="108"/>
                    </a:cubicBezTo>
                    <a:cubicBezTo>
                      <a:pt x="287" y="108"/>
                      <a:pt x="287" y="108"/>
                      <a:pt x="287" y="108"/>
                    </a:cubicBezTo>
                    <a:cubicBezTo>
                      <a:pt x="287" y="112"/>
                      <a:pt x="287" y="112"/>
                      <a:pt x="287" y="112"/>
                    </a:cubicBezTo>
                    <a:cubicBezTo>
                      <a:pt x="287" y="112"/>
                      <a:pt x="287" y="112"/>
                      <a:pt x="287" y="112"/>
                    </a:cubicBezTo>
                    <a:close/>
                    <a:moveTo>
                      <a:pt x="104" y="133"/>
                    </a:moveTo>
                    <a:cubicBezTo>
                      <a:pt x="104" y="133"/>
                      <a:pt x="104" y="133"/>
                      <a:pt x="103" y="132"/>
                    </a:cubicBezTo>
                    <a:cubicBezTo>
                      <a:pt x="102" y="131"/>
                      <a:pt x="101" y="130"/>
                      <a:pt x="100" y="131"/>
                    </a:cubicBezTo>
                    <a:cubicBezTo>
                      <a:pt x="99" y="131"/>
                      <a:pt x="99" y="131"/>
                      <a:pt x="99" y="131"/>
                    </a:cubicBezTo>
                    <a:cubicBezTo>
                      <a:pt x="98" y="132"/>
                      <a:pt x="97" y="134"/>
                      <a:pt x="97" y="136"/>
                    </a:cubicBezTo>
                    <a:cubicBezTo>
                      <a:pt x="97" y="138"/>
                      <a:pt x="97" y="140"/>
                      <a:pt x="97" y="141"/>
                    </a:cubicBezTo>
                    <a:cubicBezTo>
                      <a:pt x="98" y="147"/>
                      <a:pt x="101" y="148"/>
                      <a:pt x="101" y="148"/>
                    </a:cubicBezTo>
                    <a:cubicBezTo>
                      <a:pt x="102" y="148"/>
                      <a:pt x="102" y="148"/>
                      <a:pt x="103" y="148"/>
                    </a:cubicBezTo>
                    <a:cubicBezTo>
                      <a:pt x="104" y="148"/>
                      <a:pt x="104" y="148"/>
                      <a:pt x="105" y="147"/>
                    </a:cubicBezTo>
                    <a:cubicBezTo>
                      <a:pt x="106" y="145"/>
                      <a:pt x="106" y="142"/>
                      <a:pt x="106" y="139"/>
                    </a:cubicBezTo>
                    <a:cubicBezTo>
                      <a:pt x="105" y="137"/>
                      <a:pt x="105" y="135"/>
                      <a:pt x="104" y="133"/>
                    </a:cubicBezTo>
                    <a:close/>
                    <a:moveTo>
                      <a:pt x="235" y="109"/>
                    </a:moveTo>
                    <a:cubicBezTo>
                      <a:pt x="234" y="109"/>
                      <a:pt x="232" y="110"/>
                      <a:pt x="232" y="116"/>
                    </a:cubicBezTo>
                    <a:cubicBezTo>
                      <a:pt x="231" y="117"/>
                      <a:pt x="231" y="119"/>
                      <a:pt x="231" y="122"/>
                    </a:cubicBezTo>
                    <a:cubicBezTo>
                      <a:pt x="231" y="125"/>
                      <a:pt x="232" y="129"/>
                      <a:pt x="234" y="127"/>
                    </a:cubicBezTo>
                    <a:cubicBezTo>
                      <a:pt x="236" y="124"/>
                      <a:pt x="236" y="115"/>
                      <a:pt x="236" y="111"/>
                    </a:cubicBezTo>
                    <a:cubicBezTo>
                      <a:pt x="235" y="110"/>
                      <a:pt x="235" y="109"/>
                      <a:pt x="235" y="109"/>
                    </a:cubicBez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5" name="Freeform 198"/>
              <p:cNvSpPr>
                <a:spLocks noEditPoints="1"/>
              </p:cNvSpPr>
              <p:nvPr/>
            </p:nvSpPr>
            <p:spPr bwMode="auto">
              <a:xfrm>
                <a:off x="11581770" y="1479207"/>
                <a:ext cx="112061" cy="128276"/>
              </a:xfrm>
              <a:custGeom>
                <a:avLst/>
                <a:gdLst>
                  <a:gd name="T0" fmla="*/ 102 w 102"/>
                  <a:gd name="T1" fmla="*/ 21 h 112"/>
                  <a:gd name="T2" fmla="*/ 101 w 102"/>
                  <a:gd name="T3" fmla="*/ 20 h 112"/>
                  <a:gd name="T4" fmla="*/ 101 w 102"/>
                  <a:gd name="T5" fmla="*/ 19 h 112"/>
                  <a:gd name="T6" fmla="*/ 100 w 102"/>
                  <a:gd name="T7" fmla="*/ 18 h 112"/>
                  <a:gd name="T8" fmla="*/ 100 w 102"/>
                  <a:gd name="T9" fmla="*/ 17 h 112"/>
                  <a:gd name="T10" fmla="*/ 99 w 102"/>
                  <a:gd name="T11" fmla="*/ 17 h 112"/>
                  <a:gd name="T12" fmla="*/ 98 w 102"/>
                  <a:gd name="T13" fmla="*/ 17 h 112"/>
                  <a:gd name="T14" fmla="*/ 97 w 102"/>
                  <a:gd name="T15" fmla="*/ 16 h 112"/>
                  <a:gd name="T16" fmla="*/ 96 w 102"/>
                  <a:gd name="T17" fmla="*/ 16 h 112"/>
                  <a:gd name="T18" fmla="*/ 11 w 102"/>
                  <a:gd name="T19" fmla="*/ 5 h 112"/>
                  <a:gd name="T20" fmla="*/ 0 w 102"/>
                  <a:gd name="T21" fmla="*/ 8 h 112"/>
                  <a:gd name="T22" fmla="*/ 23 w 102"/>
                  <a:gd name="T23" fmla="*/ 94 h 112"/>
                  <a:gd name="T24" fmla="*/ 23 w 102"/>
                  <a:gd name="T25" fmla="*/ 96 h 112"/>
                  <a:gd name="T26" fmla="*/ 24 w 102"/>
                  <a:gd name="T27" fmla="*/ 96 h 112"/>
                  <a:gd name="T28" fmla="*/ 25 w 102"/>
                  <a:gd name="T29" fmla="*/ 97 h 112"/>
                  <a:gd name="T30" fmla="*/ 26 w 102"/>
                  <a:gd name="T31" fmla="*/ 98 h 112"/>
                  <a:gd name="T32" fmla="*/ 26 w 102"/>
                  <a:gd name="T33" fmla="*/ 98 h 112"/>
                  <a:gd name="T34" fmla="*/ 43 w 102"/>
                  <a:gd name="T35" fmla="*/ 98 h 112"/>
                  <a:gd name="T36" fmla="*/ 77 w 102"/>
                  <a:gd name="T37" fmla="*/ 94 h 112"/>
                  <a:gd name="T38" fmla="*/ 91 w 102"/>
                  <a:gd name="T39" fmla="*/ 93 h 112"/>
                  <a:gd name="T40" fmla="*/ 32 w 102"/>
                  <a:gd name="T41" fmla="*/ 87 h 112"/>
                  <a:gd name="T42" fmla="*/ 91 w 102"/>
                  <a:gd name="T43" fmla="*/ 66 h 112"/>
                  <a:gd name="T44" fmla="*/ 92 w 102"/>
                  <a:gd name="T45" fmla="*/ 66 h 112"/>
                  <a:gd name="T46" fmla="*/ 93 w 102"/>
                  <a:gd name="T47" fmla="*/ 66 h 112"/>
                  <a:gd name="T48" fmla="*/ 94 w 102"/>
                  <a:gd name="T49" fmla="*/ 65 h 112"/>
                  <a:gd name="T50" fmla="*/ 94 w 102"/>
                  <a:gd name="T51" fmla="*/ 65 h 112"/>
                  <a:gd name="T52" fmla="*/ 95 w 102"/>
                  <a:gd name="T53" fmla="*/ 64 h 112"/>
                  <a:gd name="T54" fmla="*/ 96 w 102"/>
                  <a:gd name="T55" fmla="*/ 63 h 112"/>
                  <a:gd name="T56" fmla="*/ 96 w 102"/>
                  <a:gd name="T57" fmla="*/ 62 h 112"/>
                  <a:gd name="T58" fmla="*/ 96 w 102"/>
                  <a:gd name="T59" fmla="*/ 61 h 112"/>
                  <a:gd name="T60" fmla="*/ 102 w 102"/>
                  <a:gd name="T61" fmla="*/ 22 h 112"/>
                  <a:gd name="T62" fmla="*/ 102 w 102"/>
                  <a:gd name="T63" fmla="*/ 22 h 112"/>
                  <a:gd name="T64" fmla="*/ 24 w 102"/>
                  <a:gd name="T65" fmla="*/ 55 h 112"/>
                  <a:gd name="T66" fmla="*/ 87 w 102"/>
                  <a:gd name="T67" fmla="*/ 47 h 112"/>
                  <a:gd name="T68" fmla="*/ 86 w 102"/>
                  <a:gd name="T69" fmla="*/ 55 h 112"/>
                  <a:gd name="T70" fmla="*/ 19 w 102"/>
                  <a:gd name="T71" fmla="*/ 35 h 112"/>
                  <a:gd name="T72" fmla="*/ 90 w 102"/>
                  <a:gd name="T73" fmla="*/ 27 h 112"/>
                  <a:gd name="T74" fmla="*/ 89 w 102"/>
                  <a:gd name="T75" fmla="*/ 35 h 112"/>
                  <a:gd name="T76" fmla="*/ 34 w 102"/>
                  <a:gd name="T77" fmla="*/ 112 h 112"/>
                  <a:gd name="T78" fmla="*/ 34 w 102"/>
                  <a:gd name="T79" fmla="*/ 97 h 112"/>
                  <a:gd name="T80" fmla="*/ 85 w 102"/>
                  <a:gd name="T81" fmla="*/ 105 h 112"/>
                  <a:gd name="T82" fmla="*/ 69 w 102"/>
                  <a:gd name="T83" fmla="*/ 105 h 112"/>
                  <a:gd name="T84" fmla="*/ 85 w 102"/>
                  <a:gd name="T85" fmla="*/ 10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2" h="112">
                    <a:moveTo>
                      <a:pt x="102" y="22"/>
                    </a:moveTo>
                    <a:cubicBezTo>
                      <a:pt x="102" y="21"/>
                      <a:pt x="102" y="21"/>
                      <a:pt x="102" y="21"/>
                    </a:cubicBezTo>
                    <a:cubicBezTo>
                      <a:pt x="102" y="21"/>
                      <a:pt x="102" y="21"/>
                      <a:pt x="102" y="21"/>
                    </a:cubicBezTo>
                    <a:cubicBezTo>
                      <a:pt x="101" y="20"/>
                      <a:pt x="101" y="20"/>
                      <a:pt x="101" y="20"/>
                    </a:cubicBezTo>
                    <a:cubicBezTo>
                      <a:pt x="101" y="20"/>
                      <a:pt x="101" y="20"/>
                      <a:pt x="101" y="20"/>
                    </a:cubicBezTo>
                    <a:cubicBezTo>
                      <a:pt x="101" y="19"/>
                      <a:pt x="101" y="19"/>
                      <a:pt x="101" y="19"/>
                    </a:cubicBezTo>
                    <a:cubicBezTo>
                      <a:pt x="101" y="19"/>
                      <a:pt x="101" y="19"/>
                      <a:pt x="101" y="19"/>
                    </a:cubicBezTo>
                    <a:cubicBezTo>
                      <a:pt x="101" y="19"/>
                      <a:pt x="101" y="19"/>
                      <a:pt x="100" y="18"/>
                    </a:cubicBezTo>
                    <a:cubicBezTo>
                      <a:pt x="100" y="18"/>
                      <a:pt x="100" y="18"/>
                      <a:pt x="100" y="18"/>
                    </a:cubicBezTo>
                    <a:cubicBezTo>
                      <a:pt x="100" y="18"/>
                      <a:pt x="100" y="18"/>
                      <a:pt x="100" y="17"/>
                    </a:cubicBezTo>
                    <a:cubicBezTo>
                      <a:pt x="100" y="17"/>
                      <a:pt x="99" y="17"/>
                      <a:pt x="99" y="17"/>
                    </a:cubicBezTo>
                    <a:cubicBezTo>
                      <a:pt x="99" y="17"/>
                      <a:pt x="99" y="17"/>
                      <a:pt x="99" y="17"/>
                    </a:cubicBezTo>
                    <a:cubicBezTo>
                      <a:pt x="98" y="17"/>
                      <a:pt x="98" y="17"/>
                      <a:pt x="98" y="17"/>
                    </a:cubicBezTo>
                    <a:cubicBezTo>
                      <a:pt x="98" y="17"/>
                      <a:pt x="98" y="17"/>
                      <a:pt x="98" y="17"/>
                    </a:cubicBezTo>
                    <a:cubicBezTo>
                      <a:pt x="98" y="16"/>
                      <a:pt x="97" y="16"/>
                      <a:pt x="97" y="16"/>
                    </a:cubicBezTo>
                    <a:cubicBezTo>
                      <a:pt x="97" y="16"/>
                      <a:pt x="97" y="16"/>
                      <a:pt x="97" y="16"/>
                    </a:cubicBezTo>
                    <a:cubicBezTo>
                      <a:pt x="97" y="16"/>
                      <a:pt x="97" y="16"/>
                      <a:pt x="97" y="16"/>
                    </a:cubicBezTo>
                    <a:cubicBezTo>
                      <a:pt x="96" y="16"/>
                      <a:pt x="96" y="16"/>
                      <a:pt x="96" y="16"/>
                    </a:cubicBezTo>
                    <a:cubicBezTo>
                      <a:pt x="14" y="16"/>
                      <a:pt x="14" y="16"/>
                      <a:pt x="14" y="16"/>
                    </a:cubicBezTo>
                    <a:cubicBezTo>
                      <a:pt x="11" y="5"/>
                      <a:pt x="11" y="5"/>
                      <a:pt x="11" y="5"/>
                    </a:cubicBezTo>
                    <a:cubicBezTo>
                      <a:pt x="10" y="2"/>
                      <a:pt x="7" y="0"/>
                      <a:pt x="4" y="1"/>
                    </a:cubicBezTo>
                    <a:cubicBezTo>
                      <a:pt x="1" y="2"/>
                      <a:pt x="0" y="5"/>
                      <a:pt x="0" y="8"/>
                    </a:cubicBezTo>
                    <a:cubicBezTo>
                      <a:pt x="22" y="94"/>
                      <a:pt x="22" y="94"/>
                      <a:pt x="22" y="94"/>
                    </a:cubicBezTo>
                    <a:cubicBezTo>
                      <a:pt x="23" y="94"/>
                      <a:pt x="23" y="94"/>
                      <a:pt x="23" y="94"/>
                    </a:cubicBezTo>
                    <a:cubicBezTo>
                      <a:pt x="23" y="95"/>
                      <a:pt x="23" y="95"/>
                      <a:pt x="23" y="95"/>
                    </a:cubicBezTo>
                    <a:cubicBezTo>
                      <a:pt x="23" y="95"/>
                      <a:pt x="23" y="96"/>
                      <a:pt x="23" y="96"/>
                    </a:cubicBezTo>
                    <a:cubicBezTo>
                      <a:pt x="23" y="96"/>
                      <a:pt x="23" y="96"/>
                      <a:pt x="23" y="96"/>
                    </a:cubicBezTo>
                    <a:cubicBezTo>
                      <a:pt x="23" y="96"/>
                      <a:pt x="24" y="96"/>
                      <a:pt x="24" y="96"/>
                    </a:cubicBezTo>
                    <a:cubicBezTo>
                      <a:pt x="24" y="97"/>
                      <a:pt x="24" y="97"/>
                      <a:pt x="24" y="97"/>
                    </a:cubicBezTo>
                    <a:cubicBezTo>
                      <a:pt x="25" y="97"/>
                      <a:pt x="25" y="97"/>
                      <a:pt x="25" y="97"/>
                    </a:cubicBezTo>
                    <a:cubicBezTo>
                      <a:pt x="25" y="97"/>
                      <a:pt x="25" y="97"/>
                      <a:pt x="25" y="97"/>
                    </a:cubicBezTo>
                    <a:cubicBezTo>
                      <a:pt x="25" y="97"/>
                      <a:pt x="25" y="97"/>
                      <a:pt x="26" y="98"/>
                    </a:cubicBezTo>
                    <a:cubicBezTo>
                      <a:pt x="26" y="98"/>
                      <a:pt x="26" y="98"/>
                      <a:pt x="26" y="98"/>
                    </a:cubicBezTo>
                    <a:cubicBezTo>
                      <a:pt x="26" y="98"/>
                      <a:pt x="26" y="98"/>
                      <a:pt x="26" y="98"/>
                    </a:cubicBezTo>
                    <a:cubicBezTo>
                      <a:pt x="28" y="95"/>
                      <a:pt x="31" y="94"/>
                      <a:pt x="34" y="94"/>
                    </a:cubicBezTo>
                    <a:cubicBezTo>
                      <a:pt x="38" y="94"/>
                      <a:pt x="41" y="96"/>
                      <a:pt x="43" y="98"/>
                    </a:cubicBezTo>
                    <a:cubicBezTo>
                      <a:pt x="68" y="98"/>
                      <a:pt x="68" y="98"/>
                      <a:pt x="68" y="98"/>
                    </a:cubicBezTo>
                    <a:cubicBezTo>
                      <a:pt x="71" y="96"/>
                      <a:pt x="73" y="94"/>
                      <a:pt x="77" y="94"/>
                    </a:cubicBezTo>
                    <a:cubicBezTo>
                      <a:pt x="81" y="94"/>
                      <a:pt x="84" y="96"/>
                      <a:pt x="86" y="98"/>
                    </a:cubicBezTo>
                    <a:cubicBezTo>
                      <a:pt x="89" y="98"/>
                      <a:pt x="91" y="96"/>
                      <a:pt x="91" y="93"/>
                    </a:cubicBezTo>
                    <a:cubicBezTo>
                      <a:pt x="91" y="90"/>
                      <a:pt x="88" y="87"/>
                      <a:pt x="85" y="87"/>
                    </a:cubicBezTo>
                    <a:cubicBezTo>
                      <a:pt x="32" y="87"/>
                      <a:pt x="32" y="87"/>
                      <a:pt x="32" y="87"/>
                    </a:cubicBezTo>
                    <a:cubicBezTo>
                      <a:pt x="27" y="66"/>
                      <a:pt x="27" y="66"/>
                      <a:pt x="27" y="66"/>
                    </a:cubicBezTo>
                    <a:cubicBezTo>
                      <a:pt x="91" y="66"/>
                      <a:pt x="91" y="66"/>
                      <a:pt x="91" y="66"/>
                    </a:cubicBezTo>
                    <a:cubicBezTo>
                      <a:pt x="91" y="66"/>
                      <a:pt x="91" y="66"/>
                      <a:pt x="91" y="66"/>
                    </a:cubicBezTo>
                    <a:cubicBezTo>
                      <a:pt x="91" y="66"/>
                      <a:pt x="91" y="66"/>
                      <a:pt x="92" y="66"/>
                    </a:cubicBezTo>
                    <a:cubicBezTo>
                      <a:pt x="92" y="66"/>
                      <a:pt x="92" y="66"/>
                      <a:pt x="92" y="66"/>
                    </a:cubicBezTo>
                    <a:cubicBezTo>
                      <a:pt x="92" y="66"/>
                      <a:pt x="93" y="66"/>
                      <a:pt x="93" y="66"/>
                    </a:cubicBezTo>
                    <a:cubicBezTo>
                      <a:pt x="93" y="66"/>
                      <a:pt x="93" y="66"/>
                      <a:pt x="93" y="65"/>
                    </a:cubicBezTo>
                    <a:cubicBezTo>
                      <a:pt x="94" y="65"/>
                      <a:pt x="94" y="65"/>
                      <a:pt x="94" y="65"/>
                    </a:cubicBezTo>
                    <a:cubicBezTo>
                      <a:pt x="94" y="65"/>
                      <a:pt x="94" y="65"/>
                      <a:pt x="94" y="65"/>
                    </a:cubicBezTo>
                    <a:cubicBezTo>
                      <a:pt x="94" y="65"/>
                      <a:pt x="94" y="65"/>
                      <a:pt x="94" y="65"/>
                    </a:cubicBezTo>
                    <a:cubicBezTo>
                      <a:pt x="95" y="65"/>
                      <a:pt x="95" y="64"/>
                      <a:pt x="95" y="64"/>
                    </a:cubicBezTo>
                    <a:cubicBezTo>
                      <a:pt x="95" y="64"/>
                      <a:pt x="95" y="64"/>
                      <a:pt x="95" y="64"/>
                    </a:cubicBezTo>
                    <a:cubicBezTo>
                      <a:pt x="96" y="63"/>
                      <a:pt x="96" y="63"/>
                      <a:pt x="96" y="63"/>
                    </a:cubicBezTo>
                    <a:cubicBezTo>
                      <a:pt x="96" y="63"/>
                      <a:pt x="96" y="63"/>
                      <a:pt x="96" y="63"/>
                    </a:cubicBezTo>
                    <a:cubicBezTo>
                      <a:pt x="96" y="63"/>
                      <a:pt x="96" y="63"/>
                      <a:pt x="96" y="62"/>
                    </a:cubicBezTo>
                    <a:cubicBezTo>
                      <a:pt x="96" y="62"/>
                      <a:pt x="96" y="62"/>
                      <a:pt x="96" y="62"/>
                    </a:cubicBezTo>
                    <a:cubicBezTo>
                      <a:pt x="96" y="62"/>
                      <a:pt x="96" y="62"/>
                      <a:pt x="96" y="62"/>
                    </a:cubicBezTo>
                    <a:cubicBezTo>
                      <a:pt x="96" y="61"/>
                      <a:pt x="96" y="61"/>
                      <a:pt x="96" y="61"/>
                    </a:cubicBezTo>
                    <a:cubicBezTo>
                      <a:pt x="102" y="23"/>
                      <a:pt x="102" y="23"/>
                      <a:pt x="102" y="23"/>
                    </a:cubicBezTo>
                    <a:cubicBezTo>
                      <a:pt x="102" y="22"/>
                      <a:pt x="102" y="22"/>
                      <a:pt x="102" y="22"/>
                    </a:cubicBezTo>
                    <a:cubicBezTo>
                      <a:pt x="102" y="22"/>
                      <a:pt x="102" y="22"/>
                      <a:pt x="102" y="22"/>
                    </a:cubicBezTo>
                    <a:cubicBezTo>
                      <a:pt x="102" y="22"/>
                      <a:pt x="102" y="22"/>
                      <a:pt x="102" y="22"/>
                    </a:cubicBezTo>
                    <a:close/>
                    <a:moveTo>
                      <a:pt x="86" y="55"/>
                    </a:moveTo>
                    <a:cubicBezTo>
                      <a:pt x="24" y="55"/>
                      <a:pt x="24" y="55"/>
                      <a:pt x="24" y="55"/>
                    </a:cubicBezTo>
                    <a:cubicBezTo>
                      <a:pt x="22" y="47"/>
                      <a:pt x="22" y="47"/>
                      <a:pt x="22" y="47"/>
                    </a:cubicBezTo>
                    <a:cubicBezTo>
                      <a:pt x="87" y="47"/>
                      <a:pt x="87" y="47"/>
                      <a:pt x="87" y="47"/>
                    </a:cubicBezTo>
                    <a:cubicBezTo>
                      <a:pt x="86" y="55"/>
                      <a:pt x="86" y="55"/>
                      <a:pt x="86" y="55"/>
                    </a:cubicBezTo>
                    <a:cubicBezTo>
                      <a:pt x="86" y="55"/>
                      <a:pt x="86" y="55"/>
                      <a:pt x="86" y="55"/>
                    </a:cubicBezTo>
                    <a:close/>
                    <a:moveTo>
                      <a:pt x="89" y="35"/>
                    </a:moveTo>
                    <a:cubicBezTo>
                      <a:pt x="19" y="35"/>
                      <a:pt x="19" y="35"/>
                      <a:pt x="19" y="35"/>
                    </a:cubicBezTo>
                    <a:cubicBezTo>
                      <a:pt x="17" y="27"/>
                      <a:pt x="17" y="27"/>
                      <a:pt x="17" y="27"/>
                    </a:cubicBezTo>
                    <a:cubicBezTo>
                      <a:pt x="90" y="27"/>
                      <a:pt x="90" y="27"/>
                      <a:pt x="90" y="27"/>
                    </a:cubicBezTo>
                    <a:cubicBezTo>
                      <a:pt x="89" y="35"/>
                      <a:pt x="89" y="35"/>
                      <a:pt x="89" y="35"/>
                    </a:cubicBezTo>
                    <a:cubicBezTo>
                      <a:pt x="89" y="35"/>
                      <a:pt x="89" y="35"/>
                      <a:pt x="89" y="35"/>
                    </a:cubicBezTo>
                    <a:close/>
                    <a:moveTo>
                      <a:pt x="42" y="105"/>
                    </a:moveTo>
                    <a:cubicBezTo>
                      <a:pt x="42" y="109"/>
                      <a:pt x="39" y="112"/>
                      <a:pt x="34" y="112"/>
                    </a:cubicBezTo>
                    <a:cubicBezTo>
                      <a:pt x="30" y="112"/>
                      <a:pt x="27" y="109"/>
                      <a:pt x="27" y="105"/>
                    </a:cubicBezTo>
                    <a:cubicBezTo>
                      <a:pt x="27" y="100"/>
                      <a:pt x="30" y="97"/>
                      <a:pt x="34" y="97"/>
                    </a:cubicBezTo>
                    <a:cubicBezTo>
                      <a:pt x="39" y="97"/>
                      <a:pt x="42" y="100"/>
                      <a:pt x="42" y="105"/>
                    </a:cubicBezTo>
                    <a:close/>
                    <a:moveTo>
                      <a:pt x="85" y="105"/>
                    </a:moveTo>
                    <a:cubicBezTo>
                      <a:pt x="85" y="109"/>
                      <a:pt x="82" y="112"/>
                      <a:pt x="77" y="112"/>
                    </a:cubicBezTo>
                    <a:cubicBezTo>
                      <a:pt x="73" y="112"/>
                      <a:pt x="69" y="109"/>
                      <a:pt x="69" y="105"/>
                    </a:cubicBezTo>
                    <a:cubicBezTo>
                      <a:pt x="69" y="100"/>
                      <a:pt x="73" y="97"/>
                      <a:pt x="77" y="97"/>
                    </a:cubicBezTo>
                    <a:cubicBezTo>
                      <a:pt x="82" y="97"/>
                      <a:pt x="85" y="100"/>
                      <a:pt x="85" y="105"/>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6" name="Freeform 199"/>
              <p:cNvSpPr>
                <a:spLocks noEditPoints="1"/>
              </p:cNvSpPr>
              <p:nvPr/>
            </p:nvSpPr>
            <p:spPr bwMode="auto">
              <a:xfrm rot="5400000">
                <a:off x="11948084" y="817760"/>
                <a:ext cx="171729" cy="169023"/>
              </a:xfrm>
              <a:custGeom>
                <a:avLst/>
                <a:gdLst>
                  <a:gd name="T0" fmla="*/ 132 w 156"/>
                  <a:gd name="T1" fmla="*/ 15 h 148"/>
                  <a:gd name="T2" fmla="*/ 78 w 156"/>
                  <a:gd name="T3" fmla="*/ 0 h 148"/>
                  <a:gd name="T4" fmla="*/ 24 w 156"/>
                  <a:gd name="T5" fmla="*/ 15 h 148"/>
                  <a:gd name="T6" fmla="*/ 0 w 156"/>
                  <a:gd name="T7" fmla="*/ 55 h 148"/>
                  <a:gd name="T8" fmla="*/ 25 w 156"/>
                  <a:gd name="T9" fmla="*/ 96 h 148"/>
                  <a:gd name="T10" fmla="*/ 20 w 156"/>
                  <a:gd name="T11" fmla="*/ 121 h 148"/>
                  <a:gd name="T12" fmla="*/ 16 w 156"/>
                  <a:gd name="T13" fmla="*/ 142 h 148"/>
                  <a:gd name="T14" fmla="*/ 15 w 156"/>
                  <a:gd name="T15" fmla="*/ 148 h 148"/>
                  <a:gd name="T16" fmla="*/ 19 w 156"/>
                  <a:gd name="T17" fmla="*/ 143 h 148"/>
                  <a:gd name="T18" fmla="*/ 33 w 156"/>
                  <a:gd name="T19" fmla="*/ 127 h 148"/>
                  <a:gd name="T20" fmla="*/ 53 w 156"/>
                  <a:gd name="T21" fmla="*/ 107 h 148"/>
                  <a:gd name="T22" fmla="*/ 78 w 156"/>
                  <a:gd name="T23" fmla="*/ 110 h 148"/>
                  <a:gd name="T24" fmla="*/ 132 w 156"/>
                  <a:gd name="T25" fmla="*/ 94 h 148"/>
                  <a:gd name="T26" fmla="*/ 156 w 156"/>
                  <a:gd name="T27" fmla="*/ 55 h 148"/>
                  <a:gd name="T28" fmla="*/ 132 w 156"/>
                  <a:gd name="T29" fmla="*/ 15 h 148"/>
                  <a:gd name="T30" fmla="*/ 36 w 156"/>
                  <a:gd name="T31" fmla="*/ 92 h 148"/>
                  <a:gd name="T32" fmla="*/ 36 w 156"/>
                  <a:gd name="T33" fmla="*/ 91 h 148"/>
                  <a:gd name="T34" fmla="*/ 35 w 156"/>
                  <a:gd name="T35" fmla="*/ 91 h 148"/>
                  <a:gd name="T36" fmla="*/ 9 w 156"/>
                  <a:gd name="T37" fmla="*/ 55 h 148"/>
                  <a:gd name="T38" fmla="*/ 78 w 156"/>
                  <a:gd name="T39" fmla="*/ 10 h 148"/>
                  <a:gd name="T40" fmla="*/ 147 w 156"/>
                  <a:gd name="T41" fmla="*/ 55 h 148"/>
                  <a:gd name="T42" fmla="*/ 78 w 156"/>
                  <a:gd name="T43" fmla="*/ 100 h 148"/>
                  <a:gd name="T44" fmla="*/ 51 w 156"/>
                  <a:gd name="T45" fmla="*/ 97 h 148"/>
                  <a:gd name="T46" fmla="*/ 50 w 156"/>
                  <a:gd name="T47" fmla="*/ 96 h 148"/>
                  <a:gd name="T48" fmla="*/ 49 w 156"/>
                  <a:gd name="T49" fmla="*/ 97 h 148"/>
                  <a:gd name="T50" fmla="*/ 30 w 156"/>
                  <a:gd name="T51" fmla="*/ 118 h 148"/>
                  <a:gd name="T52" fmla="*/ 36 w 156"/>
                  <a:gd name="T53" fmla="*/ 92 h 148"/>
                  <a:gd name="T54" fmla="*/ 36 w 156"/>
                  <a:gd name="T55" fmla="*/ 9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6" h="148">
                    <a:moveTo>
                      <a:pt x="132" y="15"/>
                    </a:moveTo>
                    <a:cubicBezTo>
                      <a:pt x="118" y="5"/>
                      <a:pt x="98" y="0"/>
                      <a:pt x="78" y="0"/>
                    </a:cubicBezTo>
                    <a:cubicBezTo>
                      <a:pt x="57" y="0"/>
                      <a:pt x="38" y="5"/>
                      <a:pt x="24" y="15"/>
                    </a:cubicBezTo>
                    <a:cubicBezTo>
                      <a:pt x="8" y="26"/>
                      <a:pt x="0" y="40"/>
                      <a:pt x="0" y="55"/>
                    </a:cubicBezTo>
                    <a:cubicBezTo>
                      <a:pt x="0" y="70"/>
                      <a:pt x="9" y="85"/>
                      <a:pt x="25" y="96"/>
                    </a:cubicBezTo>
                    <a:cubicBezTo>
                      <a:pt x="20" y="121"/>
                      <a:pt x="20" y="121"/>
                      <a:pt x="20" y="121"/>
                    </a:cubicBezTo>
                    <a:cubicBezTo>
                      <a:pt x="16" y="142"/>
                      <a:pt x="16" y="142"/>
                      <a:pt x="16" y="142"/>
                    </a:cubicBezTo>
                    <a:cubicBezTo>
                      <a:pt x="15" y="148"/>
                      <a:pt x="15" y="148"/>
                      <a:pt x="15" y="148"/>
                    </a:cubicBezTo>
                    <a:cubicBezTo>
                      <a:pt x="19" y="143"/>
                      <a:pt x="19" y="143"/>
                      <a:pt x="19" y="143"/>
                    </a:cubicBezTo>
                    <a:cubicBezTo>
                      <a:pt x="33" y="127"/>
                      <a:pt x="33" y="127"/>
                      <a:pt x="33" y="127"/>
                    </a:cubicBezTo>
                    <a:cubicBezTo>
                      <a:pt x="53" y="107"/>
                      <a:pt x="53" y="107"/>
                      <a:pt x="53" y="107"/>
                    </a:cubicBezTo>
                    <a:cubicBezTo>
                      <a:pt x="61" y="108"/>
                      <a:pt x="69" y="110"/>
                      <a:pt x="78" y="110"/>
                    </a:cubicBezTo>
                    <a:cubicBezTo>
                      <a:pt x="98" y="110"/>
                      <a:pt x="118" y="104"/>
                      <a:pt x="132" y="94"/>
                    </a:cubicBezTo>
                    <a:cubicBezTo>
                      <a:pt x="148" y="84"/>
                      <a:pt x="156" y="70"/>
                      <a:pt x="156" y="55"/>
                    </a:cubicBezTo>
                    <a:cubicBezTo>
                      <a:pt x="156" y="40"/>
                      <a:pt x="148" y="26"/>
                      <a:pt x="132" y="15"/>
                    </a:cubicBezTo>
                    <a:close/>
                    <a:moveTo>
                      <a:pt x="36" y="92"/>
                    </a:moveTo>
                    <a:cubicBezTo>
                      <a:pt x="36" y="91"/>
                      <a:pt x="36" y="91"/>
                      <a:pt x="36" y="91"/>
                    </a:cubicBezTo>
                    <a:cubicBezTo>
                      <a:pt x="35" y="91"/>
                      <a:pt x="35" y="91"/>
                      <a:pt x="35" y="91"/>
                    </a:cubicBezTo>
                    <a:cubicBezTo>
                      <a:pt x="18" y="81"/>
                      <a:pt x="9" y="69"/>
                      <a:pt x="9" y="55"/>
                    </a:cubicBezTo>
                    <a:cubicBezTo>
                      <a:pt x="9" y="30"/>
                      <a:pt x="40" y="10"/>
                      <a:pt x="78" y="10"/>
                    </a:cubicBezTo>
                    <a:cubicBezTo>
                      <a:pt x="116" y="10"/>
                      <a:pt x="147" y="30"/>
                      <a:pt x="147" y="55"/>
                    </a:cubicBezTo>
                    <a:cubicBezTo>
                      <a:pt x="147" y="80"/>
                      <a:pt x="116" y="100"/>
                      <a:pt x="78" y="100"/>
                    </a:cubicBezTo>
                    <a:cubicBezTo>
                      <a:pt x="68" y="100"/>
                      <a:pt x="59" y="99"/>
                      <a:pt x="51" y="97"/>
                    </a:cubicBezTo>
                    <a:cubicBezTo>
                      <a:pt x="50" y="96"/>
                      <a:pt x="50" y="96"/>
                      <a:pt x="50" y="96"/>
                    </a:cubicBezTo>
                    <a:cubicBezTo>
                      <a:pt x="49" y="97"/>
                      <a:pt x="49" y="97"/>
                      <a:pt x="49" y="97"/>
                    </a:cubicBezTo>
                    <a:cubicBezTo>
                      <a:pt x="30" y="118"/>
                      <a:pt x="30" y="118"/>
                      <a:pt x="30" y="118"/>
                    </a:cubicBezTo>
                    <a:cubicBezTo>
                      <a:pt x="36" y="92"/>
                      <a:pt x="36" y="92"/>
                      <a:pt x="36" y="92"/>
                    </a:cubicBezTo>
                    <a:cubicBezTo>
                      <a:pt x="36" y="92"/>
                      <a:pt x="36" y="92"/>
                      <a:pt x="36" y="92"/>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7" name="Freeform 200"/>
              <p:cNvSpPr>
                <a:spLocks/>
              </p:cNvSpPr>
              <p:nvPr/>
            </p:nvSpPr>
            <p:spPr bwMode="auto">
              <a:xfrm rot="5400000">
                <a:off x="11921028" y="929604"/>
                <a:ext cx="136801" cy="140349"/>
              </a:xfrm>
              <a:custGeom>
                <a:avLst/>
                <a:gdLst>
                  <a:gd name="T0" fmla="*/ 124 w 124"/>
                  <a:gd name="T1" fmla="*/ 45 h 123"/>
                  <a:gd name="T2" fmla="*/ 104 w 124"/>
                  <a:gd name="T3" fmla="*/ 12 h 123"/>
                  <a:gd name="T4" fmla="*/ 60 w 124"/>
                  <a:gd name="T5" fmla="*/ 0 h 123"/>
                  <a:gd name="T6" fmla="*/ 58 w 124"/>
                  <a:gd name="T7" fmla="*/ 0 h 123"/>
                  <a:gd name="T8" fmla="*/ 58 w 124"/>
                  <a:gd name="T9" fmla="*/ 2 h 123"/>
                  <a:gd name="T10" fmla="*/ 58 w 124"/>
                  <a:gd name="T11" fmla="*/ 7 h 123"/>
                  <a:gd name="T12" fmla="*/ 58 w 124"/>
                  <a:gd name="T13" fmla="*/ 8 h 123"/>
                  <a:gd name="T14" fmla="*/ 60 w 124"/>
                  <a:gd name="T15" fmla="*/ 8 h 123"/>
                  <a:gd name="T16" fmla="*/ 116 w 124"/>
                  <a:gd name="T17" fmla="*/ 45 h 123"/>
                  <a:gd name="T18" fmla="*/ 95 w 124"/>
                  <a:gd name="T19" fmla="*/ 74 h 123"/>
                  <a:gd name="T20" fmla="*/ 93 w 124"/>
                  <a:gd name="T21" fmla="*/ 75 h 123"/>
                  <a:gd name="T22" fmla="*/ 93 w 124"/>
                  <a:gd name="T23" fmla="*/ 76 h 123"/>
                  <a:gd name="T24" fmla="*/ 98 w 124"/>
                  <a:gd name="T25" fmla="*/ 97 h 123"/>
                  <a:gd name="T26" fmla="*/ 83 w 124"/>
                  <a:gd name="T27" fmla="*/ 80 h 123"/>
                  <a:gd name="T28" fmla="*/ 82 w 124"/>
                  <a:gd name="T29" fmla="*/ 79 h 123"/>
                  <a:gd name="T30" fmla="*/ 81 w 124"/>
                  <a:gd name="T31" fmla="*/ 80 h 123"/>
                  <a:gd name="T32" fmla="*/ 59 w 124"/>
                  <a:gd name="T33" fmla="*/ 82 h 123"/>
                  <a:gd name="T34" fmla="*/ 9 w 124"/>
                  <a:gd name="T35" fmla="*/ 63 h 123"/>
                  <a:gd name="T36" fmla="*/ 8 w 124"/>
                  <a:gd name="T37" fmla="*/ 61 h 123"/>
                  <a:gd name="T38" fmla="*/ 7 w 124"/>
                  <a:gd name="T39" fmla="*/ 62 h 123"/>
                  <a:gd name="T40" fmla="*/ 2 w 124"/>
                  <a:gd name="T41" fmla="*/ 63 h 123"/>
                  <a:gd name="T42" fmla="*/ 0 w 124"/>
                  <a:gd name="T43" fmla="*/ 64 h 123"/>
                  <a:gd name="T44" fmla="*/ 1 w 124"/>
                  <a:gd name="T45" fmla="*/ 66 h 123"/>
                  <a:gd name="T46" fmla="*/ 14 w 124"/>
                  <a:gd name="T47" fmla="*/ 78 h 123"/>
                  <a:gd name="T48" fmla="*/ 59 w 124"/>
                  <a:gd name="T49" fmla="*/ 91 h 123"/>
                  <a:gd name="T50" fmla="*/ 79 w 124"/>
                  <a:gd name="T51" fmla="*/ 89 h 123"/>
                  <a:gd name="T52" fmla="*/ 95 w 124"/>
                  <a:gd name="T53" fmla="*/ 106 h 123"/>
                  <a:gd name="T54" fmla="*/ 107 w 124"/>
                  <a:gd name="T55" fmla="*/ 119 h 123"/>
                  <a:gd name="T56" fmla="*/ 111 w 124"/>
                  <a:gd name="T57" fmla="*/ 123 h 123"/>
                  <a:gd name="T58" fmla="*/ 110 w 124"/>
                  <a:gd name="T59" fmla="*/ 118 h 123"/>
                  <a:gd name="T60" fmla="*/ 107 w 124"/>
                  <a:gd name="T61" fmla="*/ 100 h 123"/>
                  <a:gd name="T62" fmla="*/ 103 w 124"/>
                  <a:gd name="T63" fmla="*/ 79 h 123"/>
                  <a:gd name="T64" fmla="*/ 124 w 124"/>
                  <a:gd name="T65" fmla="*/ 4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23">
                    <a:moveTo>
                      <a:pt x="124" y="45"/>
                    </a:moveTo>
                    <a:cubicBezTo>
                      <a:pt x="124" y="32"/>
                      <a:pt x="117" y="21"/>
                      <a:pt x="104" y="12"/>
                    </a:cubicBezTo>
                    <a:cubicBezTo>
                      <a:pt x="92" y="4"/>
                      <a:pt x="76" y="0"/>
                      <a:pt x="60" y="0"/>
                    </a:cubicBezTo>
                    <a:cubicBezTo>
                      <a:pt x="58" y="0"/>
                      <a:pt x="58" y="0"/>
                      <a:pt x="58" y="0"/>
                    </a:cubicBezTo>
                    <a:cubicBezTo>
                      <a:pt x="58" y="2"/>
                      <a:pt x="58" y="2"/>
                      <a:pt x="58" y="2"/>
                    </a:cubicBezTo>
                    <a:cubicBezTo>
                      <a:pt x="58" y="3"/>
                      <a:pt x="58" y="5"/>
                      <a:pt x="58" y="7"/>
                    </a:cubicBezTo>
                    <a:cubicBezTo>
                      <a:pt x="58" y="8"/>
                      <a:pt x="58" y="8"/>
                      <a:pt x="58" y="8"/>
                    </a:cubicBezTo>
                    <a:cubicBezTo>
                      <a:pt x="60" y="8"/>
                      <a:pt x="60" y="8"/>
                      <a:pt x="60" y="8"/>
                    </a:cubicBezTo>
                    <a:cubicBezTo>
                      <a:pt x="91" y="8"/>
                      <a:pt x="116" y="25"/>
                      <a:pt x="116" y="45"/>
                    </a:cubicBezTo>
                    <a:cubicBezTo>
                      <a:pt x="116" y="57"/>
                      <a:pt x="108" y="68"/>
                      <a:pt x="95" y="74"/>
                    </a:cubicBezTo>
                    <a:cubicBezTo>
                      <a:pt x="93" y="75"/>
                      <a:pt x="93" y="75"/>
                      <a:pt x="93" y="75"/>
                    </a:cubicBezTo>
                    <a:cubicBezTo>
                      <a:pt x="93" y="76"/>
                      <a:pt x="93" y="76"/>
                      <a:pt x="93" y="76"/>
                    </a:cubicBezTo>
                    <a:cubicBezTo>
                      <a:pt x="98" y="97"/>
                      <a:pt x="98" y="97"/>
                      <a:pt x="98" y="97"/>
                    </a:cubicBezTo>
                    <a:cubicBezTo>
                      <a:pt x="83" y="80"/>
                      <a:pt x="83" y="80"/>
                      <a:pt x="83" y="80"/>
                    </a:cubicBezTo>
                    <a:cubicBezTo>
                      <a:pt x="82" y="79"/>
                      <a:pt x="82" y="79"/>
                      <a:pt x="82" y="79"/>
                    </a:cubicBezTo>
                    <a:cubicBezTo>
                      <a:pt x="81" y="80"/>
                      <a:pt x="81" y="80"/>
                      <a:pt x="81" y="80"/>
                    </a:cubicBezTo>
                    <a:cubicBezTo>
                      <a:pt x="74" y="82"/>
                      <a:pt x="66" y="82"/>
                      <a:pt x="59" y="82"/>
                    </a:cubicBezTo>
                    <a:cubicBezTo>
                      <a:pt x="38" y="82"/>
                      <a:pt x="19" y="75"/>
                      <a:pt x="9" y="63"/>
                    </a:cubicBezTo>
                    <a:cubicBezTo>
                      <a:pt x="8" y="61"/>
                      <a:pt x="8" y="61"/>
                      <a:pt x="8" y="61"/>
                    </a:cubicBezTo>
                    <a:cubicBezTo>
                      <a:pt x="7" y="62"/>
                      <a:pt x="7" y="62"/>
                      <a:pt x="7" y="62"/>
                    </a:cubicBezTo>
                    <a:cubicBezTo>
                      <a:pt x="6" y="63"/>
                      <a:pt x="4" y="63"/>
                      <a:pt x="2" y="63"/>
                    </a:cubicBezTo>
                    <a:cubicBezTo>
                      <a:pt x="0" y="64"/>
                      <a:pt x="0" y="64"/>
                      <a:pt x="0" y="64"/>
                    </a:cubicBezTo>
                    <a:cubicBezTo>
                      <a:pt x="1" y="66"/>
                      <a:pt x="1" y="66"/>
                      <a:pt x="1" y="66"/>
                    </a:cubicBezTo>
                    <a:cubicBezTo>
                      <a:pt x="5" y="71"/>
                      <a:pt x="9" y="74"/>
                      <a:pt x="14" y="78"/>
                    </a:cubicBezTo>
                    <a:cubicBezTo>
                      <a:pt x="27" y="87"/>
                      <a:pt x="43" y="91"/>
                      <a:pt x="59" y="91"/>
                    </a:cubicBezTo>
                    <a:cubicBezTo>
                      <a:pt x="66" y="91"/>
                      <a:pt x="73" y="90"/>
                      <a:pt x="79" y="89"/>
                    </a:cubicBezTo>
                    <a:cubicBezTo>
                      <a:pt x="95" y="106"/>
                      <a:pt x="95" y="106"/>
                      <a:pt x="95" y="106"/>
                    </a:cubicBezTo>
                    <a:cubicBezTo>
                      <a:pt x="107" y="119"/>
                      <a:pt x="107" y="119"/>
                      <a:pt x="107" y="119"/>
                    </a:cubicBezTo>
                    <a:cubicBezTo>
                      <a:pt x="111" y="123"/>
                      <a:pt x="111" y="123"/>
                      <a:pt x="111" y="123"/>
                    </a:cubicBezTo>
                    <a:cubicBezTo>
                      <a:pt x="110" y="118"/>
                      <a:pt x="110" y="118"/>
                      <a:pt x="110" y="118"/>
                    </a:cubicBezTo>
                    <a:cubicBezTo>
                      <a:pt x="107" y="100"/>
                      <a:pt x="107" y="100"/>
                      <a:pt x="107" y="100"/>
                    </a:cubicBezTo>
                    <a:cubicBezTo>
                      <a:pt x="103" y="79"/>
                      <a:pt x="103" y="79"/>
                      <a:pt x="103" y="79"/>
                    </a:cubicBezTo>
                    <a:cubicBezTo>
                      <a:pt x="116" y="71"/>
                      <a:pt x="124" y="58"/>
                      <a:pt x="124" y="45"/>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471" name="Group 470"/>
              <p:cNvGrpSpPr/>
              <p:nvPr/>
            </p:nvGrpSpPr>
            <p:grpSpPr>
              <a:xfrm rot="16200000">
                <a:off x="11187933" y="138106"/>
                <a:ext cx="129784" cy="222667"/>
                <a:chOff x="11193360" y="90196"/>
                <a:chExt cx="129784" cy="222667"/>
              </a:xfrm>
            </p:grpSpPr>
            <p:sp>
              <p:nvSpPr>
                <p:cNvPr id="736" name="Freeform 201"/>
                <p:cNvSpPr>
                  <a:spLocks/>
                </p:cNvSpPr>
                <p:nvPr/>
              </p:nvSpPr>
              <p:spPr bwMode="auto">
                <a:xfrm rot="5400000">
                  <a:off x="11176293" y="164556"/>
                  <a:ext cx="219755" cy="73947"/>
                </a:xfrm>
                <a:custGeom>
                  <a:avLst/>
                  <a:gdLst>
                    <a:gd name="T0" fmla="*/ 100 w 201"/>
                    <a:gd name="T1" fmla="*/ 65 h 65"/>
                    <a:gd name="T2" fmla="*/ 107 w 201"/>
                    <a:gd name="T3" fmla="*/ 63 h 65"/>
                    <a:gd name="T4" fmla="*/ 107 w 201"/>
                    <a:gd name="T5" fmla="*/ 63 h 65"/>
                    <a:gd name="T6" fmla="*/ 201 w 201"/>
                    <a:gd name="T7" fmla="*/ 7 h 65"/>
                    <a:gd name="T8" fmla="*/ 189 w 201"/>
                    <a:gd name="T9" fmla="*/ 0 h 65"/>
                    <a:gd name="T10" fmla="*/ 11 w 201"/>
                    <a:gd name="T11" fmla="*/ 0 h 65"/>
                    <a:gd name="T12" fmla="*/ 0 w 201"/>
                    <a:gd name="T13" fmla="*/ 7 h 65"/>
                    <a:gd name="T14" fmla="*/ 93 w 201"/>
                    <a:gd name="T15" fmla="*/ 63 h 65"/>
                    <a:gd name="T16" fmla="*/ 100 w 201"/>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65">
                      <a:moveTo>
                        <a:pt x="100" y="65"/>
                      </a:moveTo>
                      <a:cubicBezTo>
                        <a:pt x="103" y="65"/>
                        <a:pt x="105" y="64"/>
                        <a:pt x="107" y="63"/>
                      </a:cubicBezTo>
                      <a:cubicBezTo>
                        <a:pt x="107" y="63"/>
                        <a:pt x="107" y="63"/>
                        <a:pt x="107" y="63"/>
                      </a:cubicBezTo>
                      <a:cubicBezTo>
                        <a:pt x="201" y="7"/>
                        <a:pt x="201" y="7"/>
                        <a:pt x="201" y="7"/>
                      </a:cubicBezTo>
                      <a:cubicBezTo>
                        <a:pt x="199" y="3"/>
                        <a:pt x="194" y="0"/>
                        <a:pt x="189" y="0"/>
                      </a:cubicBezTo>
                      <a:cubicBezTo>
                        <a:pt x="11" y="0"/>
                        <a:pt x="11" y="0"/>
                        <a:pt x="11" y="0"/>
                      </a:cubicBezTo>
                      <a:cubicBezTo>
                        <a:pt x="6" y="0"/>
                        <a:pt x="2" y="3"/>
                        <a:pt x="0" y="7"/>
                      </a:cubicBezTo>
                      <a:cubicBezTo>
                        <a:pt x="93" y="63"/>
                        <a:pt x="93" y="63"/>
                        <a:pt x="93" y="63"/>
                      </a:cubicBezTo>
                      <a:cubicBezTo>
                        <a:pt x="95" y="64"/>
                        <a:pt x="98" y="65"/>
                        <a:pt x="100" y="65"/>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42" name="Freeform 202"/>
                <p:cNvSpPr>
                  <a:spLocks/>
                </p:cNvSpPr>
                <p:nvPr/>
              </p:nvSpPr>
              <p:spPr bwMode="auto">
                <a:xfrm rot="5400000">
                  <a:off x="11233754" y="243090"/>
                  <a:ext cx="62580" cy="76966"/>
                </a:xfrm>
                <a:custGeom>
                  <a:avLst/>
                  <a:gdLst>
                    <a:gd name="T0" fmla="*/ 43 w 43"/>
                    <a:gd name="T1" fmla="*/ 51 h 51"/>
                    <a:gd name="T2" fmla="*/ 43 w 43"/>
                    <a:gd name="T3" fmla="*/ 0 h 51"/>
                    <a:gd name="T4" fmla="*/ 0 w 43"/>
                    <a:gd name="T5" fmla="*/ 25 h 51"/>
                    <a:gd name="T6" fmla="*/ 43 w 43"/>
                    <a:gd name="T7" fmla="*/ 51 h 51"/>
                    <a:gd name="T8" fmla="*/ 43 w 43"/>
                    <a:gd name="T9" fmla="*/ 51 h 51"/>
                    <a:gd name="T10" fmla="*/ 43 w 43"/>
                    <a:gd name="T11" fmla="*/ 51 h 51"/>
                  </a:gdLst>
                  <a:ahLst/>
                  <a:cxnLst>
                    <a:cxn ang="0">
                      <a:pos x="T0" y="T1"/>
                    </a:cxn>
                    <a:cxn ang="0">
                      <a:pos x="T2" y="T3"/>
                    </a:cxn>
                    <a:cxn ang="0">
                      <a:pos x="T4" y="T5"/>
                    </a:cxn>
                    <a:cxn ang="0">
                      <a:pos x="T6" y="T7"/>
                    </a:cxn>
                    <a:cxn ang="0">
                      <a:pos x="T8" y="T9"/>
                    </a:cxn>
                    <a:cxn ang="0">
                      <a:pos x="T10" y="T11"/>
                    </a:cxn>
                  </a:cxnLst>
                  <a:rect l="0" t="0" r="r" b="b"/>
                  <a:pathLst>
                    <a:path w="43" h="51">
                      <a:moveTo>
                        <a:pt x="43" y="51"/>
                      </a:moveTo>
                      <a:lnTo>
                        <a:pt x="43" y="0"/>
                      </a:lnTo>
                      <a:lnTo>
                        <a:pt x="0" y="25"/>
                      </a:lnTo>
                      <a:lnTo>
                        <a:pt x="43" y="51"/>
                      </a:lnTo>
                      <a:lnTo>
                        <a:pt x="43" y="51"/>
                      </a:lnTo>
                      <a:lnTo>
                        <a:pt x="43" y="51"/>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45" name="Freeform 203"/>
                <p:cNvSpPr>
                  <a:spLocks/>
                </p:cNvSpPr>
                <p:nvPr/>
              </p:nvSpPr>
              <p:spPr bwMode="auto">
                <a:xfrm rot="5400000">
                  <a:off x="11114473" y="169083"/>
                  <a:ext cx="222666" cy="64892"/>
                </a:xfrm>
                <a:custGeom>
                  <a:avLst/>
                  <a:gdLst>
                    <a:gd name="T0" fmla="*/ 0 w 203"/>
                    <a:gd name="T1" fmla="*/ 46 h 58"/>
                    <a:gd name="T2" fmla="*/ 12 w 203"/>
                    <a:gd name="T3" fmla="*/ 58 h 58"/>
                    <a:gd name="T4" fmla="*/ 190 w 203"/>
                    <a:gd name="T5" fmla="*/ 58 h 58"/>
                    <a:gd name="T6" fmla="*/ 203 w 203"/>
                    <a:gd name="T7" fmla="*/ 46 h 58"/>
                    <a:gd name="T8" fmla="*/ 203 w 203"/>
                    <a:gd name="T9" fmla="*/ 39 h 58"/>
                    <a:gd name="T10" fmla="*/ 137 w 203"/>
                    <a:gd name="T11" fmla="*/ 0 h 58"/>
                    <a:gd name="T12" fmla="*/ 113 w 203"/>
                    <a:gd name="T13" fmla="*/ 14 h 58"/>
                    <a:gd name="T14" fmla="*/ 101 w 203"/>
                    <a:gd name="T15" fmla="*/ 17 h 58"/>
                    <a:gd name="T16" fmla="*/ 101 w 203"/>
                    <a:gd name="T17" fmla="*/ 17 h 58"/>
                    <a:gd name="T18" fmla="*/ 89 w 203"/>
                    <a:gd name="T19" fmla="*/ 14 h 58"/>
                    <a:gd name="T20" fmla="*/ 65 w 203"/>
                    <a:gd name="T21" fmla="*/ 0 h 58"/>
                    <a:gd name="T22" fmla="*/ 0 w 203"/>
                    <a:gd name="T23" fmla="*/ 39 h 58"/>
                    <a:gd name="T24" fmla="*/ 0 w 203"/>
                    <a:gd name="T25" fmla="*/ 46 h 58"/>
                    <a:gd name="T26" fmla="*/ 0 w 203"/>
                    <a:gd name="T27" fmla="*/ 4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58">
                      <a:moveTo>
                        <a:pt x="0" y="46"/>
                      </a:moveTo>
                      <a:cubicBezTo>
                        <a:pt x="0" y="53"/>
                        <a:pt x="5" y="58"/>
                        <a:pt x="12" y="58"/>
                      </a:cubicBezTo>
                      <a:cubicBezTo>
                        <a:pt x="190" y="58"/>
                        <a:pt x="190" y="58"/>
                        <a:pt x="190" y="58"/>
                      </a:cubicBezTo>
                      <a:cubicBezTo>
                        <a:pt x="197" y="58"/>
                        <a:pt x="203" y="53"/>
                        <a:pt x="203" y="46"/>
                      </a:cubicBezTo>
                      <a:cubicBezTo>
                        <a:pt x="203" y="39"/>
                        <a:pt x="203" y="39"/>
                        <a:pt x="203" y="39"/>
                      </a:cubicBezTo>
                      <a:cubicBezTo>
                        <a:pt x="137" y="0"/>
                        <a:pt x="137" y="0"/>
                        <a:pt x="137" y="0"/>
                      </a:cubicBezTo>
                      <a:cubicBezTo>
                        <a:pt x="113" y="14"/>
                        <a:pt x="113" y="14"/>
                        <a:pt x="113" y="14"/>
                      </a:cubicBezTo>
                      <a:cubicBezTo>
                        <a:pt x="110" y="16"/>
                        <a:pt x="106" y="17"/>
                        <a:pt x="101" y="17"/>
                      </a:cubicBezTo>
                      <a:cubicBezTo>
                        <a:pt x="101" y="17"/>
                        <a:pt x="101" y="17"/>
                        <a:pt x="101" y="17"/>
                      </a:cubicBezTo>
                      <a:cubicBezTo>
                        <a:pt x="97" y="17"/>
                        <a:pt x="93" y="16"/>
                        <a:pt x="89" y="14"/>
                      </a:cubicBezTo>
                      <a:cubicBezTo>
                        <a:pt x="65" y="0"/>
                        <a:pt x="65" y="0"/>
                        <a:pt x="65" y="0"/>
                      </a:cubicBezTo>
                      <a:cubicBezTo>
                        <a:pt x="0" y="39"/>
                        <a:pt x="0" y="39"/>
                        <a:pt x="0" y="39"/>
                      </a:cubicBezTo>
                      <a:cubicBezTo>
                        <a:pt x="0" y="46"/>
                        <a:pt x="0" y="46"/>
                        <a:pt x="0" y="46"/>
                      </a:cubicBezTo>
                      <a:cubicBezTo>
                        <a:pt x="0" y="46"/>
                        <a:pt x="0" y="46"/>
                        <a:pt x="0" y="46"/>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51" name="Freeform 204"/>
                <p:cNvSpPr>
                  <a:spLocks/>
                </p:cNvSpPr>
                <p:nvPr/>
              </p:nvSpPr>
              <p:spPr bwMode="auto">
                <a:xfrm rot="5400000">
                  <a:off x="11234482" y="82276"/>
                  <a:ext cx="61124" cy="76966"/>
                </a:xfrm>
                <a:custGeom>
                  <a:avLst/>
                  <a:gdLst>
                    <a:gd name="T0" fmla="*/ 42 w 42"/>
                    <a:gd name="T1" fmla="*/ 25 h 51"/>
                    <a:gd name="T2" fmla="*/ 0 w 42"/>
                    <a:gd name="T3" fmla="*/ 0 h 51"/>
                    <a:gd name="T4" fmla="*/ 0 w 42"/>
                    <a:gd name="T5" fmla="*/ 51 h 51"/>
                    <a:gd name="T6" fmla="*/ 42 w 42"/>
                    <a:gd name="T7" fmla="*/ 25 h 51"/>
                    <a:gd name="T8" fmla="*/ 42 w 42"/>
                    <a:gd name="T9" fmla="*/ 25 h 51"/>
                    <a:gd name="T10" fmla="*/ 42 w 42"/>
                    <a:gd name="T11" fmla="*/ 25 h 51"/>
                  </a:gdLst>
                  <a:ahLst/>
                  <a:cxnLst>
                    <a:cxn ang="0">
                      <a:pos x="T0" y="T1"/>
                    </a:cxn>
                    <a:cxn ang="0">
                      <a:pos x="T2" y="T3"/>
                    </a:cxn>
                    <a:cxn ang="0">
                      <a:pos x="T4" y="T5"/>
                    </a:cxn>
                    <a:cxn ang="0">
                      <a:pos x="T6" y="T7"/>
                    </a:cxn>
                    <a:cxn ang="0">
                      <a:pos x="T8" y="T9"/>
                    </a:cxn>
                    <a:cxn ang="0">
                      <a:pos x="T10" y="T11"/>
                    </a:cxn>
                  </a:cxnLst>
                  <a:rect l="0" t="0" r="r" b="b"/>
                  <a:pathLst>
                    <a:path w="42" h="51">
                      <a:moveTo>
                        <a:pt x="42" y="25"/>
                      </a:moveTo>
                      <a:lnTo>
                        <a:pt x="0" y="0"/>
                      </a:lnTo>
                      <a:lnTo>
                        <a:pt x="0" y="51"/>
                      </a:lnTo>
                      <a:lnTo>
                        <a:pt x="42" y="25"/>
                      </a:lnTo>
                      <a:lnTo>
                        <a:pt x="42" y="25"/>
                      </a:lnTo>
                      <a:lnTo>
                        <a:pt x="42" y="2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sp>
            <p:nvSpPr>
              <p:cNvPr id="473" name="Freeform 205"/>
              <p:cNvSpPr>
                <a:spLocks noEditPoints="1"/>
              </p:cNvSpPr>
              <p:nvPr/>
            </p:nvSpPr>
            <p:spPr bwMode="auto">
              <a:xfrm rot="19800000">
                <a:off x="11189998" y="1751243"/>
                <a:ext cx="299798" cy="230898"/>
              </a:xfrm>
              <a:custGeom>
                <a:avLst/>
                <a:gdLst>
                  <a:gd name="T0" fmla="*/ 232 w 273"/>
                  <a:gd name="T1" fmla="*/ 117 h 203"/>
                  <a:gd name="T2" fmla="*/ 251 w 273"/>
                  <a:gd name="T3" fmla="*/ 185 h 203"/>
                  <a:gd name="T4" fmla="*/ 32 w 273"/>
                  <a:gd name="T5" fmla="*/ 30 h 203"/>
                  <a:gd name="T6" fmla="*/ 99 w 273"/>
                  <a:gd name="T7" fmla="*/ 7 h 203"/>
                  <a:gd name="T8" fmla="*/ 56 w 273"/>
                  <a:gd name="T9" fmla="*/ 1 h 203"/>
                  <a:gd name="T10" fmla="*/ 48 w 273"/>
                  <a:gd name="T11" fmla="*/ 24 h 203"/>
                  <a:gd name="T12" fmla="*/ 0 w 273"/>
                  <a:gd name="T13" fmla="*/ 31 h 203"/>
                  <a:gd name="T14" fmla="*/ 23 w 273"/>
                  <a:gd name="T15" fmla="*/ 20 h 203"/>
                  <a:gd name="T16" fmla="*/ 172 w 273"/>
                  <a:gd name="T17" fmla="*/ 185 h 203"/>
                  <a:gd name="T18" fmla="*/ 45 w 273"/>
                  <a:gd name="T19" fmla="*/ 102 h 203"/>
                  <a:gd name="T20" fmla="*/ 83 w 273"/>
                  <a:gd name="T21" fmla="*/ 51 h 203"/>
                  <a:gd name="T22" fmla="*/ 93 w 273"/>
                  <a:gd name="T23" fmla="*/ 78 h 203"/>
                  <a:gd name="T24" fmla="*/ 99 w 273"/>
                  <a:gd name="T25" fmla="*/ 39 h 203"/>
                  <a:gd name="T26" fmla="*/ 135 w 273"/>
                  <a:gd name="T27" fmla="*/ 11 h 203"/>
                  <a:gd name="T28" fmla="*/ 206 w 273"/>
                  <a:gd name="T29" fmla="*/ 158 h 203"/>
                  <a:gd name="T30" fmla="*/ 204 w 273"/>
                  <a:gd name="T31" fmla="*/ 127 h 203"/>
                  <a:gd name="T32" fmla="*/ 163 w 273"/>
                  <a:gd name="T33" fmla="*/ 169 h 203"/>
                  <a:gd name="T34" fmla="*/ 92 w 273"/>
                  <a:gd name="T35" fmla="*/ 126 h 203"/>
                  <a:gd name="T36" fmla="*/ 92 w 273"/>
                  <a:gd name="T37" fmla="*/ 87 h 203"/>
                  <a:gd name="T38" fmla="*/ 62 w 273"/>
                  <a:gd name="T39" fmla="*/ 102 h 203"/>
                  <a:gd name="T40" fmla="*/ 107 w 273"/>
                  <a:gd name="T41" fmla="*/ 169 h 203"/>
                  <a:gd name="T42" fmla="*/ 68 w 273"/>
                  <a:gd name="T43" fmla="*/ 128 h 203"/>
                  <a:gd name="T44" fmla="*/ 107 w 273"/>
                  <a:gd name="T45" fmla="*/ 169 h 203"/>
                  <a:gd name="T46" fmla="*/ 104 w 273"/>
                  <a:gd name="T47" fmla="*/ 138 h 203"/>
                  <a:gd name="T48" fmla="*/ 131 w 273"/>
                  <a:gd name="T49" fmla="*/ 140 h 203"/>
                  <a:gd name="T50" fmla="*/ 101 w 273"/>
                  <a:gd name="T51" fmla="*/ 89 h 203"/>
                  <a:gd name="T52" fmla="*/ 103 w 273"/>
                  <a:gd name="T53" fmla="*/ 127 h 203"/>
                  <a:gd name="T54" fmla="*/ 131 w 273"/>
                  <a:gd name="T55" fmla="*/ 90 h 203"/>
                  <a:gd name="T56" fmla="*/ 123 w 273"/>
                  <a:gd name="T57" fmla="*/ 32 h 203"/>
                  <a:gd name="T58" fmla="*/ 131 w 273"/>
                  <a:gd name="T59" fmla="*/ 80 h 203"/>
                  <a:gd name="T60" fmla="*/ 206 w 273"/>
                  <a:gd name="T61" fmla="*/ 80 h 203"/>
                  <a:gd name="T62" fmla="*/ 180 w 273"/>
                  <a:gd name="T63" fmla="*/ 103 h 203"/>
                  <a:gd name="T64" fmla="*/ 208 w 273"/>
                  <a:gd name="T65" fmla="*/ 112 h 203"/>
                  <a:gd name="T66" fmla="*/ 206 w 273"/>
                  <a:gd name="T67" fmla="*/ 80 h 203"/>
                  <a:gd name="T68" fmla="*/ 179 w 273"/>
                  <a:gd name="T69" fmla="*/ 78 h 203"/>
                  <a:gd name="T70" fmla="*/ 187 w 273"/>
                  <a:gd name="T71" fmla="*/ 51 h 203"/>
                  <a:gd name="T72" fmla="*/ 141 w 273"/>
                  <a:gd name="T73" fmla="*/ 80 h 203"/>
                  <a:gd name="T74" fmla="*/ 141 w 273"/>
                  <a:gd name="T75" fmla="*/ 30 h 203"/>
                  <a:gd name="T76" fmla="*/ 141 w 273"/>
                  <a:gd name="T77" fmla="*/ 80 h 203"/>
                  <a:gd name="T78" fmla="*/ 169 w 273"/>
                  <a:gd name="T79" fmla="*/ 127 h 203"/>
                  <a:gd name="T80" fmla="*/ 170 w 273"/>
                  <a:gd name="T81" fmla="*/ 89 h 203"/>
                  <a:gd name="T82" fmla="*/ 141 w 273"/>
                  <a:gd name="T83" fmla="*/ 130 h 203"/>
                  <a:gd name="T84" fmla="*/ 166 w 273"/>
                  <a:gd name="T85" fmla="*/ 138 h 203"/>
                  <a:gd name="T86" fmla="*/ 141 w 273"/>
                  <a:gd name="T87" fmla="*/ 175 h 203"/>
                  <a:gd name="T88" fmla="*/ 225 w 273"/>
                  <a:gd name="T89" fmla="*/ 179 h 203"/>
                  <a:gd name="T90" fmla="*/ 183 w 273"/>
                  <a:gd name="T91" fmla="*/ 155 h 203"/>
                  <a:gd name="T92" fmla="*/ 193 w 273"/>
                  <a:gd name="T93" fmla="*/ 191 h 203"/>
                  <a:gd name="T94" fmla="*/ 251 w 273"/>
                  <a:gd name="T95" fmla="*/ 18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3" h="203">
                    <a:moveTo>
                      <a:pt x="251" y="185"/>
                    </a:moveTo>
                    <a:cubicBezTo>
                      <a:pt x="261" y="164"/>
                      <a:pt x="232" y="117"/>
                      <a:pt x="232" y="117"/>
                    </a:cubicBezTo>
                    <a:cubicBezTo>
                      <a:pt x="232" y="117"/>
                      <a:pt x="273" y="141"/>
                      <a:pt x="273" y="174"/>
                    </a:cubicBezTo>
                    <a:cubicBezTo>
                      <a:pt x="268" y="177"/>
                      <a:pt x="259" y="181"/>
                      <a:pt x="251" y="185"/>
                    </a:cubicBezTo>
                    <a:close/>
                    <a:moveTo>
                      <a:pt x="48" y="24"/>
                    </a:moveTo>
                    <a:cubicBezTo>
                      <a:pt x="32" y="30"/>
                      <a:pt x="32" y="30"/>
                      <a:pt x="32" y="30"/>
                    </a:cubicBezTo>
                    <a:cubicBezTo>
                      <a:pt x="92" y="48"/>
                      <a:pt x="92" y="48"/>
                      <a:pt x="92" y="48"/>
                    </a:cubicBezTo>
                    <a:cubicBezTo>
                      <a:pt x="99" y="7"/>
                      <a:pt x="99" y="7"/>
                      <a:pt x="99" y="7"/>
                    </a:cubicBezTo>
                    <a:cubicBezTo>
                      <a:pt x="82" y="13"/>
                      <a:pt x="82" y="13"/>
                      <a:pt x="82" y="13"/>
                    </a:cubicBezTo>
                    <a:cubicBezTo>
                      <a:pt x="78" y="8"/>
                      <a:pt x="66" y="0"/>
                      <a:pt x="56" y="1"/>
                    </a:cubicBezTo>
                    <a:cubicBezTo>
                      <a:pt x="51" y="3"/>
                      <a:pt x="31" y="11"/>
                      <a:pt x="23" y="15"/>
                    </a:cubicBezTo>
                    <a:cubicBezTo>
                      <a:pt x="32" y="13"/>
                      <a:pt x="44" y="21"/>
                      <a:pt x="48" y="24"/>
                    </a:cubicBezTo>
                    <a:close/>
                    <a:moveTo>
                      <a:pt x="23" y="20"/>
                    </a:moveTo>
                    <a:cubicBezTo>
                      <a:pt x="16" y="22"/>
                      <a:pt x="6" y="27"/>
                      <a:pt x="0" y="31"/>
                    </a:cubicBezTo>
                    <a:cubicBezTo>
                      <a:pt x="0" y="62"/>
                      <a:pt x="42" y="86"/>
                      <a:pt x="42" y="86"/>
                    </a:cubicBezTo>
                    <a:cubicBezTo>
                      <a:pt x="42" y="86"/>
                      <a:pt x="14" y="39"/>
                      <a:pt x="23" y="20"/>
                    </a:cubicBezTo>
                    <a:close/>
                    <a:moveTo>
                      <a:pt x="176" y="162"/>
                    </a:moveTo>
                    <a:cubicBezTo>
                      <a:pt x="172" y="185"/>
                      <a:pt x="172" y="185"/>
                      <a:pt x="172" y="185"/>
                    </a:cubicBezTo>
                    <a:cubicBezTo>
                      <a:pt x="161" y="189"/>
                      <a:pt x="148" y="192"/>
                      <a:pt x="135" y="192"/>
                    </a:cubicBezTo>
                    <a:cubicBezTo>
                      <a:pt x="85" y="192"/>
                      <a:pt x="45" y="152"/>
                      <a:pt x="45" y="102"/>
                    </a:cubicBezTo>
                    <a:cubicBezTo>
                      <a:pt x="45" y="80"/>
                      <a:pt x="54" y="61"/>
                      <a:pt x="66" y="45"/>
                    </a:cubicBezTo>
                    <a:cubicBezTo>
                      <a:pt x="83" y="51"/>
                      <a:pt x="83" y="51"/>
                      <a:pt x="83" y="51"/>
                    </a:cubicBezTo>
                    <a:cubicBezTo>
                      <a:pt x="78" y="56"/>
                      <a:pt x="73" y="63"/>
                      <a:pt x="69" y="71"/>
                    </a:cubicBezTo>
                    <a:cubicBezTo>
                      <a:pt x="72" y="73"/>
                      <a:pt x="78" y="75"/>
                      <a:pt x="93" y="78"/>
                    </a:cubicBezTo>
                    <a:cubicBezTo>
                      <a:pt x="96" y="59"/>
                      <a:pt x="100" y="45"/>
                      <a:pt x="109" y="34"/>
                    </a:cubicBezTo>
                    <a:cubicBezTo>
                      <a:pt x="106" y="35"/>
                      <a:pt x="101" y="37"/>
                      <a:pt x="99" y="39"/>
                    </a:cubicBezTo>
                    <a:cubicBezTo>
                      <a:pt x="101" y="18"/>
                      <a:pt x="101" y="18"/>
                      <a:pt x="101" y="18"/>
                    </a:cubicBezTo>
                    <a:cubicBezTo>
                      <a:pt x="113" y="14"/>
                      <a:pt x="124" y="11"/>
                      <a:pt x="135" y="11"/>
                    </a:cubicBezTo>
                    <a:cubicBezTo>
                      <a:pt x="186" y="11"/>
                      <a:pt x="225" y="52"/>
                      <a:pt x="225" y="102"/>
                    </a:cubicBezTo>
                    <a:cubicBezTo>
                      <a:pt x="225" y="123"/>
                      <a:pt x="218" y="143"/>
                      <a:pt x="206" y="158"/>
                    </a:cubicBezTo>
                    <a:cubicBezTo>
                      <a:pt x="189" y="152"/>
                      <a:pt x="189" y="152"/>
                      <a:pt x="189" y="152"/>
                    </a:cubicBezTo>
                    <a:cubicBezTo>
                      <a:pt x="196" y="145"/>
                      <a:pt x="200" y="137"/>
                      <a:pt x="204" y="127"/>
                    </a:cubicBezTo>
                    <a:cubicBezTo>
                      <a:pt x="199" y="131"/>
                      <a:pt x="187" y="134"/>
                      <a:pt x="178" y="136"/>
                    </a:cubicBezTo>
                    <a:cubicBezTo>
                      <a:pt x="175" y="150"/>
                      <a:pt x="170" y="161"/>
                      <a:pt x="163" y="169"/>
                    </a:cubicBezTo>
                    <a:cubicBezTo>
                      <a:pt x="168" y="168"/>
                      <a:pt x="172" y="165"/>
                      <a:pt x="176" y="162"/>
                    </a:cubicBezTo>
                    <a:close/>
                    <a:moveTo>
                      <a:pt x="92" y="126"/>
                    </a:moveTo>
                    <a:cubicBezTo>
                      <a:pt x="92" y="119"/>
                      <a:pt x="90" y="110"/>
                      <a:pt x="90" y="103"/>
                    </a:cubicBezTo>
                    <a:cubicBezTo>
                      <a:pt x="90" y="97"/>
                      <a:pt x="90" y="93"/>
                      <a:pt x="92" y="87"/>
                    </a:cubicBezTo>
                    <a:cubicBezTo>
                      <a:pt x="80" y="86"/>
                      <a:pt x="71" y="83"/>
                      <a:pt x="65" y="80"/>
                    </a:cubicBezTo>
                    <a:cubicBezTo>
                      <a:pt x="63" y="87"/>
                      <a:pt x="62" y="95"/>
                      <a:pt x="62" y="102"/>
                    </a:cubicBezTo>
                    <a:cubicBezTo>
                      <a:pt x="62" y="114"/>
                      <a:pt x="63" y="120"/>
                      <a:pt x="92" y="126"/>
                    </a:cubicBezTo>
                    <a:close/>
                    <a:moveTo>
                      <a:pt x="107" y="169"/>
                    </a:moveTo>
                    <a:cubicBezTo>
                      <a:pt x="101" y="161"/>
                      <a:pt x="97" y="150"/>
                      <a:pt x="94" y="137"/>
                    </a:cubicBezTo>
                    <a:cubicBezTo>
                      <a:pt x="83" y="134"/>
                      <a:pt x="75" y="131"/>
                      <a:pt x="68" y="128"/>
                    </a:cubicBezTo>
                    <a:cubicBezTo>
                      <a:pt x="71" y="138"/>
                      <a:pt x="76" y="147"/>
                      <a:pt x="83" y="154"/>
                    </a:cubicBezTo>
                    <a:cubicBezTo>
                      <a:pt x="90" y="161"/>
                      <a:pt x="99" y="167"/>
                      <a:pt x="107" y="169"/>
                    </a:cubicBezTo>
                    <a:close/>
                    <a:moveTo>
                      <a:pt x="131" y="140"/>
                    </a:moveTo>
                    <a:cubicBezTo>
                      <a:pt x="121" y="140"/>
                      <a:pt x="113" y="138"/>
                      <a:pt x="104" y="138"/>
                    </a:cubicBezTo>
                    <a:cubicBezTo>
                      <a:pt x="109" y="151"/>
                      <a:pt x="116" y="175"/>
                      <a:pt x="131" y="175"/>
                    </a:cubicBezTo>
                    <a:cubicBezTo>
                      <a:pt x="131" y="175"/>
                      <a:pt x="131" y="175"/>
                      <a:pt x="131" y="140"/>
                    </a:cubicBezTo>
                    <a:close/>
                    <a:moveTo>
                      <a:pt x="131" y="90"/>
                    </a:moveTo>
                    <a:cubicBezTo>
                      <a:pt x="120" y="90"/>
                      <a:pt x="110" y="89"/>
                      <a:pt x="101" y="89"/>
                    </a:cubicBezTo>
                    <a:cubicBezTo>
                      <a:pt x="100" y="93"/>
                      <a:pt x="100" y="97"/>
                      <a:pt x="100" y="103"/>
                    </a:cubicBezTo>
                    <a:cubicBezTo>
                      <a:pt x="100" y="112"/>
                      <a:pt x="101" y="120"/>
                      <a:pt x="103" y="127"/>
                    </a:cubicBezTo>
                    <a:cubicBezTo>
                      <a:pt x="111" y="128"/>
                      <a:pt x="121" y="130"/>
                      <a:pt x="131" y="130"/>
                    </a:cubicBezTo>
                    <a:cubicBezTo>
                      <a:pt x="131" y="130"/>
                      <a:pt x="131" y="130"/>
                      <a:pt x="131" y="90"/>
                    </a:cubicBezTo>
                    <a:close/>
                    <a:moveTo>
                      <a:pt x="131" y="30"/>
                    </a:moveTo>
                    <a:cubicBezTo>
                      <a:pt x="128" y="30"/>
                      <a:pt x="125" y="31"/>
                      <a:pt x="123" y="32"/>
                    </a:cubicBezTo>
                    <a:cubicBezTo>
                      <a:pt x="114" y="41"/>
                      <a:pt x="106" y="59"/>
                      <a:pt x="101" y="79"/>
                    </a:cubicBezTo>
                    <a:cubicBezTo>
                      <a:pt x="111" y="80"/>
                      <a:pt x="121" y="80"/>
                      <a:pt x="131" y="80"/>
                    </a:cubicBezTo>
                    <a:cubicBezTo>
                      <a:pt x="131" y="80"/>
                      <a:pt x="131" y="80"/>
                      <a:pt x="131" y="30"/>
                    </a:cubicBezTo>
                    <a:close/>
                    <a:moveTo>
                      <a:pt x="206" y="80"/>
                    </a:moveTo>
                    <a:cubicBezTo>
                      <a:pt x="200" y="83"/>
                      <a:pt x="193" y="85"/>
                      <a:pt x="180" y="87"/>
                    </a:cubicBezTo>
                    <a:cubicBezTo>
                      <a:pt x="180" y="93"/>
                      <a:pt x="180" y="97"/>
                      <a:pt x="180" y="103"/>
                    </a:cubicBezTo>
                    <a:cubicBezTo>
                      <a:pt x="180" y="110"/>
                      <a:pt x="180" y="119"/>
                      <a:pt x="179" y="126"/>
                    </a:cubicBezTo>
                    <a:cubicBezTo>
                      <a:pt x="196" y="121"/>
                      <a:pt x="204" y="116"/>
                      <a:pt x="208" y="112"/>
                    </a:cubicBezTo>
                    <a:cubicBezTo>
                      <a:pt x="208" y="109"/>
                      <a:pt x="208" y="106"/>
                      <a:pt x="208" y="102"/>
                    </a:cubicBezTo>
                    <a:cubicBezTo>
                      <a:pt x="208" y="95"/>
                      <a:pt x="207" y="87"/>
                      <a:pt x="206" y="80"/>
                    </a:cubicBezTo>
                    <a:close/>
                    <a:moveTo>
                      <a:pt x="162" y="34"/>
                    </a:moveTo>
                    <a:cubicBezTo>
                      <a:pt x="170" y="45"/>
                      <a:pt x="176" y="59"/>
                      <a:pt x="179" y="78"/>
                    </a:cubicBezTo>
                    <a:cubicBezTo>
                      <a:pt x="194" y="73"/>
                      <a:pt x="199" y="73"/>
                      <a:pt x="201" y="71"/>
                    </a:cubicBezTo>
                    <a:cubicBezTo>
                      <a:pt x="199" y="63"/>
                      <a:pt x="193" y="56"/>
                      <a:pt x="187" y="51"/>
                    </a:cubicBezTo>
                    <a:cubicBezTo>
                      <a:pt x="180" y="42"/>
                      <a:pt x="172" y="38"/>
                      <a:pt x="162" y="34"/>
                    </a:cubicBezTo>
                    <a:close/>
                    <a:moveTo>
                      <a:pt x="141" y="80"/>
                    </a:moveTo>
                    <a:cubicBezTo>
                      <a:pt x="151" y="80"/>
                      <a:pt x="159" y="80"/>
                      <a:pt x="169" y="79"/>
                    </a:cubicBezTo>
                    <a:cubicBezTo>
                      <a:pt x="165" y="54"/>
                      <a:pt x="154" y="34"/>
                      <a:pt x="141" y="30"/>
                    </a:cubicBezTo>
                    <a:cubicBezTo>
                      <a:pt x="141" y="30"/>
                      <a:pt x="141" y="30"/>
                      <a:pt x="141" y="30"/>
                    </a:cubicBezTo>
                    <a:cubicBezTo>
                      <a:pt x="141" y="30"/>
                      <a:pt x="141" y="30"/>
                      <a:pt x="141" y="80"/>
                    </a:cubicBezTo>
                    <a:close/>
                    <a:moveTo>
                      <a:pt x="141" y="130"/>
                    </a:moveTo>
                    <a:cubicBezTo>
                      <a:pt x="151" y="130"/>
                      <a:pt x="159" y="128"/>
                      <a:pt x="169" y="127"/>
                    </a:cubicBezTo>
                    <a:cubicBezTo>
                      <a:pt x="170" y="120"/>
                      <a:pt x="170" y="112"/>
                      <a:pt x="170" y="103"/>
                    </a:cubicBezTo>
                    <a:cubicBezTo>
                      <a:pt x="170" y="97"/>
                      <a:pt x="170" y="93"/>
                      <a:pt x="170" y="89"/>
                    </a:cubicBezTo>
                    <a:cubicBezTo>
                      <a:pt x="161" y="89"/>
                      <a:pt x="151" y="90"/>
                      <a:pt x="141" y="90"/>
                    </a:cubicBezTo>
                    <a:cubicBezTo>
                      <a:pt x="141" y="90"/>
                      <a:pt x="141" y="90"/>
                      <a:pt x="141" y="130"/>
                    </a:cubicBezTo>
                    <a:close/>
                    <a:moveTo>
                      <a:pt x="159" y="157"/>
                    </a:moveTo>
                    <a:cubicBezTo>
                      <a:pt x="162" y="151"/>
                      <a:pt x="165" y="145"/>
                      <a:pt x="166" y="138"/>
                    </a:cubicBezTo>
                    <a:cubicBezTo>
                      <a:pt x="158" y="138"/>
                      <a:pt x="149" y="140"/>
                      <a:pt x="141" y="140"/>
                    </a:cubicBezTo>
                    <a:cubicBezTo>
                      <a:pt x="141" y="140"/>
                      <a:pt x="141" y="140"/>
                      <a:pt x="141" y="175"/>
                    </a:cubicBezTo>
                    <a:cubicBezTo>
                      <a:pt x="148" y="175"/>
                      <a:pt x="155" y="168"/>
                      <a:pt x="159" y="157"/>
                    </a:cubicBezTo>
                    <a:close/>
                    <a:moveTo>
                      <a:pt x="225" y="179"/>
                    </a:moveTo>
                    <a:cubicBezTo>
                      <a:pt x="241" y="174"/>
                      <a:pt x="241" y="174"/>
                      <a:pt x="241" y="174"/>
                    </a:cubicBezTo>
                    <a:cubicBezTo>
                      <a:pt x="183" y="155"/>
                      <a:pt x="183" y="155"/>
                      <a:pt x="183" y="155"/>
                    </a:cubicBezTo>
                    <a:cubicBezTo>
                      <a:pt x="175" y="196"/>
                      <a:pt x="175" y="196"/>
                      <a:pt x="175" y="196"/>
                    </a:cubicBezTo>
                    <a:cubicBezTo>
                      <a:pt x="193" y="191"/>
                      <a:pt x="193" y="191"/>
                      <a:pt x="193" y="191"/>
                    </a:cubicBezTo>
                    <a:cubicBezTo>
                      <a:pt x="197" y="195"/>
                      <a:pt x="208" y="203"/>
                      <a:pt x="218" y="202"/>
                    </a:cubicBezTo>
                    <a:cubicBezTo>
                      <a:pt x="224" y="201"/>
                      <a:pt x="242" y="192"/>
                      <a:pt x="251" y="188"/>
                    </a:cubicBezTo>
                    <a:cubicBezTo>
                      <a:pt x="242" y="191"/>
                      <a:pt x="231" y="182"/>
                      <a:pt x="225" y="179"/>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474" name="Group 473"/>
              <p:cNvGrpSpPr/>
              <p:nvPr/>
            </p:nvGrpSpPr>
            <p:grpSpPr>
              <a:xfrm rot="16200000">
                <a:off x="11538952" y="548917"/>
                <a:ext cx="197697" cy="120792"/>
                <a:chOff x="11543479" y="566091"/>
                <a:chExt cx="197697" cy="120792"/>
              </a:xfrm>
            </p:grpSpPr>
            <p:sp>
              <p:nvSpPr>
                <p:cNvPr id="732" name="Freeform 206"/>
                <p:cNvSpPr>
                  <a:spLocks noEditPoints="1"/>
                </p:cNvSpPr>
                <p:nvPr/>
              </p:nvSpPr>
              <p:spPr bwMode="auto">
                <a:xfrm rot="5400000">
                  <a:off x="11616132" y="493438"/>
                  <a:ext cx="52392" cy="197697"/>
                </a:xfrm>
                <a:custGeom>
                  <a:avLst/>
                  <a:gdLst>
                    <a:gd name="T0" fmla="*/ 40 w 48"/>
                    <a:gd name="T1" fmla="*/ 0 h 174"/>
                    <a:gd name="T2" fmla="*/ 7 w 48"/>
                    <a:gd name="T3" fmla="*/ 0 h 174"/>
                    <a:gd name="T4" fmla="*/ 0 w 48"/>
                    <a:gd name="T5" fmla="*/ 8 h 174"/>
                    <a:gd name="T6" fmla="*/ 0 w 48"/>
                    <a:gd name="T7" fmla="*/ 166 h 174"/>
                    <a:gd name="T8" fmla="*/ 7 w 48"/>
                    <a:gd name="T9" fmla="*/ 174 h 174"/>
                    <a:gd name="T10" fmla="*/ 40 w 48"/>
                    <a:gd name="T11" fmla="*/ 174 h 174"/>
                    <a:gd name="T12" fmla="*/ 48 w 48"/>
                    <a:gd name="T13" fmla="*/ 166 h 174"/>
                    <a:gd name="T14" fmla="*/ 48 w 48"/>
                    <a:gd name="T15" fmla="*/ 8 h 174"/>
                    <a:gd name="T16" fmla="*/ 40 w 48"/>
                    <a:gd name="T17" fmla="*/ 0 h 174"/>
                    <a:gd name="T18" fmla="*/ 11 w 48"/>
                    <a:gd name="T19" fmla="*/ 16 h 174"/>
                    <a:gd name="T20" fmla="*/ 15 w 48"/>
                    <a:gd name="T21" fmla="*/ 11 h 174"/>
                    <a:gd name="T22" fmla="*/ 32 w 48"/>
                    <a:gd name="T23" fmla="*/ 11 h 174"/>
                    <a:gd name="T24" fmla="*/ 36 w 48"/>
                    <a:gd name="T25" fmla="*/ 16 h 174"/>
                    <a:gd name="T26" fmla="*/ 36 w 48"/>
                    <a:gd name="T27" fmla="*/ 117 h 174"/>
                    <a:gd name="T28" fmla="*/ 32 w 48"/>
                    <a:gd name="T29" fmla="*/ 121 h 174"/>
                    <a:gd name="T30" fmla="*/ 15 w 48"/>
                    <a:gd name="T31" fmla="*/ 121 h 174"/>
                    <a:gd name="T32" fmla="*/ 11 w 48"/>
                    <a:gd name="T33" fmla="*/ 117 h 174"/>
                    <a:gd name="T34" fmla="*/ 11 w 48"/>
                    <a:gd name="T35" fmla="*/ 16 h 174"/>
                    <a:gd name="T36" fmla="*/ 11 w 48"/>
                    <a:gd name="T37" fmla="*/ 16 h 174"/>
                    <a:gd name="T38" fmla="*/ 23 w 48"/>
                    <a:gd name="T39" fmla="*/ 164 h 174"/>
                    <a:gd name="T40" fmla="*/ 11 w 48"/>
                    <a:gd name="T41" fmla="*/ 151 h 174"/>
                    <a:gd name="T42" fmla="*/ 23 w 48"/>
                    <a:gd name="T43" fmla="*/ 138 h 174"/>
                    <a:gd name="T44" fmla="*/ 36 w 48"/>
                    <a:gd name="T45" fmla="*/ 151 h 174"/>
                    <a:gd name="T46" fmla="*/ 23 w 48"/>
                    <a:gd name="T4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4">
                      <a:moveTo>
                        <a:pt x="40" y="0"/>
                      </a:moveTo>
                      <a:cubicBezTo>
                        <a:pt x="7" y="0"/>
                        <a:pt x="7" y="0"/>
                        <a:pt x="7" y="0"/>
                      </a:cubicBezTo>
                      <a:cubicBezTo>
                        <a:pt x="3" y="0"/>
                        <a:pt x="0" y="3"/>
                        <a:pt x="0" y="8"/>
                      </a:cubicBezTo>
                      <a:cubicBezTo>
                        <a:pt x="0" y="166"/>
                        <a:pt x="0" y="166"/>
                        <a:pt x="0" y="166"/>
                      </a:cubicBezTo>
                      <a:cubicBezTo>
                        <a:pt x="0" y="170"/>
                        <a:pt x="3" y="174"/>
                        <a:pt x="7" y="174"/>
                      </a:cubicBezTo>
                      <a:cubicBezTo>
                        <a:pt x="40" y="174"/>
                        <a:pt x="40" y="174"/>
                        <a:pt x="40" y="174"/>
                      </a:cubicBezTo>
                      <a:cubicBezTo>
                        <a:pt x="44" y="174"/>
                        <a:pt x="48" y="170"/>
                        <a:pt x="48" y="166"/>
                      </a:cubicBezTo>
                      <a:cubicBezTo>
                        <a:pt x="48" y="8"/>
                        <a:pt x="48" y="8"/>
                        <a:pt x="48" y="8"/>
                      </a:cubicBezTo>
                      <a:cubicBezTo>
                        <a:pt x="48" y="3"/>
                        <a:pt x="44" y="0"/>
                        <a:pt x="40" y="0"/>
                      </a:cubicBezTo>
                      <a:close/>
                      <a:moveTo>
                        <a:pt x="11" y="16"/>
                      </a:moveTo>
                      <a:cubicBezTo>
                        <a:pt x="11" y="13"/>
                        <a:pt x="13" y="11"/>
                        <a:pt x="15" y="11"/>
                      </a:cubicBezTo>
                      <a:cubicBezTo>
                        <a:pt x="32" y="11"/>
                        <a:pt x="32" y="11"/>
                        <a:pt x="32" y="11"/>
                      </a:cubicBezTo>
                      <a:cubicBezTo>
                        <a:pt x="34" y="11"/>
                        <a:pt x="36" y="13"/>
                        <a:pt x="36" y="16"/>
                      </a:cubicBezTo>
                      <a:cubicBezTo>
                        <a:pt x="36" y="117"/>
                        <a:pt x="36" y="117"/>
                        <a:pt x="36" y="117"/>
                      </a:cubicBezTo>
                      <a:cubicBezTo>
                        <a:pt x="36" y="119"/>
                        <a:pt x="34" y="121"/>
                        <a:pt x="32" y="121"/>
                      </a:cubicBezTo>
                      <a:cubicBezTo>
                        <a:pt x="15" y="121"/>
                        <a:pt x="15" y="121"/>
                        <a:pt x="15" y="121"/>
                      </a:cubicBezTo>
                      <a:cubicBezTo>
                        <a:pt x="13" y="121"/>
                        <a:pt x="11" y="119"/>
                        <a:pt x="11" y="117"/>
                      </a:cubicBezTo>
                      <a:cubicBezTo>
                        <a:pt x="11" y="16"/>
                        <a:pt x="11" y="16"/>
                        <a:pt x="11" y="16"/>
                      </a:cubicBezTo>
                      <a:cubicBezTo>
                        <a:pt x="11" y="16"/>
                        <a:pt x="11" y="16"/>
                        <a:pt x="11" y="16"/>
                      </a:cubicBezTo>
                      <a:close/>
                      <a:moveTo>
                        <a:pt x="23" y="164"/>
                      </a:moveTo>
                      <a:cubicBezTo>
                        <a:pt x="17" y="164"/>
                        <a:pt x="11" y="158"/>
                        <a:pt x="11" y="151"/>
                      </a:cubicBezTo>
                      <a:cubicBezTo>
                        <a:pt x="11" y="144"/>
                        <a:pt x="17" y="138"/>
                        <a:pt x="23" y="138"/>
                      </a:cubicBezTo>
                      <a:cubicBezTo>
                        <a:pt x="30" y="138"/>
                        <a:pt x="36" y="144"/>
                        <a:pt x="36" y="151"/>
                      </a:cubicBezTo>
                      <a:cubicBezTo>
                        <a:pt x="36" y="158"/>
                        <a:pt x="30" y="164"/>
                        <a:pt x="23" y="164"/>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33" name="Oval 732"/>
                <p:cNvSpPr>
                  <a:spLocks noChangeArrowheads="1"/>
                </p:cNvSpPr>
                <p:nvPr/>
              </p:nvSpPr>
              <p:spPr bwMode="auto">
                <a:xfrm rot="5400000">
                  <a:off x="11562613" y="583986"/>
                  <a:ext cx="14553" cy="16600"/>
                </a:xfrm>
                <a:prstGeom prst="ellipse">
                  <a:avLst/>
                </a:pr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34" name="Freeform 208"/>
                <p:cNvSpPr>
                  <a:spLocks noEditPoints="1"/>
                </p:cNvSpPr>
                <p:nvPr/>
              </p:nvSpPr>
              <p:spPr bwMode="auto">
                <a:xfrm rot="5400000">
                  <a:off x="11616132" y="561838"/>
                  <a:ext cx="52392" cy="197697"/>
                </a:xfrm>
                <a:custGeom>
                  <a:avLst/>
                  <a:gdLst>
                    <a:gd name="T0" fmla="*/ 41 w 48"/>
                    <a:gd name="T1" fmla="*/ 0 h 174"/>
                    <a:gd name="T2" fmla="*/ 8 w 48"/>
                    <a:gd name="T3" fmla="*/ 0 h 174"/>
                    <a:gd name="T4" fmla="*/ 0 w 48"/>
                    <a:gd name="T5" fmla="*/ 8 h 174"/>
                    <a:gd name="T6" fmla="*/ 0 w 48"/>
                    <a:gd name="T7" fmla="*/ 166 h 174"/>
                    <a:gd name="T8" fmla="*/ 8 w 48"/>
                    <a:gd name="T9" fmla="*/ 174 h 174"/>
                    <a:gd name="T10" fmla="*/ 41 w 48"/>
                    <a:gd name="T11" fmla="*/ 174 h 174"/>
                    <a:gd name="T12" fmla="*/ 48 w 48"/>
                    <a:gd name="T13" fmla="*/ 166 h 174"/>
                    <a:gd name="T14" fmla="*/ 48 w 48"/>
                    <a:gd name="T15" fmla="*/ 8 h 174"/>
                    <a:gd name="T16" fmla="*/ 41 w 48"/>
                    <a:gd name="T17" fmla="*/ 0 h 174"/>
                    <a:gd name="T18" fmla="*/ 12 w 48"/>
                    <a:gd name="T19" fmla="*/ 16 h 174"/>
                    <a:gd name="T20" fmla="*/ 16 w 48"/>
                    <a:gd name="T21" fmla="*/ 11 h 174"/>
                    <a:gd name="T22" fmla="*/ 33 w 48"/>
                    <a:gd name="T23" fmla="*/ 11 h 174"/>
                    <a:gd name="T24" fmla="*/ 37 w 48"/>
                    <a:gd name="T25" fmla="*/ 16 h 174"/>
                    <a:gd name="T26" fmla="*/ 37 w 48"/>
                    <a:gd name="T27" fmla="*/ 117 h 174"/>
                    <a:gd name="T28" fmla="*/ 33 w 48"/>
                    <a:gd name="T29" fmla="*/ 121 h 174"/>
                    <a:gd name="T30" fmla="*/ 16 w 48"/>
                    <a:gd name="T31" fmla="*/ 121 h 174"/>
                    <a:gd name="T32" fmla="*/ 12 w 48"/>
                    <a:gd name="T33" fmla="*/ 117 h 174"/>
                    <a:gd name="T34" fmla="*/ 12 w 48"/>
                    <a:gd name="T35" fmla="*/ 16 h 174"/>
                    <a:gd name="T36" fmla="*/ 12 w 48"/>
                    <a:gd name="T37" fmla="*/ 16 h 174"/>
                    <a:gd name="T38" fmla="*/ 24 w 48"/>
                    <a:gd name="T39" fmla="*/ 164 h 174"/>
                    <a:gd name="T40" fmla="*/ 12 w 48"/>
                    <a:gd name="T41" fmla="*/ 151 h 174"/>
                    <a:gd name="T42" fmla="*/ 24 w 48"/>
                    <a:gd name="T43" fmla="*/ 138 h 174"/>
                    <a:gd name="T44" fmla="*/ 37 w 48"/>
                    <a:gd name="T45" fmla="*/ 151 h 174"/>
                    <a:gd name="T46" fmla="*/ 24 w 48"/>
                    <a:gd name="T4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4">
                      <a:moveTo>
                        <a:pt x="41" y="0"/>
                      </a:moveTo>
                      <a:cubicBezTo>
                        <a:pt x="8" y="0"/>
                        <a:pt x="8" y="0"/>
                        <a:pt x="8" y="0"/>
                      </a:cubicBezTo>
                      <a:cubicBezTo>
                        <a:pt x="4" y="0"/>
                        <a:pt x="0" y="3"/>
                        <a:pt x="0" y="8"/>
                      </a:cubicBezTo>
                      <a:cubicBezTo>
                        <a:pt x="0" y="166"/>
                        <a:pt x="0" y="166"/>
                        <a:pt x="0" y="166"/>
                      </a:cubicBezTo>
                      <a:cubicBezTo>
                        <a:pt x="0" y="170"/>
                        <a:pt x="4" y="174"/>
                        <a:pt x="8" y="174"/>
                      </a:cubicBezTo>
                      <a:cubicBezTo>
                        <a:pt x="41" y="174"/>
                        <a:pt x="41" y="174"/>
                        <a:pt x="41" y="174"/>
                      </a:cubicBezTo>
                      <a:cubicBezTo>
                        <a:pt x="45" y="174"/>
                        <a:pt x="48" y="170"/>
                        <a:pt x="48" y="166"/>
                      </a:cubicBezTo>
                      <a:cubicBezTo>
                        <a:pt x="48" y="8"/>
                        <a:pt x="48" y="8"/>
                        <a:pt x="48" y="8"/>
                      </a:cubicBezTo>
                      <a:cubicBezTo>
                        <a:pt x="48" y="3"/>
                        <a:pt x="45" y="0"/>
                        <a:pt x="41" y="0"/>
                      </a:cubicBezTo>
                      <a:close/>
                      <a:moveTo>
                        <a:pt x="12" y="16"/>
                      </a:moveTo>
                      <a:cubicBezTo>
                        <a:pt x="12" y="13"/>
                        <a:pt x="14" y="11"/>
                        <a:pt x="16" y="11"/>
                      </a:cubicBezTo>
                      <a:cubicBezTo>
                        <a:pt x="33" y="11"/>
                        <a:pt x="33" y="11"/>
                        <a:pt x="33" y="11"/>
                      </a:cubicBezTo>
                      <a:cubicBezTo>
                        <a:pt x="35" y="11"/>
                        <a:pt x="37" y="13"/>
                        <a:pt x="37" y="16"/>
                      </a:cubicBezTo>
                      <a:cubicBezTo>
                        <a:pt x="37" y="117"/>
                        <a:pt x="37" y="117"/>
                        <a:pt x="37" y="117"/>
                      </a:cubicBezTo>
                      <a:cubicBezTo>
                        <a:pt x="37" y="119"/>
                        <a:pt x="35" y="121"/>
                        <a:pt x="33" y="121"/>
                      </a:cubicBezTo>
                      <a:cubicBezTo>
                        <a:pt x="16" y="121"/>
                        <a:pt x="16" y="121"/>
                        <a:pt x="16" y="121"/>
                      </a:cubicBezTo>
                      <a:cubicBezTo>
                        <a:pt x="14" y="121"/>
                        <a:pt x="12" y="119"/>
                        <a:pt x="12" y="117"/>
                      </a:cubicBezTo>
                      <a:cubicBezTo>
                        <a:pt x="12" y="16"/>
                        <a:pt x="12" y="16"/>
                        <a:pt x="12" y="16"/>
                      </a:cubicBezTo>
                      <a:cubicBezTo>
                        <a:pt x="12" y="16"/>
                        <a:pt x="12" y="16"/>
                        <a:pt x="12" y="16"/>
                      </a:cubicBezTo>
                      <a:close/>
                      <a:moveTo>
                        <a:pt x="24" y="164"/>
                      </a:moveTo>
                      <a:cubicBezTo>
                        <a:pt x="17" y="164"/>
                        <a:pt x="12" y="158"/>
                        <a:pt x="12" y="151"/>
                      </a:cubicBezTo>
                      <a:cubicBezTo>
                        <a:pt x="12" y="144"/>
                        <a:pt x="17" y="138"/>
                        <a:pt x="24" y="138"/>
                      </a:cubicBezTo>
                      <a:cubicBezTo>
                        <a:pt x="31" y="138"/>
                        <a:pt x="37" y="144"/>
                        <a:pt x="37" y="151"/>
                      </a:cubicBezTo>
                      <a:cubicBezTo>
                        <a:pt x="37" y="158"/>
                        <a:pt x="31" y="164"/>
                        <a:pt x="24" y="164"/>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35" name="Oval 734"/>
                <p:cNvSpPr>
                  <a:spLocks noChangeArrowheads="1"/>
                </p:cNvSpPr>
                <p:nvPr/>
              </p:nvSpPr>
              <p:spPr bwMode="auto">
                <a:xfrm rot="5400000">
                  <a:off x="11563340" y="653114"/>
                  <a:ext cx="13098" cy="16600"/>
                </a:xfrm>
                <a:prstGeom prst="ellipse">
                  <a:avLst/>
                </a:pr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sp>
            <p:nvSpPr>
              <p:cNvPr id="475" name="Freeform 210"/>
              <p:cNvSpPr>
                <a:spLocks/>
              </p:cNvSpPr>
              <p:nvPr/>
            </p:nvSpPr>
            <p:spPr bwMode="auto">
              <a:xfrm>
                <a:off x="10269655" y="1884130"/>
                <a:ext cx="174640" cy="98093"/>
              </a:xfrm>
              <a:custGeom>
                <a:avLst/>
                <a:gdLst>
                  <a:gd name="T0" fmla="*/ 117 w 159"/>
                  <a:gd name="T1" fmla="*/ 86 h 86"/>
                  <a:gd name="T2" fmla="*/ 159 w 159"/>
                  <a:gd name="T3" fmla="*/ 43 h 86"/>
                  <a:gd name="T4" fmla="*/ 117 w 159"/>
                  <a:gd name="T5" fmla="*/ 0 h 86"/>
                  <a:gd name="T6" fmla="*/ 80 w 159"/>
                  <a:gd name="T7" fmla="*/ 21 h 86"/>
                  <a:gd name="T8" fmla="*/ 66 w 159"/>
                  <a:gd name="T9" fmla="*/ 18 h 86"/>
                  <a:gd name="T10" fmla="*/ 35 w 159"/>
                  <a:gd name="T11" fmla="*/ 36 h 86"/>
                  <a:gd name="T12" fmla="*/ 26 w 159"/>
                  <a:gd name="T13" fmla="*/ 34 h 86"/>
                  <a:gd name="T14" fmla="*/ 0 w 159"/>
                  <a:gd name="T15" fmla="*/ 60 h 86"/>
                  <a:gd name="T16" fmla="*/ 26 w 159"/>
                  <a:gd name="T17" fmla="*/ 86 h 86"/>
                  <a:gd name="T18" fmla="*/ 117 w 159"/>
                  <a:gd name="T19" fmla="*/ 86 h 86"/>
                  <a:gd name="T20" fmla="*/ 117 w 159"/>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86">
                    <a:moveTo>
                      <a:pt x="117" y="86"/>
                    </a:moveTo>
                    <a:cubicBezTo>
                      <a:pt x="140" y="86"/>
                      <a:pt x="159" y="66"/>
                      <a:pt x="159" y="43"/>
                    </a:cubicBezTo>
                    <a:cubicBezTo>
                      <a:pt x="159" y="20"/>
                      <a:pt x="140" y="0"/>
                      <a:pt x="117" y="0"/>
                    </a:cubicBezTo>
                    <a:cubicBezTo>
                      <a:pt x="101" y="0"/>
                      <a:pt x="88" y="9"/>
                      <a:pt x="80" y="21"/>
                    </a:cubicBezTo>
                    <a:cubicBezTo>
                      <a:pt x="76" y="19"/>
                      <a:pt x="71" y="18"/>
                      <a:pt x="66" y="18"/>
                    </a:cubicBezTo>
                    <a:cubicBezTo>
                      <a:pt x="52" y="18"/>
                      <a:pt x="41" y="25"/>
                      <a:pt x="35" y="36"/>
                    </a:cubicBezTo>
                    <a:cubicBezTo>
                      <a:pt x="32" y="35"/>
                      <a:pt x="29" y="34"/>
                      <a:pt x="26" y="34"/>
                    </a:cubicBezTo>
                    <a:cubicBezTo>
                      <a:pt x="12" y="34"/>
                      <a:pt x="0" y="46"/>
                      <a:pt x="0" y="60"/>
                    </a:cubicBezTo>
                    <a:cubicBezTo>
                      <a:pt x="0" y="74"/>
                      <a:pt x="12" y="86"/>
                      <a:pt x="26" y="86"/>
                    </a:cubicBezTo>
                    <a:cubicBezTo>
                      <a:pt x="117" y="86"/>
                      <a:pt x="117" y="86"/>
                      <a:pt x="117" y="86"/>
                    </a:cubicBezTo>
                    <a:cubicBezTo>
                      <a:pt x="117" y="86"/>
                      <a:pt x="117" y="86"/>
                      <a:pt x="117" y="86"/>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76" name="Freeform 211"/>
              <p:cNvSpPr>
                <a:spLocks noEditPoints="1"/>
              </p:cNvSpPr>
              <p:nvPr/>
            </p:nvSpPr>
            <p:spPr bwMode="auto">
              <a:xfrm>
                <a:off x="10830108" y="1154290"/>
                <a:ext cx="228487" cy="108658"/>
              </a:xfrm>
              <a:custGeom>
                <a:avLst/>
                <a:gdLst>
                  <a:gd name="T0" fmla="*/ 157 w 208"/>
                  <a:gd name="T1" fmla="*/ 95 h 95"/>
                  <a:gd name="T2" fmla="*/ 147 w 208"/>
                  <a:gd name="T3" fmla="*/ 95 h 95"/>
                  <a:gd name="T4" fmla="*/ 114 w 208"/>
                  <a:gd name="T5" fmla="*/ 63 h 95"/>
                  <a:gd name="T6" fmla="*/ 112 w 208"/>
                  <a:gd name="T7" fmla="*/ 63 h 95"/>
                  <a:gd name="T8" fmla="*/ 106 w 208"/>
                  <a:gd name="T9" fmla="*/ 51 h 95"/>
                  <a:gd name="T10" fmla="*/ 114 w 208"/>
                  <a:gd name="T11" fmla="*/ 51 h 95"/>
                  <a:gd name="T12" fmla="*/ 157 w 208"/>
                  <a:gd name="T13" fmla="*/ 95 h 95"/>
                  <a:gd name="T14" fmla="*/ 114 w 208"/>
                  <a:gd name="T15" fmla="*/ 0 h 95"/>
                  <a:gd name="T16" fmla="*/ 47 w 208"/>
                  <a:gd name="T17" fmla="*/ 27 h 95"/>
                  <a:gd name="T18" fmla="*/ 57 w 208"/>
                  <a:gd name="T19" fmla="*/ 25 h 95"/>
                  <a:gd name="T20" fmla="*/ 65 w 208"/>
                  <a:gd name="T21" fmla="*/ 27 h 95"/>
                  <a:gd name="T22" fmla="*/ 114 w 208"/>
                  <a:gd name="T23" fmla="*/ 12 h 95"/>
                  <a:gd name="T24" fmla="*/ 198 w 208"/>
                  <a:gd name="T25" fmla="*/ 95 h 95"/>
                  <a:gd name="T26" fmla="*/ 208 w 208"/>
                  <a:gd name="T27" fmla="*/ 95 h 95"/>
                  <a:gd name="T28" fmla="*/ 114 w 208"/>
                  <a:gd name="T29" fmla="*/ 0 h 95"/>
                  <a:gd name="T30" fmla="*/ 114 w 208"/>
                  <a:gd name="T31" fmla="*/ 27 h 95"/>
                  <a:gd name="T32" fmla="*/ 78 w 208"/>
                  <a:gd name="T33" fmla="*/ 35 h 95"/>
                  <a:gd name="T34" fmla="*/ 80 w 208"/>
                  <a:gd name="T35" fmla="*/ 39 h 95"/>
                  <a:gd name="T36" fmla="*/ 80 w 208"/>
                  <a:gd name="T37" fmla="*/ 39 h 95"/>
                  <a:gd name="T38" fmla="*/ 94 w 208"/>
                  <a:gd name="T39" fmla="*/ 41 h 95"/>
                  <a:gd name="T40" fmla="*/ 114 w 208"/>
                  <a:gd name="T41" fmla="*/ 37 h 95"/>
                  <a:gd name="T42" fmla="*/ 171 w 208"/>
                  <a:gd name="T43" fmla="*/ 95 h 95"/>
                  <a:gd name="T44" fmla="*/ 183 w 208"/>
                  <a:gd name="T45" fmla="*/ 95 h 95"/>
                  <a:gd name="T46" fmla="*/ 114 w 208"/>
                  <a:gd name="T47" fmla="*/ 27 h 95"/>
                  <a:gd name="T48" fmla="*/ 0 w 208"/>
                  <a:gd name="T49" fmla="*/ 79 h 95"/>
                  <a:gd name="T50" fmla="*/ 17 w 208"/>
                  <a:gd name="T51" fmla="*/ 93 h 95"/>
                  <a:gd name="T52" fmla="*/ 19 w 208"/>
                  <a:gd name="T53" fmla="*/ 93 h 95"/>
                  <a:gd name="T54" fmla="*/ 84 w 208"/>
                  <a:gd name="T55" fmla="*/ 93 h 95"/>
                  <a:gd name="T56" fmla="*/ 104 w 208"/>
                  <a:gd name="T57" fmla="*/ 71 h 95"/>
                  <a:gd name="T58" fmla="*/ 80 w 208"/>
                  <a:gd name="T59" fmla="*/ 49 h 95"/>
                  <a:gd name="T60" fmla="*/ 74 w 208"/>
                  <a:gd name="T61" fmla="*/ 49 h 95"/>
                  <a:gd name="T62" fmla="*/ 57 w 208"/>
                  <a:gd name="T63" fmla="*/ 35 h 95"/>
                  <a:gd name="T64" fmla="*/ 37 w 208"/>
                  <a:gd name="T65" fmla="*/ 53 h 95"/>
                  <a:gd name="T66" fmla="*/ 37 w 208"/>
                  <a:gd name="T67" fmla="*/ 57 h 95"/>
                  <a:gd name="T68" fmla="*/ 31 w 208"/>
                  <a:gd name="T69" fmla="*/ 55 h 95"/>
                  <a:gd name="T70" fmla="*/ 19 w 208"/>
                  <a:gd name="T71" fmla="*/ 63 h 95"/>
                  <a:gd name="T72" fmla="*/ 17 w 208"/>
                  <a:gd name="T73" fmla="*/ 63 h 95"/>
                  <a:gd name="T74" fmla="*/ 0 w 208"/>
                  <a:gd name="T75"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 h="95">
                    <a:moveTo>
                      <a:pt x="157" y="95"/>
                    </a:moveTo>
                    <a:cubicBezTo>
                      <a:pt x="147" y="95"/>
                      <a:pt x="147" y="95"/>
                      <a:pt x="147" y="95"/>
                    </a:cubicBezTo>
                    <a:cubicBezTo>
                      <a:pt x="147" y="77"/>
                      <a:pt x="131" y="63"/>
                      <a:pt x="114" y="63"/>
                    </a:cubicBezTo>
                    <a:cubicBezTo>
                      <a:pt x="112" y="63"/>
                      <a:pt x="112" y="63"/>
                      <a:pt x="112" y="63"/>
                    </a:cubicBezTo>
                    <a:cubicBezTo>
                      <a:pt x="110" y="59"/>
                      <a:pt x="108" y="55"/>
                      <a:pt x="106" y="51"/>
                    </a:cubicBezTo>
                    <a:cubicBezTo>
                      <a:pt x="108" y="51"/>
                      <a:pt x="110" y="51"/>
                      <a:pt x="114" y="51"/>
                    </a:cubicBezTo>
                    <a:cubicBezTo>
                      <a:pt x="139" y="51"/>
                      <a:pt x="157" y="71"/>
                      <a:pt x="157" y="95"/>
                    </a:cubicBezTo>
                    <a:close/>
                    <a:moveTo>
                      <a:pt x="114" y="0"/>
                    </a:moveTo>
                    <a:cubicBezTo>
                      <a:pt x="88" y="0"/>
                      <a:pt x="65" y="10"/>
                      <a:pt x="47" y="27"/>
                    </a:cubicBezTo>
                    <a:cubicBezTo>
                      <a:pt x="51" y="27"/>
                      <a:pt x="53" y="25"/>
                      <a:pt x="57" y="25"/>
                    </a:cubicBezTo>
                    <a:cubicBezTo>
                      <a:pt x="59" y="25"/>
                      <a:pt x="63" y="27"/>
                      <a:pt x="65" y="27"/>
                    </a:cubicBezTo>
                    <a:cubicBezTo>
                      <a:pt x="80" y="18"/>
                      <a:pt x="96" y="12"/>
                      <a:pt x="114" y="12"/>
                    </a:cubicBezTo>
                    <a:cubicBezTo>
                      <a:pt x="159" y="12"/>
                      <a:pt x="198" y="49"/>
                      <a:pt x="198" y="95"/>
                    </a:cubicBezTo>
                    <a:cubicBezTo>
                      <a:pt x="208" y="95"/>
                      <a:pt x="208" y="95"/>
                      <a:pt x="208" y="95"/>
                    </a:cubicBezTo>
                    <a:cubicBezTo>
                      <a:pt x="208" y="43"/>
                      <a:pt x="165" y="0"/>
                      <a:pt x="114" y="0"/>
                    </a:cubicBezTo>
                    <a:close/>
                    <a:moveTo>
                      <a:pt x="114" y="27"/>
                    </a:moveTo>
                    <a:cubicBezTo>
                      <a:pt x="100" y="27"/>
                      <a:pt x="88" y="29"/>
                      <a:pt x="78" y="35"/>
                    </a:cubicBezTo>
                    <a:cubicBezTo>
                      <a:pt x="80" y="37"/>
                      <a:pt x="80" y="37"/>
                      <a:pt x="80" y="39"/>
                    </a:cubicBezTo>
                    <a:cubicBezTo>
                      <a:pt x="80" y="39"/>
                      <a:pt x="80" y="39"/>
                      <a:pt x="80" y="39"/>
                    </a:cubicBezTo>
                    <a:cubicBezTo>
                      <a:pt x="86" y="39"/>
                      <a:pt x="90" y="39"/>
                      <a:pt x="94" y="41"/>
                    </a:cubicBezTo>
                    <a:cubicBezTo>
                      <a:pt x="100" y="39"/>
                      <a:pt x="106" y="37"/>
                      <a:pt x="114" y="37"/>
                    </a:cubicBezTo>
                    <a:cubicBezTo>
                      <a:pt x="145" y="37"/>
                      <a:pt x="171" y="63"/>
                      <a:pt x="171" y="95"/>
                    </a:cubicBezTo>
                    <a:cubicBezTo>
                      <a:pt x="183" y="95"/>
                      <a:pt x="183" y="95"/>
                      <a:pt x="183" y="95"/>
                    </a:cubicBezTo>
                    <a:cubicBezTo>
                      <a:pt x="183" y="57"/>
                      <a:pt x="153" y="27"/>
                      <a:pt x="114" y="27"/>
                    </a:cubicBezTo>
                    <a:close/>
                    <a:moveTo>
                      <a:pt x="0" y="79"/>
                    </a:moveTo>
                    <a:cubicBezTo>
                      <a:pt x="0" y="87"/>
                      <a:pt x="7" y="93"/>
                      <a:pt x="17" y="93"/>
                    </a:cubicBezTo>
                    <a:cubicBezTo>
                      <a:pt x="19" y="93"/>
                      <a:pt x="19" y="93"/>
                      <a:pt x="19" y="93"/>
                    </a:cubicBezTo>
                    <a:cubicBezTo>
                      <a:pt x="84" y="93"/>
                      <a:pt x="84" y="93"/>
                      <a:pt x="84" y="93"/>
                    </a:cubicBezTo>
                    <a:cubicBezTo>
                      <a:pt x="94" y="93"/>
                      <a:pt x="104" y="83"/>
                      <a:pt x="104" y="71"/>
                    </a:cubicBezTo>
                    <a:cubicBezTo>
                      <a:pt x="104" y="59"/>
                      <a:pt x="94" y="49"/>
                      <a:pt x="80" y="49"/>
                    </a:cubicBezTo>
                    <a:cubicBezTo>
                      <a:pt x="78" y="49"/>
                      <a:pt x="76" y="49"/>
                      <a:pt x="74" y="49"/>
                    </a:cubicBezTo>
                    <a:cubicBezTo>
                      <a:pt x="72" y="41"/>
                      <a:pt x="65" y="35"/>
                      <a:pt x="57" y="35"/>
                    </a:cubicBezTo>
                    <a:cubicBezTo>
                      <a:pt x="45" y="35"/>
                      <a:pt x="37" y="43"/>
                      <a:pt x="37" y="53"/>
                    </a:cubicBezTo>
                    <a:cubicBezTo>
                      <a:pt x="37" y="55"/>
                      <a:pt x="37" y="55"/>
                      <a:pt x="37" y="57"/>
                    </a:cubicBezTo>
                    <a:cubicBezTo>
                      <a:pt x="35" y="55"/>
                      <a:pt x="33" y="55"/>
                      <a:pt x="31" y="55"/>
                    </a:cubicBezTo>
                    <a:cubicBezTo>
                      <a:pt x="27" y="55"/>
                      <a:pt x="21" y="59"/>
                      <a:pt x="19" y="63"/>
                    </a:cubicBezTo>
                    <a:cubicBezTo>
                      <a:pt x="17" y="63"/>
                      <a:pt x="17" y="63"/>
                      <a:pt x="17" y="63"/>
                    </a:cubicBezTo>
                    <a:cubicBezTo>
                      <a:pt x="7" y="63"/>
                      <a:pt x="0" y="69"/>
                      <a:pt x="0" y="79"/>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79" name="Freeform 212"/>
              <p:cNvSpPr>
                <a:spLocks noEditPoints="1"/>
              </p:cNvSpPr>
              <p:nvPr/>
            </p:nvSpPr>
            <p:spPr bwMode="auto">
              <a:xfrm rot="5400000">
                <a:off x="11526332" y="832802"/>
                <a:ext cx="256138" cy="264099"/>
              </a:xfrm>
              <a:custGeom>
                <a:avLst/>
                <a:gdLst>
                  <a:gd name="T0" fmla="*/ 86 w 176"/>
                  <a:gd name="T1" fmla="*/ 78 h 175"/>
                  <a:gd name="T2" fmla="*/ 92 w 176"/>
                  <a:gd name="T3" fmla="*/ 48 h 175"/>
                  <a:gd name="T4" fmla="*/ 92 w 176"/>
                  <a:gd name="T5" fmla="*/ 50 h 175"/>
                  <a:gd name="T6" fmla="*/ 101 w 176"/>
                  <a:gd name="T7" fmla="*/ 53 h 175"/>
                  <a:gd name="T8" fmla="*/ 109 w 176"/>
                  <a:gd name="T9" fmla="*/ 67 h 175"/>
                  <a:gd name="T10" fmla="*/ 131 w 176"/>
                  <a:gd name="T11" fmla="*/ 40 h 175"/>
                  <a:gd name="T12" fmla="*/ 92 w 176"/>
                  <a:gd name="T13" fmla="*/ 47 h 175"/>
                  <a:gd name="T14" fmla="*/ 92 w 176"/>
                  <a:gd name="T15" fmla="*/ 48 h 175"/>
                  <a:gd name="T16" fmla="*/ 101 w 176"/>
                  <a:gd name="T17" fmla="*/ 50 h 175"/>
                  <a:gd name="T18" fmla="*/ 111 w 176"/>
                  <a:gd name="T19" fmla="*/ 53 h 175"/>
                  <a:gd name="T20" fmla="*/ 111 w 176"/>
                  <a:gd name="T21" fmla="*/ 51 h 175"/>
                  <a:gd name="T22" fmla="*/ 111 w 176"/>
                  <a:gd name="T23" fmla="*/ 53 h 175"/>
                  <a:gd name="T24" fmla="*/ 110 w 176"/>
                  <a:gd name="T25" fmla="*/ 53 h 175"/>
                  <a:gd name="T26" fmla="*/ 111 w 176"/>
                  <a:gd name="T27" fmla="*/ 51 h 175"/>
                  <a:gd name="T28" fmla="*/ 110 w 176"/>
                  <a:gd name="T29" fmla="*/ 53 h 175"/>
                  <a:gd name="T30" fmla="*/ 51 w 176"/>
                  <a:gd name="T31" fmla="*/ 102 h 175"/>
                  <a:gd name="T32" fmla="*/ 83 w 176"/>
                  <a:gd name="T33" fmla="*/ 93 h 175"/>
                  <a:gd name="T34" fmla="*/ 49 w 176"/>
                  <a:gd name="T35" fmla="*/ 83 h 175"/>
                  <a:gd name="T36" fmla="*/ 30 w 176"/>
                  <a:gd name="T37" fmla="*/ 87 h 175"/>
                  <a:gd name="T38" fmla="*/ 44 w 176"/>
                  <a:gd name="T39" fmla="*/ 103 h 175"/>
                  <a:gd name="T40" fmla="*/ 51 w 176"/>
                  <a:gd name="T41" fmla="*/ 102 h 175"/>
                  <a:gd name="T42" fmla="*/ 51 w 176"/>
                  <a:gd name="T43" fmla="*/ 92 h 175"/>
                  <a:gd name="T44" fmla="*/ 45 w 176"/>
                  <a:gd name="T45" fmla="*/ 83 h 175"/>
                  <a:gd name="T46" fmla="*/ 46 w 176"/>
                  <a:gd name="T47" fmla="*/ 84 h 175"/>
                  <a:gd name="T48" fmla="*/ 44 w 176"/>
                  <a:gd name="T49" fmla="*/ 86 h 175"/>
                  <a:gd name="T50" fmla="*/ 45 w 176"/>
                  <a:gd name="T51" fmla="*/ 84 h 175"/>
                  <a:gd name="T52" fmla="*/ 48 w 176"/>
                  <a:gd name="T53" fmla="*/ 84 h 175"/>
                  <a:gd name="T54" fmla="*/ 45 w 176"/>
                  <a:gd name="T55" fmla="*/ 84 h 175"/>
                  <a:gd name="T56" fmla="*/ 46 w 176"/>
                  <a:gd name="T57" fmla="*/ 86 h 175"/>
                  <a:gd name="T58" fmla="*/ 45 w 176"/>
                  <a:gd name="T59" fmla="*/ 84 h 175"/>
                  <a:gd name="T60" fmla="*/ 118 w 176"/>
                  <a:gd name="T61" fmla="*/ 110 h 175"/>
                  <a:gd name="T62" fmla="*/ 95 w 176"/>
                  <a:gd name="T63" fmla="*/ 87 h 175"/>
                  <a:gd name="T64" fmla="*/ 123 w 176"/>
                  <a:gd name="T65" fmla="*/ 126 h 175"/>
                  <a:gd name="T66" fmla="*/ 103 w 176"/>
                  <a:gd name="T67" fmla="*/ 125 h 175"/>
                  <a:gd name="T68" fmla="*/ 95 w 176"/>
                  <a:gd name="T69" fmla="*/ 151 h 175"/>
                  <a:gd name="T70" fmla="*/ 118 w 176"/>
                  <a:gd name="T71" fmla="*/ 110 h 175"/>
                  <a:gd name="T72" fmla="*/ 110 w 176"/>
                  <a:gd name="T73" fmla="*/ 115 h 175"/>
                  <a:gd name="T74" fmla="*/ 105 w 176"/>
                  <a:gd name="T75" fmla="*/ 124 h 175"/>
                  <a:gd name="T76" fmla="*/ 107 w 176"/>
                  <a:gd name="T77" fmla="*/ 125 h 175"/>
                  <a:gd name="T78" fmla="*/ 112 w 176"/>
                  <a:gd name="T79" fmla="*/ 117 h 175"/>
                  <a:gd name="T80" fmla="*/ 108 w 176"/>
                  <a:gd name="T81" fmla="*/ 125 h 175"/>
                  <a:gd name="T82" fmla="*/ 107 w 176"/>
                  <a:gd name="T83" fmla="*/ 125 h 175"/>
                  <a:gd name="T84" fmla="*/ 112 w 176"/>
                  <a:gd name="T85" fmla="*/ 117 h 175"/>
                  <a:gd name="T86" fmla="*/ 107 w 176"/>
                  <a:gd name="T87" fmla="*/ 125 h 175"/>
                  <a:gd name="T88" fmla="*/ 105 w 176"/>
                  <a:gd name="T89" fmla="*/ 124 h 175"/>
                  <a:gd name="T90" fmla="*/ 92 w 176"/>
                  <a:gd name="T91" fmla="*/ 86 h 175"/>
                  <a:gd name="T92" fmla="*/ 86 w 176"/>
                  <a:gd name="T93" fmla="*/ 80 h 175"/>
                  <a:gd name="T94" fmla="*/ 82 w 176"/>
                  <a:gd name="T95" fmla="*/ 90 h 175"/>
                  <a:gd name="T96" fmla="*/ 80 w 176"/>
                  <a:gd name="T97" fmla="*/ 87 h 175"/>
                  <a:gd name="T98" fmla="*/ 95 w 176"/>
                  <a:gd name="T99" fmla="*/ 90 h 175"/>
                  <a:gd name="T100" fmla="*/ 86 w 176"/>
                  <a:gd name="T101" fmla="*/ 80 h 175"/>
                  <a:gd name="T102" fmla="*/ 80 w 176"/>
                  <a:gd name="T103" fmla="*/ 91 h 175"/>
                  <a:gd name="T104" fmla="*/ 95 w 176"/>
                  <a:gd name="T105" fmla="*/ 90 h 175"/>
                  <a:gd name="T106" fmla="*/ 24 w 176"/>
                  <a:gd name="T107" fmla="*/ 130 h 175"/>
                  <a:gd name="T108" fmla="*/ 29 w 176"/>
                  <a:gd name="T109" fmla="*/ 38 h 175"/>
                  <a:gd name="T110" fmla="*/ 117 w 176"/>
                  <a:gd name="T111" fmla="*/ 16 h 175"/>
                  <a:gd name="T112" fmla="*/ 164 w 176"/>
                  <a:gd name="T113" fmla="*/ 95 h 175"/>
                  <a:gd name="T114" fmla="*/ 95 w 176"/>
                  <a:gd name="T115" fmla="*/ 164 h 175"/>
                  <a:gd name="T116" fmla="*/ 156 w 176"/>
                  <a:gd name="T117" fmla="*/ 142 h 175"/>
                  <a:gd name="T118" fmla="*/ 161 w 176"/>
                  <a:gd name="T119" fmla="*/ 38 h 175"/>
                  <a:gd name="T120" fmla="*/ 62 w 176"/>
                  <a:gd name="T121" fmla="*/ 4 h 175"/>
                  <a:gd name="T122" fmla="*/ 0 w 176"/>
                  <a:gd name="T123" fmla="*/ 87 h 175"/>
                  <a:gd name="T124" fmla="*/ 70 w 176"/>
                  <a:gd name="T125" fmla="*/ 17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 h="175">
                    <a:moveTo>
                      <a:pt x="92" y="48"/>
                    </a:moveTo>
                    <a:lnTo>
                      <a:pt x="92" y="50"/>
                    </a:lnTo>
                    <a:lnTo>
                      <a:pt x="92" y="50"/>
                    </a:lnTo>
                    <a:lnTo>
                      <a:pt x="86" y="50"/>
                    </a:lnTo>
                    <a:lnTo>
                      <a:pt x="80" y="51"/>
                    </a:lnTo>
                    <a:lnTo>
                      <a:pt x="77" y="55"/>
                    </a:lnTo>
                    <a:lnTo>
                      <a:pt x="74" y="61"/>
                    </a:lnTo>
                    <a:lnTo>
                      <a:pt x="74" y="61"/>
                    </a:lnTo>
                    <a:lnTo>
                      <a:pt x="74" y="67"/>
                    </a:lnTo>
                    <a:lnTo>
                      <a:pt x="77" y="72"/>
                    </a:lnTo>
                    <a:lnTo>
                      <a:pt x="77" y="72"/>
                    </a:lnTo>
                    <a:lnTo>
                      <a:pt x="80" y="76"/>
                    </a:lnTo>
                    <a:lnTo>
                      <a:pt x="86" y="78"/>
                    </a:lnTo>
                    <a:lnTo>
                      <a:pt x="86" y="78"/>
                    </a:lnTo>
                    <a:lnTo>
                      <a:pt x="84" y="80"/>
                    </a:lnTo>
                    <a:lnTo>
                      <a:pt x="84" y="80"/>
                    </a:lnTo>
                    <a:lnTo>
                      <a:pt x="78" y="76"/>
                    </a:lnTo>
                    <a:lnTo>
                      <a:pt x="74" y="72"/>
                    </a:lnTo>
                    <a:lnTo>
                      <a:pt x="73" y="67"/>
                    </a:lnTo>
                    <a:lnTo>
                      <a:pt x="73" y="61"/>
                    </a:lnTo>
                    <a:lnTo>
                      <a:pt x="73" y="61"/>
                    </a:lnTo>
                    <a:lnTo>
                      <a:pt x="76" y="55"/>
                    </a:lnTo>
                    <a:lnTo>
                      <a:pt x="80" y="50"/>
                    </a:lnTo>
                    <a:lnTo>
                      <a:pt x="86" y="47"/>
                    </a:lnTo>
                    <a:lnTo>
                      <a:pt x="92" y="47"/>
                    </a:lnTo>
                    <a:lnTo>
                      <a:pt x="92" y="48"/>
                    </a:lnTo>
                    <a:lnTo>
                      <a:pt x="92" y="48"/>
                    </a:lnTo>
                    <a:lnTo>
                      <a:pt x="92" y="48"/>
                    </a:lnTo>
                    <a:close/>
                    <a:moveTo>
                      <a:pt x="86" y="80"/>
                    </a:moveTo>
                    <a:lnTo>
                      <a:pt x="86" y="80"/>
                    </a:lnTo>
                    <a:lnTo>
                      <a:pt x="86" y="80"/>
                    </a:lnTo>
                    <a:lnTo>
                      <a:pt x="86" y="80"/>
                    </a:lnTo>
                    <a:lnTo>
                      <a:pt x="86" y="80"/>
                    </a:lnTo>
                    <a:lnTo>
                      <a:pt x="86" y="80"/>
                    </a:lnTo>
                    <a:lnTo>
                      <a:pt x="86" y="80"/>
                    </a:lnTo>
                    <a:lnTo>
                      <a:pt x="86" y="80"/>
                    </a:lnTo>
                    <a:close/>
                    <a:moveTo>
                      <a:pt x="101" y="53"/>
                    </a:moveTo>
                    <a:lnTo>
                      <a:pt x="101" y="53"/>
                    </a:lnTo>
                    <a:lnTo>
                      <a:pt x="98" y="51"/>
                    </a:lnTo>
                    <a:lnTo>
                      <a:pt x="97" y="50"/>
                    </a:lnTo>
                    <a:lnTo>
                      <a:pt x="92" y="48"/>
                    </a:lnTo>
                    <a:lnTo>
                      <a:pt x="92" y="50"/>
                    </a:lnTo>
                    <a:lnTo>
                      <a:pt x="92" y="50"/>
                    </a:lnTo>
                    <a:lnTo>
                      <a:pt x="92" y="50"/>
                    </a:lnTo>
                    <a:lnTo>
                      <a:pt x="92" y="50"/>
                    </a:lnTo>
                    <a:lnTo>
                      <a:pt x="92" y="50"/>
                    </a:lnTo>
                    <a:lnTo>
                      <a:pt x="92" y="55"/>
                    </a:lnTo>
                    <a:lnTo>
                      <a:pt x="93" y="59"/>
                    </a:lnTo>
                    <a:lnTo>
                      <a:pt x="98" y="63"/>
                    </a:lnTo>
                    <a:lnTo>
                      <a:pt x="103" y="65"/>
                    </a:lnTo>
                    <a:lnTo>
                      <a:pt x="108" y="67"/>
                    </a:lnTo>
                    <a:lnTo>
                      <a:pt x="108" y="67"/>
                    </a:lnTo>
                    <a:lnTo>
                      <a:pt x="109" y="55"/>
                    </a:lnTo>
                    <a:lnTo>
                      <a:pt x="101" y="53"/>
                    </a:lnTo>
                    <a:lnTo>
                      <a:pt x="101" y="53"/>
                    </a:lnTo>
                    <a:lnTo>
                      <a:pt x="101" y="53"/>
                    </a:lnTo>
                    <a:close/>
                    <a:moveTo>
                      <a:pt x="131" y="40"/>
                    </a:moveTo>
                    <a:lnTo>
                      <a:pt x="116" y="37"/>
                    </a:lnTo>
                    <a:lnTo>
                      <a:pt x="116" y="37"/>
                    </a:lnTo>
                    <a:lnTo>
                      <a:pt x="112" y="50"/>
                    </a:lnTo>
                    <a:lnTo>
                      <a:pt x="112" y="50"/>
                    </a:lnTo>
                    <a:lnTo>
                      <a:pt x="112" y="50"/>
                    </a:lnTo>
                    <a:lnTo>
                      <a:pt x="114" y="50"/>
                    </a:lnTo>
                    <a:lnTo>
                      <a:pt x="114" y="53"/>
                    </a:lnTo>
                    <a:lnTo>
                      <a:pt x="114" y="53"/>
                    </a:lnTo>
                    <a:lnTo>
                      <a:pt x="112" y="55"/>
                    </a:lnTo>
                    <a:lnTo>
                      <a:pt x="110" y="55"/>
                    </a:lnTo>
                    <a:lnTo>
                      <a:pt x="110" y="55"/>
                    </a:lnTo>
                    <a:lnTo>
                      <a:pt x="110" y="55"/>
                    </a:lnTo>
                    <a:lnTo>
                      <a:pt x="109" y="67"/>
                    </a:lnTo>
                    <a:lnTo>
                      <a:pt x="124" y="70"/>
                    </a:lnTo>
                    <a:lnTo>
                      <a:pt x="124" y="70"/>
                    </a:lnTo>
                    <a:lnTo>
                      <a:pt x="130" y="71"/>
                    </a:lnTo>
                    <a:lnTo>
                      <a:pt x="135" y="68"/>
                    </a:lnTo>
                    <a:lnTo>
                      <a:pt x="138" y="65"/>
                    </a:lnTo>
                    <a:lnTo>
                      <a:pt x="141" y="59"/>
                    </a:lnTo>
                    <a:lnTo>
                      <a:pt x="142" y="59"/>
                    </a:lnTo>
                    <a:lnTo>
                      <a:pt x="142" y="59"/>
                    </a:lnTo>
                    <a:lnTo>
                      <a:pt x="142" y="53"/>
                    </a:lnTo>
                    <a:lnTo>
                      <a:pt x="140" y="48"/>
                    </a:lnTo>
                    <a:lnTo>
                      <a:pt x="136" y="43"/>
                    </a:lnTo>
                    <a:lnTo>
                      <a:pt x="131" y="40"/>
                    </a:lnTo>
                    <a:lnTo>
                      <a:pt x="131" y="40"/>
                    </a:lnTo>
                    <a:lnTo>
                      <a:pt x="131" y="40"/>
                    </a:lnTo>
                    <a:close/>
                    <a:moveTo>
                      <a:pt x="92" y="47"/>
                    </a:moveTo>
                    <a:lnTo>
                      <a:pt x="98" y="48"/>
                    </a:lnTo>
                    <a:lnTo>
                      <a:pt x="98" y="48"/>
                    </a:lnTo>
                    <a:lnTo>
                      <a:pt x="99" y="47"/>
                    </a:lnTo>
                    <a:lnTo>
                      <a:pt x="102" y="47"/>
                    </a:lnTo>
                    <a:lnTo>
                      <a:pt x="111" y="50"/>
                    </a:lnTo>
                    <a:lnTo>
                      <a:pt x="111" y="50"/>
                    </a:lnTo>
                    <a:lnTo>
                      <a:pt x="114" y="37"/>
                    </a:lnTo>
                    <a:lnTo>
                      <a:pt x="110" y="36"/>
                    </a:lnTo>
                    <a:lnTo>
                      <a:pt x="110" y="36"/>
                    </a:lnTo>
                    <a:lnTo>
                      <a:pt x="105" y="36"/>
                    </a:lnTo>
                    <a:lnTo>
                      <a:pt x="99" y="38"/>
                    </a:lnTo>
                    <a:lnTo>
                      <a:pt x="95" y="42"/>
                    </a:lnTo>
                    <a:lnTo>
                      <a:pt x="92" y="47"/>
                    </a:lnTo>
                    <a:lnTo>
                      <a:pt x="92" y="48"/>
                    </a:lnTo>
                    <a:lnTo>
                      <a:pt x="92" y="48"/>
                    </a:lnTo>
                    <a:lnTo>
                      <a:pt x="92" y="47"/>
                    </a:lnTo>
                    <a:lnTo>
                      <a:pt x="92" y="47"/>
                    </a:lnTo>
                    <a:lnTo>
                      <a:pt x="92" y="47"/>
                    </a:lnTo>
                    <a:close/>
                    <a:moveTo>
                      <a:pt x="92" y="48"/>
                    </a:moveTo>
                    <a:lnTo>
                      <a:pt x="92" y="48"/>
                    </a:lnTo>
                    <a:lnTo>
                      <a:pt x="92" y="48"/>
                    </a:lnTo>
                    <a:lnTo>
                      <a:pt x="92" y="48"/>
                    </a:lnTo>
                    <a:lnTo>
                      <a:pt x="92" y="50"/>
                    </a:lnTo>
                    <a:lnTo>
                      <a:pt x="92" y="50"/>
                    </a:lnTo>
                    <a:lnTo>
                      <a:pt x="92" y="50"/>
                    </a:lnTo>
                    <a:lnTo>
                      <a:pt x="92" y="48"/>
                    </a:lnTo>
                    <a:lnTo>
                      <a:pt x="92" y="48"/>
                    </a:lnTo>
                    <a:lnTo>
                      <a:pt x="92" y="48"/>
                    </a:lnTo>
                    <a:close/>
                    <a:moveTo>
                      <a:pt x="103" y="48"/>
                    </a:moveTo>
                    <a:lnTo>
                      <a:pt x="103" y="48"/>
                    </a:lnTo>
                    <a:lnTo>
                      <a:pt x="102" y="48"/>
                    </a:lnTo>
                    <a:lnTo>
                      <a:pt x="101" y="50"/>
                    </a:lnTo>
                    <a:lnTo>
                      <a:pt x="110" y="51"/>
                    </a:lnTo>
                    <a:lnTo>
                      <a:pt x="110" y="51"/>
                    </a:lnTo>
                    <a:lnTo>
                      <a:pt x="110" y="50"/>
                    </a:lnTo>
                    <a:lnTo>
                      <a:pt x="110" y="50"/>
                    </a:lnTo>
                    <a:lnTo>
                      <a:pt x="110" y="50"/>
                    </a:lnTo>
                    <a:lnTo>
                      <a:pt x="103" y="48"/>
                    </a:lnTo>
                    <a:lnTo>
                      <a:pt x="103" y="48"/>
                    </a:lnTo>
                    <a:lnTo>
                      <a:pt x="103" y="48"/>
                    </a:lnTo>
                    <a:close/>
                    <a:moveTo>
                      <a:pt x="101" y="50"/>
                    </a:moveTo>
                    <a:lnTo>
                      <a:pt x="101" y="50"/>
                    </a:lnTo>
                    <a:lnTo>
                      <a:pt x="102" y="51"/>
                    </a:lnTo>
                    <a:lnTo>
                      <a:pt x="103" y="53"/>
                    </a:lnTo>
                    <a:lnTo>
                      <a:pt x="109" y="53"/>
                    </a:lnTo>
                    <a:lnTo>
                      <a:pt x="109" y="53"/>
                    </a:lnTo>
                    <a:lnTo>
                      <a:pt x="110" y="53"/>
                    </a:lnTo>
                    <a:lnTo>
                      <a:pt x="110" y="53"/>
                    </a:lnTo>
                    <a:lnTo>
                      <a:pt x="110" y="53"/>
                    </a:lnTo>
                    <a:lnTo>
                      <a:pt x="101" y="50"/>
                    </a:lnTo>
                    <a:lnTo>
                      <a:pt x="101" y="50"/>
                    </a:lnTo>
                    <a:lnTo>
                      <a:pt x="101" y="50"/>
                    </a:lnTo>
                    <a:close/>
                    <a:moveTo>
                      <a:pt x="111" y="53"/>
                    </a:moveTo>
                    <a:lnTo>
                      <a:pt x="111" y="53"/>
                    </a:lnTo>
                    <a:lnTo>
                      <a:pt x="111" y="53"/>
                    </a:lnTo>
                    <a:lnTo>
                      <a:pt x="111" y="53"/>
                    </a:lnTo>
                    <a:lnTo>
                      <a:pt x="111" y="53"/>
                    </a:lnTo>
                    <a:lnTo>
                      <a:pt x="111" y="53"/>
                    </a:lnTo>
                    <a:lnTo>
                      <a:pt x="111" y="53"/>
                    </a:lnTo>
                    <a:lnTo>
                      <a:pt x="111" y="53"/>
                    </a:lnTo>
                    <a:close/>
                    <a:moveTo>
                      <a:pt x="111" y="51"/>
                    </a:moveTo>
                    <a:lnTo>
                      <a:pt x="111" y="51"/>
                    </a:lnTo>
                    <a:lnTo>
                      <a:pt x="111" y="51"/>
                    </a:lnTo>
                    <a:lnTo>
                      <a:pt x="111" y="51"/>
                    </a:lnTo>
                    <a:lnTo>
                      <a:pt x="111" y="51"/>
                    </a:lnTo>
                    <a:lnTo>
                      <a:pt x="111" y="51"/>
                    </a:lnTo>
                    <a:lnTo>
                      <a:pt x="111" y="51"/>
                    </a:lnTo>
                    <a:lnTo>
                      <a:pt x="111" y="51"/>
                    </a:lnTo>
                    <a:close/>
                    <a:moveTo>
                      <a:pt x="111" y="51"/>
                    </a:moveTo>
                    <a:lnTo>
                      <a:pt x="111" y="51"/>
                    </a:lnTo>
                    <a:lnTo>
                      <a:pt x="111" y="51"/>
                    </a:lnTo>
                    <a:lnTo>
                      <a:pt x="111" y="51"/>
                    </a:lnTo>
                    <a:lnTo>
                      <a:pt x="110" y="50"/>
                    </a:lnTo>
                    <a:lnTo>
                      <a:pt x="110" y="50"/>
                    </a:lnTo>
                    <a:lnTo>
                      <a:pt x="110" y="51"/>
                    </a:lnTo>
                    <a:lnTo>
                      <a:pt x="111" y="51"/>
                    </a:lnTo>
                    <a:lnTo>
                      <a:pt x="111" y="51"/>
                    </a:lnTo>
                    <a:lnTo>
                      <a:pt x="111" y="51"/>
                    </a:lnTo>
                    <a:close/>
                    <a:moveTo>
                      <a:pt x="110" y="53"/>
                    </a:moveTo>
                    <a:lnTo>
                      <a:pt x="110" y="53"/>
                    </a:lnTo>
                    <a:lnTo>
                      <a:pt x="110" y="53"/>
                    </a:lnTo>
                    <a:lnTo>
                      <a:pt x="110" y="53"/>
                    </a:lnTo>
                    <a:lnTo>
                      <a:pt x="111" y="53"/>
                    </a:lnTo>
                    <a:lnTo>
                      <a:pt x="111" y="53"/>
                    </a:lnTo>
                    <a:lnTo>
                      <a:pt x="111" y="53"/>
                    </a:lnTo>
                    <a:lnTo>
                      <a:pt x="110" y="53"/>
                    </a:lnTo>
                    <a:lnTo>
                      <a:pt x="110" y="53"/>
                    </a:lnTo>
                    <a:lnTo>
                      <a:pt x="110" y="53"/>
                    </a:lnTo>
                    <a:close/>
                    <a:moveTo>
                      <a:pt x="110" y="51"/>
                    </a:moveTo>
                    <a:lnTo>
                      <a:pt x="110" y="51"/>
                    </a:lnTo>
                    <a:lnTo>
                      <a:pt x="110" y="51"/>
                    </a:lnTo>
                    <a:lnTo>
                      <a:pt x="101" y="50"/>
                    </a:lnTo>
                    <a:lnTo>
                      <a:pt x="101" y="50"/>
                    </a:lnTo>
                    <a:lnTo>
                      <a:pt x="101" y="50"/>
                    </a:lnTo>
                    <a:lnTo>
                      <a:pt x="101" y="50"/>
                    </a:lnTo>
                    <a:lnTo>
                      <a:pt x="101" y="50"/>
                    </a:lnTo>
                    <a:lnTo>
                      <a:pt x="110" y="53"/>
                    </a:lnTo>
                    <a:lnTo>
                      <a:pt x="110" y="53"/>
                    </a:lnTo>
                    <a:lnTo>
                      <a:pt x="110" y="51"/>
                    </a:lnTo>
                    <a:lnTo>
                      <a:pt x="110" y="51"/>
                    </a:lnTo>
                    <a:lnTo>
                      <a:pt x="110" y="51"/>
                    </a:lnTo>
                    <a:close/>
                    <a:moveTo>
                      <a:pt x="111" y="53"/>
                    </a:moveTo>
                    <a:lnTo>
                      <a:pt x="111" y="53"/>
                    </a:lnTo>
                    <a:lnTo>
                      <a:pt x="111" y="53"/>
                    </a:lnTo>
                    <a:lnTo>
                      <a:pt x="111" y="53"/>
                    </a:lnTo>
                    <a:lnTo>
                      <a:pt x="111" y="53"/>
                    </a:lnTo>
                    <a:lnTo>
                      <a:pt x="111" y="53"/>
                    </a:lnTo>
                    <a:lnTo>
                      <a:pt x="111" y="53"/>
                    </a:lnTo>
                    <a:lnTo>
                      <a:pt x="111" y="51"/>
                    </a:lnTo>
                    <a:lnTo>
                      <a:pt x="111" y="51"/>
                    </a:lnTo>
                    <a:lnTo>
                      <a:pt x="111" y="51"/>
                    </a:lnTo>
                    <a:lnTo>
                      <a:pt x="111" y="53"/>
                    </a:lnTo>
                    <a:lnTo>
                      <a:pt x="111" y="53"/>
                    </a:lnTo>
                    <a:lnTo>
                      <a:pt x="111" y="53"/>
                    </a:lnTo>
                    <a:close/>
                    <a:moveTo>
                      <a:pt x="110" y="53"/>
                    </a:moveTo>
                    <a:lnTo>
                      <a:pt x="111" y="53"/>
                    </a:lnTo>
                    <a:lnTo>
                      <a:pt x="111" y="53"/>
                    </a:lnTo>
                    <a:lnTo>
                      <a:pt x="111" y="53"/>
                    </a:lnTo>
                    <a:lnTo>
                      <a:pt x="111" y="53"/>
                    </a:lnTo>
                    <a:lnTo>
                      <a:pt x="111" y="51"/>
                    </a:lnTo>
                    <a:lnTo>
                      <a:pt x="110" y="51"/>
                    </a:lnTo>
                    <a:lnTo>
                      <a:pt x="110" y="51"/>
                    </a:lnTo>
                    <a:lnTo>
                      <a:pt x="110" y="51"/>
                    </a:lnTo>
                    <a:lnTo>
                      <a:pt x="110" y="51"/>
                    </a:lnTo>
                    <a:lnTo>
                      <a:pt x="110" y="53"/>
                    </a:lnTo>
                    <a:lnTo>
                      <a:pt x="110" y="53"/>
                    </a:lnTo>
                    <a:lnTo>
                      <a:pt x="110" y="53"/>
                    </a:lnTo>
                    <a:close/>
                    <a:moveTo>
                      <a:pt x="80" y="91"/>
                    </a:moveTo>
                    <a:lnTo>
                      <a:pt x="80" y="91"/>
                    </a:lnTo>
                    <a:lnTo>
                      <a:pt x="82" y="97"/>
                    </a:lnTo>
                    <a:lnTo>
                      <a:pt x="80" y="103"/>
                    </a:lnTo>
                    <a:lnTo>
                      <a:pt x="76" y="108"/>
                    </a:lnTo>
                    <a:lnTo>
                      <a:pt x="71" y="111"/>
                    </a:lnTo>
                    <a:lnTo>
                      <a:pt x="71" y="111"/>
                    </a:lnTo>
                    <a:lnTo>
                      <a:pt x="65" y="112"/>
                    </a:lnTo>
                    <a:lnTo>
                      <a:pt x="59" y="110"/>
                    </a:lnTo>
                    <a:lnTo>
                      <a:pt x="55" y="106"/>
                    </a:lnTo>
                    <a:lnTo>
                      <a:pt x="51" y="102"/>
                    </a:lnTo>
                    <a:lnTo>
                      <a:pt x="51" y="102"/>
                    </a:lnTo>
                    <a:lnTo>
                      <a:pt x="51" y="102"/>
                    </a:lnTo>
                    <a:lnTo>
                      <a:pt x="50" y="102"/>
                    </a:lnTo>
                    <a:lnTo>
                      <a:pt x="50" y="102"/>
                    </a:lnTo>
                    <a:lnTo>
                      <a:pt x="54" y="108"/>
                    </a:lnTo>
                    <a:lnTo>
                      <a:pt x="59" y="112"/>
                    </a:lnTo>
                    <a:lnTo>
                      <a:pt x="65" y="114"/>
                    </a:lnTo>
                    <a:lnTo>
                      <a:pt x="73" y="112"/>
                    </a:lnTo>
                    <a:lnTo>
                      <a:pt x="73" y="112"/>
                    </a:lnTo>
                    <a:lnTo>
                      <a:pt x="74" y="111"/>
                    </a:lnTo>
                    <a:lnTo>
                      <a:pt x="74" y="111"/>
                    </a:lnTo>
                    <a:lnTo>
                      <a:pt x="80" y="108"/>
                    </a:lnTo>
                    <a:lnTo>
                      <a:pt x="82" y="103"/>
                    </a:lnTo>
                    <a:lnTo>
                      <a:pt x="83" y="99"/>
                    </a:lnTo>
                    <a:lnTo>
                      <a:pt x="83" y="93"/>
                    </a:lnTo>
                    <a:lnTo>
                      <a:pt x="83" y="93"/>
                    </a:lnTo>
                    <a:lnTo>
                      <a:pt x="80" y="91"/>
                    </a:lnTo>
                    <a:lnTo>
                      <a:pt x="80" y="91"/>
                    </a:lnTo>
                    <a:lnTo>
                      <a:pt x="80" y="91"/>
                    </a:lnTo>
                    <a:lnTo>
                      <a:pt x="80" y="91"/>
                    </a:lnTo>
                    <a:close/>
                    <a:moveTo>
                      <a:pt x="41" y="84"/>
                    </a:moveTo>
                    <a:lnTo>
                      <a:pt x="41" y="84"/>
                    </a:lnTo>
                    <a:lnTo>
                      <a:pt x="43" y="82"/>
                    </a:lnTo>
                    <a:lnTo>
                      <a:pt x="44" y="80"/>
                    </a:lnTo>
                    <a:lnTo>
                      <a:pt x="44" y="80"/>
                    </a:lnTo>
                    <a:lnTo>
                      <a:pt x="46" y="80"/>
                    </a:lnTo>
                    <a:lnTo>
                      <a:pt x="49" y="83"/>
                    </a:lnTo>
                    <a:lnTo>
                      <a:pt x="49" y="83"/>
                    </a:lnTo>
                    <a:lnTo>
                      <a:pt x="49" y="83"/>
                    </a:lnTo>
                    <a:lnTo>
                      <a:pt x="59" y="78"/>
                    </a:lnTo>
                    <a:lnTo>
                      <a:pt x="55" y="63"/>
                    </a:lnTo>
                    <a:lnTo>
                      <a:pt x="55" y="63"/>
                    </a:lnTo>
                    <a:lnTo>
                      <a:pt x="53" y="59"/>
                    </a:lnTo>
                    <a:lnTo>
                      <a:pt x="49" y="55"/>
                    </a:lnTo>
                    <a:lnTo>
                      <a:pt x="43" y="53"/>
                    </a:lnTo>
                    <a:lnTo>
                      <a:pt x="37" y="53"/>
                    </a:lnTo>
                    <a:lnTo>
                      <a:pt x="36" y="55"/>
                    </a:lnTo>
                    <a:lnTo>
                      <a:pt x="36" y="55"/>
                    </a:lnTo>
                    <a:lnTo>
                      <a:pt x="30" y="57"/>
                    </a:lnTo>
                    <a:lnTo>
                      <a:pt x="26" y="62"/>
                    </a:lnTo>
                    <a:lnTo>
                      <a:pt x="25" y="67"/>
                    </a:lnTo>
                    <a:lnTo>
                      <a:pt x="26" y="72"/>
                    </a:lnTo>
                    <a:lnTo>
                      <a:pt x="30" y="87"/>
                    </a:lnTo>
                    <a:lnTo>
                      <a:pt x="30" y="87"/>
                    </a:lnTo>
                    <a:lnTo>
                      <a:pt x="41" y="84"/>
                    </a:lnTo>
                    <a:lnTo>
                      <a:pt x="41" y="84"/>
                    </a:lnTo>
                    <a:lnTo>
                      <a:pt x="41" y="84"/>
                    </a:lnTo>
                    <a:lnTo>
                      <a:pt x="41" y="84"/>
                    </a:lnTo>
                    <a:close/>
                    <a:moveTo>
                      <a:pt x="45" y="95"/>
                    </a:moveTo>
                    <a:lnTo>
                      <a:pt x="43" y="86"/>
                    </a:lnTo>
                    <a:lnTo>
                      <a:pt x="43" y="86"/>
                    </a:lnTo>
                    <a:lnTo>
                      <a:pt x="31" y="89"/>
                    </a:lnTo>
                    <a:lnTo>
                      <a:pt x="32" y="92"/>
                    </a:lnTo>
                    <a:lnTo>
                      <a:pt x="32" y="92"/>
                    </a:lnTo>
                    <a:lnTo>
                      <a:pt x="35" y="99"/>
                    </a:lnTo>
                    <a:lnTo>
                      <a:pt x="39" y="101"/>
                    </a:lnTo>
                    <a:lnTo>
                      <a:pt x="44" y="103"/>
                    </a:lnTo>
                    <a:lnTo>
                      <a:pt x="50" y="102"/>
                    </a:lnTo>
                    <a:lnTo>
                      <a:pt x="50" y="102"/>
                    </a:lnTo>
                    <a:lnTo>
                      <a:pt x="49" y="97"/>
                    </a:lnTo>
                    <a:lnTo>
                      <a:pt x="49" y="97"/>
                    </a:lnTo>
                    <a:lnTo>
                      <a:pt x="46" y="96"/>
                    </a:lnTo>
                    <a:lnTo>
                      <a:pt x="45" y="95"/>
                    </a:lnTo>
                    <a:lnTo>
                      <a:pt x="45" y="95"/>
                    </a:lnTo>
                    <a:lnTo>
                      <a:pt x="45" y="95"/>
                    </a:lnTo>
                    <a:close/>
                    <a:moveTo>
                      <a:pt x="51" y="92"/>
                    </a:moveTo>
                    <a:lnTo>
                      <a:pt x="51" y="92"/>
                    </a:lnTo>
                    <a:lnTo>
                      <a:pt x="51" y="95"/>
                    </a:lnTo>
                    <a:lnTo>
                      <a:pt x="50" y="97"/>
                    </a:lnTo>
                    <a:lnTo>
                      <a:pt x="51" y="102"/>
                    </a:lnTo>
                    <a:lnTo>
                      <a:pt x="51" y="102"/>
                    </a:lnTo>
                    <a:lnTo>
                      <a:pt x="51" y="102"/>
                    </a:lnTo>
                    <a:lnTo>
                      <a:pt x="51" y="102"/>
                    </a:lnTo>
                    <a:lnTo>
                      <a:pt x="53" y="102"/>
                    </a:lnTo>
                    <a:lnTo>
                      <a:pt x="53" y="102"/>
                    </a:lnTo>
                    <a:lnTo>
                      <a:pt x="57" y="99"/>
                    </a:lnTo>
                    <a:lnTo>
                      <a:pt x="61" y="95"/>
                    </a:lnTo>
                    <a:lnTo>
                      <a:pt x="62" y="90"/>
                    </a:lnTo>
                    <a:lnTo>
                      <a:pt x="62" y="84"/>
                    </a:lnTo>
                    <a:lnTo>
                      <a:pt x="61" y="80"/>
                    </a:lnTo>
                    <a:lnTo>
                      <a:pt x="61" y="80"/>
                    </a:lnTo>
                    <a:lnTo>
                      <a:pt x="49" y="84"/>
                    </a:lnTo>
                    <a:lnTo>
                      <a:pt x="51" y="92"/>
                    </a:lnTo>
                    <a:lnTo>
                      <a:pt x="51" y="92"/>
                    </a:lnTo>
                    <a:lnTo>
                      <a:pt x="51" y="92"/>
                    </a:lnTo>
                    <a:close/>
                    <a:moveTo>
                      <a:pt x="51" y="102"/>
                    </a:moveTo>
                    <a:lnTo>
                      <a:pt x="51" y="102"/>
                    </a:lnTo>
                    <a:lnTo>
                      <a:pt x="51" y="102"/>
                    </a:lnTo>
                    <a:lnTo>
                      <a:pt x="51" y="102"/>
                    </a:lnTo>
                    <a:lnTo>
                      <a:pt x="51" y="102"/>
                    </a:lnTo>
                    <a:lnTo>
                      <a:pt x="51" y="102"/>
                    </a:lnTo>
                    <a:lnTo>
                      <a:pt x="51" y="102"/>
                    </a:lnTo>
                    <a:lnTo>
                      <a:pt x="51" y="102"/>
                    </a:lnTo>
                    <a:close/>
                    <a:moveTo>
                      <a:pt x="45" y="83"/>
                    </a:moveTo>
                    <a:lnTo>
                      <a:pt x="45" y="83"/>
                    </a:lnTo>
                    <a:lnTo>
                      <a:pt x="45" y="83"/>
                    </a:lnTo>
                    <a:lnTo>
                      <a:pt x="45" y="83"/>
                    </a:lnTo>
                    <a:lnTo>
                      <a:pt x="45" y="83"/>
                    </a:lnTo>
                    <a:lnTo>
                      <a:pt x="45" y="83"/>
                    </a:lnTo>
                    <a:lnTo>
                      <a:pt x="45" y="83"/>
                    </a:lnTo>
                    <a:close/>
                    <a:moveTo>
                      <a:pt x="45" y="84"/>
                    </a:moveTo>
                    <a:lnTo>
                      <a:pt x="45" y="84"/>
                    </a:lnTo>
                    <a:lnTo>
                      <a:pt x="44" y="84"/>
                    </a:lnTo>
                    <a:lnTo>
                      <a:pt x="44" y="84"/>
                    </a:lnTo>
                    <a:lnTo>
                      <a:pt x="45" y="84"/>
                    </a:lnTo>
                    <a:lnTo>
                      <a:pt x="45" y="84"/>
                    </a:lnTo>
                    <a:lnTo>
                      <a:pt x="45" y="84"/>
                    </a:lnTo>
                    <a:lnTo>
                      <a:pt x="45" y="84"/>
                    </a:lnTo>
                    <a:close/>
                    <a:moveTo>
                      <a:pt x="46" y="83"/>
                    </a:moveTo>
                    <a:lnTo>
                      <a:pt x="46" y="83"/>
                    </a:lnTo>
                    <a:lnTo>
                      <a:pt x="45" y="83"/>
                    </a:lnTo>
                    <a:lnTo>
                      <a:pt x="46" y="84"/>
                    </a:lnTo>
                    <a:lnTo>
                      <a:pt x="46" y="84"/>
                    </a:lnTo>
                    <a:lnTo>
                      <a:pt x="46" y="83"/>
                    </a:lnTo>
                    <a:lnTo>
                      <a:pt x="46" y="83"/>
                    </a:lnTo>
                    <a:lnTo>
                      <a:pt x="46" y="83"/>
                    </a:lnTo>
                    <a:close/>
                    <a:moveTo>
                      <a:pt x="44" y="86"/>
                    </a:moveTo>
                    <a:lnTo>
                      <a:pt x="44" y="86"/>
                    </a:lnTo>
                    <a:lnTo>
                      <a:pt x="44" y="86"/>
                    </a:lnTo>
                    <a:lnTo>
                      <a:pt x="45" y="92"/>
                    </a:lnTo>
                    <a:lnTo>
                      <a:pt x="45" y="92"/>
                    </a:lnTo>
                    <a:lnTo>
                      <a:pt x="46" y="93"/>
                    </a:lnTo>
                    <a:lnTo>
                      <a:pt x="48" y="93"/>
                    </a:lnTo>
                    <a:lnTo>
                      <a:pt x="45" y="86"/>
                    </a:lnTo>
                    <a:lnTo>
                      <a:pt x="45" y="86"/>
                    </a:lnTo>
                    <a:lnTo>
                      <a:pt x="44" y="86"/>
                    </a:lnTo>
                    <a:lnTo>
                      <a:pt x="44" y="86"/>
                    </a:lnTo>
                    <a:lnTo>
                      <a:pt x="44" y="86"/>
                    </a:lnTo>
                    <a:close/>
                    <a:moveTo>
                      <a:pt x="49" y="93"/>
                    </a:moveTo>
                    <a:lnTo>
                      <a:pt x="49" y="93"/>
                    </a:lnTo>
                    <a:lnTo>
                      <a:pt x="50" y="92"/>
                    </a:lnTo>
                    <a:lnTo>
                      <a:pt x="50" y="91"/>
                    </a:lnTo>
                    <a:lnTo>
                      <a:pt x="48" y="86"/>
                    </a:lnTo>
                    <a:lnTo>
                      <a:pt x="48" y="86"/>
                    </a:lnTo>
                    <a:lnTo>
                      <a:pt x="48" y="84"/>
                    </a:lnTo>
                    <a:lnTo>
                      <a:pt x="48" y="84"/>
                    </a:lnTo>
                    <a:lnTo>
                      <a:pt x="46" y="86"/>
                    </a:lnTo>
                    <a:lnTo>
                      <a:pt x="49" y="93"/>
                    </a:lnTo>
                    <a:lnTo>
                      <a:pt x="49" y="93"/>
                    </a:lnTo>
                    <a:lnTo>
                      <a:pt x="49" y="93"/>
                    </a:lnTo>
                    <a:close/>
                    <a:moveTo>
                      <a:pt x="45" y="84"/>
                    </a:moveTo>
                    <a:lnTo>
                      <a:pt x="45" y="84"/>
                    </a:lnTo>
                    <a:lnTo>
                      <a:pt x="44" y="84"/>
                    </a:lnTo>
                    <a:lnTo>
                      <a:pt x="44" y="84"/>
                    </a:lnTo>
                    <a:lnTo>
                      <a:pt x="44" y="86"/>
                    </a:lnTo>
                    <a:lnTo>
                      <a:pt x="44" y="86"/>
                    </a:lnTo>
                    <a:lnTo>
                      <a:pt x="45" y="86"/>
                    </a:lnTo>
                    <a:lnTo>
                      <a:pt x="45" y="84"/>
                    </a:lnTo>
                    <a:lnTo>
                      <a:pt x="45" y="84"/>
                    </a:lnTo>
                    <a:lnTo>
                      <a:pt x="45" y="84"/>
                    </a:lnTo>
                    <a:close/>
                    <a:moveTo>
                      <a:pt x="46" y="84"/>
                    </a:moveTo>
                    <a:lnTo>
                      <a:pt x="46" y="86"/>
                    </a:lnTo>
                    <a:lnTo>
                      <a:pt x="46" y="86"/>
                    </a:lnTo>
                    <a:lnTo>
                      <a:pt x="48" y="84"/>
                    </a:lnTo>
                    <a:lnTo>
                      <a:pt x="48" y="84"/>
                    </a:lnTo>
                    <a:lnTo>
                      <a:pt x="46" y="83"/>
                    </a:lnTo>
                    <a:lnTo>
                      <a:pt x="46" y="83"/>
                    </a:lnTo>
                    <a:lnTo>
                      <a:pt x="46" y="84"/>
                    </a:lnTo>
                    <a:lnTo>
                      <a:pt x="46" y="84"/>
                    </a:lnTo>
                    <a:lnTo>
                      <a:pt x="46" y="84"/>
                    </a:lnTo>
                    <a:close/>
                    <a:moveTo>
                      <a:pt x="45" y="84"/>
                    </a:moveTo>
                    <a:lnTo>
                      <a:pt x="45" y="84"/>
                    </a:lnTo>
                    <a:lnTo>
                      <a:pt x="46" y="84"/>
                    </a:lnTo>
                    <a:lnTo>
                      <a:pt x="45" y="83"/>
                    </a:lnTo>
                    <a:lnTo>
                      <a:pt x="45" y="83"/>
                    </a:lnTo>
                    <a:lnTo>
                      <a:pt x="45" y="83"/>
                    </a:lnTo>
                    <a:lnTo>
                      <a:pt x="45" y="83"/>
                    </a:lnTo>
                    <a:lnTo>
                      <a:pt x="45" y="83"/>
                    </a:lnTo>
                    <a:lnTo>
                      <a:pt x="45" y="84"/>
                    </a:lnTo>
                    <a:lnTo>
                      <a:pt x="45" y="84"/>
                    </a:lnTo>
                    <a:lnTo>
                      <a:pt x="45" y="84"/>
                    </a:lnTo>
                    <a:lnTo>
                      <a:pt x="45" y="84"/>
                    </a:lnTo>
                    <a:lnTo>
                      <a:pt x="45" y="84"/>
                    </a:lnTo>
                    <a:lnTo>
                      <a:pt x="45" y="84"/>
                    </a:lnTo>
                    <a:close/>
                    <a:moveTo>
                      <a:pt x="45" y="86"/>
                    </a:moveTo>
                    <a:lnTo>
                      <a:pt x="45" y="86"/>
                    </a:lnTo>
                    <a:lnTo>
                      <a:pt x="45" y="86"/>
                    </a:lnTo>
                    <a:lnTo>
                      <a:pt x="48" y="93"/>
                    </a:lnTo>
                    <a:lnTo>
                      <a:pt x="48" y="93"/>
                    </a:lnTo>
                    <a:lnTo>
                      <a:pt x="49" y="93"/>
                    </a:lnTo>
                    <a:lnTo>
                      <a:pt x="49" y="93"/>
                    </a:lnTo>
                    <a:lnTo>
                      <a:pt x="49" y="93"/>
                    </a:lnTo>
                    <a:lnTo>
                      <a:pt x="46" y="86"/>
                    </a:lnTo>
                    <a:lnTo>
                      <a:pt x="46" y="86"/>
                    </a:lnTo>
                    <a:lnTo>
                      <a:pt x="45" y="86"/>
                    </a:lnTo>
                    <a:lnTo>
                      <a:pt x="45" y="86"/>
                    </a:lnTo>
                    <a:lnTo>
                      <a:pt x="45" y="86"/>
                    </a:lnTo>
                    <a:close/>
                    <a:moveTo>
                      <a:pt x="45" y="84"/>
                    </a:moveTo>
                    <a:lnTo>
                      <a:pt x="45" y="86"/>
                    </a:lnTo>
                    <a:lnTo>
                      <a:pt x="45" y="86"/>
                    </a:lnTo>
                    <a:lnTo>
                      <a:pt x="45" y="86"/>
                    </a:lnTo>
                    <a:lnTo>
                      <a:pt x="45" y="86"/>
                    </a:lnTo>
                    <a:lnTo>
                      <a:pt x="46" y="86"/>
                    </a:lnTo>
                    <a:lnTo>
                      <a:pt x="46" y="84"/>
                    </a:lnTo>
                    <a:lnTo>
                      <a:pt x="46" y="84"/>
                    </a:lnTo>
                    <a:lnTo>
                      <a:pt x="45" y="84"/>
                    </a:lnTo>
                    <a:lnTo>
                      <a:pt x="45" y="84"/>
                    </a:lnTo>
                    <a:lnTo>
                      <a:pt x="45" y="84"/>
                    </a:lnTo>
                    <a:lnTo>
                      <a:pt x="45" y="84"/>
                    </a:lnTo>
                    <a:lnTo>
                      <a:pt x="45" y="84"/>
                    </a:lnTo>
                    <a:close/>
                    <a:moveTo>
                      <a:pt x="95" y="90"/>
                    </a:moveTo>
                    <a:lnTo>
                      <a:pt x="95" y="90"/>
                    </a:lnTo>
                    <a:lnTo>
                      <a:pt x="99" y="86"/>
                    </a:lnTo>
                    <a:lnTo>
                      <a:pt x="105" y="86"/>
                    </a:lnTo>
                    <a:lnTo>
                      <a:pt x="111" y="86"/>
                    </a:lnTo>
                    <a:lnTo>
                      <a:pt x="117" y="89"/>
                    </a:lnTo>
                    <a:lnTo>
                      <a:pt x="117" y="89"/>
                    </a:lnTo>
                    <a:lnTo>
                      <a:pt x="120" y="93"/>
                    </a:lnTo>
                    <a:lnTo>
                      <a:pt x="122" y="99"/>
                    </a:lnTo>
                    <a:lnTo>
                      <a:pt x="122" y="105"/>
                    </a:lnTo>
                    <a:lnTo>
                      <a:pt x="118" y="110"/>
                    </a:lnTo>
                    <a:lnTo>
                      <a:pt x="118" y="110"/>
                    </a:lnTo>
                    <a:lnTo>
                      <a:pt x="118" y="110"/>
                    </a:lnTo>
                    <a:lnTo>
                      <a:pt x="118" y="111"/>
                    </a:lnTo>
                    <a:lnTo>
                      <a:pt x="120" y="111"/>
                    </a:lnTo>
                    <a:lnTo>
                      <a:pt x="120" y="111"/>
                    </a:lnTo>
                    <a:lnTo>
                      <a:pt x="123" y="105"/>
                    </a:lnTo>
                    <a:lnTo>
                      <a:pt x="123" y="99"/>
                    </a:lnTo>
                    <a:lnTo>
                      <a:pt x="122" y="92"/>
                    </a:lnTo>
                    <a:lnTo>
                      <a:pt x="117" y="87"/>
                    </a:lnTo>
                    <a:lnTo>
                      <a:pt x="117" y="87"/>
                    </a:lnTo>
                    <a:lnTo>
                      <a:pt x="112" y="84"/>
                    </a:lnTo>
                    <a:lnTo>
                      <a:pt x="107" y="83"/>
                    </a:lnTo>
                    <a:lnTo>
                      <a:pt x="101" y="84"/>
                    </a:lnTo>
                    <a:lnTo>
                      <a:pt x="95" y="87"/>
                    </a:lnTo>
                    <a:lnTo>
                      <a:pt x="95" y="87"/>
                    </a:lnTo>
                    <a:lnTo>
                      <a:pt x="95" y="90"/>
                    </a:lnTo>
                    <a:lnTo>
                      <a:pt x="95" y="90"/>
                    </a:lnTo>
                    <a:lnTo>
                      <a:pt x="95" y="90"/>
                    </a:lnTo>
                    <a:close/>
                    <a:moveTo>
                      <a:pt x="116" y="115"/>
                    </a:moveTo>
                    <a:lnTo>
                      <a:pt x="116" y="115"/>
                    </a:lnTo>
                    <a:lnTo>
                      <a:pt x="116" y="117"/>
                    </a:lnTo>
                    <a:lnTo>
                      <a:pt x="114" y="120"/>
                    </a:lnTo>
                    <a:lnTo>
                      <a:pt x="109" y="126"/>
                    </a:lnTo>
                    <a:lnTo>
                      <a:pt x="109" y="126"/>
                    </a:lnTo>
                    <a:lnTo>
                      <a:pt x="117" y="135"/>
                    </a:lnTo>
                    <a:lnTo>
                      <a:pt x="120" y="131"/>
                    </a:lnTo>
                    <a:lnTo>
                      <a:pt x="120" y="131"/>
                    </a:lnTo>
                    <a:lnTo>
                      <a:pt x="123" y="126"/>
                    </a:lnTo>
                    <a:lnTo>
                      <a:pt x="124" y="122"/>
                    </a:lnTo>
                    <a:lnTo>
                      <a:pt x="123" y="116"/>
                    </a:lnTo>
                    <a:lnTo>
                      <a:pt x="120" y="111"/>
                    </a:lnTo>
                    <a:lnTo>
                      <a:pt x="120" y="111"/>
                    </a:lnTo>
                    <a:lnTo>
                      <a:pt x="120" y="111"/>
                    </a:lnTo>
                    <a:lnTo>
                      <a:pt x="116" y="115"/>
                    </a:lnTo>
                    <a:lnTo>
                      <a:pt x="116" y="115"/>
                    </a:lnTo>
                    <a:lnTo>
                      <a:pt x="116" y="115"/>
                    </a:lnTo>
                    <a:close/>
                    <a:moveTo>
                      <a:pt x="108" y="126"/>
                    </a:moveTo>
                    <a:lnTo>
                      <a:pt x="108" y="126"/>
                    </a:lnTo>
                    <a:lnTo>
                      <a:pt x="105" y="127"/>
                    </a:lnTo>
                    <a:lnTo>
                      <a:pt x="103" y="127"/>
                    </a:lnTo>
                    <a:lnTo>
                      <a:pt x="103" y="127"/>
                    </a:lnTo>
                    <a:lnTo>
                      <a:pt x="103" y="125"/>
                    </a:lnTo>
                    <a:lnTo>
                      <a:pt x="103" y="123"/>
                    </a:lnTo>
                    <a:lnTo>
                      <a:pt x="103" y="123"/>
                    </a:lnTo>
                    <a:lnTo>
                      <a:pt x="103" y="123"/>
                    </a:lnTo>
                    <a:lnTo>
                      <a:pt x="93" y="115"/>
                    </a:lnTo>
                    <a:lnTo>
                      <a:pt x="83" y="126"/>
                    </a:lnTo>
                    <a:lnTo>
                      <a:pt x="83" y="126"/>
                    </a:lnTo>
                    <a:lnTo>
                      <a:pt x="80" y="131"/>
                    </a:lnTo>
                    <a:lnTo>
                      <a:pt x="80" y="137"/>
                    </a:lnTo>
                    <a:lnTo>
                      <a:pt x="80" y="141"/>
                    </a:lnTo>
                    <a:lnTo>
                      <a:pt x="84" y="146"/>
                    </a:lnTo>
                    <a:lnTo>
                      <a:pt x="86" y="148"/>
                    </a:lnTo>
                    <a:lnTo>
                      <a:pt x="86" y="148"/>
                    </a:lnTo>
                    <a:lnTo>
                      <a:pt x="90" y="151"/>
                    </a:lnTo>
                    <a:lnTo>
                      <a:pt x="95" y="151"/>
                    </a:lnTo>
                    <a:lnTo>
                      <a:pt x="101" y="150"/>
                    </a:lnTo>
                    <a:lnTo>
                      <a:pt x="105" y="148"/>
                    </a:lnTo>
                    <a:lnTo>
                      <a:pt x="116" y="136"/>
                    </a:lnTo>
                    <a:lnTo>
                      <a:pt x="116" y="136"/>
                    </a:lnTo>
                    <a:lnTo>
                      <a:pt x="108" y="126"/>
                    </a:lnTo>
                    <a:lnTo>
                      <a:pt x="108" y="126"/>
                    </a:lnTo>
                    <a:lnTo>
                      <a:pt x="108" y="126"/>
                    </a:lnTo>
                    <a:lnTo>
                      <a:pt x="108" y="126"/>
                    </a:lnTo>
                    <a:close/>
                    <a:moveTo>
                      <a:pt x="110" y="115"/>
                    </a:moveTo>
                    <a:lnTo>
                      <a:pt x="110" y="115"/>
                    </a:lnTo>
                    <a:lnTo>
                      <a:pt x="112" y="114"/>
                    </a:lnTo>
                    <a:lnTo>
                      <a:pt x="114" y="115"/>
                    </a:lnTo>
                    <a:lnTo>
                      <a:pt x="118" y="110"/>
                    </a:lnTo>
                    <a:lnTo>
                      <a:pt x="118" y="110"/>
                    </a:lnTo>
                    <a:lnTo>
                      <a:pt x="118" y="110"/>
                    </a:lnTo>
                    <a:lnTo>
                      <a:pt x="118" y="110"/>
                    </a:lnTo>
                    <a:lnTo>
                      <a:pt x="118" y="110"/>
                    </a:lnTo>
                    <a:lnTo>
                      <a:pt x="118" y="110"/>
                    </a:lnTo>
                    <a:lnTo>
                      <a:pt x="114" y="108"/>
                    </a:lnTo>
                    <a:lnTo>
                      <a:pt x="108" y="106"/>
                    </a:lnTo>
                    <a:lnTo>
                      <a:pt x="103" y="108"/>
                    </a:lnTo>
                    <a:lnTo>
                      <a:pt x="98" y="111"/>
                    </a:lnTo>
                    <a:lnTo>
                      <a:pt x="95" y="114"/>
                    </a:lnTo>
                    <a:lnTo>
                      <a:pt x="95" y="114"/>
                    </a:lnTo>
                    <a:lnTo>
                      <a:pt x="105" y="122"/>
                    </a:lnTo>
                    <a:lnTo>
                      <a:pt x="110" y="115"/>
                    </a:lnTo>
                    <a:lnTo>
                      <a:pt x="110" y="115"/>
                    </a:lnTo>
                    <a:lnTo>
                      <a:pt x="110" y="115"/>
                    </a:lnTo>
                    <a:close/>
                    <a:moveTo>
                      <a:pt x="118" y="110"/>
                    </a:moveTo>
                    <a:lnTo>
                      <a:pt x="118" y="110"/>
                    </a:lnTo>
                    <a:lnTo>
                      <a:pt x="118" y="110"/>
                    </a:lnTo>
                    <a:lnTo>
                      <a:pt x="118" y="110"/>
                    </a:lnTo>
                    <a:lnTo>
                      <a:pt x="118" y="110"/>
                    </a:lnTo>
                    <a:lnTo>
                      <a:pt x="118" y="110"/>
                    </a:lnTo>
                    <a:lnTo>
                      <a:pt x="118" y="110"/>
                    </a:lnTo>
                    <a:lnTo>
                      <a:pt x="118" y="110"/>
                    </a:lnTo>
                    <a:close/>
                    <a:moveTo>
                      <a:pt x="105" y="124"/>
                    </a:moveTo>
                    <a:lnTo>
                      <a:pt x="105" y="124"/>
                    </a:lnTo>
                    <a:lnTo>
                      <a:pt x="105" y="124"/>
                    </a:lnTo>
                    <a:lnTo>
                      <a:pt x="105" y="124"/>
                    </a:lnTo>
                    <a:lnTo>
                      <a:pt x="105" y="124"/>
                    </a:lnTo>
                    <a:lnTo>
                      <a:pt x="105" y="124"/>
                    </a:lnTo>
                    <a:lnTo>
                      <a:pt x="105" y="124"/>
                    </a:lnTo>
                    <a:lnTo>
                      <a:pt x="105" y="124"/>
                    </a:lnTo>
                    <a:close/>
                    <a:moveTo>
                      <a:pt x="105" y="125"/>
                    </a:moveTo>
                    <a:lnTo>
                      <a:pt x="105" y="125"/>
                    </a:lnTo>
                    <a:lnTo>
                      <a:pt x="105" y="125"/>
                    </a:lnTo>
                    <a:lnTo>
                      <a:pt x="105" y="125"/>
                    </a:lnTo>
                    <a:lnTo>
                      <a:pt x="105" y="125"/>
                    </a:lnTo>
                    <a:lnTo>
                      <a:pt x="105" y="125"/>
                    </a:lnTo>
                    <a:lnTo>
                      <a:pt x="105" y="125"/>
                    </a:lnTo>
                    <a:lnTo>
                      <a:pt x="105" y="125"/>
                    </a:lnTo>
                    <a:close/>
                    <a:moveTo>
                      <a:pt x="107" y="125"/>
                    </a:moveTo>
                    <a:lnTo>
                      <a:pt x="107" y="125"/>
                    </a:lnTo>
                    <a:lnTo>
                      <a:pt x="107" y="125"/>
                    </a:lnTo>
                    <a:lnTo>
                      <a:pt x="107" y="125"/>
                    </a:lnTo>
                    <a:lnTo>
                      <a:pt x="107" y="125"/>
                    </a:lnTo>
                    <a:lnTo>
                      <a:pt x="107" y="125"/>
                    </a:lnTo>
                    <a:lnTo>
                      <a:pt x="107" y="125"/>
                    </a:lnTo>
                    <a:lnTo>
                      <a:pt x="107" y="125"/>
                    </a:lnTo>
                    <a:close/>
                    <a:moveTo>
                      <a:pt x="112" y="117"/>
                    </a:moveTo>
                    <a:lnTo>
                      <a:pt x="112" y="117"/>
                    </a:lnTo>
                    <a:lnTo>
                      <a:pt x="111" y="117"/>
                    </a:lnTo>
                    <a:lnTo>
                      <a:pt x="110" y="117"/>
                    </a:lnTo>
                    <a:lnTo>
                      <a:pt x="105" y="122"/>
                    </a:lnTo>
                    <a:lnTo>
                      <a:pt x="105" y="122"/>
                    </a:lnTo>
                    <a:lnTo>
                      <a:pt x="105" y="123"/>
                    </a:lnTo>
                    <a:lnTo>
                      <a:pt x="105" y="123"/>
                    </a:lnTo>
                    <a:lnTo>
                      <a:pt x="107" y="123"/>
                    </a:lnTo>
                    <a:lnTo>
                      <a:pt x="112" y="117"/>
                    </a:lnTo>
                    <a:lnTo>
                      <a:pt x="112" y="117"/>
                    </a:lnTo>
                    <a:lnTo>
                      <a:pt x="112" y="117"/>
                    </a:lnTo>
                    <a:close/>
                    <a:moveTo>
                      <a:pt x="108" y="125"/>
                    </a:moveTo>
                    <a:lnTo>
                      <a:pt x="108" y="125"/>
                    </a:lnTo>
                    <a:lnTo>
                      <a:pt x="109" y="124"/>
                    </a:lnTo>
                    <a:lnTo>
                      <a:pt x="114" y="121"/>
                    </a:lnTo>
                    <a:lnTo>
                      <a:pt x="114" y="121"/>
                    </a:lnTo>
                    <a:lnTo>
                      <a:pt x="114" y="118"/>
                    </a:lnTo>
                    <a:lnTo>
                      <a:pt x="114" y="117"/>
                    </a:lnTo>
                    <a:lnTo>
                      <a:pt x="108" y="124"/>
                    </a:lnTo>
                    <a:lnTo>
                      <a:pt x="108" y="124"/>
                    </a:lnTo>
                    <a:lnTo>
                      <a:pt x="108" y="125"/>
                    </a:lnTo>
                    <a:lnTo>
                      <a:pt x="108" y="125"/>
                    </a:lnTo>
                    <a:lnTo>
                      <a:pt x="108" y="125"/>
                    </a:lnTo>
                    <a:close/>
                    <a:moveTo>
                      <a:pt x="105" y="124"/>
                    </a:moveTo>
                    <a:lnTo>
                      <a:pt x="105" y="124"/>
                    </a:lnTo>
                    <a:lnTo>
                      <a:pt x="105" y="124"/>
                    </a:lnTo>
                    <a:lnTo>
                      <a:pt x="107" y="123"/>
                    </a:lnTo>
                    <a:lnTo>
                      <a:pt x="107" y="123"/>
                    </a:lnTo>
                    <a:lnTo>
                      <a:pt x="105" y="123"/>
                    </a:lnTo>
                    <a:lnTo>
                      <a:pt x="105" y="123"/>
                    </a:lnTo>
                    <a:lnTo>
                      <a:pt x="105" y="124"/>
                    </a:lnTo>
                    <a:lnTo>
                      <a:pt x="105" y="124"/>
                    </a:lnTo>
                    <a:lnTo>
                      <a:pt x="105" y="124"/>
                    </a:lnTo>
                    <a:close/>
                    <a:moveTo>
                      <a:pt x="107" y="125"/>
                    </a:moveTo>
                    <a:lnTo>
                      <a:pt x="107" y="125"/>
                    </a:lnTo>
                    <a:lnTo>
                      <a:pt x="107" y="125"/>
                    </a:lnTo>
                    <a:lnTo>
                      <a:pt x="107" y="125"/>
                    </a:lnTo>
                    <a:lnTo>
                      <a:pt x="108" y="125"/>
                    </a:lnTo>
                    <a:lnTo>
                      <a:pt x="108" y="125"/>
                    </a:lnTo>
                    <a:lnTo>
                      <a:pt x="108" y="124"/>
                    </a:lnTo>
                    <a:lnTo>
                      <a:pt x="107" y="125"/>
                    </a:lnTo>
                    <a:lnTo>
                      <a:pt x="107" y="125"/>
                    </a:lnTo>
                    <a:lnTo>
                      <a:pt x="107" y="125"/>
                    </a:lnTo>
                    <a:close/>
                    <a:moveTo>
                      <a:pt x="107" y="124"/>
                    </a:moveTo>
                    <a:lnTo>
                      <a:pt x="107" y="124"/>
                    </a:lnTo>
                    <a:lnTo>
                      <a:pt x="108" y="124"/>
                    </a:lnTo>
                    <a:lnTo>
                      <a:pt x="114" y="117"/>
                    </a:lnTo>
                    <a:lnTo>
                      <a:pt x="114" y="117"/>
                    </a:lnTo>
                    <a:lnTo>
                      <a:pt x="114" y="117"/>
                    </a:lnTo>
                    <a:lnTo>
                      <a:pt x="114" y="117"/>
                    </a:lnTo>
                    <a:lnTo>
                      <a:pt x="112" y="117"/>
                    </a:lnTo>
                    <a:lnTo>
                      <a:pt x="107" y="123"/>
                    </a:lnTo>
                    <a:lnTo>
                      <a:pt x="107" y="123"/>
                    </a:lnTo>
                    <a:lnTo>
                      <a:pt x="107" y="124"/>
                    </a:lnTo>
                    <a:lnTo>
                      <a:pt x="107" y="124"/>
                    </a:lnTo>
                    <a:lnTo>
                      <a:pt x="107" y="124"/>
                    </a:lnTo>
                    <a:close/>
                    <a:moveTo>
                      <a:pt x="105" y="124"/>
                    </a:moveTo>
                    <a:lnTo>
                      <a:pt x="105" y="124"/>
                    </a:lnTo>
                    <a:lnTo>
                      <a:pt x="105" y="124"/>
                    </a:lnTo>
                    <a:lnTo>
                      <a:pt x="105" y="124"/>
                    </a:lnTo>
                    <a:lnTo>
                      <a:pt x="105" y="124"/>
                    </a:lnTo>
                    <a:lnTo>
                      <a:pt x="105" y="125"/>
                    </a:lnTo>
                    <a:lnTo>
                      <a:pt x="105" y="125"/>
                    </a:lnTo>
                    <a:lnTo>
                      <a:pt x="105" y="125"/>
                    </a:lnTo>
                    <a:lnTo>
                      <a:pt x="107" y="125"/>
                    </a:lnTo>
                    <a:lnTo>
                      <a:pt x="107" y="125"/>
                    </a:lnTo>
                    <a:lnTo>
                      <a:pt x="107" y="125"/>
                    </a:lnTo>
                    <a:lnTo>
                      <a:pt x="105" y="124"/>
                    </a:lnTo>
                    <a:lnTo>
                      <a:pt x="105" y="124"/>
                    </a:lnTo>
                    <a:lnTo>
                      <a:pt x="105" y="124"/>
                    </a:lnTo>
                    <a:close/>
                    <a:moveTo>
                      <a:pt x="107" y="125"/>
                    </a:moveTo>
                    <a:lnTo>
                      <a:pt x="108" y="124"/>
                    </a:lnTo>
                    <a:lnTo>
                      <a:pt x="108" y="124"/>
                    </a:lnTo>
                    <a:lnTo>
                      <a:pt x="107" y="124"/>
                    </a:lnTo>
                    <a:lnTo>
                      <a:pt x="107" y="124"/>
                    </a:lnTo>
                    <a:lnTo>
                      <a:pt x="107" y="123"/>
                    </a:lnTo>
                    <a:lnTo>
                      <a:pt x="105" y="124"/>
                    </a:lnTo>
                    <a:lnTo>
                      <a:pt x="105" y="124"/>
                    </a:lnTo>
                    <a:lnTo>
                      <a:pt x="105" y="124"/>
                    </a:lnTo>
                    <a:lnTo>
                      <a:pt x="105" y="124"/>
                    </a:lnTo>
                    <a:lnTo>
                      <a:pt x="107" y="125"/>
                    </a:lnTo>
                    <a:lnTo>
                      <a:pt x="107" y="125"/>
                    </a:lnTo>
                    <a:lnTo>
                      <a:pt x="107" y="125"/>
                    </a:lnTo>
                    <a:close/>
                    <a:moveTo>
                      <a:pt x="83" y="90"/>
                    </a:moveTo>
                    <a:lnTo>
                      <a:pt x="83" y="90"/>
                    </a:lnTo>
                    <a:lnTo>
                      <a:pt x="84" y="91"/>
                    </a:lnTo>
                    <a:lnTo>
                      <a:pt x="86" y="92"/>
                    </a:lnTo>
                    <a:lnTo>
                      <a:pt x="89" y="92"/>
                    </a:lnTo>
                    <a:lnTo>
                      <a:pt x="90" y="91"/>
                    </a:lnTo>
                    <a:lnTo>
                      <a:pt x="90" y="91"/>
                    </a:lnTo>
                    <a:lnTo>
                      <a:pt x="92" y="90"/>
                    </a:lnTo>
                    <a:lnTo>
                      <a:pt x="92" y="87"/>
                    </a:lnTo>
                    <a:lnTo>
                      <a:pt x="92" y="86"/>
                    </a:lnTo>
                    <a:lnTo>
                      <a:pt x="92" y="84"/>
                    </a:lnTo>
                    <a:lnTo>
                      <a:pt x="92" y="84"/>
                    </a:lnTo>
                    <a:lnTo>
                      <a:pt x="91" y="82"/>
                    </a:lnTo>
                    <a:lnTo>
                      <a:pt x="89" y="82"/>
                    </a:lnTo>
                    <a:lnTo>
                      <a:pt x="86" y="82"/>
                    </a:lnTo>
                    <a:lnTo>
                      <a:pt x="84" y="82"/>
                    </a:lnTo>
                    <a:lnTo>
                      <a:pt x="84" y="82"/>
                    </a:lnTo>
                    <a:lnTo>
                      <a:pt x="83" y="84"/>
                    </a:lnTo>
                    <a:lnTo>
                      <a:pt x="82" y="86"/>
                    </a:lnTo>
                    <a:lnTo>
                      <a:pt x="82" y="87"/>
                    </a:lnTo>
                    <a:lnTo>
                      <a:pt x="83" y="90"/>
                    </a:lnTo>
                    <a:lnTo>
                      <a:pt x="83" y="90"/>
                    </a:lnTo>
                    <a:lnTo>
                      <a:pt x="83" y="90"/>
                    </a:lnTo>
                    <a:close/>
                    <a:moveTo>
                      <a:pt x="86" y="80"/>
                    </a:moveTo>
                    <a:lnTo>
                      <a:pt x="86" y="80"/>
                    </a:lnTo>
                    <a:lnTo>
                      <a:pt x="90" y="80"/>
                    </a:lnTo>
                    <a:lnTo>
                      <a:pt x="93" y="83"/>
                    </a:lnTo>
                    <a:lnTo>
                      <a:pt x="93" y="83"/>
                    </a:lnTo>
                    <a:lnTo>
                      <a:pt x="95" y="86"/>
                    </a:lnTo>
                    <a:lnTo>
                      <a:pt x="93" y="89"/>
                    </a:lnTo>
                    <a:lnTo>
                      <a:pt x="93" y="91"/>
                    </a:lnTo>
                    <a:lnTo>
                      <a:pt x="91" y="92"/>
                    </a:lnTo>
                    <a:lnTo>
                      <a:pt x="91" y="92"/>
                    </a:lnTo>
                    <a:lnTo>
                      <a:pt x="89" y="93"/>
                    </a:lnTo>
                    <a:lnTo>
                      <a:pt x="86" y="93"/>
                    </a:lnTo>
                    <a:lnTo>
                      <a:pt x="84" y="92"/>
                    </a:lnTo>
                    <a:lnTo>
                      <a:pt x="82" y="90"/>
                    </a:lnTo>
                    <a:lnTo>
                      <a:pt x="82" y="90"/>
                    </a:lnTo>
                    <a:lnTo>
                      <a:pt x="80" y="87"/>
                    </a:lnTo>
                    <a:lnTo>
                      <a:pt x="80" y="86"/>
                    </a:lnTo>
                    <a:lnTo>
                      <a:pt x="82" y="83"/>
                    </a:lnTo>
                    <a:lnTo>
                      <a:pt x="84" y="80"/>
                    </a:lnTo>
                    <a:lnTo>
                      <a:pt x="84" y="80"/>
                    </a:lnTo>
                    <a:lnTo>
                      <a:pt x="86" y="80"/>
                    </a:lnTo>
                    <a:lnTo>
                      <a:pt x="86" y="80"/>
                    </a:lnTo>
                    <a:lnTo>
                      <a:pt x="84" y="80"/>
                    </a:lnTo>
                    <a:lnTo>
                      <a:pt x="84" y="80"/>
                    </a:lnTo>
                    <a:lnTo>
                      <a:pt x="83" y="80"/>
                    </a:lnTo>
                    <a:lnTo>
                      <a:pt x="83" y="80"/>
                    </a:lnTo>
                    <a:lnTo>
                      <a:pt x="80" y="82"/>
                    </a:lnTo>
                    <a:lnTo>
                      <a:pt x="80" y="86"/>
                    </a:lnTo>
                    <a:lnTo>
                      <a:pt x="80" y="87"/>
                    </a:lnTo>
                    <a:lnTo>
                      <a:pt x="80" y="91"/>
                    </a:lnTo>
                    <a:lnTo>
                      <a:pt x="80" y="91"/>
                    </a:lnTo>
                    <a:lnTo>
                      <a:pt x="80" y="91"/>
                    </a:lnTo>
                    <a:lnTo>
                      <a:pt x="82" y="91"/>
                    </a:lnTo>
                    <a:lnTo>
                      <a:pt x="82" y="91"/>
                    </a:lnTo>
                    <a:lnTo>
                      <a:pt x="83" y="93"/>
                    </a:lnTo>
                    <a:lnTo>
                      <a:pt x="83" y="93"/>
                    </a:lnTo>
                    <a:lnTo>
                      <a:pt x="88" y="95"/>
                    </a:lnTo>
                    <a:lnTo>
                      <a:pt x="90" y="95"/>
                    </a:lnTo>
                    <a:lnTo>
                      <a:pt x="92" y="93"/>
                    </a:lnTo>
                    <a:lnTo>
                      <a:pt x="92" y="93"/>
                    </a:lnTo>
                    <a:lnTo>
                      <a:pt x="95" y="90"/>
                    </a:lnTo>
                    <a:lnTo>
                      <a:pt x="95" y="90"/>
                    </a:lnTo>
                    <a:lnTo>
                      <a:pt x="95" y="90"/>
                    </a:lnTo>
                    <a:lnTo>
                      <a:pt x="93" y="89"/>
                    </a:lnTo>
                    <a:lnTo>
                      <a:pt x="93" y="89"/>
                    </a:lnTo>
                    <a:lnTo>
                      <a:pt x="95" y="87"/>
                    </a:lnTo>
                    <a:lnTo>
                      <a:pt x="95" y="87"/>
                    </a:lnTo>
                    <a:lnTo>
                      <a:pt x="95" y="86"/>
                    </a:lnTo>
                    <a:lnTo>
                      <a:pt x="95" y="82"/>
                    </a:lnTo>
                    <a:lnTo>
                      <a:pt x="95" y="82"/>
                    </a:lnTo>
                    <a:lnTo>
                      <a:pt x="91" y="80"/>
                    </a:lnTo>
                    <a:lnTo>
                      <a:pt x="86" y="78"/>
                    </a:lnTo>
                    <a:lnTo>
                      <a:pt x="86" y="78"/>
                    </a:lnTo>
                    <a:lnTo>
                      <a:pt x="86" y="78"/>
                    </a:lnTo>
                    <a:lnTo>
                      <a:pt x="86" y="80"/>
                    </a:lnTo>
                    <a:lnTo>
                      <a:pt x="86" y="80"/>
                    </a:lnTo>
                    <a:lnTo>
                      <a:pt x="86" y="80"/>
                    </a:lnTo>
                    <a:close/>
                    <a:moveTo>
                      <a:pt x="86" y="80"/>
                    </a:moveTo>
                    <a:lnTo>
                      <a:pt x="86" y="80"/>
                    </a:lnTo>
                    <a:lnTo>
                      <a:pt x="86" y="80"/>
                    </a:lnTo>
                    <a:lnTo>
                      <a:pt x="86" y="78"/>
                    </a:lnTo>
                    <a:lnTo>
                      <a:pt x="86" y="78"/>
                    </a:lnTo>
                    <a:lnTo>
                      <a:pt x="86" y="78"/>
                    </a:lnTo>
                    <a:lnTo>
                      <a:pt x="86" y="78"/>
                    </a:lnTo>
                    <a:lnTo>
                      <a:pt x="84" y="80"/>
                    </a:lnTo>
                    <a:lnTo>
                      <a:pt x="84" y="80"/>
                    </a:lnTo>
                    <a:lnTo>
                      <a:pt x="86" y="80"/>
                    </a:lnTo>
                    <a:lnTo>
                      <a:pt x="86" y="80"/>
                    </a:lnTo>
                    <a:lnTo>
                      <a:pt x="86" y="80"/>
                    </a:lnTo>
                    <a:close/>
                    <a:moveTo>
                      <a:pt x="80" y="91"/>
                    </a:moveTo>
                    <a:lnTo>
                      <a:pt x="80" y="91"/>
                    </a:lnTo>
                    <a:lnTo>
                      <a:pt x="83" y="93"/>
                    </a:lnTo>
                    <a:lnTo>
                      <a:pt x="83" y="93"/>
                    </a:lnTo>
                    <a:lnTo>
                      <a:pt x="82" y="91"/>
                    </a:lnTo>
                    <a:lnTo>
                      <a:pt x="80" y="91"/>
                    </a:lnTo>
                    <a:lnTo>
                      <a:pt x="80" y="91"/>
                    </a:lnTo>
                    <a:lnTo>
                      <a:pt x="80" y="91"/>
                    </a:lnTo>
                    <a:close/>
                    <a:moveTo>
                      <a:pt x="95" y="90"/>
                    </a:moveTo>
                    <a:lnTo>
                      <a:pt x="95" y="90"/>
                    </a:lnTo>
                    <a:lnTo>
                      <a:pt x="95" y="90"/>
                    </a:lnTo>
                    <a:lnTo>
                      <a:pt x="95" y="90"/>
                    </a:lnTo>
                    <a:lnTo>
                      <a:pt x="95" y="87"/>
                    </a:lnTo>
                    <a:lnTo>
                      <a:pt x="95" y="87"/>
                    </a:lnTo>
                    <a:lnTo>
                      <a:pt x="93" y="89"/>
                    </a:lnTo>
                    <a:lnTo>
                      <a:pt x="95" y="90"/>
                    </a:lnTo>
                    <a:lnTo>
                      <a:pt x="95" y="90"/>
                    </a:lnTo>
                    <a:lnTo>
                      <a:pt x="95" y="90"/>
                    </a:lnTo>
                    <a:close/>
                    <a:moveTo>
                      <a:pt x="88" y="164"/>
                    </a:moveTo>
                    <a:lnTo>
                      <a:pt x="88" y="164"/>
                    </a:lnTo>
                    <a:lnTo>
                      <a:pt x="80" y="164"/>
                    </a:lnTo>
                    <a:lnTo>
                      <a:pt x="73" y="163"/>
                    </a:lnTo>
                    <a:lnTo>
                      <a:pt x="65" y="160"/>
                    </a:lnTo>
                    <a:lnTo>
                      <a:pt x="58" y="158"/>
                    </a:lnTo>
                    <a:lnTo>
                      <a:pt x="51" y="155"/>
                    </a:lnTo>
                    <a:lnTo>
                      <a:pt x="45" y="151"/>
                    </a:lnTo>
                    <a:lnTo>
                      <a:pt x="39" y="146"/>
                    </a:lnTo>
                    <a:lnTo>
                      <a:pt x="34" y="141"/>
                    </a:lnTo>
                    <a:lnTo>
                      <a:pt x="29" y="136"/>
                    </a:lnTo>
                    <a:lnTo>
                      <a:pt x="24" y="130"/>
                    </a:lnTo>
                    <a:lnTo>
                      <a:pt x="20" y="124"/>
                    </a:lnTo>
                    <a:lnTo>
                      <a:pt x="17" y="117"/>
                    </a:lnTo>
                    <a:lnTo>
                      <a:pt x="15" y="110"/>
                    </a:lnTo>
                    <a:lnTo>
                      <a:pt x="13" y="103"/>
                    </a:lnTo>
                    <a:lnTo>
                      <a:pt x="11" y="95"/>
                    </a:lnTo>
                    <a:lnTo>
                      <a:pt x="11" y="87"/>
                    </a:lnTo>
                    <a:lnTo>
                      <a:pt x="11" y="87"/>
                    </a:lnTo>
                    <a:lnTo>
                      <a:pt x="11" y="80"/>
                    </a:lnTo>
                    <a:lnTo>
                      <a:pt x="13" y="71"/>
                    </a:lnTo>
                    <a:lnTo>
                      <a:pt x="15" y="65"/>
                    </a:lnTo>
                    <a:lnTo>
                      <a:pt x="17" y="57"/>
                    </a:lnTo>
                    <a:lnTo>
                      <a:pt x="20" y="50"/>
                    </a:lnTo>
                    <a:lnTo>
                      <a:pt x="24" y="44"/>
                    </a:lnTo>
                    <a:lnTo>
                      <a:pt x="29" y="38"/>
                    </a:lnTo>
                    <a:lnTo>
                      <a:pt x="34" y="32"/>
                    </a:lnTo>
                    <a:lnTo>
                      <a:pt x="39" y="28"/>
                    </a:lnTo>
                    <a:lnTo>
                      <a:pt x="45" y="23"/>
                    </a:lnTo>
                    <a:lnTo>
                      <a:pt x="51" y="19"/>
                    </a:lnTo>
                    <a:lnTo>
                      <a:pt x="58" y="16"/>
                    </a:lnTo>
                    <a:lnTo>
                      <a:pt x="65" y="14"/>
                    </a:lnTo>
                    <a:lnTo>
                      <a:pt x="73" y="13"/>
                    </a:lnTo>
                    <a:lnTo>
                      <a:pt x="80" y="12"/>
                    </a:lnTo>
                    <a:lnTo>
                      <a:pt x="88" y="10"/>
                    </a:lnTo>
                    <a:lnTo>
                      <a:pt x="88" y="10"/>
                    </a:lnTo>
                    <a:lnTo>
                      <a:pt x="95" y="12"/>
                    </a:lnTo>
                    <a:lnTo>
                      <a:pt x="103" y="13"/>
                    </a:lnTo>
                    <a:lnTo>
                      <a:pt x="110" y="14"/>
                    </a:lnTo>
                    <a:lnTo>
                      <a:pt x="117" y="16"/>
                    </a:lnTo>
                    <a:lnTo>
                      <a:pt x="124" y="19"/>
                    </a:lnTo>
                    <a:lnTo>
                      <a:pt x="131" y="23"/>
                    </a:lnTo>
                    <a:lnTo>
                      <a:pt x="137" y="28"/>
                    </a:lnTo>
                    <a:lnTo>
                      <a:pt x="142" y="32"/>
                    </a:lnTo>
                    <a:lnTo>
                      <a:pt x="146" y="38"/>
                    </a:lnTo>
                    <a:lnTo>
                      <a:pt x="151" y="44"/>
                    </a:lnTo>
                    <a:lnTo>
                      <a:pt x="156" y="50"/>
                    </a:lnTo>
                    <a:lnTo>
                      <a:pt x="159" y="57"/>
                    </a:lnTo>
                    <a:lnTo>
                      <a:pt x="161" y="65"/>
                    </a:lnTo>
                    <a:lnTo>
                      <a:pt x="163" y="71"/>
                    </a:lnTo>
                    <a:lnTo>
                      <a:pt x="164" y="80"/>
                    </a:lnTo>
                    <a:lnTo>
                      <a:pt x="164" y="87"/>
                    </a:lnTo>
                    <a:lnTo>
                      <a:pt x="164" y="87"/>
                    </a:lnTo>
                    <a:lnTo>
                      <a:pt x="164" y="95"/>
                    </a:lnTo>
                    <a:lnTo>
                      <a:pt x="163" y="103"/>
                    </a:lnTo>
                    <a:lnTo>
                      <a:pt x="161" y="110"/>
                    </a:lnTo>
                    <a:lnTo>
                      <a:pt x="159" y="117"/>
                    </a:lnTo>
                    <a:lnTo>
                      <a:pt x="156" y="124"/>
                    </a:lnTo>
                    <a:lnTo>
                      <a:pt x="151" y="130"/>
                    </a:lnTo>
                    <a:lnTo>
                      <a:pt x="146" y="136"/>
                    </a:lnTo>
                    <a:lnTo>
                      <a:pt x="142" y="141"/>
                    </a:lnTo>
                    <a:lnTo>
                      <a:pt x="137" y="146"/>
                    </a:lnTo>
                    <a:lnTo>
                      <a:pt x="131" y="151"/>
                    </a:lnTo>
                    <a:lnTo>
                      <a:pt x="124" y="155"/>
                    </a:lnTo>
                    <a:lnTo>
                      <a:pt x="117" y="158"/>
                    </a:lnTo>
                    <a:lnTo>
                      <a:pt x="110" y="160"/>
                    </a:lnTo>
                    <a:lnTo>
                      <a:pt x="103" y="163"/>
                    </a:lnTo>
                    <a:lnTo>
                      <a:pt x="95" y="164"/>
                    </a:lnTo>
                    <a:lnTo>
                      <a:pt x="88" y="164"/>
                    </a:lnTo>
                    <a:lnTo>
                      <a:pt x="88" y="164"/>
                    </a:lnTo>
                    <a:lnTo>
                      <a:pt x="88" y="164"/>
                    </a:lnTo>
                    <a:close/>
                    <a:moveTo>
                      <a:pt x="88" y="175"/>
                    </a:moveTo>
                    <a:lnTo>
                      <a:pt x="88" y="175"/>
                    </a:lnTo>
                    <a:lnTo>
                      <a:pt x="97" y="175"/>
                    </a:lnTo>
                    <a:lnTo>
                      <a:pt x="105" y="173"/>
                    </a:lnTo>
                    <a:lnTo>
                      <a:pt x="114" y="171"/>
                    </a:lnTo>
                    <a:lnTo>
                      <a:pt x="122" y="169"/>
                    </a:lnTo>
                    <a:lnTo>
                      <a:pt x="130" y="164"/>
                    </a:lnTo>
                    <a:lnTo>
                      <a:pt x="137" y="160"/>
                    </a:lnTo>
                    <a:lnTo>
                      <a:pt x="144" y="155"/>
                    </a:lnTo>
                    <a:lnTo>
                      <a:pt x="150" y="149"/>
                    </a:lnTo>
                    <a:lnTo>
                      <a:pt x="156" y="142"/>
                    </a:lnTo>
                    <a:lnTo>
                      <a:pt x="161" y="136"/>
                    </a:lnTo>
                    <a:lnTo>
                      <a:pt x="165" y="129"/>
                    </a:lnTo>
                    <a:lnTo>
                      <a:pt x="169" y="122"/>
                    </a:lnTo>
                    <a:lnTo>
                      <a:pt x="172" y="114"/>
                    </a:lnTo>
                    <a:lnTo>
                      <a:pt x="174" y="105"/>
                    </a:lnTo>
                    <a:lnTo>
                      <a:pt x="176" y="96"/>
                    </a:lnTo>
                    <a:lnTo>
                      <a:pt x="176" y="87"/>
                    </a:lnTo>
                    <a:lnTo>
                      <a:pt x="176" y="87"/>
                    </a:lnTo>
                    <a:lnTo>
                      <a:pt x="176" y="78"/>
                    </a:lnTo>
                    <a:lnTo>
                      <a:pt x="174" y="68"/>
                    </a:lnTo>
                    <a:lnTo>
                      <a:pt x="172" y="61"/>
                    </a:lnTo>
                    <a:lnTo>
                      <a:pt x="169" y="53"/>
                    </a:lnTo>
                    <a:lnTo>
                      <a:pt x="165" y="46"/>
                    </a:lnTo>
                    <a:lnTo>
                      <a:pt x="161" y="38"/>
                    </a:lnTo>
                    <a:lnTo>
                      <a:pt x="156" y="31"/>
                    </a:lnTo>
                    <a:lnTo>
                      <a:pt x="150" y="25"/>
                    </a:lnTo>
                    <a:lnTo>
                      <a:pt x="144" y="19"/>
                    </a:lnTo>
                    <a:lnTo>
                      <a:pt x="137" y="14"/>
                    </a:lnTo>
                    <a:lnTo>
                      <a:pt x="130" y="10"/>
                    </a:lnTo>
                    <a:lnTo>
                      <a:pt x="122" y="7"/>
                    </a:lnTo>
                    <a:lnTo>
                      <a:pt x="114" y="4"/>
                    </a:lnTo>
                    <a:lnTo>
                      <a:pt x="105" y="1"/>
                    </a:lnTo>
                    <a:lnTo>
                      <a:pt x="97" y="0"/>
                    </a:lnTo>
                    <a:lnTo>
                      <a:pt x="88" y="0"/>
                    </a:lnTo>
                    <a:lnTo>
                      <a:pt x="88" y="0"/>
                    </a:lnTo>
                    <a:lnTo>
                      <a:pt x="78" y="0"/>
                    </a:lnTo>
                    <a:lnTo>
                      <a:pt x="70" y="1"/>
                    </a:lnTo>
                    <a:lnTo>
                      <a:pt x="62" y="4"/>
                    </a:lnTo>
                    <a:lnTo>
                      <a:pt x="54" y="7"/>
                    </a:lnTo>
                    <a:lnTo>
                      <a:pt x="45" y="10"/>
                    </a:lnTo>
                    <a:lnTo>
                      <a:pt x="38" y="14"/>
                    </a:lnTo>
                    <a:lnTo>
                      <a:pt x="31" y="19"/>
                    </a:lnTo>
                    <a:lnTo>
                      <a:pt x="25" y="25"/>
                    </a:lnTo>
                    <a:lnTo>
                      <a:pt x="19" y="31"/>
                    </a:lnTo>
                    <a:lnTo>
                      <a:pt x="15" y="38"/>
                    </a:lnTo>
                    <a:lnTo>
                      <a:pt x="10" y="46"/>
                    </a:lnTo>
                    <a:lnTo>
                      <a:pt x="7" y="53"/>
                    </a:lnTo>
                    <a:lnTo>
                      <a:pt x="3" y="61"/>
                    </a:lnTo>
                    <a:lnTo>
                      <a:pt x="1" y="68"/>
                    </a:lnTo>
                    <a:lnTo>
                      <a:pt x="0" y="78"/>
                    </a:lnTo>
                    <a:lnTo>
                      <a:pt x="0" y="87"/>
                    </a:lnTo>
                    <a:lnTo>
                      <a:pt x="0" y="87"/>
                    </a:lnTo>
                    <a:lnTo>
                      <a:pt x="0" y="96"/>
                    </a:lnTo>
                    <a:lnTo>
                      <a:pt x="1" y="105"/>
                    </a:lnTo>
                    <a:lnTo>
                      <a:pt x="3" y="114"/>
                    </a:lnTo>
                    <a:lnTo>
                      <a:pt x="7" y="122"/>
                    </a:lnTo>
                    <a:lnTo>
                      <a:pt x="10" y="129"/>
                    </a:lnTo>
                    <a:lnTo>
                      <a:pt x="15" y="136"/>
                    </a:lnTo>
                    <a:lnTo>
                      <a:pt x="19" y="142"/>
                    </a:lnTo>
                    <a:lnTo>
                      <a:pt x="25" y="149"/>
                    </a:lnTo>
                    <a:lnTo>
                      <a:pt x="31" y="155"/>
                    </a:lnTo>
                    <a:lnTo>
                      <a:pt x="38" y="160"/>
                    </a:lnTo>
                    <a:lnTo>
                      <a:pt x="45" y="164"/>
                    </a:lnTo>
                    <a:lnTo>
                      <a:pt x="54" y="169"/>
                    </a:lnTo>
                    <a:lnTo>
                      <a:pt x="62" y="171"/>
                    </a:lnTo>
                    <a:lnTo>
                      <a:pt x="70" y="173"/>
                    </a:lnTo>
                    <a:lnTo>
                      <a:pt x="78" y="175"/>
                    </a:lnTo>
                    <a:lnTo>
                      <a:pt x="88" y="175"/>
                    </a:lnTo>
                    <a:lnTo>
                      <a:pt x="88" y="175"/>
                    </a:lnTo>
                    <a:lnTo>
                      <a:pt x="88" y="175"/>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80" name="Freeform 213"/>
              <p:cNvSpPr>
                <a:spLocks noEditPoints="1"/>
              </p:cNvSpPr>
              <p:nvPr/>
            </p:nvSpPr>
            <p:spPr bwMode="auto">
              <a:xfrm rot="5400000">
                <a:off x="10945612" y="442420"/>
                <a:ext cx="190649" cy="202224"/>
              </a:xfrm>
              <a:custGeom>
                <a:avLst/>
                <a:gdLst>
                  <a:gd name="T0" fmla="*/ 54 w 174"/>
                  <a:gd name="T1" fmla="*/ 35 h 177"/>
                  <a:gd name="T2" fmla="*/ 72 w 174"/>
                  <a:gd name="T3" fmla="*/ 35 h 177"/>
                  <a:gd name="T4" fmla="*/ 72 w 174"/>
                  <a:gd name="T5" fmla="*/ 54 h 177"/>
                  <a:gd name="T6" fmla="*/ 91 w 174"/>
                  <a:gd name="T7" fmla="*/ 54 h 177"/>
                  <a:gd name="T8" fmla="*/ 91 w 174"/>
                  <a:gd name="T9" fmla="*/ 72 h 177"/>
                  <a:gd name="T10" fmla="*/ 72 w 174"/>
                  <a:gd name="T11" fmla="*/ 72 h 177"/>
                  <a:gd name="T12" fmla="*/ 72 w 174"/>
                  <a:gd name="T13" fmla="*/ 92 h 177"/>
                  <a:gd name="T14" fmla="*/ 54 w 174"/>
                  <a:gd name="T15" fmla="*/ 92 h 177"/>
                  <a:gd name="T16" fmla="*/ 54 w 174"/>
                  <a:gd name="T17" fmla="*/ 72 h 177"/>
                  <a:gd name="T18" fmla="*/ 34 w 174"/>
                  <a:gd name="T19" fmla="*/ 72 h 177"/>
                  <a:gd name="T20" fmla="*/ 34 w 174"/>
                  <a:gd name="T21" fmla="*/ 54 h 177"/>
                  <a:gd name="T22" fmla="*/ 54 w 174"/>
                  <a:gd name="T23" fmla="*/ 54 h 177"/>
                  <a:gd name="T24" fmla="*/ 54 w 174"/>
                  <a:gd name="T25" fmla="*/ 35 h 177"/>
                  <a:gd name="T26" fmla="*/ 63 w 174"/>
                  <a:gd name="T27" fmla="*/ 11 h 177"/>
                  <a:gd name="T28" fmla="*/ 10 w 174"/>
                  <a:gd name="T29" fmla="*/ 63 h 177"/>
                  <a:gd name="T30" fmla="*/ 63 w 174"/>
                  <a:gd name="T31" fmla="*/ 116 h 177"/>
                  <a:gd name="T32" fmla="*/ 115 w 174"/>
                  <a:gd name="T33" fmla="*/ 63 h 177"/>
                  <a:gd name="T34" fmla="*/ 63 w 174"/>
                  <a:gd name="T35" fmla="*/ 11 h 177"/>
                  <a:gd name="T36" fmla="*/ 63 w 174"/>
                  <a:gd name="T37" fmla="*/ 0 h 177"/>
                  <a:gd name="T38" fmla="*/ 126 w 174"/>
                  <a:gd name="T39" fmla="*/ 63 h 177"/>
                  <a:gd name="T40" fmla="*/ 113 w 174"/>
                  <a:gd name="T41" fmla="*/ 101 h 177"/>
                  <a:gd name="T42" fmla="*/ 117 w 174"/>
                  <a:gd name="T43" fmla="*/ 105 h 177"/>
                  <a:gd name="T44" fmla="*/ 125 w 174"/>
                  <a:gd name="T45" fmla="*/ 103 h 177"/>
                  <a:gd name="T46" fmla="*/ 170 w 174"/>
                  <a:gd name="T47" fmla="*/ 148 h 177"/>
                  <a:gd name="T48" fmla="*/ 146 w 174"/>
                  <a:gd name="T49" fmla="*/ 172 h 177"/>
                  <a:gd name="T50" fmla="*/ 100 w 174"/>
                  <a:gd name="T51" fmla="*/ 128 h 177"/>
                  <a:gd name="T52" fmla="*/ 103 w 174"/>
                  <a:gd name="T53" fmla="*/ 119 h 177"/>
                  <a:gd name="T54" fmla="*/ 98 w 174"/>
                  <a:gd name="T55" fmla="*/ 116 h 177"/>
                  <a:gd name="T56" fmla="*/ 63 w 174"/>
                  <a:gd name="T57" fmla="*/ 126 h 177"/>
                  <a:gd name="T58" fmla="*/ 0 w 174"/>
                  <a:gd name="T59" fmla="*/ 63 h 177"/>
                  <a:gd name="T60" fmla="*/ 63 w 174"/>
                  <a:gd name="T6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77">
                    <a:moveTo>
                      <a:pt x="54" y="35"/>
                    </a:moveTo>
                    <a:cubicBezTo>
                      <a:pt x="72" y="35"/>
                      <a:pt x="72" y="35"/>
                      <a:pt x="72" y="35"/>
                    </a:cubicBezTo>
                    <a:cubicBezTo>
                      <a:pt x="72" y="54"/>
                      <a:pt x="72" y="54"/>
                      <a:pt x="72" y="54"/>
                    </a:cubicBezTo>
                    <a:cubicBezTo>
                      <a:pt x="91" y="54"/>
                      <a:pt x="91" y="54"/>
                      <a:pt x="91" y="54"/>
                    </a:cubicBezTo>
                    <a:cubicBezTo>
                      <a:pt x="91" y="72"/>
                      <a:pt x="91" y="72"/>
                      <a:pt x="91" y="72"/>
                    </a:cubicBezTo>
                    <a:cubicBezTo>
                      <a:pt x="72" y="72"/>
                      <a:pt x="72" y="72"/>
                      <a:pt x="72" y="72"/>
                    </a:cubicBezTo>
                    <a:cubicBezTo>
                      <a:pt x="72" y="92"/>
                      <a:pt x="72" y="92"/>
                      <a:pt x="72" y="92"/>
                    </a:cubicBezTo>
                    <a:cubicBezTo>
                      <a:pt x="54" y="92"/>
                      <a:pt x="54" y="92"/>
                      <a:pt x="54" y="92"/>
                    </a:cubicBezTo>
                    <a:cubicBezTo>
                      <a:pt x="54" y="72"/>
                      <a:pt x="54" y="72"/>
                      <a:pt x="54" y="72"/>
                    </a:cubicBezTo>
                    <a:cubicBezTo>
                      <a:pt x="34" y="72"/>
                      <a:pt x="34" y="72"/>
                      <a:pt x="34" y="72"/>
                    </a:cubicBezTo>
                    <a:cubicBezTo>
                      <a:pt x="34" y="54"/>
                      <a:pt x="34" y="54"/>
                      <a:pt x="34" y="54"/>
                    </a:cubicBezTo>
                    <a:cubicBezTo>
                      <a:pt x="54" y="54"/>
                      <a:pt x="54" y="54"/>
                      <a:pt x="54" y="54"/>
                    </a:cubicBezTo>
                    <a:cubicBezTo>
                      <a:pt x="54" y="35"/>
                      <a:pt x="54" y="35"/>
                      <a:pt x="54" y="35"/>
                    </a:cubicBezTo>
                    <a:close/>
                    <a:moveTo>
                      <a:pt x="63" y="11"/>
                    </a:moveTo>
                    <a:cubicBezTo>
                      <a:pt x="34" y="11"/>
                      <a:pt x="10" y="34"/>
                      <a:pt x="10" y="63"/>
                    </a:cubicBezTo>
                    <a:cubicBezTo>
                      <a:pt x="10" y="92"/>
                      <a:pt x="34" y="116"/>
                      <a:pt x="63" y="116"/>
                    </a:cubicBezTo>
                    <a:cubicBezTo>
                      <a:pt x="92" y="116"/>
                      <a:pt x="115" y="92"/>
                      <a:pt x="115" y="63"/>
                    </a:cubicBezTo>
                    <a:cubicBezTo>
                      <a:pt x="115" y="34"/>
                      <a:pt x="92" y="11"/>
                      <a:pt x="63" y="11"/>
                    </a:cubicBezTo>
                    <a:close/>
                    <a:moveTo>
                      <a:pt x="63" y="0"/>
                    </a:moveTo>
                    <a:cubicBezTo>
                      <a:pt x="98" y="0"/>
                      <a:pt x="126" y="28"/>
                      <a:pt x="126" y="63"/>
                    </a:cubicBezTo>
                    <a:cubicBezTo>
                      <a:pt x="126" y="78"/>
                      <a:pt x="121" y="91"/>
                      <a:pt x="113" y="101"/>
                    </a:cubicBezTo>
                    <a:cubicBezTo>
                      <a:pt x="117" y="105"/>
                      <a:pt x="117" y="105"/>
                      <a:pt x="117" y="105"/>
                    </a:cubicBezTo>
                    <a:cubicBezTo>
                      <a:pt x="125" y="103"/>
                      <a:pt x="125" y="103"/>
                      <a:pt x="125" y="103"/>
                    </a:cubicBezTo>
                    <a:cubicBezTo>
                      <a:pt x="170" y="148"/>
                      <a:pt x="170" y="148"/>
                      <a:pt x="170" y="148"/>
                    </a:cubicBezTo>
                    <a:cubicBezTo>
                      <a:pt x="171" y="155"/>
                      <a:pt x="174" y="177"/>
                      <a:pt x="146" y="172"/>
                    </a:cubicBezTo>
                    <a:cubicBezTo>
                      <a:pt x="100" y="128"/>
                      <a:pt x="100" y="128"/>
                      <a:pt x="100" y="128"/>
                    </a:cubicBezTo>
                    <a:cubicBezTo>
                      <a:pt x="103" y="119"/>
                      <a:pt x="103" y="119"/>
                      <a:pt x="103" y="119"/>
                    </a:cubicBezTo>
                    <a:cubicBezTo>
                      <a:pt x="98" y="116"/>
                      <a:pt x="98" y="116"/>
                      <a:pt x="98" y="116"/>
                    </a:cubicBezTo>
                    <a:cubicBezTo>
                      <a:pt x="88" y="122"/>
                      <a:pt x="76" y="126"/>
                      <a:pt x="63" y="126"/>
                    </a:cubicBezTo>
                    <a:cubicBezTo>
                      <a:pt x="28" y="126"/>
                      <a:pt x="0" y="98"/>
                      <a:pt x="0" y="63"/>
                    </a:cubicBezTo>
                    <a:cubicBezTo>
                      <a:pt x="0" y="28"/>
                      <a:pt x="28" y="0"/>
                      <a:pt x="63" y="0"/>
                    </a:cubicBez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81" name="Freeform 214"/>
              <p:cNvSpPr>
                <a:spLocks noEditPoints="1"/>
              </p:cNvSpPr>
              <p:nvPr/>
            </p:nvSpPr>
            <p:spPr bwMode="auto">
              <a:xfrm>
                <a:off x="10561566" y="159385"/>
                <a:ext cx="110605" cy="208261"/>
              </a:xfrm>
              <a:custGeom>
                <a:avLst/>
                <a:gdLst>
                  <a:gd name="T0" fmla="*/ 43 w 101"/>
                  <a:gd name="T1" fmla="*/ 165 h 183"/>
                  <a:gd name="T2" fmla="*/ 42 w 101"/>
                  <a:gd name="T3" fmla="*/ 166 h 183"/>
                  <a:gd name="T4" fmla="*/ 42 w 101"/>
                  <a:gd name="T5" fmla="*/ 172 h 183"/>
                  <a:gd name="T6" fmla="*/ 43 w 101"/>
                  <a:gd name="T7" fmla="*/ 174 h 183"/>
                  <a:gd name="T8" fmla="*/ 57 w 101"/>
                  <a:gd name="T9" fmla="*/ 174 h 183"/>
                  <a:gd name="T10" fmla="*/ 59 w 101"/>
                  <a:gd name="T11" fmla="*/ 172 h 183"/>
                  <a:gd name="T12" fmla="*/ 59 w 101"/>
                  <a:gd name="T13" fmla="*/ 166 h 183"/>
                  <a:gd name="T14" fmla="*/ 57 w 101"/>
                  <a:gd name="T15" fmla="*/ 165 h 183"/>
                  <a:gd name="T16" fmla="*/ 43 w 101"/>
                  <a:gd name="T17" fmla="*/ 165 h 183"/>
                  <a:gd name="T18" fmla="*/ 7 w 101"/>
                  <a:gd name="T19" fmla="*/ 11 h 183"/>
                  <a:gd name="T20" fmla="*/ 6 w 101"/>
                  <a:gd name="T21" fmla="*/ 12 h 183"/>
                  <a:gd name="T22" fmla="*/ 6 w 101"/>
                  <a:gd name="T23" fmla="*/ 160 h 183"/>
                  <a:gd name="T24" fmla="*/ 7 w 101"/>
                  <a:gd name="T25" fmla="*/ 161 h 183"/>
                  <a:gd name="T26" fmla="*/ 94 w 101"/>
                  <a:gd name="T27" fmla="*/ 161 h 183"/>
                  <a:gd name="T28" fmla="*/ 95 w 101"/>
                  <a:gd name="T29" fmla="*/ 160 h 183"/>
                  <a:gd name="T30" fmla="*/ 95 w 101"/>
                  <a:gd name="T31" fmla="*/ 12 h 183"/>
                  <a:gd name="T32" fmla="*/ 94 w 101"/>
                  <a:gd name="T33" fmla="*/ 11 h 183"/>
                  <a:gd name="T34" fmla="*/ 7 w 101"/>
                  <a:gd name="T35" fmla="*/ 11 h 183"/>
                  <a:gd name="T36" fmla="*/ 43 w 101"/>
                  <a:gd name="T37" fmla="*/ 4 h 183"/>
                  <a:gd name="T38" fmla="*/ 43 w 101"/>
                  <a:gd name="T39" fmla="*/ 5 h 183"/>
                  <a:gd name="T40" fmla="*/ 43 w 101"/>
                  <a:gd name="T41" fmla="*/ 6 h 183"/>
                  <a:gd name="T42" fmla="*/ 43 w 101"/>
                  <a:gd name="T43" fmla="*/ 7 h 183"/>
                  <a:gd name="T44" fmla="*/ 57 w 101"/>
                  <a:gd name="T45" fmla="*/ 7 h 183"/>
                  <a:gd name="T46" fmla="*/ 58 w 101"/>
                  <a:gd name="T47" fmla="*/ 6 h 183"/>
                  <a:gd name="T48" fmla="*/ 58 w 101"/>
                  <a:gd name="T49" fmla="*/ 5 h 183"/>
                  <a:gd name="T50" fmla="*/ 57 w 101"/>
                  <a:gd name="T51" fmla="*/ 4 h 183"/>
                  <a:gd name="T52" fmla="*/ 43 w 101"/>
                  <a:gd name="T53" fmla="*/ 4 h 183"/>
                  <a:gd name="T54" fmla="*/ 81 w 101"/>
                  <a:gd name="T55" fmla="*/ 3 h 183"/>
                  <a:gd name="T56" fmla="*/ 79 w 101"/>
                  <a:gd name="T57" fmla="*/ 5 h 183"/>
                  <a:gd name="T58" fmla="*/ 81 w 101"/>
                  <a:gd name="T59" fmla="*/ 8 h 183"/>
                  <a:gd name="T60" fmla="*/ 84 w 101"/>
                  <a:gd name="T61" fmla="*/ 5 h 183"/>
                  <a:gd name="T62" fmla="*/ 81 w 101"/>
                  <a:gd name="T63" fmla="*/ 3 h 183"/>
                  <a:gd name="T64" fmla="*/ 5 w 101"/>
                  <a:gd name="T65" fmla="*/ 0 h 183"/>
                  <a:gd name="T66" fmla="*/ 95 w 101"/>
                  <a:gd name="T67" fmla="*/ 0 h 183"/>
                  <a:gd name="T68" fmla="*/ 101 w 101"/>
                  <a:gd name="T69" fmla="*/ 5 h 183"/>
                  <a:gd name="T70" fmla="*/ 101 w 101"/>
                  <a:gd name="T71" fmla="*/ 177 h 183"/>
                  <a:gd name="T72" fmla="*/ 95 w 101"/>
                  <a:gd name="T73" fmla="*/ 183 h 183"/>
                  <a:gd name="T74" fmla="*/ 5 w 101"/>
                  <a:gd name="T75" fmla="*/ 183 h 183"/>
                  <a:gd name="T76" fmla="*/ 0 w 101"/>
                  <a:gd name="T77" fmla="*/ 177 h 183"/>
                  <a:gd name="T78" fmla="*/ 0 w 101"/>
                  <a:gd name="T79" fmla="*/ 5 h 183"/>
                  <a:gd name="T80" fmla="*/ 5 w 101"/>
                  <a:gd name="T8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183">
                    <a:moveTo>
                      <a:pt x="43" y="165"/>
                    </a:moveTo>
                    <a:cubicBezTo>
                      <a:pt x="42" y="165"/>
                      <a:pt x="42" y="166"/>
                      <a:pt x="42" y="166"/>
                    </a:cubicBezTo>
                    <a:cubicBezTo>
                      <a:pt x="42" y="172"/>
                      <a:pt x="42" y="172"/>
                      <a:pt x="42" y="172"/>
                    </a:cubicBezTo>
                    <a:cubicBezTo>
                      <a:pt x="42" y="173"/>
                      <a:pt x="42" y="174"/>
                      <a:pt x="43" y="174"/>
                    </a:cubicBezTo>
                    <a:cubicBezTo>
                      <a:pt x="57" y="174"/>
                      <a:pt x="57" y="174"/>
                      <a:pt x="57" y="174"/>
                    </a:cubicBezTo>
                    <a:cubicBezTo>
                      <a:pt x="58" y="174"/>
                      <a:pt x="59" y="173"/>
                      <a:pt x="59" y="172"/>
                    </a:cubicBezTo>
                    <a:cubicBezTo>
                      <a:pt x="59" y="166"/>
                      <a:pt x="59" y="166"/>
                      <a:pt x="59" y="166"/>
                    </a:cubicBezTo>
                    <a:cubicBezTo>
                      <a:pt x="59" y="166"/>
                      <a:pt x="58" y="165"/>
                      <a:pt x="57" y="165"/>
                    </a:cubicBezTo>
                    <a:lnTo>
                      <a:pt x="43" y="165"/>
                    </a:lnTo>
                    <a:close/>
                    <a:moveTo>
                      <a:pt x="7" y="11"/>
                    </a:moveTo>
                    <a:cubicBezTo>
                      <a:pt x="6" y="11"/>
                      <a:pt x="6" y="11"/>
                      <a:pt x="6" y="12"/>
                    </a:cubicBezTo>
                    <a:cubicBezTo>
                      <a:pt x="6" y="160"/>
                      <a:pt x="6" y="160"/>
                      <a:pt x="6" y="160"/>
                    </a:cubicBezTo>
                    <a:cubicBezTo>
                      <a:pt x="6" y="160"/>
                      <a:pt x="6" y="161"/>
                      <a:pt x="7" y="161"/>
                    </a:cubicBezTo>
                    <a:cubicBezTo>
                      <a:pt x="94" y="161"/>
                      <a:pt x="94" y="161"/>
                      <a:pt x="94" y="161"/>
                    </a:cubicBezTo>
                    <a:cubicBezTo>
                      <a:pt x="94" y="161"/>
                      <a:pt x="95" y="160"/>
                      <a:pt x="95" y="160"/>
                    </a:cubicBezTo>
                    <a:cubicBezTo>
                      <a:pt x="95" y="12"/>
                      <a:pt x="95" y="12"/>
                      <a:pt x="95" y="12"/>
                    </a:cubicBezTo>
                    <a:cubicBezTo>
                      <a:pt x="95" y="11"/>
                      <a:pt x="94" y="11"/>
                      <a:pt x="94" y="11"/>
                    </a:cubicBezTo>
                    <a:lnTo>
                      <a:pt x="7" y="11"/>
                    </a:lnTo>
                    <a:close/>
                    <a:moveTo>
                      <a:pt x="43" y="4"/>
                    </a:moveTo>
                    <a:cubicBezTo>
                      <a:pt x="43" y="4"/>
                      <a:pt x="43" y="5"/>
                      <a:pt x="43" y="5"/>
                    </a:cubicBezTo>
                    <a:cubicBezTo>
                      <a:pt x="43" y="6"/>
                      <a:pt x="43" y="6"/>
                      <a:pt x="43" y="6"/>
                    </a:cubicBezTo>
                    <a:cubicBezTo>
                      <a:pt x="43" y="7"/>
                      <a:pt x="43" y="7"/>
                      <a:pt x="43" y="7"/>
                    </a:cubicBezTo>
                    <a:cubicBezTo>
                      <a:pt x="57" y="7"/>
                      <a:pt x="57" y="7"/>
                      <a:pt x="57" y="7"/>
                    </a:cubicBezTo>
                    <a:cubicBezTo>
                      <a:pt x="57" y="7"/>
                      <a:pt x="58" y="7"/>
                      <a:pt x="58" y="6"/>
                    </a:cubicBezTo>
                    <a:cubicBezTo>
                      <a:pt x="58" y="5"/>
                      <a:pt x="58" y="5"/>
                      <a:pt x="58" y="5"/>
                    </a:cubicBezTo>
                    <a:cubicBezTo>
                      <a:pt x="58" y="5"/>
                      <a:pt x="57" y="4"/>
                      <a:pt x="57" y="4"/>
                    </a:cubicBezTo>
                    <a:lnTo>
                      <a:pt x="43" y="4"/>
                    </a:lnTo>
                    <a:close/>
                    <a:moveTo>
                      <a:pt x="81" y="3"/>
                    </a:moveTo>
                    <a:cubicBezTo>
                      <a:pt x="80" y="3"/>
                      <a:pt x="79" y="4"/>
                      <a:pt x="79" y="5"/>
                    </a:cubicBezTo>
                    <a:cubicBezTo>
                      <a:pt x="79" y="7"/>
                      <a:pt x="80" y="8"/>
                      <a:pt x="81" y="8"/>
                    </a:cubicBezTo>
                    <a:cubicBezTo>
                      <a:pt x="83" y="8"/>
                      <a:pt x="84" y="7"/>
                      <a:pt x="84" y="5"/>
                    </a:cubicBezTo>
                    <a:cubicBezTo>
                      <a:pt x="84" y="4"/>
                      <a:pt x="83" y="3"/>
                      <a:pt x="81" y="3"/>
                    </a:cubicBezTo>
                    <a:close/>
                    <a:moveTo>
                      <a:pt x="5" y="0"/>
                    </a:moveTo>
                    <a:cubicBezTo>
                      <a:pt x="95" y="0"/>
                      <a:pt x="95" y="0"/>
                      <a:pt x="95" y="0"/>
                    </a:cubicBezTo>
                    <a:cubicBezTo>
                      <a:pt x="98" y="0"/>
                      <a:pt x="101" y="2"/>
                      <a:pt x="101" y="5"/>
                    </a:cubicBezTo>
                    <a:cubicBezTo>
                      <a:pt x="101" y="177"/>
                      <a:pt x="101" y="177"/>
                      <a:pt x="101" y="177"/>
                    </a:cubicBezTo>
                    <a:cubicBezTo>
                      <a:pt x="101" y="180"/>
                      <a:pt x="98" y="183"/>
                      <a:pt x="95" y="183"/>
                    </a:cubicBezTo>
                    <a:cubicBezTo>
                      <a:pt x="5" y="183"/>
                      <a:pt x="5" y="183"/>
                      <a:pt x="5" y="183"/>
                    </a:cubicBezTo>
                    <a:cubicBezTo>
                      <a:pt x="2" y="183"/>
                      <a:pt x="0" y="180"/>
                      <a:pt x="0" y="177"/>
                    </a:cubicBezTo>
                    <a:cubicBezTo>
                      <a:pt x="0" y="5"/>
                      <a:pt x="0" y="5"/>
                      <a:pt x="0" y="5"/>
                    </a:cubicBezTo>
                    <a:cubicBezTo>
                      <a:pt x="0" y="2"/>
                      <a:pt x="2" y="0"/>
                      <a:pt x="5" y="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82" name="Freeform 215"/>
              <p:cNvSpPr>
                <a:spLocks noEditPoints="1"/>
              </p:cNvSpPr>
              <p:nvPr/>
            </p:nvSpPr>
            <p:spPr bwMode="auto">
              <a:xfrm>
                <a:off x="11958300" y="504892"/>
                <a:ext cx="112061" cy="208261"/>
              </a:xfrm>
              <a:custGeom>
                <a:avLst/>
                <a:gdLst>
                  <a:gd name="T0" fmla="*/ 51 w 102"/>
                  <a:gd name="T1" fmla="*/ 142 h 183"/>
                  <a:gd name="T2" fmla="*/ 45 w 102"/>
                  <a:gd name="T3" fmla="*/ 148 h 183"/>
                  <a:gd name="T4" fmla="*/ 51 w 102"/>
                  <a:gd name="T5" fmla="*/ 154 h 183"/>
                  <a:gd name="T6" fmla="*/ 57 w 102"/>
                  <a:gd name="T7" fmla="*/ 148 h 183"/>
                  <a:gd name="T8" fmla="*/ 51 w 102"/>
                  <a:gd name="T9" fmla="*/ 142 h 183"/>
                  <a:gd name="T10" fmla="*/ 51 w 102"/>
                  <a:gd name="T11" fmla="*/ 117 h 183"/>
                  <a:gd name="T12" fmla="*/ 40 w 102"/>
                  <a:gd name="T13" fmla="*/ 128 h 183"/>
                  <a:gd name="T14" fmla="*/ 51 w 102"/>
                  <a:gd name="T15" fmla="*/ 139 h 183"/>
                  <a:gd name="T16" fmla="*/ 62 w 102"/>
                  <a:gd name="T17" fmla="*/ 128 h 183"/>
                  <a:gd name="T18" fmla="*/ 51 w 102"/>
                  <a:gd name="T19" fmla="*/ 117 h 183"/>
                  <a:gd name="T20" fmla="*/ 72 w 102"/>
                  <a:gd name="T21" fmla="*/ 52 h 183"/>
                  <a:gd name="T22" fmla="*/ 72 w 102"/>
                  <a:gd name="T23" fmla="*/ 105 h 183"/>
                  <a:gd name="T24" fmla="*/ 78 w 102"/>
                  <a:gd name="T25" fmla="*/ 105 h 183"/>
                  <a:gd name="T26" fmla="*/ 78 w 102"/>
                  <a:gd name="T27" fmla="*/ 52 h 183"/>
                  <a:gd name="T28" fmla="*/ 72 w 102"/>
                  <a:gd name="T29" fmla="*/ 52 h 183"/>
                  <a:gd name="T30" fmla="*/ 56 w 102"/>
                  <a:gd name="T31" fmla="*/ 52 h 183"/>
                  <a:gd name="T32" fmla="*/ 56 w 102"/>
                  <a:gd name="T33" fmla="*/ 105 h 183"/>
                  <a:gd name="T34" fmla="*/ 63 w 102"/>
                  <a:gd name="T35" fmla="*/ 105 h 183"/>
                  <a:gd name="T36" fmla="*/ 63 w 102"/>
                  <a:gd name="T37" fmla="*/ 52 h 183"/>
                  <a:gd name="T38" fmla="*/ 56 w 102"/>
                  <a:gd name="T39" fmla="*/ 52 h 183"/>
                  <a:gd name="T40" fmla="*/ 40 w 102"/>
                  <a:gd name="T41" fmla="*/ 52 h 183"/>
                  <a:gd name="T42" fmla="*/ 40 w 102"/>
                  <a:gd name="T43" fmla="*/ 105 h 183"/>
                  <a:gd name="T44" fmla="*/ 47 w 102"/>
                  <a:gd name="T45" fmla="*/ 105 h 183"/>
                  <a:gd name="T46" fmla="*/ 47 w 102"/>
                  <a:gd name="T47" fmla="*/ 52 h 183"/>
                  <a:gd name="T48" fmla="*/ 40 w 102"/>
                  <a:gd name="T49" fmla="*/ 52 h 183"/>
                  <a:gd name="T50" fmla="*/ 24 w 102"/>
                  <a:gd name="T51" fmla="*/ 52 h 183"/>
                  <a:gd name="T52" fmla="*/ 24 w 102"/>
                  <a:gd name="T53" fmla="*/ 105 h 183"/>
                  <a:gd name="T54" fmla="*/ 31 w 102"/>
                  <a:gd name="T55" fmla="*/ 105 h 183"/>
                  <a:gd name="T56" fmla="*/ 31 w 102"/>
                  <a:gd name="T57" fmla="*/ 52 h 183"/>
                  <a:gd name="T58" fmla="*/ 24 w 102"/>
                  <a:gd name="T59" fmla="*/ 52 h 183"/>
                  <a:gd name="T60" fmla="*/ 13 w 102"/>
                  <a:gd name="T61" fmla="*/ 15 h 183"/>
                  <a:gd name="T62" fmla="*/ 11 w 102"/>
                  <a:gd name="T63" fmla="*/ 17 h 183"/>
                  <a:gd name="T64" fmla="*/ 11 w 102"/>
                  <a:gd name="T65" fmla="*/ 26 h 183"/>
                  <a:gd name="T66" fmla="*/ 13 w 102"/>
                  <a:gd name="T67" fmla="*/ 28 h 183"/>
                  <a:gd name="T68" fmla="*/ 89 w 102"/>
                  <a:gd name="T69" fmla="*/ 28 h 183"/>
                  <a:gd name="T70" fmla="*/ 91 w 102"/>
                  <a:gd name="T71" fmla="*/ 26 h 183"/>
                  <a:gd name="T72" fmla="*/ 91 w 102"/>
                  <a:gd name="T73" fmla="*/ 17 h 183"/>
                  <a:gd name="T74" fmla="*/ 89 w 102"/>
                  <a:gd name="T75" fmla="*/ 15 h 183"/>
                  <a:gd name="T76" fmla="*/ 13 w 102"/>
                  <a:gd name="T77" fmla="*/ 15 h 183"/>
                  <a:gd name="T78" fmla="*/ 5 w 102"/>
                  <a:gd name="T79" fmla="*/ 0 h 183"/>
                  <a:gd name="T80" fmla="*/ 97 w 102"/>
                  <a:gd name="T81" fmla="*/ 0 h 183"/>
                  <a:gd name="T82" fmla="*/ 102 w 102"/>
                  <a:gd name="T83" fmla="*/ 5 h 183"/>
                  <a:gd name="T84" fmla="*/ 102 w 102"/>
                  <a:gd name="T85" fmla="*/ 174 h 183"/>
                  <a:gd name="T86" fmla="*/ 97 w 102"/>
                  <a:gd name="T87" fmla="*/ 180 h 183"/>
                  <a:gd name="T88" fmla="*/ 91 w 102"/>
                  <a:gd name="T89" fmla="*/ 180 h 183"/>
                  <a:gd name="T90" fmla="*/ 91 w 102"/>
                  <a:gd name="T91" fmla="*/ 183 h 183"/>
                  <a:gd name="T92" fmla="*/ 11 w 102"/>
                  <a:gd name="T93" fmla="*/ 183 h 183"/>
                  <a:gd name="T94" fmla="*/ 11 w 102"/>
                  <a:gd name="T95" fmla="*/ 180 h 183"/>
                  <a:gd name="T96" fmla="*/ 5 w 102"/>
                  <a:gd name="T97" fmla="*/ 180 h 183"/>
                  <a:gd name="T98" fmla="*/ 0 w 102"/>
                  <a:gd name="T99" fmla="*/ 174 h 183"/>
                  <a:gd name="T100" fmla="*/ 0 w 102"/>
                  <a:gd name="T101" fmla="*/ 5 h 183"/>
                  <a:gd name="T102" fmla="*/ 5 w 102"/>
                  <a:gd name="T10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 h="183">
                    <a:moveTo>
                      <a:pt x="51" y="142"/>
                    </a:moveTo>
                    <a:cubicBezTo>
                      <a:pt x="48" y="142"/>
                      <a:pt x="45" y="145"/>
                      <a:pt x="45" y="148"/>
                    </a:cubicBezTo>
                    <a:cubicBezTo>
                      <a:pt x="45" y="151"/>
                      <a:pt x="48" y="154"/>
                      <a:pt x="51" y="154"/>
                    </a:cubicBezTo>
                    <a:cubicBezTo>
                      <a:pt x="54" y="154"/>
                      <a:pt x="57" y="151"/>
                      <a:pt x="57" y="148"/>
                    </a:cubicBezTo>
                    <a:cubicBezTo>
                      <a:pt x="57" y="145"/>
                      <a:pt x="54" y="142"/>
                      <a:pt x="51" y="142"/>
                    </a:cubicBezTo>
                    <a:close/>
                    <a:moveTo>
                      <a:pt x="51" y="117"/>
                    </a:moveTo>
                    <a:cubicBezTo>
                      <a:pt x="45" y="117"/>
                      <a:pt x="40" y="122"/>
                      <a:pt x="40" y="128"/>
                    </a:cubicBezTo>
                    <a:cubicBezTo>
                      <a:pt x="40" y="134"/>
                      <a:pt x="45" y="139"/>
                      <a:pt x="51" y="139"/>
                    </a:cubicBezTo>
                    <a:cubicBezTo>
                      <a:pt x="57" y="139"/>
                      <a:pt x="62" y="134"/>
                      <a:pt x="62" y="128"/>
                    </a:cubicBezTo>
                    <a:cubicBezTo>
                      <a:pt x="62" y="122"/>
                      <a:pt x="57" y="117"/>
                      <a:pt x="51" y="117"/>
                    </a:cubicBezTo>
                    <a:close/>
                    <a:moveTo>
                      <a:pt x="72" y="52"/>
                    </a:moveTo>
                    <a:cubicBezTo>
                      <a:pt x="72" y="105"/>
                      <a:pt x="72" y="105"/>
                      <a:pt x="72" y="105"/>
                    </a:cubicBezTo>
                    <a:cubicBezTo>
                      <a:pt x="78" y="105"/>
                      <a:pt x="78" y="105"/>
                      <a:pt x="78" y="105"/>
                    </a:cubicBezTo>
                    <a:cubicBezTo>
                      <a:pt x="78" y="52"/>
                      <a:pt x="78" y="52"/>
                      <a:pt x="78" y="52"/>
                    </a:cubicBezTo>
                    <a:cubicBezTo>
                      <a:pt x="72" y="52"/>
                      <a:pt x="72" y="52"/>
                      <a:pt x="72" y="52"/>
                    </a:cubicBezTo>
                    <a:close/>
                    <a:moveTo>
                      <a:pt x="56" y="52"/>
                    </a:moveTo>
                    <a:cubicBezTo>
                      <a:pt x="56" y="105"/>
                      <a:pt x="56" y="105"/>
                      <a:pt x="56" y="105"/>
                    </a:cubicBezTo>
                    <a:cubicBezTo>
                      <a:pt x="63" y="105"/>
                      <a:pt x="63" y="105"/>
                      <a:pt x="63" y="105"/>
                    </a:cubicBezTo>
                    <a:cubicBezTo>
                      <a:pt x="63" y="52"/>
                      <a:pt x="63" y="52"/>
                      <a:pt x="63" y="52"/>
                    </a:cubicBezTo>
                    <a:cubicBezTo>
                      <a:pt x="56" y="52"/>
                      <a:pt x="56" y="52"/>
                      <a:pt x="56" y="52"/>
                    </a:cubicBezTo>
                    <a:close/>
                    <a:moveTo>
                      <a:pt x="40" y="52"/>
                    </a:moveTo>
                    <a:cubicBezTo>
                      <a:pt x="40" y="105"/>
                      <a:pt x="40" y="105"/>
                      <a:pt x="40" y="105"/>
                    </a:cubicBezTo>
                    <a:cubicBezTo>
                      <a:pt x="47" y="105"/>
                      <a:pt x="47" y="105"/>
                      <a:pt x="47" y="105"/>
                    </a:cubicBezTo>
                    <a:cubicBezTo>
                      <a:pt x="47" y="52"/>
                      <a:pt x="47" y="52"/>
                      <a:pt x="47" y="52"/>
                    </a:cubicBezTo>
                    <a:cubicBezTo>
                      <a:pt x="40" y="52"/>
                      <a:pt x="40" y="52"/>
                      <a:pt x="40" y="52"/>
                    </a:cubicBezTo>
                    <a:close/>
                    <a:moveTo>
                      <a:pt x="24" y="52"/>
                    </a:moveTo>
                    <a:cubicBezTo>
                      <a:pt x="24" y="105"/>
                      <a:pt x="24" y="105"/>
                      <a:pt x="24" y="105"/>
                    </a:cubicBezTo>
                    <a:cubicBezTo>
                      <a:pt x="31" y="105"/>
                      <a:pt x="31" y="105"/>
                      <a:pt x="31" y="105"/>
                    </a:cubicBezTo>
                    <a:cubicBezTo>
                      <a:pt x="31" y="52"/>
                      <a:pt x="31" y="52"/>
                      <a:pt x="31" y="52"/>
                    </a:cubicBezTo>
                    <a:cubicBezTo>
                      <a:pt x="24" y="52"/>
                      <a:pt x="24" y="52"/>
                      <a:pt x="24" y="52"/>
                    </a:cubicBezTo>
                    <a:close/>
                    <a:moveTo>
                      <a:pt x="13" y="15"/>
                    </a:moveTo>
                    <a:cubicBezTo>
                      <a:pt x="12" y="15"/>
                      <a:pt x="11" y="16"/>
                      <a:pt x="11" y="17"/>
                    </a:cubicBezTo>
                    <a:cubicBezTo>
                      <a:pt x="11" y="26"/>
                      <a:pt x="11" y="26"/>
                      <a:pt x="11" y="26"/>
                    </a:cubicBezTo>
                    <a:cubicBezTo>
                      <a:pt x="11" y="27"/>
                      <a:pt x="12" y="28"/>
                      <a:pt x="13" y="28"/>
                    </a:cubicBezTo>
                    <a:cubicBezTo>
                      <a:pt x="89" y="28"/>
                      <a:pt x="89" y="28"/>
                      <a:pt x="89" y="28"/>
                    </a:cubicBezTo>
                    <a:cubicBezTo>
                      <a:pt x="90" y="28"/>
                      <a:pt x="91" y="27"/>
                      <a:pt x="91" y="26"/>
                    </a:cubicBezTo>
                    <a:cubicBezTo>
                      <a:pt x="91" y="17"/>
                      <a:pt x="91" y="17"/>
                      <a:pt x="91" y="17"/>
                    </a:cubicBezTo>
                    <a:cubicBezTo>
                      <a:pt x="91" y="16"/>
                      <a:pt x="90" y="15"/>
                      <a:pt x="89" y="15"/>
                    </a:cubicBezTo>
                    <a:lnTo>
                      <a:pt x="13" y="15"/>
                    </a:lnTo>
                    <a:close/>
                    <a:moveTo>
                      <a:pt x="5" y="0"/>
                    </a:moveTo>
                    <a:cubicBezTo>
                      <a:pt x="97" y="0"/>
                      <a:pt x="97" y="0"/>
                      <a:pt x="97" y="0"/>
                    </a:cubicBezTo>
                    <a:cubicBezTo>
                      <a:pt x="100" y="0"/>
                      <a:pt x="102" y="3"/>
                      <a:pt x="102" y="5"/>
                    </a:cubicBezTo>
                    <a:cubicBezTo>
                      <a:pt x="102" y="174"/>
                      <a:pt x="102" y="174"/>
                      <a:pt x="102" y="174"/>
                    </a:cubicBezTo>
                    <a:cubicBezTo>
                      <a:pt x="102" y="177"/>
                      <a:pt x="100" y="180"/>
                      <a:pt x="97" y="180"/>
                    </a:cubicBezTo>
                    <a:cubicBezTo>
                      <a:pt x="91" y="180"/>
                      <a:pt x="91" y="180"/>
                      <a:pt x="91" y="180"/>
                    </a:cubicBezTo>
                    <a:cubicBezTo>
                      <a:pt x="91" y="183"/>
                      <a:pt x="91" y="183"/>
                      <a:pt x="91" y="183"/>
                    </a:cubicBezTo>
                    <a:cubicBezTo>
                      <a:pt x="11" y="183"/>
                      <a:pt x="11" y="183"/>
                      <a:pt x="11" y="183"/>
                    </a:cubicBezTo>
                    <a:cubicBezTo>
                      <a:pt x="11" y="180"/>
                      <a:pt x="11" y="180"/>
                      <a:pt x="11" y="180"/>
                    </a:cubicBezTo>
                    <a:cubicBezTo>
                      <a:pt x="5" y="180"/>
                      <a:pt x="5" y="180"/>
                      <a:pt x="5" y="180"/>
                    </a:cubicBezTo>
                    <a:cubicBezTo>
                      <a:pt x="2" y="180"/>
                      <a:pt x="0" y="177"/>
                      <a:pt x="0" y="174"/>
                    </a:cubicBezTo>
                    <a:cubicBezTo>
                      <a:pt x="0" y="5"/>
                      <a:pt x="0" y="5"/>
                      <a:pt x="0" y="5"/>
                    </a:cubicBezTo>
                    <a:cubicBezTo>
                      <a:pt x="0" y="3"/>
                      <a:pt x="2" y="0"/>
                      <a:pt x="5" y="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80" name="Freeform 216"/>
              <p:cNvSpPr>
                <a:spLocks noEditPoints="1"/>
              </p:cNvSpPr>
              <p:nvPr/>
            </p:nvSpPr>
            <p:spPr bwMode="auto">
              <a:xfrm flipH="1">
                <a:off x="11096289" y="1199709"/>
                <a:ext cx="176096" cy="264099"/>
              </a:xfrm>
              <a:custGeom>
                <a:avLst/>
                <a:gdLst>
                  <a:gd name="T0" fmla="*/ 112 w 160"/>
                  <a:gd name="T1" fmla="*/ 211 h 232"/>
                  <a:gd name="T2" fmla="*/ 99 w 160"/>
                  <a:gd name="T3" fmla="*/ 202 h 232"/>
                  <a:gd name="T4" fmla="*/ 93 w 160"/>
                  <a:gd name="T5" fmla="*/ 215 h 232"/>
                  <a:gd name="T6" fmla="*/ 110 w 160"/>
                  <a:gd name="T7" fmla="*/ 196 h 232"/>
                  <a:gd name="T8" fmla="*/ 119 w 160"/>
                  <a:gd name="T9" fmla="*/ 202 h 232"/>
                  <a:gd name="T10" fmla="*/ 107 w 160"/>
                  <a:gd name="T11" fmla="*/ 208 h 232"/>
                  <a:gd name="T12" fmla="*/ 108 w 160"/>
                  <a:gd name="T13" fmla="*/ 194 h 232"/>
                  <a:gd name="T14" fmla="*/ 119 w 160"/>
                  <a:gd name="T15" fmla="*/ 198 h 232"/>
                  <a:gd name="T16" fmla="*/ 114 w 160"/>
                  <a:gd name="T17" fmla="*/ 192 h 232"/>
                  <a:gd name="T18" fmla="*/ 105 w 160"/>
                  <a:gd name="T19" fmla="*/ 186 h 232"/>
                  <a:gd name="T20" fmla="*/ 107 w 160"/>
                  <a:gd name="T21" fmla="*/ 192 h 232"/>
                  <a:gd name="T22" fmla="*/ 105 w 160"/>
                  <a:gd name="T23" fmla="*/ 186 h 232"/>
                  <a:gd name="T24" fmla="*/ 114 w 160"/>
                  <a:gd name="T25" fmla="*/ 184 h 232"/>
                  <a:gd name="T26" fmla="*/ 111 w 160"/>
                  <a:gd name="T27" fmla="*/ 189 h 232"/>
                  <a:gd name="T28" fmla="*/ 108 w 160"/>
                  <a:gd name="T29" fmla="*/ 184 h 232"/>
                  <a:gd name="T30" fmla="*/ 112 w 160"/>
                  <a:gd name="T31" fmla="*/ 178 h 232"/>
                  <a:gd name="T32" fmla="*/ 66 w 160"/>
                  <a:gd name="T33" fmla="*/ 79 h 232"/>
                  <a:gd name="T34" fmla="*/ 76 w 160"/>
                  <a:gd name="T35" fmla="*/ 74 h 232"/>
                  <a:gd name="T36" fmla="*/ 82 w 160"/>
                  <a:gd name="T37" fmla="*/ 177 h 232"/>
                  <a:gd name="T38" fmla="*/ 105 w 160"/>
                  <a:gd name="T39" fmla="*/ 180 h 232"/>
                  <a:gd name="T40" fmla="*/ 98 w 160"/>
                  <a:gd name="T41" fmla="*/ 196 h 232"/>
                  <a:gd name="T42" fmla="*/ 95 w 160"/>
                  <a:gd name="T43" fmla="*/ 201 h 232"/>
                  <a:gd name="T44" fmla="*/ 86 w 160"/>
                  <a:gd name="T45" fmla="*/ 216 h 232"/>
                  <a:gd name="T46" fmla="*/ 86 w 160"/>
                  <a:gd name="T47" fmla="*/ 221 h 232"/>
                  <a:gd name="T48" fmla="*/ 86 w 160"/>
                  <a:gd name="T49" fmla="*/ 227 h 232"/>
                  <a:gd name="T50" fmla="*/ 91 w 160"/>
                  <a:gd name="T51" fmla="*/ 222 h 232"/>
                  <a:gd name="T52" fmla="*/ 92 w 160"/>
                  <a:gd name="T53" fmla="*/ 217 h 232"/>
                  <a:gd name="T54" fmla="*/ 111 w 160"/>
                  <a:gd name="T55" fmla="*/ 214 h 232"/>
                  <a:gd name="T56" fmla="*/ 124 w 160"/>
                  <a:gd name="T57" fmla="*/ 221 h 232"/>
                  <a:gd name="T58" fmla="*/ 125 w 160"/>
                  <a:gd name="T59" fmla="*/ 225 h 232"/>
                  <a:gd name="T60" fmla="*/ 123 w 160"/>
                  <a:gd name="T61" fmla="*/ 230 h 232"/>
                  <a:gd name="T62" fmla="*/ 129 w 160"/>
                  <a:gd name="T63" fmla="*/ 231 h 232"/>
                  <a:gd name="T64" fmla="*/ 128 w 160"/>
                  <a:gd name="T65" fmla="*/ 225 h 232"/>
                  <a:gd name="T66" fmla="*/ 127 w 160"/>
                  <a:gd name="T67" fmla="*/ 217 h 232"/>
                  <a:gd name="T68" fmla="*/ 126 w 160"/>
                  <a:gd name="T69" fmla="*/ 201 h 232"/>
                  <a:gd name="T70" fmla="*/ 120 w 160"/>
                  <a:gd name="T71" fmla="*/ 187 h 232"/>
                  <a:gd name="T72" fmla="*/ 117 w 160"/>
                  <a:gd name="T73" fmla="*/ 177 h 232"/>
                  <a:gd name="T74" fmla="*/ 125 w 160"/>
                  <a:gd name="T75" fmla="*/ 173 h 232"/>
                  <a:gd name="T76" fmla="*/ 155 w 160"/>
                  <a:gd name="T77" fmla="*/ 80 h 232"/>
                  <a:gd name="T78" fmla="*/ 66 w 160"/>
                  <a:gd name="T79" fmla="*/ 78 h 232"/>
                  <a:gd name="T80" fmla="*/ 66 w 160"/>
                  <a:gd name="T81" fmla="*/ 43 h 232"/>
                  <a:gd name="T82" fmla="*/ 48 w 160"/>
                  <a:gd name="T83" fmla="*/ 61 h 232"/>
                  <a:gd name="T84" fmla="*/ 66 w 160"/>
                  <a:gd name="T85" fmla="*/ 43 h 232"/>
                  <a:gd name="T86" fmla="*/ 22 w 160"/>
                  <a:gd name="T87" fmla="*/ 58 h 232"/>
                  <a:gd name="T88" fmla="*/ 62 w 160"/>
                  <a:gd name="T89" fmla="*/ 33 h 232"/>
                  <a:gd name="T90" fmla="*/ 54 w 160"/>
                  <a:gd name="T91" fmla="*/ 0 h 232"/>
                  <a:gd name="T92" fmla="*/ 13 w 160"/>
                  <a:gd name="T93" fmla="*/ 49 h 232"/>
                  <a:gd name="T94" fmla="*/ 59 w 160"/>
                  <a:gd name="T95" fmla="*/ 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232">
                    <a:moveTo>
                      <a:pt x="120" y="204"/>
                    </a:moveTo>
                    <a:cubicBezTo>
                      <a:pt x="123" y="218"/>
                      <a:pt x="123" y="218"/>
                      <a:pt x="123" y="218"/>
                    </a:cubicBezTo>
                    <a:cubicBezTo>
                      <a:pt x="112" y="211"/>
                      <a:pt x="112" y="211"/>
                      <a:pt x="112" y="211"/>
                    </a:cubicBezTo>
                    <a:cubicBezTo>
                      <a:pt x="112" y="210"/>
                      <a:pt x="112" y="210"/>
                      <a:pt x="112" y="210"/>
                    </a:cubicBezTo>
                    <a:cubicBezTo>
                      <a:pt x="120" y="204"/>
                      <a:pt x="120" y="204"/>
                      <a:pt x="120" y="204"/>
                    </a:cubicBezTo>
                    <a:close/>
                    <a:moveTo>
                      <a:pt x="99" y="202"/>
                    </a:moveTo>
                    <a:cubicBezTo>
                      <a:pt x="106" y="210"/>
                      <a:pt x="106" y="210"/>
                      <a:pt x="106" y="210"/>
                    </a:cubicBezTo>
                    <a:cubicBezTo>
                      <a:pt x="106" y="210"/>
                      <a:pt x="106" y="210"/>
                      <a:pt x="106" y="210"/>
                    </a:cubicBezTo>
                    <a:cubicBezTo>
                      <a:pt x="93" y="215"/>
                      <a:pt x="93" y="215"/>
                      <a:pt x="93" y="215"/>
                    </a:cubicBezTo>
                    <a:cubicBezTo>
                      <a:pt x="99" y="202"/>
                      <a:pt x="99" y="202"/>
                      <a:pt x="99" y="202"/>
                    </a:cubicBezTo>
                    <a:close/>
                    <a:moveTo>
                      <a:pt x="108" y="194"/>
                    </a:moveTo>
                    <a:cubicBezTo>
                      <a:pt x="108" y="195"/>
                      <a:pt x="109" y="196"/>
                      <a:pt x="110" y="196"/>
                    </a:cubicBezTo>
                    <a:cubicBezTo>
                      <a:pt x="111" y="196"/>
                      <a:pt x="112" y="195"/>
                      <a:pt x="112" y="195"/>
                    </a:cubicBezTo>
                    <a:cubicBezTo>
                      <a:pt x="119" y="202"/>
                      <a:pt x="119" y="202"/>
                      <a:pt x="119" y="202"/>
                    </a:cubicBezTo>
                    <a:cubicBezTo>
                      <a:pt x="119" y="202"/>
                      <a:pt x="119" y="202"/>
                      <a:pt x="119" y="202"/>
                    </a:cubicBezTo>
                    <a:cubicBezTo>
                      <a:pt x="111" y="209"/>
                      <a:pt x="111" y="209"/>
                      <a:pt x="111" y="209"/>
                    </a:cubicBezTo>
                    <a:cubicBezTo>
                      <a:pt x="110" y="208"/>
                      <a:pt x="110" y="208"/>
                      <a:pt x="109" y="208"/>
                    </a:cubicBezTo>
                    <a:cubicBezTo>
                      <a:pt x="108" y="208"/>
                      <a:pt x="108" y="208"/>
                      <a:pt x="107" y="208"/>
                    </a:cubicBezTo>
                    <a:cubicBezTo>
                      <a:pt x="100" y="200"/>
                      <a:pt x="100" y="200"/>
                      <a:pt x="100" y="200"/>
                    </a:cubicBezTo>
                    <a:cubicBezTo>
                      <a:pt x="100" y="200"/>
                      <a:pt x="100" y="200"/>
                      <a:pt x="100" y="200"/>
                    </a:cubicBezTo>
                    <a:lnTo>
                      <a:pt x="108" y="194"/>
                    </a:lnTo>
                    <a:close/>
                    <a:moveTo>
                      <a:pt x="116" y="188"/>
                    </a:moveTo>
                    <a:cubicBezTo>
                      <a:pt x="117" y="188"/>
                      <a:pt x="117" y="188"/>
                      <a:pt x="117" y="188"/>
                    </a:cubicBezTo>
                    <a:cubicBezTo>
                      <a:pt x="119" y="198"/>
                      <a:pt x="119" y="198"/>
                      <a:pt x="119" y="198"/>
                    </a:cubicBezTo>
                    <a:cubicBezTo>
                      <a:pt x="113" y="193"/>
                      <a:pt x="113" y="193"/>
                      <a:pt x="113" y="193"/>
                    </a:cubicBezTo>
                    <a:cubicBezTo>
                      <a:pt x="114" y="193"/>
                      <a:pt x="114" y="193"/>
                      <a:pt x="114" y="193"/>
                    </a:cubicBezTo>
                    <a:cubicBezTo>
                      <a:pt x="114" y="192"/>
                      <a:pt x="114" y="192"/>
                      <a:pt x="114" y="192"/>
                    </a:cubicBezTo>
                    <a:cubicBezTo>
                      <a:pt x="114" y="192"/>
                      <a:pt x="113" y="191"/>
                      <a:pt x="113" y="191"/>
                    </a:cubicBezTo>
                    <a:lnTo>
                      <a:pt x="116" y="188"/>
                    </a:lnTo>
                    <a:close/>
                    <a:moveTo>
                      <a:pt x="105" y="186"/>
                    </a:moveTo>
                    <a:cubicBezTo>
                      <a:pt x="108" y="190"/>
                      <a:pt x="108" y="190"/>
                      <a:pt x="108" y="190"/>
                    </a:cubicBezTo>
                    <a:cubicBezTo>
                      <a:pt x="107" y="191"/>
                      <a:pt x="107" y="191"/>
                      <a:pt x="107" y="192"/>
                    </a:cubicBezTo>
                    <a:cubicBezTo>
                      <a:pt x="107" y="192"/>
                      <a:pt x="107" y="192"/>
                      <a:pt x="107" y="192"/>
                    </a:cubicBezTo>
                    <a:cubicBezTo>
                      <a:pt x="101" y="196"/>
                      <a:pt x="101" y="196"/>
                      <a:pt x="101" y="196"/>
                    </a:cubicBezTo>
                    <a:cubicBezTo>
                      <a:pt x="105" y="187"/>
                      <a:pt x="105" y="187"/>
                      <a:pt x="105" y="187"/>
                    </a:cubicBezTo>
                    <a:cubicBezTo>
                      <a:pt x="105" y="186"/>
                      <a:pt x="105" y="186"/>
                      <a:pt x="105" y="186"/>
                    </a:cubicBezTo>
                    <a:close/>
                    <a:moveTo>
                      <a:pt x="115" y="178"/>
                    </a:moveTo>
                    <a:cubicBezTo>
                      <a:pt x="116" y="182"/>
                      <a:pt x="116" y="182"/>
                      <a:pt x="116" y="182"/>
                    </a:cubicBezTo>
                    <a:cubicBezTo>
                      <a:pt x="115" y="183"/>
                      <a:pt x="115" y="183"/>
                      <a:pt x="114" y="184"/>
                    </a:cubicBezTo>
                    <a:cubicBezTo>
                      <a:pt x="114" y="185"/>
                      <a:pt x="115" y="186"/>
                      <a:pt x="115" y="186"/>
                    </a:cubicBezTo>
                    <a:cubicBezTo>
                      <a:pt x="112" y="189"/>
                      <a:pt x="112" y="189"/>
                      <a:pt x="112" y="189"/>
                    </a:cubicBezTo>
                    <a:cubicBezTo>
                      <a:pt x="111" y="189"/>
                      <a:pt x="111" y="189"/>
                      <a:pt x="111" y="189"/>
                    </a:cubicBezTo>
                    <a:cubicBezTo>
                      <a:pt x="110" y="189"/>
                      <a:pt x="110" y="189"/>
                      <a:pt x="110" y="189"/>
                    </a:cubicBezTo>
                    <a:cubicBezTo>
                      <a:pt x="107" y="185"/>
                      <a:pt x="107" y="185"/>
                      <a:pt x="107" y="185"/>
                    </a:cubicBezTo>
                    <a:cubicBezTo>
                      <a:pt x="108" y="185"/>
                      <a:pt x="108" y="184"/>
                      <a:pt x="108" y="184"/>
                    </a:cubicBezTo>
                    <a:cubicBezTo>
                      <a:pt x="108" y="183"/>
                      <a:pt x="108" y="182"/>
                      <a:pt x="107" y="181"/>
                    </a:cubicBezTo>
                    <a:cubicBezTo>
                      <a:pt x="109" y="177"/>
                      <a:pt x="109" y="177"/>
                      <a:pt x="109" y="177"/>
                    </a:cubicBezTo>
                    <a:cubicBezTo>
                      <a:pt x="110" y="178"/>
                      <a:pt x="111" y="178"/>
                      <a:pt x="112" y="178"/>
                    </a:cubicBezTo>
                    <a:cubicBezTo>
                      <a:pt x="113" y="178"/>
                      <a:pt x="114" y="178"/>
                      <a:pt x="115" y="178"/>
                    </a:cubicBezTo>
                    <a:close/>
                    <a:moveTo>
                      <a:pt x="76" y="74"/>
                    </a:moveTo>
                    <a:cubicBezTo>
                      <a:pt x="74" y="77"/>
                      <a:pt x="71" y="80"/>
                      <a:pt x="66" y="79"/>
                    </a:cubicBezTo>
                    <a:cubicBezTo>
                      <a:pt x="84" y="116"/>
                      <a:pt x="84" y="116"/>
                      <a:pt x="84" y="116"/>
                    </a:cubicBezTo>
                    <a:cubicBezTo>
                      <a:pt x="88" y="114"/>
                      <a:pt x="94" y="110"/>
                      <a:pt x="97" y="108"/>
                    </a:cubicBezTo>
                    <a:cubicBezTo>
                      <a:pt x="91" y="96"/>
                      <a:pt x="83" y="86"/>
                      <a:pt x="76" y="74"/>
                    </a:cubicBezTo>
                    <a:close/>
                    <a:moveTo>
                      <a:pt x="155" y="80"/>
                    </a:moveTo>
                    <a:cubicBezTo>
                      <a:pt x="31" y="148"/>
                      <a:pt x="31" y="148"/>
                      <a:pt x="31" y="148"/>
                    </a:cubicBezTo>
                    <a:cubicBezTo>
                      <a:pt x="42" y="164"/>
                      <a:pt x="60" y="175"/>
                      <a:pt x="82" y="177"/>
                    </a:cubicBezTo>
                    <a:cubicBezTo>
                      <a:pt x="90" y="178"/>
                      <a:pt x="98" y="177"/>
                      <a:pt x="106" y="175"/>
                    </a:cubicBezTo>
                    <a:cubicBezTo>
                      <a:pt x="107" y="176"/>
                      <a:pt x="107" y="176"/>
                      <a:pt x="107" y="176"/>
                    </a:cubicBezTo>
                    <a:cubicBezTo>
                      <a:pt x="105" y="180"/>
                      <a:pt x="105" y="180"/>
                      <a:pt x="105" y="180"/>
                    </a:cubicBezTo>
                    <a:cubicBezTo>
                      <a:pt x="103" y="180"/>
                      <a:pt x="102" y="181"/>
                      <a:pt x="102" y="183"/>
                    </a:cubicBezTo>
                    <a:cubicBezTo>
                      <a:pt x="102" y="184"/>
                      <a:pt x="102" y="185"/>
                      <a:pt x="102" y="186"/>
                    </a:cubicBezTo>
                    <a:cubicBezTo>
                      <a:pt x="98" y="196"/>
                      <a:pt x="98" y="196"/>
                      <a:pt x="98" y="196"/>
                    </a:cubicBezTo>
                    <a:cubicBezTo>
                      <a:pt x="97" y="195"/>
                      <a:pt x="97" y="195"/>
                      <a:pt x="97" y="195"/>
                    </a:cubicBezTo>
                    <a:cubicBezTo>
                      <a:pt x="95" y="195"/>
                      <a:pt x="94" y="197"/>
                      <a:pt x="94" y="198"/>
                    </a:cubicBezTo>
                    <a:cubicBezTo>
                      <a:pt x="94" y="200"/>
                      <a:pt x="94" y="201"/>
                      <a:pt x="95" y="201"/>
                    </a:cubicBezTo>
                    <a:cubicBezTo>
                      <a:pt x="90" y="214"/>
                      <a:pt x="90" y="214"/>
                      <a:pt x="90" y="214"/>
                    </a:cubicBezTo>
                    <a:cubicBezTo>
                      <a:pt x="89" y="213"/>
                      <a:pt x="89" y="213"/>
                      <a:pt x="89" y="213"/>
                    </a:cubicBezTo>
                    <a:cubicBezTo>
                      <a:pt x="87" y="213"/>
                      <a:pt x="86" y="215"/>
                      <a:pt x="86" y="216"/>
                    </a:cubicBezTo>
                    <a:cubicBezTo>
                      <a:pt x="85" y="218"/>
                      <a:pt x="86" y="219"/>
                      <a:pt x="87" y="220"/>
                    </a:cubicBezTo>
                    <a:cubicBezTo>
                      <a:pt x="87" y="221"/>
                      <a:pt x="87" y="221"/>
                      <a:pt x="87" y="221"/>
                    </a:cubicBezTo>
                    <a:cubicBezTo>
                      <a:pt x="86" y="221"/>
                      <a:pt x="86" y="221"/>
                      <a:pt x="86" y="221"/>
                    </a:cubicBezTo>
                    <a:cubicBezTo>
                      <a:pt x="86" y="221"/>
                      <a:pt x="85" y="221"/>
                      <a:pt x="85" y="222"/>
                    </a:cubicBezTo>
                    <a:cubicBezTo>
                      <a:pt x="85" y="226"/>
                      <a:pt x="85" y="226"/>
                      <a:pt x="85" y="226"/>
                    </a:cubicBezTo>
                    <a:cubicBezTo>
                      <a:pt x="85" y="227"/>
                      <a:pt x="85" y="227"/>
                      <a:pt x="86" y="227"/>
                    </a:cubicBezTo>
                    <a:cubicBezTo>
                      <a:pt x="90" y="228"/>
                      <a:pt x="90" y="228"/>
                      <a:pt x="90" y="228"/>
                    </a:cubicBezTo>
                    <a:cubicBezTo>
                      <a:pt x="90" y="228"/>
                      <a:pt x="91" y="227"/>
                      <a:pt x="91" y="227"/>
                    </a:cubicBezTo>
                    <a:cubicBezTo>
                      <a:pt x="91" y="222"/>
                      <a:pt x="91" y="222"/>
                      <a:pt x="91" y="222"/>
                    </a:cubicBezTo>
                    <a:cubicBezTo>
                      <a:pt x="91" y="222"/>
                      <a:pt x="91" y="221"/>
                      <a:pt x="90" y="221"/>
                    </a:cubicBezTo>
                    <a:cubicBezTo>
                      <a:pt x="90" y="221"/>
                      <a:pt x="90" y="221"/>
                      <a:pt x="90" y="221"/>
                    </a:cubicBezTo>
                    <a:cubicBezTo>
                      <a:pt x="92" y="217"/>
                      <a:pt x="92" y="217"/>
                      <a:pt x="92" y="217"/>
                    </a:cubicBezTo>
                    <a:cubicBezTo>
                      <a:pt x="106" y="212"/>
                      <a:pt x="106" y="212"/>
                      <a:pt x="106" y="212"/>
                    </a:cubicBezTo>
                    <a:cubicBezTo>
                      <a:pt x="106" y="214"/>
                      <a:pt x="107" y="214"/>
                      <a:pt x="108" y="214"/>
                    </a:cubicBezTo>
                    <a:cubicBezTo>
                      <a:pt x="109" y="215"/>
                      <a:pt x="110" y="214"/>
                      <a:pt x="111" y="214"/>
                    </a:cubicBezTo>
                    <a:cubicBezTo>
                      <a:pt x="111" y="214"/>
                      <a:pt x="111" y="214"/>
                      <a:pt x="111" y="214"/>
                    </a:cubicBezTo>
                    <a:cubicBezTo>
                      <a:pt x="111" y="213"/>
                      <a:pt x="111" y="213"/>
                      <a:pt x="111" y="213"/>
                    </a:cubicBezTo>
                    <a:cubicBezTo>
                      <a:pt x="124" y="221"/>
                      <a:pt x="124" y="221"/>
                      <a:pt x="124" y="221"/>
                    </a:cubicBezTo>
                    <a:cubicBezTo>
                      <a:pt x="124" y="221"/>
                      <a:pt x="124" y="221"/>
                      <a:pt x="124" y="221"/>
                    </a:cubicBezTo>
                    <a:cubicBezTo>
                      <a:pt x="124" y="221"/>
                      <a:pt x="124" y="221"/>
                      <a:pt x="124" y="222"/>
                    </a:cubicBezTo>
                    <a:cubicBezTo>
                      <a:pt x="125" y="225"/>
                      <a:pt x="125" y="225"/>
                      <a:pt x="125" y="225"/>
                    </a:cubicBezTo>
                    <a:cubicBezTo>
                      <a:pt x="125" y="225"/>
                      <a:pt x="125" y="225"/>
                      <a:pt x="125" y="225"/>
                    </a:cubicBezTo>
                    <a:cubicBezTo>
                      <a:pt x="124" y="225"/>
                      <a:pt x="123" y="225"/>
                      <a:pt x="123" y="226"/>
                    </a:cubicBezTo>
                    <a:cubicBezTo>
                      <a:pt x="123" y="230"/>
                      <a:pt x="123" y="230"/>
                      <a:pt x="123" y="230"/>
                    </a:cubicBezTo>
                    <a:cubicBezTo>
                      <a:pt x="123" y="231"/>
                      <a:pt x="123" y="231"/>
                      <a:pt x="124" y="231"/>
                    </a:cubicBezTo>
                    <a:cubicBezTo>
                      <a:pt x="128" y="231"/>
                      <a:pt x="128" y="231"/>
                      <a:pt x="128" y="231"/>
                    </a:cubicBezTo>
                    <a:cubicBezTo>
                      <a:pt x="128" y="232"/>
                      <a:pt x="129" y="231"/>
                      <a:pt x="129" y="231"/>
                    </a:cubicBezTo>
                    <a:cubicBezTo>
                      <a:pt x="129" y="226"/>
                      <a:pt x="129" y="226"/>
                      <a:pt x="129" y="226"/>
                    </a:cubicBezTo>
                    <a:cubicBezTo>
                      <a:pt x="130" y="226"/>
                      <a:pt x="129" y="225"/>
                      <a:pt x="129" y="225"/>
                    </a:cubicBezTo>
                    <a:cubicBezTo>
                      <a:pt x="128" y="225"/>
                      <a:pt x="128" y="225"/>
                      <a:pt x="128" y="225"/>
                    </a:cubicBezTo>
                    <a:cubicBezTo>
                      <a:pt x="128" y="224"/>
                      <a:pt x="128" y="224"/>
                      <a:pt x="128" y="224"/>
                    </a:cubicBezTo>
                    <a:cubicBezTo>
                      <a:pt x="129" y="223"/>
                      <a:pt x="130" y="222"/>
                      <a:pt x="130" y="221"/>
                    </a:cubicBezTo>
                    <a:cubicBezTo>
                      <a:pt x="130" y="219"/>
                      <a:pt x="129" y="217"/>
                      <a:pt x="127" y="217"/>
                    </a:cubicBezTo>
                    <a:cubicBezTo>
                      <a:pt x="126" y="217"/>
                      <a:pt x="126" y="217"/>
                      <a:pt x="126" y="217"/>
                    </a:cubicBezTo>
                    <a:cubicBezTo>
                      <a:pt x="123" y="204"/>
                      <a:pt x="123" y="204"/>
                      <a:pt x="123" y="204"/>
                    </a:cubicBezTo>
                    <a:cubicBezTo>
                      <a:pt x="125" y="204"/>
                      <a:pt x="125" y="203"/>
                      <a:pt x="126" y="201"/>
                    </a:cubicBezTo>
                    <a:cubicBezTo>
                      <a:pt x="126" y="200"/>
                      <a:pt x="124" y="198"/>
                      <a:pt x="123" y="198"/>
                    </a:cubicBezTo>
                    <a:cubicBezTo>
                      <a:pt x="122" y="198"/>
                      <a:pt x="122" y="198"/>
                      <a:pt x="122" y="198"/>
                    </a:cubicBezTo>
                    <a:cubicBezTo>
                      <a:pt x="120" y="187"/>
                      <a:pt x="120" y="187"/>
                      <a:pt x="120" y="187"/>
                    </a:cubicBezTo>
                    <a:cubicBezTo>
                      <a:pt x="120" y="187"/>
                      <a:pt x="121" y="186"/>
                      <a:pt x="121" y="185"/>
                    </a:cubicBezTo>
                    <a:cubicBezTo>
                      <a:pt x="121" y="183"/>
                      <a:pt x="120" y="182"/>
                      <a:pt x="118" y="182"/>
                    </a:cubicBezTo>
                    <a:cubicBezTo>
                      <a:pt x="117" y="177"/>
                      <a:pt x="117" y="177"/>
                      <a:pt x="117" y="177"/>
                    </a:cubicBezTo>
                    <a:cubicBezTo>
                      <a:pt x="118" y="176"/>
                      <a:pt x="118" y="176"/>
                      <a:pt x="119" y="175"/>
                    </a:cubicBezTo>
                    <a:cubicBezTo>
                      <a:pt x="122" y="175"/>
                      <a:pt x="122" y="175"/>
                      <a:pt x="122" y="175"/>
                    </a:cubicBezTo>
                    <a:cubicBezTo>
                      <a:pt x="123" y="175"/>
                      <a:pt x="125" y="174"/>
                      <a:pt x="125" y="173"/>
                    </a:cubicBezTo>
                    <a:cubicBezTo>
                      <a:pt x="125" y="167"/>
                      <a:pt x="125" y="167"/>
                      <a:pt x="125" y="167"/>
                    </a:cubicBezTo>
                    <a:cubicBezTo>
                      <a:pt x="144" y="155"/>
                      <a:pt x="157" y="136"/>
                      <a:pt x="159" y="113"/>
                    </a:cubicBezTo>
                    <a:cubicBezTo>
                      <a:pt x="160" y="101"/>
                      <a:pt x="159" y="90"/>
                      <a:pt x="155" y="80"/>
                    </a:cubicBezTo>
                    <a:close/>
                    <a:moveTo>
                      <a:pt x="67" y="59"/>
                    </a:moveTo>
                    <a:cubicBezTo>
                      <a:pt x="62" y="59"/>
                      <a:pt x="57" y="63"/>
                      <a:pt x="57" y="68"/>
                    </a:cubicBezTo>
                    <a:cubicBezTo>
                      <a:pt x="56" y="73"/>
                      <a:pt x="60" y="78"/>
                      <a:pt x="66" y="78"/>
                    </a:cubicBezTo>
                    <a:cubicBezTo>
                      <a:pt x="71" y="79"/>
                      <a:pt x="75" y="75"/>
                      <a:pt x="76" y="70"/>
                    </a:cubicBezTo>
                    <a:cubicBezTo>
                      <a:pt x="76" y="64"/>
                      <a:pt x="73" y="60"/>
                      <a:pt x="67" y="59"/>
                    </a:cubicBezTo>
                    <a:close/>
                    <a:moveTo>
                      <a:pt x="66" y="43"/>
                    </a:moveTo>
                    <a:cubicBezTo>
                      <a:pt x="60" y="42"/>
                      <a:pt x="55" y="44"/>
                      <a:pt x="50" y="48"/>
                    </a:cubicBezTo>
                    <a:cubicBezTo>
                      <a:pt x="46" y="51"/>
                      <a:pt x="43" y="56"/>
                      <a:pt x="43" y="62"/>
                    </a:cubicBezTo>
                    <a:cubicBezTo>
                      <a:pt x="48" y="61"/>
                      <a:pt x="48" y="61"/>
                      <a:pt x="48" y="61"/>
                    </a:cubicBezTo>
                    <a:cubicBezTo>
                      <a:pt x="48" y="58"/>
                      <a:pt x="50" y="54"/>
                      <a:pt x="53" y="51"/>
                    </a:cubicBezTo>
                    <a:cubicBezTo>
                      <a:pt x="57" y="49"/>
                      <a:pt x="61" y="47"/>
                      <a:pt x="64" y="48"/>
                    </a:cubicBezTo>
                    <a:lnTo>
                      <a:pt x="66" y="43"/>
                    </a:lnTo>
                    <a:close/>
                    <a:moveTo>
                      <a:pt x="60" y="23"/>
                    </a:moveTo>
                    <a:cubicBezTo>
                      <a:pt x="51" y="23"/>
                      <a:pt x="42" y="26"/>
                      <a:pt x="35" y="32"/>
                    </a:cubicBezTo>
                    <a:cubicBezTo>
                      <a:pt x="28" y="38"/>
                      <a:pt x="23" y="48"/>
                      <a:pt x="22" y="58"/>
                    </a:cubicBezTo>
                    <a:cubicBezTo>
                      <a:pt x="31" y="58"/>
                      <a:pt x="31" y="58"/>
                      <a:pt x="31" y="58"/>
                    </a:cubicBezTo>
                    <a:cubicBezTo>
                      <a:pt x="32" y="51"/>
                      <a:pt x="35" y="44"/>
                      <a:pt x="41" y="39"/>
                    </a:cubicBezTo>
                    <a:cubicBezTo>
                      <a:pt x="47" y="34"/>
                      <a:pt x="55" y="32"/>
                      <a:pt x="62" y="33"/>
                    </a:cubicBezTo>
                    <a:cubicBezTo>
                      <a:pt x="64" y="24"/>
                      <a:pt x="64" y="24"/>
                      <a:pt x="64" y="24"/>
                    </a:cubicBezTo>
                    <a:cubicBezTo>
                      <a:pt x="63" y="24"/>
                      <a:pt x="61" y="24"/>
                      <a:pt x="60" y="23"/>
                    </a:cubicBezTo>
                    <a:close/>
                    <a:moveTo>
                      <a:pt x="54" y="0"/>
                    </a:moveTo>
                    <a:cubicBezTo>
                      <a:pt x="42" y="0"/>
                      <a:pt x="29" y="4"/>
                      <a:pt x="19" y="12"/>
                    </a:cubicBezTo>
                    <a:cubicBezTo>
                      <a:pt x="8" y="22"/>
                      <a:pt x="1" y="35"/>
                      <a:pt x="0" y="49"/>
                    </a:cubicBezTo>
                    <a:cubicBezTo>
                      <a:pt x="13" y="49"/>
                      <a:pt x="13" y="49"/>
                      <a:pt x="13" y="49"/>
                    </a:cubicBezTo>
                    <a:cubicBezTo>
                      <a:pt x="14" y="39"/>
                      <a:pt x="19" y="29"/>
                      <a:pt x="27" y="22"/>
                    </a:cubicBezTo>
                    <a:cubicBezTo>
                      <a:pt x="35" y="15"/>
                      <a:pt x="46" y="12"/>
                      <a:pt x="56" y="14"/>
                    </a:cubicBezTo>
                    <a:cubicBezTo>
                      <a:pt x="59" y="1"/>
                      <a:pt x="59" y="1"/>
                      <a:pt x="59" y="1"/>
                    </a:cubicBezTo>
                    <a:cubicBezTo>
                      <a:pt x="58" y="1"/>
                      <a:pt x="56" y="1"/>
                      <a:pt x="54" y="0"/>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84" name="Freeform 217"/>
              <p:cNvSpPr>
                <a:spLocks/>
              </p:cNvSpPr>
              <p:nvPr/>
            </p:nvSpPr>
            <p:spPr bwMode="auto">
              <a:xfrm rot="5400000">
                <a:off x="11267838" y="-133605"/>
                <a:ext cx="232853" cy="1574030"/>
              </a:xfrm>
              <a:custGeom>
                <a:avLst/>
                <a:gdLst>
                  <a:gd name="T0" fmla="*/ 0 w 212"/>
                  <a:gd name="T1" fmla="*/ 1384 h 1384"/>
                  <a:gd name="T2" fmla="*/ 0 w 212"/>
                  <a:gd name="T3" fmla="*/ 1350 h 1384"/>
                  <a:gd name="T4" fmla="*/ 106 w 212"/>
                  <a:gd name="T5" fmla="*/ 1350 h 1384"/>
                  <a:gd name="T6" fmla="*/ 160 w 212"/>
                  <a:gd name="T7" fmla="*/ 1331 h 1384"/>
                  <a:gd name="T8" fmla="*/ 173 w 212"/>
                  <a:gd name="T9" fmla="*/ 1245 h 1384"/>
                  <a:gd name="T10" fmla="*/ 173 w 212"/>
                  <a:gd name="T11" fmla="*/ 1243 h 1384"/>
                  <a:gd name="T12" fmla="*/ 173 w 212"/>
                  <a:gd name="T13" fmla="*/ 0 h 1384"/>
                  <a:gd name="T14" fmla="*/ 207 w 212"/>
                  <a:gd name="T15" fmla="*/ 0 h 1384"/>
                  <a:gd name="T16" fmla="*/ 207 w 212"/>
                  <a:gd name="T17" fmla="*/ 1242 h 1384"/>
                  <a:gd name="T18" fmla="*/ 186 w 212"/>
                  <a:gd name="T19" fmla="*/ 1354 h 1384"/>
                  <a:gd name="T20" fmla="*/ 106 w 212"/>
                  <a:gd name="T21" fmla="*/ 1384 h 1384"/>
                  <a:gd name="T22" fmla="*/ 0 w 212"/>
                  <a:gd name="T23" fmla="*/ 1384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1384">
                    <a:moveTo>
                      <a:pt x="0" y="1384"/>
                    </a:moveTo>
                    <a:cubicBezTo>
                      <a:pt x="0" y="1350"/>
                      <a:pt x="0" y="1350"/>
                      <a:pt x="0" y="1350"/>
                    </a:cubicBezTo>
                    <a:cubicBezTo>
                      <a:pt x="106" y="1350"/>
                      <a:pt x="106" y="1350"/>
                      <a:pt x="106" y="1350"/>
                    </a:cubicBezTo>
                    <a:cubicBezTo>
                      <a:pt x="132" y="1349"/>
                      <a:pt x="150" y="1343"/>
                      <a:pt x="160" y="1331"/>
                    </a:cubicBezTo>
                    <a:cubicBezTo>
                      <a:pt x="178" y="1312"/>
                      <a:pt x="177" y="1277"/>
                      <a:pt x="173" y="1245"/>
                    </a:cubicBezTo>
                    <a:cubicBezTo>
                      <a:pt x="173" y="1244"/>
                      <a:pt x="173" y="1244"/>
                      <a:pt x="173" y="1243"/>
                    </a:cubicBezTo>
                    <a:cubicBezTo>
                      <a:pt x="173" y="0"/>
                      <a:pt x="173" y="0"/>
                      <a:pt x="173" y="0"/>
                    </a:cubicBezTo>
                    <a:cubicBezTo>
                      <a:pt x="207" y="0"/>
                      <a:pt x="207" y="0"/>
                      <a:pt x="207" y="0"/>
                    </a:cubicBezTo>
                    <a:cubicBezTo>
                      <a:pt x="207" y="1242"/>
                      <a:pt x="207" y="1242"/>
                      <a:pt x="207" y="1242"/>
                    </a:cubicBezTo>
                    <a:cubicBezTo>
                      <a:pt x="211" y="1281"/>
                      <a:pt x="212" y="1325"/>
                      <a:pt x="186" y="1354"/>
                    </a:cubicBezTo>
                    <a:cubicBezTo>
                      <a:pt x="169" y="1373"/>
                      <a:pt x="142" y="1383"/>
                      <a:pt x="106" y="1384"/>
                    </a:cubicBezTo>
                    <a:lnTo>
                      <a:pt x="0" y="1384"/>
                    </a:lnTo>
                    <a:close/>
                  </a:path>
                </a:pathLst>
              </a:custGeom>
              <a:solidFill>
                <a:srgbClr val="DC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85" name="Rectangle 684"/>
              <p:cNvSpPr>
                <a:spLocks noChangeArrowheads="1"/>
              </p:cNvSpPr>
              <p:nvPr/>
            </p:nvSpPr>
            <p:spPr bwMode="auto">
              <a:xfrm rot="5400000">
                <a:off x="10574637" y="446081"/>
                <a:ext cx="82954" cy="37728"/>
              </a:xfrm>
              <a:prstGeom prst="rect">
                <a:avLst/>
              </a:prstGeom>
              <a:solidFill>
                <a:srgbClr val="DC5B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86" name="Freeform 219"/>
              <p:cNvSpPr>
                <a:spLocks/>
              </p:cNvSpPr>
              <p:nvPr/>
            </p:nvSpPr>
            <p:spPr bwMode="auto">
              <a:xfrm rot="5400000">
                <a:off x="10579003" y="347175"/>
                <a:ext cx="74222" cy="116203"/>
              </a:xfrm>
              <a:custGeom>
                <a:avLst/>
                <a:gdLst>
                  <a:gd name="T0" fmla="*/ 51 w 51"/>
                  <a:gd name="T1" fmla="*/ 77 h 77"/>
                  <a:gd name="T2" fmla="*/ 0 w 51"/>
                  <a:gd name="T3" fmla="*/ 38 h 77"/>
                  <a:gd name="T4" fmla="*/ 51 w 51"/>
                  <a:gd name="T5" fmla="*/ 0 h 77"/>
                  <a:gd name="T6" fmla="*/ 51 w 51"/>
                  <a:gd name="T7" fmla="*/ 77 h 77"/>
                  <a:gd name="T8" fmla="*/ 51 w 51"/>
                  <a:gd name="T9" fmla="*/ 77 h 77"/>
                </a:gdLst>
                <a:ahLst/>
                <a:cxnLst>
                  <a:cxn ang="0">
                    <a:pos x="T0" y="T1"/>
                  </a:cxn>
                  <a:cxn ang="0">
                    <a:pos x="T2" y="T3"/>
                  </a:cxn>
                  <a:cxn ang="0">
                    <a:pos x="T4" y="T5"/>
                  </a:cxn>
                  <a:cxn ang="0">
                    <a:pos x="T6" y="T7"/>
                  </a:cxn>
                  <a:cxn ang="0">
                    <a:pos x="T8" y="T9"/>
                  </a:cxn>
                </a:cxnLst>
                <a:rect l="0" t="0" r="r" b="b"/>
                <a:pathLst>
                  <a:path w="51" h="77">
                    <a:moveTo>
                      <a:pt x="51" y="77"/>
                    </a:moveTo>
                    <a:lnTo>
                      <a:pt x="0" y="38"/>
                    </a:lnTo>
                    <a:lnTo>
                      <a:pt x="51" y="0"/>
                    </a:lnTo>
                    <a:lnTo>
                      <a:pt x="51" y="77"/>
                    </a:lnTo>
                    <a:lnTo>
                      <a:pt x="51" y="77"/>
                    </a:lnTo>
                    <a:close/>
                  </a:path>
                </a:pathLst>
              </a:custGeom>
              <a:solidFill>
                <a:srgbClr val="DC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87" name="Freeform 220"/>
              <p:cNvSpPr>
                <a:spLocks/>
              </p:cNvSpPr>
              <p:nvPr/>
            </p:nvSpPr>
            <p:spPr bwMode="auto">
              <a:xfrm rot="5400000">
                <a:off x="11175950" y="991164"/>
                <a:ext cx="854280" cy="1136380"/>
              </a:xfrm>
              <a:custGeom>
                <a:avLst/>
                <a:gdLst>
                  <a:gd name="T0" fmla="*/ 779 w 779"/>
                  <a:gd name="T1" fmla="*/ 999 h 999"/>
                  <a:gd name="T2" fmla="*/ 354 w 779"/>
                  <a:gd name="T3" fmla="*/ 999 h 999"/>
                  <a:gd name="T4" fmla="*/ 63 w 779"/>
                  <a:gd name="T5" fmla="*/ 980 h 999"/>
                  <a:gd name="T6" fmla="*/ 2 w 779"/>
                  <a:gd name="T7" fmla="*/ 874 h 999"/>
                  <a:gd name="T8" fmla="*/ 0 w 779"/>
                  <a:gd name="T9" fmla="*/ 849 h 999"/>
                  <a:gd name="T10" fmla="*/ 0 w 779"/>
                  <a:gd name="T11" fmla="*/ 847 h 999"/>
                  <a:gd name="T12" fmla="*/ 0 w 779"/>
                  <a:gd name="T13" fmla="*/ 0 h 999"/>
                  <a:gd name="T14" fmla="*/ 34 w 779"/>
                  <a:gd name="T15" fmla="*/ 0 h 999"/>
                  <a:gd name="T16" fmla="*/ 34 w 779"/>
                  <a:gd name="T17" fmla="*/ 847 h 999"/>
                  <a:gd name="T18" fmla="*/ 36 w 779"/>
                  <a:gd name="T19" fmla="*/ 871 h 999"/>
                  <a:gd name="T20" fmla="*/ 75 w 779"/>
                  <a:gd name="T21" fmla="*/ 948 h 999"/>
                  <a:gd name="T22" fmla="*/ 354 w 779"/>
                  <a:gd name="T23" fmla="*/ 965 h 999"/>
                  <a:gd name="T24" fmla="*/ 779 w 779"/>
                  <a:gd name="T25" fmla="*/ 965 h 999"/>
                  <a:gd name="T26" fmla="*/ 779 w 779"/>
                  <a:gd name="T27" fmla="*/ 99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9" h="999">
                    <a:moveTo>
                      <a:pt x="779" y="999"/>
                    </a:moveTo>
                    <a:cubicBezTo>
                      <a:pt x="354" y="999"/>
                      <a:pt x="354" y="999"/>
                      <a:pt x="354" y="999"/>
                    </a:cubicBezTo>
                    <a:cubicBezTo>
                      <a:pt x="189" y="999"/>
                      <a:pt x="108" y="996"/>
                      <a:pt x="63" y="980"/>
                    </a:cubicBezTo>
                    <a:cubicBezTo>
                      <a:pt x="11" y="961"/>
                      <a:pt x="7" y="925"/>
                      <a:pt x="2" y="874"/>
                    </a:cubicBezTo>
                    <a:cubicBezTo>
                      <a:pt x="2" y="866"/>
                      <a:pt x="1" y="858"/>
                      <a:pt x="0" y="849"/>
                    </a:cubicBezTo>
                    <a:cubicBezTo>
                      <a:pt x="0" y="849"/>
                      <a:pt x="0" y="848"/>
                      <a:pt x="0" y="847"/>
                    </a:cubicBezTo>
                    <a:cubicBezTo>
                      <a:pt x="0" y="0"/>
                      <a:pt x="0" y="0"/>
                      <a:pt x="0" y="0"/>
                    </a:cubicBezTo>
                    <a:cubicBezTo>
                      <a:pt x="34" y="0"/>
                      <a:pt x="34" y="0"/>
                      <a:pt x="34" y="0"/>
                    </a:cubicBezTo>
                    <a:cubicBezTo>
                      <a:pt x="34" y="847"/>
                      <a:pt x="34" y="847"/>
                      <a:pt x="34" y="847"/>
                    </a:cubicBezTo>
                    <a:cubicBezTo>
                      <a:pt x="35" y="855"/>
                      <a:pt x="35" y="863"/>
                      <a:pt x="36" y="871"/>
                    </a:cubicBezTo>
                    <a:cubicBezTo>
                      <a:pt x="41" y="922"/>
                      <a:pt x="44" y="937"/>
                      <a:pt x="75" y="948"/>
                    </a:cubicBezTo>
                    <a:cubicBezTo>
                      <a:pt x="114" y="962"/>
                      <a:pt x="196" y="965"/>
                      <a:pt x="354" y="965"/>
                    </a:cubicBezTo>
                    <a:cubicBezTo>
                      <a:pt x="779" y="965"/>
                      <a:pt x="779" y="965"/>
                      <a:pt x="779" y="965"/>
                    </a:cubicBezTo>
                    <a:lnTo>
                      <a:pt x="779" y="999"/>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688" name="Group 687"/>
              <p:cNvGrpSpPr/>
              <p:nvPr/>
            </p:nvGrpSpPr>
            <p:grpSpPr>
              <a:xfrm rot="16200000">
                <a:off x="10903609" y="1557175"/>
                <a:ext cx="239953" cy="221210"/>
                <a:chOff x="10903605" y="1557171"/>
                <a:chExt cx="239953" cy="221210"/>
              </a:xfrm>
            </p:grpSpPr>
            <p:grpSp>
              <p:nvGrpSpPr>
                <p:cNvPr id="725" name="Group 724"/>
                <p:cNvGrpSpPr/>
                <p:nvPr/>
              </p:nvGrpSpPr>
              <p:grpSpPr>
                <a:xfrm>
                  <a:off x="10903605" y="1557171"/>
                  <a:ext cx="239953" cy="221210"/>
                  <a:chOff x="10903605" y="1557171"/>
                  <a:chExt cx="239953" cy="221210"/>
                </a:xfrm>
              </p:grpSpPr>
              <p:sp>
                <p:nvSpPr>
                  <p:cNvPr id="730" name="Freeform 221"/>
                  <p:cNvSpPr>
                    <a:spLocks/>
                  </p:cNvSpPr>
                  <p:nvPr/>
                </p:nvSpPr>
                <p:spPr bwMode="auto">
                  <a:xfrm rot="5400000">
                    <a:off x="10945423" y="1580246"/>
                    <a:ext cx="221210" cy="175060"/>
                  </a:xfrm>
                  <a:custGeom>
                    <a:avLst/>
                    <a:gdLst>
                      <a:gd name="T0" fmla="*/ 0 w 201"/>
                      <a:gd name="T1" fmla="*/ 25 h 153"/>
                      <a:gd name="T2" fmla="*/ 25 w 201"/>
                      <a:gd name="T3" fmla="*/ 0 h 153"/>
                      <a:gd name="T4" fmla="*/ 175 w 201"/>
                      <a:gd name="T5" fmla="*/ 0 h 153"/>
                      <a:gd name="T6" fmla="*/ 201 w 201"/>
                      <a:gd name="T7" fmla="*/ 25 h 153"/>
                      <a:gd name="T8" fmla="*/ 201 w 201"/>
                      <a:gd name="T9" fmla="*/ 127 h 153"/>
                      <a:gd name="T10" fmla="*/ 175 w 201"/>
                      <a:gd name="T11" fmla="*/ 153 h 153"/>
                      <a:gd name="T12" fmla="*/ 25 w 201"/>
                      <a:gd name="T13" fmla="*/ 153 h 153"/>
                      <a:gd name="T14" fmla="*/ 0 w 201"/>
                      <a:gd name="T15" fmla="*/ 127 h 153"/>
                      <a:gd name="T16" fmla="*/ 0 w 201"/>
                      <a:gd name="T17" fmla="*/ 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53">
                        <a:moveTo>
                          <a:pt x="0" y="25"/>
                        </a:moveTo>
                        <a:cubicBezTo>
                          <a:pt x="0" y="11"/>
                          <a:pt x="11" y="0"/>
                          <a:pt x="25" y="0"/>
                        </a:cubicBezTo>
                        <a:cubicBezTo>
                          <a:pt x="175" y="0"/>
                          <a:pt x="175" y="0"/>
                          <a:pt x="175" y="0"/>
                        </a:cubicBezTo>
                        <a:cubicBezTo>
                          <a:pt x="189" y="0"/>
                          <a:pt x="201" y="11"/>
                          <a:pt x="201" y="25"/>
                        </a:cubicBezTo>
                        <a:cubicBezTo>
                          <a:pt x="201" y="127"/>
                          <a:pt x="201" y="127"/>
                          <a:pt x="201" y="127"/>
                        </a:cubicBezTo>
                        <a:cubicBezTo>
                          <a:pt x="201" y="141"/>
                          <a:pt x="189" y="153"/>
                          <a:pt x="175" y="153"/>
                        </a:cubicBezTo>
                        <a:cubicBezTo>
                          <a:pt x="25" y="153"/>
                          <a:pt x="25" y="153"/>
                          <a:pt x="25" y="153"/>
                        </a:cubicBezTo>
                        <a:cubicBezTo>
                          <a:pt x="11" y="153"/>
                          <a:pt x="0" y="141"/>
                          <a:pt x="0" y="127"/>
                        </a:cubicBezTo>
                        <a:lnTo>
                          <a:pt x="0" y="25"/>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31" name="Freeform 222"/>
                  <p:cNvSpPr>
                    <a:spLocks/>
                  </p:cNvSpPr>
                  <p:nvPr/>
                </p:nvSpPr>
                <p:spPr bwMode="auto">
                  <a:xfrm rot="5400000">
                    <a:off x="10897053" y="1604472"/>
                    <a:ext cx="94597" cy="81493"/>
                  </a:xfrm>
                  <a:custGeom>
                    <a:avLst/>
                    <a:gdLst>
                      <a:gd name="T0" fmla="*/ 0 w 65"/>
                      <a:gd name="T1" fmla="*/ 0 h 54"/>
                      <a:gd name="T2" fmla="*/ 13 w 65"/>
                      <a:gd name="T3" fmla="*/ 54 h 54"/>
                      <a:gd name="T4" fmla="*/ 65 w 65"/>
                      <a:gd name="T5" fmla="*/ 0 h 54"/>
                      <a:gd name="T6" fmla="*/ 0 w 65"/>
                      <a:gd name="T7" fmla="*/ 0 h 54"/>
                      <a:gd name="T8" fmla="*/ 0 w 65"/>
                      <a:gd name="T9" fmla="*/ 0 h 54"/>
                    </a:gdLst>
                    <a:ahLst/>
                    <a:cxnLst>
                      <a:cxn ang="0">
                        <a:pos x="T0" y="T1"/>
                      </a:cxn>
                      <a:cxn ang="0">
                        <a:pos x="T2" y="T3"/>
                      </a:cxn>
                      <a:cxn ang="0">
                        <a:pos x="T4" y="T5"/>
                      </a:cxn>
                      <a:cxn ang="0">
                        <a:pos x="T6" y="T7"/>
                      </a:cxn>
                      <a:cxn ang="0">
                        <a:pos x="T8" y="T9"/>
                      </a:cxn>
                    </a:cxnLst>
                    <a:rect l="0" t="0" r="r" b="b"/>
                    <a:pathLst>
                      <a:path w="65" h="54">
                        <a:moveTo>
                          <a:pt x="0" y="0"/>
                        </a:moveTo>
                        <a:lnTo>
                          <a:pt x="13" y="54"/>
                        </a:lnTo>
                        <a:lnTo>
                          <a:pt x="65" y="0"/>
                        </a:lnTo>
                        <a:lnTo>
                          <a:pt x="0"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nvGrpSpPr>
                <p:cNvPr id="726" name="Group 725"/>
                <p:cNvGrpSpPr/>
                <p:nvPr/>
              </p:nvGrpSpPr>
              <p:grpSpPr>
                <a:xfrm>
                  <a:off x="11065083" y="1592098"/>
                  <a:ext cx="27164" cy="80043"/>
                  <a:chOff x="11065083" y="1592098"/>
                  <a:chExt cx="27164" cy="80043"/>
                </a:xfrm>
              </p:grpSpPr>
              <p:sp>
                <p:nvSpPr>
                  <p:cNvPr id="727" name="Freeform 224"/>
                  <p:cNvSpPr>
                    <a:spLocks noEditPoints="1"/>
                  </p:cNvSpPr>
                  <p:nvPr/>
                </p:nvSpPr>
                <p:spPr bwMode="auto">
                  <a:xfrm rot="5400000">
                    <a:off x="11061928" y="1595253"/>
                    <a:ext cx="33473" cy="27164"/>
                  </a:xfrm>
                  <a:custGeom>
                    <a:avLst/>
                    <a:gdLst>
                      <a:gd name="T0" fmla="*/ 14 w 30"/>
                      <a:gd name="T1" fmla="*/ 25 h 25"/>
                      <a:gd name="T2" fmla="*/ 0 w 30"/>
                      <a:gd name="T3" fmla="*/ 25 h 25"/>
                      <a:gd name="T4" fmla="*/ 0 w 30"/>
                      <a:gd name="T5" fmla="*/ 15 h 25"/>
                      <a:gd name="T6" fmla="*/ 3 w 30"/>
                      <a:gd name="T7" fmla="*/ 6 h 25"/>
                      <a:gd name="T8" fmla="*/ 11 w 30"/>
                      <a:gd name="T9" fmla="*/ 0 h 25"/>
                      <a:gd name="T10" fmla="*/ 14 w 30"/>
                      <a:gd name="T11" fmla="*/ 5 h 25"/>
                      <a:gd name="T12" fmla="*/ 9 w 30"/>
                      <a:gd name="T13" fmla="*/ 9 h 25"/>
                      <a:gd name="T14" fmla="*/ 7 w 30"/>
                      <a:gd name="T15" fmla="*/ 13 h 25"/>
                      <a:gd name="T16" fmla="*/ 14 w 30"/>
                      <a:gd name="T17" fmla="*/ 13 h 25"/>
                      <a:gd name="T18" fmla="*/ 14 w 30"/>
                      <a:gd name="T19" fmla="*/ 25 h 25"/>
                      <a:gd name="T20" fmla="*/ 30 w 30"/>
                      <a:gd name="T21" fmla="*/ 25 h 25"/>
                      <a:gd name="T22" fmla="*/ 16 w 30"/>
                      <a:gd name="T23" fmla="*/ 25 h 25"/>
                      <a:gd name="T24" fmla="*/ 16 w 30"/>
                      <a:gd name="T25" fmla="*/ 15 h 25"/>
                      <a:gd name="T26" fmla="*/ 18 w 30"/>
                      <a:gd name="T27" fmla="*/ 6 h 25"/>
                      <a:gd name="T28" fmla="*/ 27 w 30"/>
                      <a:gd name="T29" fmla="*/ 0 h 25"/>
                      <a:gd name="T30" fmla="*/ 30 w 30"/>
                      <a:gd name="T31" fmla="*/ 5 h 25"/>
                      <a:gd name="T32" fmla="*/ 25 w 30"/>
                      <a:gd name="T33" fmla="*/ 9 h 25"/>
                      <a:gd name="T34" fmla="*/ 23 w 30"/>
                      <a:gd name="T35" fmla="*/ 13 h 25"/>
                      <a:gd name="T36" fmla="*/ 30 w 30"/>
                      <a:gd name="T37" fmla="*/ 13 h 25"/>
                      <a:gd name="T38" fmla="*/ 30 w 30"/>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25">
                        <a:moveTo>
                          <a:pt x="14" y="25"/>
                        </a:moveTo>
                        <a:cubicBezTo>
                          <a:pt x="0" y="25"/>
                          <a:pt x="0" y="25"/>
                          <a:pt x="0" y="25"/>
                        </a:cubicBezTo>
                        <a:cubicBezTo>
                          <a:pt x="0" y="15"/>
                          <a:pt x="0" y="15"/>
                          <a:pt x="0" y="15"/>
                        </a:cubicBezTo>
                        <a:cubicBezTo>
                          <a:pt x="0" y="11"/>
                          <a:pt x="1" y="8"/>
                          <a:pt x="3" y="6"/>
                        </a:cubicBezTo>
                        <a:cubicBezTo>
                          <a:pt x="4" y="3"/>
                          <a:pt x="7" y="1"/>
                          <a:pt x="11" y="0"/>
                        </a:cubicBezTo>
                        <a:cubicBezTo>
                          <a:pt x="14" y="5"/>
                          <a:pt x="14" y="5"/>
                          <a:pt x="14" y="5"/>
                        </a:cubicBezTo>
                        <a:cubicBezTo>
                          <a:pt x="11" y="6"/>
                          <a:pt x="10" y="7"/>
                          <a:pt x="9" y="9"/>
                        </a:cubicBezTo>
                        <a:cubicBezTo>
                          <a:pt x="8" y="10"/>
                          <a:pt x="7" y="11"/>
                          <a:pt x="7" y="13"/>
                        </a:cubicBezTo>
                        <a:cubicBezTo>
                          <a:pt x="14" y="13"/>
                          <a:pt x="14" y="13"/>
                          <a:pt x="14" y="13"/>
                        </a:cubicBezTo>
                        <a:lnTo>
                          <a:pt x="14" y="25"/>
                        </a:lnTo>
                        <a:close/>
                        <a:moveTo>
                          <a:pt x="30" y="25"/>
                        </a:moveTo>
                        <a:cubicBezTo>
                          <a:pt x="16" y="25"/>
                          <a:pt x="16" y="25"/>
                          <a:pt x="16" y="25"/>
                        </a:cubicBezTo>
                        <a:cubicBezTo>
                          <a:pt x="16" y="15"/>
                          <a:pt x="16" y="15"/>
                          <a:pt x="16" y="15"/>
                        </a:cubicBezTo>
                        <a:cubicBezTo>
                          <a:pt x="16" y="11"/>
                          <a:pt x="17" y="8"/>
                          <a:pt x="18" y="6"/>
                        </a:cubicBezTo>
                        <a:cubicBezTo>
                          <a:pt x="20" y="3"/>
                          <a:pt x="23" y="1"/>
                          <a:pt x="27" y="0"/>
                        </a:cubicBezTo>
                        <a:cubicBezTo>
                          <a:pt x="30" y="5"/>
                          <a:pt x="30" y="5"/>
                          <a:pt x="30" y="5"/>
                        </a:cubicBezTo>
                        <a:cubicBezTo>
                          <a:pt x="27" y="6"/>
                          <a:pt x="26" y="7"/>
                          <a:pt x="25" y="9"/>
                        </a:cubicBezTo>
                        <a:cubicBezTo>
                          <a:pt x="24" y="10"/>
                          <a:pt x="23" y="11"/>
                          <a:pt x="23" y="13"/>
                        </a:cubicBezTo>
                        <a:cubicBezTo>
                          <a:pt x="30" y="13"/>
                          <a:pt x="30" y="13"/>
                          <a:pt x="30" y="13"/>
                        </a:cubicBezTo>
                        <a:lnTo>
                          <a:pt x="3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9" name="Freeform 225"/>
                  <p:cNvSpPr>
                    <a:spLocks noEditPoints="1"/>
                  </p:cNvSpPr>
                  <p:nvPr/>
                </p:nvSpPr>
                <p:spPr bwMode="auto">
                  <a:xfrm rot="5400000">
                    <a:off x="11062656" y="1642551"/>
                    <a:ext cx="32017" cy="27164"/>
                  </a:xfrm>
                  <a:custGeom>
                    <a:avLst/>
                    <a:gdLst>
                      <a:gd name="T0" fmla="*/ 0 w 29"/>
                      <a:gd name="T1" fmla="*/ 0 h 25"/>
                      <a:gd name="T2" fmla="*/ 14 w 29"/>
                      <a:gd name="T3" fmla="*/ 0 h 25"/>
                      <a:gd name="T4" fmla="*/ 14 w 29"/>
                      <a:gd name="T5" fmla="*/ 10 h 25"/>
                      <a:gd name="T6" fmla="*/ 11 w 29"/>
                      <a:gd name="T7" fmla="*/ 19 h 25"/>
                      <a:gd name="T8" fmla="*/ 3 w 29"/>
                      <a:gd name="T9" fmla="*/ 25 h 25"/>
                      <a:gd name="T10" fmla="*/ 0 w 29"/>
                      <a:gd name="T11" fmla="*/ 20 h 25"/>
                      <a:gd name="T12" fmla="*/ 5 w 29"/>
                      <a:gd name="T13" fmla="*/ 16 h 25"/>
                      <a:gd name="T14" fmla="*/ 7 w 29"/>
                      <a:gd name="T15" fmla="*/ 12 h 25"/>
                      <a:gd name="T16" fmla="*/ 0 w 29"/>
                      <a:gd name="T17" fmla="*/ 12 h 25"/>
                      <a:gd name="T18" fmla="*/ 0 w 29"/>
                      <a:gd name="T19" fmla="*/ 0 h 25"/>
                      <a:gd name="T20" fmla="*/ 16 w 29"/>
                      <a:gd name="T21" fmla="*/ 0 h 25"/>
                      <a:gd name="T22" fmla="*/ 29 w 29"/>
                      <a:gd name="T23" fmla="*/ 0 h 25"/>
                      <a:gd name="T24" fmla="*/ 29 w 29"/>
                      <a:gd name="T25" fmla="*/ 10 h 25"/>
                      <a:gd name="T26" fmla="*/ 27 w 29"/>
                      <a:gd name="T27" fmla="*/ 19 h 25"/>
                      <a:gd name="T28" fmla="*/ 19 w 29"/>
                      <a:gd name="T29" fmla="*/ 25 h 25"/>
                      <a:gd name="T30" fmla="*/ 16 w 29"/>
                      <a:gd name="T31" fmla="*/ 20 h 25"/>
                      <a:gd name="T32" fmla="*/ 21 w 29"/>
                      <a:gd name="T33" fmla="*/ 16 h 25"/>
                      <a:gd name="T34" fmla="*/ 22 w 29"/>
                      <a:gd name="T35" fmla="*/ 12 h 25"/>
                      <a:gd name="T36" fmla="*/ 16 w 29"/>
                      <a:gd name="T37" fmla="*/ 12 h 25"/>
                      <a:gd name="T38" fmla="*/ 16 w 29"/>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5">
                        <a:moveTo>
                          <a:pt x="0" y="0"/>
                        </a:moveTo>
                        <a:cubicBezTo>
                          <a:pt x="14" y="0"/>
                          <a:pt x="14" y="0"/>
                          <a:pt x="14" y="0"/>
                        </a:cubicBezTo>
                        <a:cubicBezTo>
                          <a:pt x="14" y="10"/>
                          <a:pt x="14" y="10"/>
                          <a:pt x="14" y="10"/>
                        </a:cubicBezTo>
                        <a:cubicBezTo>
                          <a:pt x="14" y="14"/>
                          <a:pt x="13" y="17"/>
                          <a:pt x="11" y="19"/>
                        </a:cubicBezTo>
                        <a:cubicBezTo>
                          <a:pt x="10" y="21"/>
                          <a:pt x="7" y="23"/>
                          <a:pt x="3" y="25"/>
                        </a:cubicBezTo>
                        <a:cubicBezTo>
                          <a:pt x="0" y="20"/>
                          <a:pt x="0" y="20"/>
                          <a:pt x="0" y="20"/>
                        </a:cubicBezTo>
                        <a:cubicBezTo>
                          <a:pt x="2" y="18"/>
                          <a:pt x="4" y="17"/>
                          <a:pt x="5" y="16"/>
                        </a:cubicBezTo>
                        <a:cubicBezTo>
                          <a:pt x="6" y="15"/>
                          <a:pt x="6" y="14"/>
                          <a:pt x="7" y="12"/>
                        </a:cubicBezTo>
                        <a:cubicBezTo>
                          <a:pt x="0" y="12"/>
                          <a:pt x="0" y="12"/>
                          <a:pt x="0" y="12"/>
                        </a:cubicBezTo>
                        <a:lnTo>
                          <a:pt x="0" y="0"/>
                        </a:lnTo>
                        <a:close/>
                        <a:moveTo>
                          <a:pt x="16" y="0"/>
                        </a:moveTo>
                        <a:cubicBezTo>
                          <a:pt x="29" y="0"/>
                          <a:pt x="29" y="0"/>
                          <a:pt x="29" y="0"/>
                        </a:cubicBezTo>
                        <a:cubicBezTo>
                          <a:pt x="29" y="10"/>
                          <a:pt x="29" y="10"/>
                          <a:pt x="29" y="10"/>
                        </a:cubicBezTo>
                        <a:cubicBezTo>
                          <a:pt x="29" y="14"/>
                          <a:pt x="29" y="17"/>
                          <a:pt x="27" y="19"/>
                        </a:cubicBezTo>
                        <a:cubicBezTo>
                          <a:pt x="25" y="21"/>
                          <a:pt x="23" y="23"/>
                          <a:pt x="19" y="25"/>
                        </a:cubicBezTo>
                        <a:cubicBezTo>
                          <a:pt x="16" y="20"/>
                          <a:pt x="16" y="20"/>
                          <a:pt x="16" y="20"/>
                        </a:cubicBezTo>
                        <a:cubicBezTo>
                          <a:pt x="18" y="18"/>
                          <a:pt x="20" y="17"/>
                          <a:pt x="21" y="16"/>
                        </a:cubicBezTo>
                        <a:cubicBezTo>
                          <a:pt x="22" y="15"/>
                          <a:pt x="22" y="14"/>
                          <a:pt x="22" y="12"/>
                        </a:cubicBezTo>
                        <a:cubicBezTo>
                          <a:pt x="16" y="12"/>
                          <a:pt x="16" y="12"/>
                          <a:pt x="16" y="12"/>
                        </a:cubicBez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sp>
            <p:nvSpPr>
              <p:cNvPr id="689" name="Freeform 226"/>
              <p:cNvSpPr>
                <a:spLocks noEditPoints="1"/>
              </p:cNvSpPr>
              <p:nvPr/>
            </p:nvSpPr>
            <p:spPr bwMode="auto">
              <a:xfrm rot="18900000">
                <a:off x="11274280" y="1428435"/>
                <a:ext cx="213934" cy="200715"/>
              </a:xfrm>
              <a:custGeom>
                <a:avLst/>
                <a:gdLst>
                  <a:gd name="T0" fmla="*/ 113 w 196"/>
                  <a:gd name="T1" fmla="*/ 118 h 177"/>
                  <a:gd name="T2" fmla="*/ 114 w 196"/>
                  <a:gd name="T3" fmla="*/ 126 h 177"/>
                  <a:gd name="T4" fmla="*/ 122 w 196"/>
                  <a:gd name="T5" fmla="*/ 127 h 177"/>
                  <a:gd name="T6" fmla="*/ 124 w 196"/>
                  <a:gd name="T7" fmla="*/ 135 h 177"/>
                  <a:gd name="T8" fmla="*/ 131 w 196"/>
                  <a:gd name="T9" fmla="*/ 135 h 177"/>
                  <a:gd name="T10" fmla="*/ 132 w 196"/>
                  <a:gd name="T11" fmla="*/ 144 h 177"/>
                  <a:gd name="T12" fmla="*/ 141 w 196"/>
                  <a:gd name="T13" fmla="*/ 145 h 177"/>
                  <a:gd name="T14" fmla="*/ 128 w 196"/>
                  <a:gd name="T15" fmla="*/ 166 h 177"/>
                  <a:gd name="T16" fmla="*/ 119 w 196"/>
                  <a:gd name="T17" fmla="*/ 165 h 177"/>
                  <a:gd name="T18" fmla="*/ 111 w 196"/>
                  <a:gd name="T19" fmla="*/ 157 h 177"/>
                  <a:gd name="T20" fmla="*/ 109 w 196"/>
                  <a:gd name="T21" fmla="*/ 149 h 177"/>
                  <a:gd name="T22" fmla="*/ 101 w 196"/>
                  <a:gd name="T23" fmla="*/ 147 h 177"/>
                  <a:gd name="T24" fmla="*/ 93 w 196"/>
                  <a:gd name="T25" fmla="*/ 139 h 177"/>
                  <a:gd name="T26" fmla="*/ 92 w 196"/>
                  <a:gd name="T27" fmla="*/ 130 h 177"/>
                  <a:gd name="T28" fmla="*/ 109 w 196"/>
                  <a:gd name="T29" fmla="*/ 116 h 177"/>
                  <a:gd name="T30" fmla="*/ 172 w 196"/>
                  <a:gd name="T31" fmla="*/ 148 h 177"/>
                  <a:gd name="T32" fmla="*/ 166 w 196"/>
                  <a:gd name="T33" fmla="*/ 172 h 177"/>
                  <a:gd name="T34" fmla="*/ 140 w 196"/>
                  <a:gd name="T35" fmla="*/ 164 h 177"/>
                  <a:gd name="T36" fmla="*/ 139 w 196"/>
                  <a:gd name="T37" fmla="*/ 136 h 177"/>
                  <a:gd name="T38" fmla="*/ 124 w 196"/>
                  <a:gd name="T39" fmla="*/ 120 h 177"/>
                  <a:gd name="T40" fmla="*/ 154 w 196"/>
                  <a:gd name="T41" fmla="*/ 78 h 177"/>
                  <a:gd name="T42" fmla="*/ 182 w 196"/>
                  <a:gd name="T43" fmla="*/ 104 h 177"/>
                  <a:gd name="T44" fmla="*/ 164 w 196"/>
                  <a:gd name="T45" fmla="*/ 130 h 177"/>
                  <a:gd name="T46" fmla="*/ 128 w 196"/>
                  <a:gd name="T47" fmla="*/ 104 h 177"/>
                  <a:gd name="T48" fmla="*/ 128 w 196"/>
                  <a:gd name="T49" fmla="*/ 105 h 177"/>
                  <a:gd name="T50" fmla="*/ 126 w 196"/>
                  <a:gd name="T51" fmla="*/ 110 h 177"/>
                  <a:gd name="T52" fmla="*/ 121 w 196"/>
                  <a:gd name="T53" fmla="*/ 114 h 177"/>
                  <a:gd name="T54" fmla="*/ 117 w 196"/>
                  <a:gd name="T55" fmla="*/ 94 h 177"/>
                  <a:gd name="T56" fmla="*/ 117 w 196"/>
                  <a:gd name="T57" fmla="*/ 93 h 177"/>
                  <a:gd name="T58" fmla="*/ 127 w 196"/>
                  <a:gd name="T59" fmla="*/ 79 h 177"/>
                  <a:gd name="T60" fmla="*/ 167 w 196"/>
                  <a:gd name="T61" fmla="*/ 67 h 177"/>
                  <a:gd name="T62" fmla="*/ 194 w 196"/>
                  <a:gd name="T63" fmla="*/ 91 h 177"/>
                  <a:gd name="T64" fmla="*/ 192 w 196"/>
                  <a:gd name="T65" fmla="*/ 101 h 177"/>
                  <a:gd name="T66" fmla="*/ 161 w 196"/>
                  <a:gd name="T67" fmla="*/ 78 h 177"/>
                  <a:gd name="T68" fmla="*/ 163 w 196"/>
                  <a:gd name="T69" fmla="*/ 68 h 177"/>
                  <a:gd name="T70" fmla="*/ 35 w 196"/>
                  <a:gd name="T71" fmla="*/ 33 h 177"/>
                  <a:gd name="T72" fmla="*/ 35 w 196"/>
                  <a:gd name="T73" fmla="*/ 66 h 177"/>
                  <a:gd name="T74" fmla="*/ 33 w 196"/>
                  <a:gd name="T75" fmla="*/ 33 h 177"/>
                  <a:gd name="T76" fmla="*/ 56 w 196"/>
                  <a:gd name="T77" fmla="*/ 16 h 177"/>
                  <a:gd name="T78" fmla="*/ 56 w 196"/>
                  <a:gd name="T79" fmla="*/ 95 h 177"/>
                  <a:gd name="T80" fmla="*/ 56 w 196"/>
                  <a:gd name="T81" fmla="*/ 16 h 177"/>
                  <a:gd name="T82" fmla="*/ 111 w 196"/>
                  <a:gd name="T83" fmla="*/ 56 h 177"/>
                  <a:gd name="T84" fmla="*/ 106 w 196"/>
                  <a:gd name="T85" fmla="*/ 82 h 177"/>
                  <a:gd name="T86" fmla="*/ 105 w 196"/>
                  <a:gd name="T87" fmla="*/ 110 h 177"/>
                  <a:gd name="T88" fmla="*/ 82 w 196"/>
                  <a:gd name="T89" fmla="*/ 106 h 177"/>
                  <a:gd name="T90" fmla="*/ 56 w 196"/>
                  <a:gd name="T91" fmla="*/ 111 h 177"/>
                  <a:gd name="T92" fmla="*/ 56 w 196"/>
                  <a:gd name="T9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6" h="177">
                    <a:moveTo>
                      <a:pt x="109" y="116"/>
                    </a:moveTo>
                    <a:cubicBezTo>
                      <a:pt x="110" y="116"/>
                      <a:pt x="112" y="117"/>
                      <a:pt x="113" y="118"/>
                    </a:cubicBezTo>
                    <a:cubicBezTo>
                      <a:pt x="114" y="118"/>
                      <a:pt x="114" y="118"/>
                      <a:pt x="114" y="118"/>
                    </a:cubicBezTo>
                    <a:cubicBezTo>
                      <a:pt x="116" y="121"/>
                      <a:pt x="116" y="124"/>
                      <a:pt x="114" y="126"/>
                    </a:cubicBezTo>
                    <a:cubicBezTo>
                      <a:pt x="115" y="125"/>
                      <a:pt x="117" y="125"/>
                      <a:pt x="118" y="125"/>
                    </a:cubicBezTo>
                    <a:cubicBezTo>
                      <a:pt x="119" y="125"/>
                      <a:pt x="121" y="125"/>
                      <a:pt x="122" y="127"/>
                    </a:cubicBezTo>
                    <a:cubicBezTo>
                      <a:pt x="123" y="127"/>
                      <a:pt x="123" y="127"/>
                      <a:pt x="123" y="127"/>
                    </a:cubicBezTo>
                    <a:cubicBezTo>
                      <a:pt x="125" y="129"/>
                      <a:pt x="125" y="132"/>
                      <a:pt x="124" y="135"/>
                    </a:cubicBezTo>
                    <a:cubicBezTo>
                      <a:pt x="124" y="134"/>
                      <a:pt x="126" y="134"/>
                      <a:pt x="127" y="134"/>
                    </a:cubicBezTo>
                    <a:cubicBezTo>
                      <a:pt x="128" y="134"/>
                      <a:pt x="130" y="134"/>
                      <a:pt x="131" y="135"/>
                    </a:cubicBezTo>
                    <a:cubicBezTo>
                      <a:pt x="132" y="136"/>
                      <a:pt x="132" y="136"/>
                      <a:pt x="132" y="136"/>
                    </a:cubicBezTo>
                    <a:cubicBezTo>
                      <a:pt x="134" y="138"/>
                      <a:pt x="134" y="142"/>
                      <a:pt x="132" y="144"/>
                    </a:cubicBezTo>
                    <a:cubicBezTo>
                      <a:pt x="134" y="142"/>
                      <a:pt x="138" y="142"/>
                      <a:pt x="140" y="144"/>
                    </a:cubicBezTo>
                    <a:cubicBezTo>
                      <a:pt x="141" y="145"/>
                      <a:pt x="141" y="145"/>
                      <a:pt x="141" y="145"/>
                    </a:cubicBezTo>
                    <a:cubicBezTo>
                      <a:pt x="143" y="147"/>
                      <a:pt x="143" y="151"/>
                      <a:pt x="141" y="153"/>
                    </a:cubicBezTo>
                    <a:cubicBezTo>
                      <a:pt x="128" y="166"/>
                      <a:pt x="128" y="166"/>
                      <a:pt x="128" y="166"/>
                    </a:cubicBezTo>
                    <a:cubicBezTo>
                      <a:pt x="126" y="168"/>
                      <a:pt x="122" y="168"/>
                      <a:pt x="120" y="166"/>
                    </a:cubicBezTo>
                    <a:cubicBezTo>
                      <a:pt x="119" y="165"/>
                      <a:pt x="119" y="165"/>
                      <a:pt x="119" y="165"/>
                    </a:cubicBezTo>
                    <a:cubicBezTo>
                      <a:pt x="117" y="163"/>
                      <a:pt x="117" y="160"/>
                      <a:pt x="119" y="157"/>
                    </a:cubicBezTo>
                    <a:cubicBezTo>
                      <a:pt x="116" y="159"/>
                      <a:pt x="113" y="159"/>
                      <a:pt x="111" y="157"/>
                    </a:cubicBezTo>
                    <a:cubicBezTo>
                      <a:pt x="110" y="156"/>
                      <a:pt x="110" y="156"/>
                      <a:pt x="110" y="156"/>
                    </a:cubicBezTo>
                    <a:cubicBezTo>
                      <a:pt x="108" y="154"/>
                      <a:pt x="108" y="151"/>
                      <a:pt x="109" y="149"/>
                    </a:cubicBezTo>
                    <a:cubicBezTo>
                      <a:pt x="107" y="151"/>
                      <a:pt x="104" y="150"/>
                      <a:pt x="102" y="148"/>
                    </a:cubicBezTo>
                    <a:cubicBezTo>
                      <a:pt x="101" y="147"/>
                      <a:pt x="101" y="147"/>
                      <a:pt x="101" y="147"/>
                    </a:cubicBezTo>
                    <a:cubicBezTo>
                      <a:pt x="99" y="145"/>
                      <a:pt x="99" y="142"/>
                      <a:pt x="101" y="140"/>
                    </a:cubicBezTo>
                    <a:cubicBezTo>
                      <a:pt x="99" y="142"/>
                      <a:pt x="95" y="141"/>
                      <a:pt x="93" y="139"/>
                    </a:cubicBezTo>
                    <a:cubicBezTo>
                      <a:pt x="92" y="139"/>
                      <a:pt x="92" y="139"/>
                      <a:pt x="92" y="139"/>
                    </a:cubicBezTo>
                    <a:cubicBezTo>
                      <a:pt x="90" y="136"/>
                      <a:pt x="90" y="132"/>
                      <a:pt x="92" y="130"/>
                    </a:cubicBezTo>
                    <a:cubicBezTo>
                      <a:pt x="105" y="118"/>
                      <a:pt x="105" y="118"/>
                      <a:pt x="105" y="118"/>
                    </a:cubicBezTo>
                    <a:cubicBezTo>
                      <a:pt x="106" y="117"/>
                      <a:pt x="107" y="116"/>
                      <a:pt x="109" y="116"/>
                    </a:cubicBezTo>
                    <a:close/>
                    <a:moveTo>
                      <a:pt x="134" y="109"/>
                    </a:moveTo>
                    <a:cubicBezTo>
                      <a:pt x="172" y="148"/>
                      <a:pt x="172" y="148"/>
                      <a:pt x="172" y="148"/>
                    </a:cubicBezTo>
                    <a:cubicBezTo>
                      <a:pt x="177" y="153"/>
                      <a:pt x="177" y="160"/>
                      <a:pt x="172" y="165"/>
                    </a:cubicBezTo>
                    <a:cubicBezTo>
                      <a:pt x="166" y="172"/>
                      <a:pt x="166" y="172"/>
                      <a:pt x="166" y="172"/>
                    </a:cubicBezTo>
                    <a:cubicBezTo>
                      <a:pt x="161" y="177"/>
                      <a:pt x="153" y="177"/>
                      <a:pt x="148" y="172"/>
                    </a:cubicBezTo>
                    <a:cubicBezTo>
                      <a:pt x="140" y="164"/>
                      <a:pt x="140" y="164"/>
                      <a:pt x="140" y="164"/>
                    </a:cubicBezTo>
                    <a:cubicBezTo>
                      <a:pt x="147" y="156"/>
                      <a:pt x="147" y="156"/>
                      <a:pt x="147" y="156"/>
                    </a:cubicBezTo>
                    <a:cubicBezTo>
                      <a:pt x="149" y="153"/>
                      <a:pt x="152" y="142"/>
                      <a:pt x="139" y="136"/>
                    </a:cubicBezTo>
                    <a:cubicBezTo>
                      <a:pt x="138" y="133"/>
                      <a:pt x="135" y="128"/>
                      <a:pt x="131" y="127"/>
                    </a:cubicBezTo>
                    <a:cubicBezTo>
                      <a:pt x="130" y="125"/>
                      <a:pt x="128" y="122"/>
                      <a:pt x="124" y="120"/>
                    </a:cubicBezTo>
                    <a:cubicBezTo>
                      <a:pt x="128" y="118"/>
                      <a:pt x="131" y="115"/>
                      <a:pt x="134" y="109"/>
                    </a:cubicBezTo>
                    <a:close/>
                    <a:moveTo>
                      <a:pt x="154" y="78"/>
                    </a:moveTo>
                    <a:cubicBezTo>
                      <a:pt x="156" y="78"/>
                      <a:pt x="158" y="79"/>
                      <a:pt x="160" y="81"/>
                    </a:cubicBezTo>
                    <a:cubicBezTo>
                      <a:pt x="182" y="104"/>
                      <a:pt x="182" y="104"/>
                      <a:pt x="182" y="104"/>
                    </a:cubicBezTo>
                    <a:cubicBezTo>
                      <a:pt x="185" y="106"/>
                      <a:pt x="184" y="109"/>
                      <a:pt x="183" y="111"/>
                    </a:cubicBezTo>
                    <a:cubicBezTo>
                      <a:pt x="164" y="130"/>
                      <a:pt x="164" y="130"/>
                      <a:pt x="164" y="130"/>
                    </a:cubicBezTo>
                    <a:cubicBezTo>
                      <a:pt x="131" y="97"/>
                      <a:pt x="131" y="97"/>
                      <a:pt x="131" y="97"/>
                    </a:cubicBezTo>
                    <a:cubicBezTo>
                      <a:pt x="128" y="104"/>
                      <a:pt x="128" y="104"/>
                      <a:pt x="128" y="104"/>
                    </a:cubicBezTo>
                    <a:cubicBezTo>
                      <a:pt x="128" y="104"/>
                      <a:pt x="128" y="104"/>
                      <a:pt x="128" y="104"/>
                    </a:cubicBezTo>
                    <a:cubicBezTo>
                      <a:pt x="128" y="105"/>
                      <a:pt x="128" y="105"/>
                      <a:pt x="128" y="105"/>
                    </a:cubicBezTo>
                    <a:cubicBezTo>
                      <a:pt x="127" y="107"/>
                      <a:pt x="127" y="109"/>
                      <a:pt x="126" y="110"/>
                    </a:cubicBezTo>
                    <a:cubicBezTo>
                      <a:pt x="126" y="110"/>
                      <a:pt x="126" y="110"/>
                      <a:pt x="126" y="110"/>
                    </a:cubicBezTo>
                    <a:cubicBezTo>
                      <a:pt x="125" y="110"/>
                      <a:pt x="125" y="110"/>
                      <a:pt x="125" y="110"/>
                    </a:cubicBezTo>
                    <a:cubicBezTo>
                      <a:pt x="124" y="112"/>
                      <a:pt x="123" y="113"/>
                      <a:pt x="121" y="114"/>
                    </a:cubicBezTo>
                    <a:cubicBezTo>
                      <a:pt x="113" y="116"/>
                      <a:pt x="111" y="111"/>
                      <a:pt x="112" y="107"/>
                    </a:cubicBezTo>
                    <a:cubicBezTo>
                      <a:pt x="117" y="94"/>
                      <a:pt x="117" y="94"/>
                      <a:pt x="117" y="94"/>
                    </a:cubicBezTo>
                    <a:cubicBezTo>
                      <a:pt x="117" y="93"/>
                      <a:pt x="117" y="93"/>
                      <a:pt x="117" y="93"/>
                    </a:cubicBezTo>
                    <a:cubicBezTo>
                      <a:pt x="117" y="93"/>
                      <a:pt x="117" y="93"/>
                      <a:pt x="117" y="93"/>
                    </a:cubicBezTo>
                    <a:cubicBezTo>
                      <a:pt x="121" y="84"/>
                      <a:pt x="121" y="84"/>
                      <a:pt x="121" y="84"/>
                    </a:cubicBezTo>
                    <a:cubicBezTo>
                      <a:pt x="122" y="82"/>
                      <a:pt x="124" y="80"/>
                      <a:pt x="127" y="79"/>
                    </a:cubicBezTo>
                    <a:lnTo>
                      <a:pt x="154" y="78"/>
                    </a:lnTo>
                    <a:close/>
                    <a:moveTo>
                      <a:pt x="167" y="67"/>
                    </a:moveTo>
                    <a:cubicBezTo>
                      <a:pt x="169" y="67"/>
                      <a:pt x="170" y="67"/>
                      <a:pt x="171" y="68"/>
                    </a:cubicBezTo>
                    <a:cubicBezTo>
                      <a:pt x="194" y="91"/>
                      <a:pt x="194" y="91"/>
                      <a:pt x="194" y="91"/>
                    </a:cubicBezTo>
                    <a:cubicBezTo>
                      <a:pt x="196" y="93"/>
                      <a:pt x="196" y="97"/>
                      <a:pt x="194" y="99"/>
                    </a:cubicBezTo>
                    <a:cubicBezTo>
                      <a:pt x="192" y="101"/>
                      <a:pt x="192" y="101"/>
                      <a:pt x="192" y="101"/>
                    </a:cubicBezTo>
                    <a:cubicBezTo>
                      <a:pt x="190" y="103"/>
                      <a:pt x="186" y="103"/>
                      <a:pt x="184" y="101"/>
                    </a:cubicBezTo>
                    <a:cubicBezTo>
                      <a:pt x="161" y="78"/>
                      <a:pt x="161" y="78"/>
                      <a:pt x="161" y="78"/>
                    </a:cubicBezTo>
                    <a:cubicBezTo>
                      <a:pt x="159" y="76"/>
                      <a:pt x="159" y="73"/>
                      <a:pt x="161" y="70"/>
                    </a:cubicBezTo>
                    <a:cubicBezTo>
                      <a:pt x="163" y="68"/>
                      <a:pt x="163" y="68"/>
                      <a:pt x="163" y="68"/>
                    </a:cubicBezTo>
                    <a:cubicBezTo>
                      <a:pt x="164" y="67"/>
                      <a:pt x="166" y="67"/>
                      <a:pt x="167" y="67"/>
                    </a:cubicBezTo>
                    <a:close/>
                    <a:moveTo>
                      <a:pt x="35" y="33"/>
                    </a:moveTo>
                    <a:cubicBezTo>
                      <a:pt x="39" y="33"/>
                      <a:pt x="39" y="37"/>
                      <a:pt x="39" y="39"/>
                    </a:cubicBezTo>
                    <a:cubicBezTo>
                      <a:pt x="36" y="43"/>
                      <a:pt x="29" y="50"/>
                      <a:pt x="35" y="66"/>
                    </a:cubicBezTo>
                    <a:cubicBezTo>
                      <a:pt x="35" y="69"/>
                      <a:pt x="33" y="72"/>
                      <a:pt x="29" y="70"/>
                    </a:cubicBezTo>
                    <a:cubicBezTo>
                      <a:pt x="19" y="54"/>
                      <a:pt x="29" y="38"/>
                      <a:pt x="33" y="33"/>
                    </a:cubicBezTo>
                    <a:cubicBezTo>
                      <a:pt x="34" y="33"/>
                      <a:pt x="34" y="33"/>
                      <a:pt x="35" y="33"/>
                    </a:cubicBezTo>
                    <a:close/>
                    <a:moveTo>
                      <a:pt x="56" y="16"/>
                    </a:moveTo>
                    <a:cubicBezTo>
                      <a:pt x="34" y="16"/>
                      <a:pt x="16" y="34"/>
                      <a:pt x="16" y="56"/>
                    </a:cubicBezTo>
                    <a:cubicBezTo>
                      <a:pt x="16" y="77"/>
                      <a:pt x="34" y="95"/>
                      <a:pt x="56" y="95"/>
                    </a:cubicBezTo>
                    <a:cubicBezTo>
                      <a:pt x="77" y="95"/>
                      <a:pt x="95" y="77"/>
                      <a:pt x="95" y="56"/>
                    </a:cubicBezTo>
                    <a:cubicBezTo>
                      <a:pt x="95" y="34"/>
                      <a:pt x="77" y="16"/>
                      <a:pt x="56" y="16"/>
                    </a:cubicBezTo>
                    <a:close/>
                    <a:moveTo>
                      <a:pt x="56" y="0"/>
                    </a:moveTo>
                    <a:cubicBezTo>
                      <a:pt x="86" y="0"/>
                      <a:pt x="111" y="25"/>
                      <a:pt x="111" y="56"/>
                    </a:cubicBezTo>
                    <a:cubicBezTo>
                      <a:pt x="111" y="65"/>
                      <a:pt x="109" y="73"/>
                      <a:pt x="105" y="81"/>
                    </a:cubicBezTo>
                    <a:cubicBezTo>
                      <a:pt x="105" y="81"/>
                      <a:pt x="106" y="82"/>
                      <a:pt x="106" y="82"/>
                    </a:cubicBezTo>
                    <a:cubicBezTo>
                      <a:pt x="112" y="88"/>
                      <a:pt x="112" y="88"/>
                      <a:pt x="112" y="88"/>
                    </a:cubicBezTo>
                    <a:cubicBezTo>
                      <a:pt x="109" y="96"/>
                      <a:pt x="104" y="106"/>
                      <a:pt x="105" y="110"/>
                    </a:cubicBezTo>
                    <a:cubicBezTo>
                      <a:pt x="100" y="111"/>
                      <a:pt x="97" y="115"/>
                      <a:pt x="94" y="118"/>
                    </a:cubicBezTo>
                    <a:cubicBezTo>
                      <a:pt x="82" y="106"/>
                      <a:pt x="82" y="106"/>
                      <a:pt x="82" y="106"/>
                    </a:cubicBezTo>
                    <a:cubicBezTo>
                      <a:pt x="81" y="105"/>
                      <a:pt x="81" y="105"/>
                      <a:pt x="81" y="105"/>
                    </a:cubicBezTo>
                    <a:cubicBezTo>
                      <a:pt x="73" y="109"/>
                      <a:pt x="65" y="111"/>
                      <a:pt x="56" y="111"/>
                    </a:cubicBezTo>
                    <a:cubicBezTo>
                      <a:pt x="25" y="111"/>
                      <a:pt x="0" y="86"/>
                      <a:pt x="0" y="56"/>
                    </a:cubicBezTo>
                    <a:cubicBezTo>
                      <a:pt x="0" y="25"/>
                      <a:pt x="25" y="0"/>
                      <a:pt x="56" y="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0" name="Freeform 227"/>
              <p:cNvSpPr>
                <a:spLocks/>
              </p:cNvSpPr>
              <p:nvPr/>
            </p:nvSpPr>
            <p:spPr bwMode="auto">
              <a:xfrm rot="5400000">
                <a:off x="11575277" y="352539"/>
                <a:ext cx="135346" cy="141859"/>
              </a:xfrm>
              <a:custGeom>
                <a:avLst/>
                <a:gdLst>
                  <a:gd name="T0" fmla="*/ 0 w 93"/>
                  <a:gd name="T1" fmla="*/ 23 h 94"/>
                  <a:gd name="T2" fmla="*/ 46 w 93"/>
                  <a:gd name="T3" fmla="*/ 23 h 94"/>
                  <a:gd name="T4" fmla="*/ 46 w 93"/>
                  <a:gd name="T5" fmla="*/ 0 h 94"/>
                  <a:gd name="T6" fmla="*/ 93 w 93"/>
                  <a:gd name="T7" fmla="*/ 47 h 94"/>
                  <a:gd name="T8" fmla="*/ 46 w 93"/>
                  <a:gd name="T9" fmla="*/ 94 h 94"/>
                  <a:gd name="T10" fmla="*/ 46 w 93"/>
                  <a:gd name="T11" fmla="*/ 71 h 94"/>
                  <a:gd name="T12" fmla="*/ 0 w 93"/>
                  <a:gd name="T13" fmla="*/ 71 h 94"/>
                  <a:gd name="T14" fmla="*/ 0 w 93"/>
                  <a:gd name="T15" fmla="*/ 23 h 94"/>
                  <a:gd name="T16" fmla="*/ 0 w 93"/>
                  <a:gd name="T17"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4">
                    <a:moveTo>
                      <a:pt x="0" y="23"/>
                    </a:moveTo>
                    <a:lnTo>
                      <a:pt x="46" y="23"/>
                    </a:lnTo>
                    <a:lnTo>
                      <a:pt x="46" y="0"/>
                    </a:lnTo>
                    <a:lnTo>
                      <a:pt x="93" y="47"/>
                    </a:lnTo>
                    <a:lnTo>
                      <a:pt x="46" y="94"/>
                    </a:lnTo>
                    <a:lnTo>
                      <a:pt x="46" y="71"/>
                    </a:lnTo>
                    <a:lnTo>
                      <a:pt x="0" y="71"/>
                    </a:lnTo>
                    <a:lnTo>
                      <a:pt x="0" y="23"/>
                    </a:lnTo>
                    <a:lnTo>
                      <a:pt x="0" y="23"/>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1" name="Freeform 228"/>
              <p:cNvSpPr>
                <a:spLocks/>
              </p:cNvSpPr>
              <p:nvPr/>
            </p:nvSpPr>
            <p:spPr bwMode="auto">
              <a:xfrm rot="5400000">
                <a:off x="11081949" y="1032392"/>
                <a:ext cx="136801" cy="89039"/>
              </a:xfrm>
              <a:custGeom>
                <a:avLst/>
                <a:gdLst>
                  <a:gd name="T0" fmla="*/ 94 w 94"/>
                  <a:gd name="T1" fmla="*/ 15 h 59"/>
                  <a:gd name="T2" fmla="*/ 30 w 94"/>
                  <a:gd name="T3" fmla="*/ 15 h 59"/>
                  <a:gd name="T4" fmla="*/ 30 w 94"/>
                  <a:gd name="T5" fmla="*/ 0 h 59"/>
                  <a:gd name="T6" fmla="*/ 0 w 94"/>
                  <a:gd name="T7" fmla="*/ 29 h 59"/>
                  <a:gd name="T8" fmla="*/ 30 w 94"/>
                  <a:gd name="T9" fmla="*/ 59 h 59"/>
                  <a:gd name="T10" fmla="*/ 30 w 94"/>
                  <a:gd name="T11" fmla="*/ 44 h 59"/>
                  <a:gd name="T12" fmla="*/ 94 w 94"/>
                  <a:gd name="T13" fmla="*/ 44 h 59"/>
                  <a:gd name="T14" fmla="*/ 94 w 94"/>
                  <a:gd name="T15" fmla="*/ 15 h 59"/>
                  <a:gd name="T16" fmla="*/ 94 w 94"/>
                  <a:gd name="T1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4" y="15"/>
                    </a:moveTo>
                    <a:lnTo>
                      <a:pt x="30" y="15"/>
                    </a:lnTo>
                    <a:lnTo>
                      <a:pt x="30" y="0"/>
                    </a:lnTo>
                    <a:lnTo>
                      <a:pt x="0" y="29"/>
                    </a:lnTo>
                    <a:lnTo>
                      <a:pt x="30" y="59"/>
                    </a:lnTo>
                    <a:lnTo>
                      <a:pt x="30" y="44"/>
                    </a:lnTo>
                    <a:lnTo>
                      <a:pt x="94" y="44"/>
                    </a:lnTo>
                    <a:lnTo>
                      <a:pt x="94" y="15"/>
                    </a:lnTo>
                    <a:lnTo>
                      <a:pt x="94" y="15"/>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2" name="Rectangle 691"/>
              <p:cNvSpPr>
                <a:spLocks noChangeArrowheads="1"/>
              </p:cNvSpPr>
              <p:nvPr/>
            </p:nvSpPr>
            <p:spPr bwMode="auto">
              <a:xfrm rot="5400000">
                <a:off x="10574637" y="94138"/>
                <a:ext cx="82954" cy="37728"/>
              </a:xfrm>
              <a:prstGeom prst="rect">
                <a:avLst/>
              </a:prstGeom>
              <a:solidFill>
                <a:srgbClr val="028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3" name="Freeform 230"/>
              <p:cNvSpPr>
                <a:spLocks/>
              </p:cNvSpPr>
              <p:nvPr/>
            </p:nvSpPr>
            <p:spPr bwMode="auto">
              <a:xfrm rot="5400000">
                <a:off x="10579003" y="-4768"/>
                <a:ext cx="74222" cy="116203"/>
              </a:xfrm>
              <a:custGeom>
                <a:avLst/>
                <a:gdLst>
                  <a:gd name="T0" fmla="*/ 51 w 51"/>
                  <a:gd name="T1" fmla="*/ 77 h 77"/>
                  <a:gd name="T2" fmla="*/ 0 w 51"/>
                  <a:gd name="T3" fmla="*/ 38 h 77"/>
                  <a:gd name="T4" fmla="*/ 51 w 51"/>
                  <a:gd name="T5" fmla="*/ 0 h 77"/>
                  <a:gd name="T6" fmla="*/ 51 w 51"/>
                  <a:gd name="T7" fmla="*/ 77 h 77"/>
                  <a:gd name="T8" fmla="*/ 51 w 51"/>
                  <a:gd name="T9" fmla="*/ 77 h 77"/>
                </a:gdLst>
                <a:ahLst/>
                <a:cxnLst>
                  <a:cxn ang="0">
                    <a:pos x="T0" y="T1"/>
                  </a:cxn>
                  <a:cxn ang="0">
                    <a:pos x="T2" y="T3"/>
                  </a:cxn>
                  <a:cxn ang="0">
                    <a:pos x="T4" y="T5"/>
                  </a:cxn>
                  <a:cxn ang="0">
                    <a:pos x="T6" y="T7"/>
                  </a:cxn>
                  <a:cxn ang="0">
                    <a:pos x="T8" y="T9"/>
                  </a:cxn>
                </a:cxnLst>
                <a:rect l="0" t="0" r="r" b="b"/>
                <a:pathLst>
                  <a:path w="51" h="77">
                    <a:moveTo>
                      <a:pt x="51" y="77"/>
                    </a:moveTo>
                    <a:lnTo>
                      <a:pt x="0" y="38"/>
                    </a:lnTo>
                    <a:lnTo>
                      <a:pt x="51" y="0"/>
                    </a:lnTo>
                    <a:lnTo>
                      <a:pt x="51" y="77"/>
                    </a:lnTo>
                    <a:lnTo>
                      <a:pt x="51" y="77"/>
                    </a:ln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4" name="Freeform 231"/>
              <p:cNvSpPr>
                <a:spLocks noEditPoints="1"/>
              </p:cNvSpPr>
              <p:nvPr/>
            </p:nvSpPr>
            <p:spPr bwMode="auto">
              <a:xfrm rot="5400000">
                <a:off x="11289644" y="565473"/>
                <a:ext cx="106240" cy="75457"/>
              </a:xfrm>
              <a:custGeom>
                <a:avLst/>
                <a:gdLst>
                  <a:gd name="T0" fmla="*/ 41 w 73"/>
                  <a:gd name="T1" fmla="*/ 0 h 50"/>
                  <a:gd name="T2" fmla="*/ 41 w 73"/>
                  <a:gd name="T3" fmla="*/ 50 h 50"/>
                  <a:gd name="T4" fmla="*/ 73 w 73"/>
                  <a:gd name="T5" fmla="*/ 26 h 50"/>
                  <a:gd name="T6" fmla="*/ 41 w 73"/>
                  <a:gd name="T7" fmla="*/ 0 h 50"/>
                  <a:gd name="T8" fmla="*/ 41 w 73"/>
                  <a:gd name="T9" fmla="*/ 0 h 50"/>
                  <a:gd name="T10" fmla="*/ 41 w 73"/>
                  <a:gd name="T11" fmla="*/ 0 h 50"/>
                  <a:gd name="T12" fmla="*/ 32 w 73"/>
                  <a:gd name="T13" fmla="*/ 26 h 50"/>
                  <a:gd name="T14" fmla="*/ 0 w 73"/>
                  <a:gd name="T15" fmla="*/ 50 h 50"/>
                  <a:gd name="T16" fmla="*/ 0 w 73"/>
                  <a:gd name="T17" fmla="*/ 0 h 50"/>
                  <a:gd name="T18" fmla="*/ 32 w 73"/>
                  <a:gd name="T19" fmla="*/ 26 h 50"/>
                  <a:gd name="T20" fmla="*/ 32 w 73"/>
                  <a:gd name="T21" fmla="*/ 26 h 50"/>
                  <a:gd name="T22" fmla="*/ 32 w 73"/>
                  <a:gd name="T23"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0">
                    <a:moveTo>
                      <a:pt x="41" y="0"/>
                    </a:moveTo>
                    <a:lnTo>
                      <a:pt x="41" y="50"/>
                    </a:lnTo>
                    <a:lnTo>
                      <a:pt x="73" y="26"/>
                    </a:lnTo>
                    <a:lnTo>
                      <a:pt x="41" y="0"/>
                    </a:lnTo>
                    <a:lnTo>
                      <a:pt x="41" y="0"/>
                    </a:lnTo>
                    <a:lnTo>
                      <a:pt x="41" y="0"/>
                    </a:lnTo>
                    <a:close/>
                    <a:moveTo>
                      <a:pt x="32" y="26"/>
                    </a:moveTo>
                    <a:lnTo>
                      <a:pt x="0" y="50"/>
                    </a:lnTo>
                    <a:lnTo>
                      <a:pt x="0" y="0"/>
                    </a:lnTo>
                    <a:lnTo>
                      <a:pt x="32" y="26"/>
                    </a:lnTo>
                    <a:lnTo>
                      <a:pt x="32" y="26"/>
                    </a:lnTo>
                    <a:lnTo>
                      <a:pt x="32" y="26"/>
                    </a:ln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695" name="Group 694"/>
              <p:cNvGrpSpPr/>
              <p:nvPr/>
            </p:nvGrpSpPr>
            <p:grpSpPr>
              <a:xfrm rot="16200000">
                <a:off x="10598188" y="1571960"/>
                <a:ext cx="313901" cy="133891"/>
                <a:chOff x="10648560" y="1439289"/>
                <a:chExt cx="313901" cy="133891"/>
              </a:xfrm>
            </p:grpSpPr>
            <p:sp>
              <p:nvSpPr>
                <p:cNvPr id="715" name="Freeform 233"/>
                <p:cNvSpPr>
                  <a:spLocks noEditPoints="1"/>
                </p:cNvSpPr>
                <p:nvPr/>
              </p:nvSpPr>
              <p:spPr bwMode="auto">
                <a:xfrm rot="5400000">
                  <a:off x="10847925" y="1485053"/>
                  <a:ext cx="90231" cy="45274"/>
                </a:xfrm>
                <a:custGeom>
                  <a:avLst/>
                  <a:gdLst>
                    <a:gd name="T0" fmla="*/ 0 w 83"/>
                    <a:gd name="T1" fmla="*/ 21 h 39"/>
                    <a:gd name="T2" fmla="*/ 0 w 83"/>
                    <a:gd name="T3" fmla="*/ 21 h 39"/>
                    <a:gd name="T4" fmla="*/ 0 w 83"/>
                    <a:gd name="T5" fmla="*/ 21 h 39"/>
                    <a:gd name="T6" fmla="*/ 32 w 83"/>
                    <a:gd name="T7" fmla="*/ 0 h 39"/>
                    <a:gd name="T8" fmla="*/ 42 w 83"/>
                    <a:gd name="T9" fmla="*/ 16 h 39"/>
                    <a:gd name="T10" fmla="*/ 51 w 83"/>
                    <a:gd name="T11" fmla="*/ 0 h 39"/>
                    <a:gd name="T12" fmla="*/ 64 w 83"/>
                    <a:gd name="T13" fmla="*/ 3 h 39"/>
                    <a:gd name="T14" fmla="*/ 83 w 83"/>
                    <a:gd name="T15" fmla="*/ 21 h 39"/>
                    <a:gd name="T16" fmla="*/ 83 w 83"/>
                    <a:gd name="T17" fmla="*/ 21 h 39"/>
                    <a:gd name="T18" fmla="*/ 64 w 83"/>
                    <a:gd name="T19" fmla="*/ 39 h 39"/>
                    <a:gd name="T20" fmla="*/ 19 w 83"/>
                    <a:gd name="T21" fmla="*/ 39 h 39"/>
                    <a:gd name="T22" fmla="*/ 0 w 83"/>
                    <a:gd name="T23" fmla="*/ 21 h 39"/>
                    <a:gd name="T24" fmla="*/ 19 w 83"/>
                    <a:gd name="T25" fmla="*/ 3 h 39"/>
                    <a:gd name="T26" fmla="*/ 32 w 83"/>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39">
                      <a:moveTo>
                        <a:pt x="0" y="21"/>
                      </a:moveTo>
                      <a:cubicBezTo>
                        <a:pt x="0" y="21"/>
                        <a:pt x="0" y="21"/>
                        <a:pt x="0" y="21"/>
                      </a:cubicBezTo>
                      <a:cubicBezTo>
                        <a:pt x="0" y="21"/>
                        <a:pt x="0" y="21"/>
                        <a:pt x="0" y="21"/>
                      </a:cubicBezTo>
                      <a:close/>
                      <a:moveTo>
                        <a:pt x="32" y="0"/>
                      </a:moveTo>
                      <a:cubicBezTo>
                        <a:pt x="42" y="16"/>
                        <a:pt x="42" y="16"/>
                        <a:pt x="42" y="16"/>
                      </a:cubicBezTo>
                      <a:cubicBezTo>
                        <a:pt x="51" y="0"/>
                        <a:pt x="51" y="0"/>
                        <a:pt x="51" y="0"/>
                      </a:cubicBezTo>
                      <a:cubicBezTo>
                        <a:pt x="55" y="1"/>
                        <a:pt x="60" y="3"/>
                        <a:pt x="64" y="3"/>
                      </a:cubicBezTo>
                      <a:cubicBezTo>
                        <a:pt x="74" y="3"/>
                        <a:pt x="83" y="11"/>
                        <a:pt x="83" y="21"/>
                      </a:cubicBezTo>
                      <a:cubicBezTo>
                        <a:pt x="83" y="21"/>
                        <a:pt x="83" y="21"/>
                        <a:pt x="83" y="21"/>
                      </a:cubicBezTo>
                      <a:cubicBezTo>
                        <a:pt x="83" y="31"/>
                        <a:pt x="74" y="39"/>
                        <a:pt x="64" y="39"/>
                      </a:cubicBezTo>
                      <a:cubicBezTo>
                        <a:pt x="19" y="39"/>
                        <a:pt x="19" y="39"/>
                        <a:pt x="19" y="39"/>
                      </a:cubicBezTo>
                      <a:cubicBezTo>
                        <a:pt x="9" y="39"/>
                        <a:pt x="0" y="31"/>
                        <a:pt x="0" y="21"/>
                      </a:cubicBezTo>
                      <a:cubicBezTo>
                        <a:pt x="0" y="11"/>
                        <a:pt x="9" y="3"/>
                        <a:pt x="19" y="3"/>
                      </a:cubicBezTo>
                      <a:cubicBezTo>
                        <a:pt x="23" y="3"/>
                        <a:pt x="28" y="1"/>
                        <a:pt x="32" y="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716" name="Group 715"/>
                <p:cNvGrpSpPr/>
                <p:nvPr/>
              </p:nvGrpSpPr>
              <p:grpSpPr>
                <a:xfrm>
                  <a:off x="10648560" y="1439289"/>
                  <a:ext cx="313901" cy="133891"/>
                  <a:chOff x="10648560" y="1439289"/>
                  <a:chExt cx="313901" cy="133891"/>
                </a:xfrm>
              </p:grpSpPr>
              <p:sp>
                <p:nvSpPr>
                  <p:cNvPr id="717" name="Oval 716"/>
                  <p:cNvSpPr>
                    <a:spLocks noChangeArrowheads="1"/>
                  </p:cNvSpPr>
                  <p:nvPr/>
                </p:nvSpPr>
                <p:spPr bwMode="auto">
                  <a:xfrm rot="5400000">
                    <a:off x="10921632" y="1484325"/>
                    <a:ext cx="36384" cy="45274"/>
                  </a:xfrm>
                  <a:prstGeom prst="ellipse">
                    <a:avLst/>
                  </a:pr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8" name="Freeform 234"/>
                  <p:cNvSpPr>
                    <a:spLocks/>
                  </p:cNvSpPr>
                  <p:nvPr/>
                </p:nvSpPr>
                <p:spPr bwMode="auto">
                  <a:xfrm rot="5400000">
                    <a:off x="10790256" y="1459397"/>
                    <a:ext cx="72767" cy="96585"/>
                  </a:xfrm>
                  <a:custGeom>
                    <a:avLst/>
                    <a:gdLst>
                      <a:gd name="T0" fmla="*/ 0 w 67"/>
                      <a:gd name="T1" fmla="*/ 0 h 85"/>
                      <a:gd name="T2" fmla="*/ 67 w 67"/>
                      <a:gd name="T3" fmla="*/ 0 h 85"/>
                      <a:gd name="T4" fmla="*/ 67 w 67"/>
                      <a:gd name="T5" fmla="*/ 23 h 85"/>
                      <a:gd name="T6" fmla="*/ 56 w 67"/>
                      <a:gd name="T7" fmla="*/ 47 h 85"/>
                      <a:gd name="T8" fmla="*/ 62 w 67"/>
                      <a:gd name="T9" fmla="*/ 62 h 85"/>
                      <a:gd name="T10" fmla="*/ 67 w 67"/>
                      <a:gd name="T11" fmla="*/ 63 h 85"/>
                      <a:gd name="T12" fmla="*/ 67 w 67"/>
                      <a:gd name="T13" fmla="*/ 71 h 85"/>
                      <a:gd name="T14" fmla="*/ 67 w 67"/>
                      <a:gd name="T15" fmla="*/ 79 h 85"/>
                      <a:gd name="T16" fmla="*/ 67 w 67"/>
                      <a:gd name="T17" fmla="*/ 85 h 85"/>
                      <a:gd name="T18" fmla="*/ 0 w 67"/>
                      <a:gd name="T19" fmla="*/ 85 h 85"/>
                      <a:gd name="T20" fmla="*/ 0 w 67"/>
                      <a:gd name="T21" fmla="*/ 79 h 85"/>
                      <a:gd name="T22" fmla="*/ 0 w 67"/>
                      <a:gd name="T23" fmla="*/ 71 h 85"/>
                      <a:gd name="T24" fmla="*/ 0 w 67"/>
                      <a:gd name="T25" fmla="*/ 63 h 85"/>
                      <a:gd name="T26" fmla="*/ 5 w 67"/>
                      <a:gd name="T27" fmla="*/ 62 h 85"/>
                      <a:gd name="T28" fmla="*/ 11 w 67"/>
                      <a:gd name="T29" fmla="*/ 47 h 85"/>
                      <a:gd name="T30" fmla="*/ 0 w 67"/>
                      <a:gd name="T31" fmla="*/ 23 h 85"/>
                      <a:gd name="T32" fmla="*/ 0 w 67"/>
                      <a:gd name="T3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5">
                        <a:moveTo>
                          <a:pt x="0" y="0"/>
                        </a:moveTo>
                        <a:cubicBezTo>
                          <a:pt x="67" y="0"/>
                          <a:pt x="67" y="0"/>
                          <a:pt x="67" y="0"/>
                        </a:cubicBezTo>
                        <a:cubicBezTo>
                          <a:pt x="67" y="23"/>
                          <a:pt x="67" y="23"/>
                          <a:pt x="67" y="23"/>
                        </a:cubicBezTo>
                        <a:cubicBezTo>
                          <a:pt x="56" y="47"/>
                          <a:pt x="56" y="47"/>
                          <a:pt x="56" y="47"/>
                        </a:cubicBezTo>
                        <a:cubicBezTo>
                          <a:pt x="54" y="52"/>
                          <a:pt x="56" y="59"/>
                          <a:pt x="62" y="62"/>
                        </a:cubicBezTo>
                        <a:cubicBezTo>
                          <a:pt x="64" y="63"/>
                          <a:pt x="66" y="63"/>
                          <a:pt x="67" y="63"/>
                        </a:cubicBezTo>
                        <a:cubicBezTo>
                          <a:pt x="67" y="71"/>
                          <a:pt x="67" y="71"/>
                          <a:pt x="67" y="71"/>
                        </a:cubicBezTo>
                        <a:cubicBezTo>
                          <a:pt x="67" y="79"/>
                          <a:pt x="67" y="79"/>
                          <a:pt x="67" y="79"/>
                        </a:cubicBezTo>
                        <a:cubicBezTo>
                          <a:pt x="67" y="85"/>
                          <a:pt x="67" y="85"/>
                          <a:pt x="67" y="85"/>
                        </a:cubicBezTo>
                        <a:cubicBezTo>
                          <a:pt x="0" y="85"/>
                          <a:pt x="0" y="85"/>
                          <a:pt x="0" y="85"/>
                        </a:cubicBezTo>
                        <a:cubicBezTo>
                          <a:pt x="0" y="79"/>
                          <a:pt x="0" y="79"/>
                          <a:pt x="0" y="79"/>
                        </a:cubicBezTo>
                        <a:cubicBezTo>
                          <a:pt x="0" y="71"/>
                          <a:pt x="0" y="71"/>
                          <a:pt x="0" y="71"/>
                        </a:cubicBezTo>
                        <a:cubicBezTo>
                          <a:pt x="0" y="63"/>
                          <a:pt x="0" y="63"/>
                          <a:pt x="0" y="63"/>
                        </a:cubicBezTo>
                        <a:cubicBezTo>
                          <a:pt x="1" y="63"/>
                          <a:pt x="3" y="63"/>
                          <a:pt x="5" y="62"/>
                        </a:cubicBezTo>
                        <a:cubicBezTo>
                          <a:pt x="11" y="59"/>
                          <a:pt x="13" y="52"/>
                          <a:pt x="11" y="47"/>
                        </a:cubicBezTo>
                        <a:cubicBezTo>
                          <a:pt x="0" y="23"/>
                          <a:pt x="0" y="23"/>
                          <a:pt x="0" y="23"/>
                        </a:cubicBezTo>
                        <a:cubicBezTo>
                          <a:pt x="0" y="0"/>
                          <a:pt x="0" y="0"/>
                          <a:pt x="0" y="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9" name="Freeform 235"/>
                  <p:cNvSpPr>
                    <a:spLocks/>
                  </p:cNvSpPr>
                  <p:nvPr/>
                </p:nvSpPr>
                <p:spPr bwMode="auto">
                  <a:xfrm rot="5400000">
                    <a:off x="10707901" y="1416331"/>
                    <a:ext cx="26196" cy="144877"/>
                  </a:xfrm>
                  <a:custGeom>
                    <a:avLst/>
                    <a:gdLst>
                      <a:gd name="T0" fmla="*/ 0 w 23"/>
                      <a:gd name="T1" fmla="*/ 12 h 127"/>
                      <a:gd name="T2" fmla="*/ 12 w 23"/>
                      <a:gd name="T3" fmla="*/ 0 h 127"/>
                      <a:gd name="T4" fmla="*/ 12 w 23"/>
                      <a:gd name="T5" fmla="*/ 0 h 127"/>
                      <a:gd name="T6" fmla="*/ 23 w 23"/>
                      <a:gd name="T7" fmla="*/ 12 h 127"/>
                      <a:gd name="T8" fmla="*/ 23 w 23"/>
                      <a:gd name="T9" fmla="*/ 115 h 127"/>
                      <a:gd name="T10" fmla="*/ 12 w 23"/>
                      <a:gd name="T11" fmla="*/ 127 h 127"/>
                      <a:gd name="T12" fmla="*/ 12 w 23"/>
                      <a:gd name="T13" fmla="*/ 127 h 127"/>
                      <a:gd name="T14" fmla="*/ 0 w 23"/>
                      <a:gd name="T15" fmla="*/ 115 h 127"/>
                      <a:gd name="T16" fmla="*/ 0 w 23"/>
                      <a:gd name="T17" fmla="*/ 1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7">
                        <a:moveTo>
                          <a:pt x="0" y="12"/>
                        </a:moveTo>
                        <a:cubicBezTo>
                          <a:pt x="0" y="6"/>
                          <a:pt x="6" y="0"/>
                          <a:pt x="12" y="0"/>
                        </a:cubicBezTo>
                        <a:cubicBezTo>
                          <a:pt x="12" y="0"/>
                          <a:pt x="12" y="0"/>
                          <a:pt x="12" y="0"/>
                        </a:cubicBezTo>
                        <a:cubicBezTo>
                          <a:pt x="18" y="0"/>
                          <a:pt x="23" y="6"/>
                          <a:pt x="23" y="12"/>
                        </a:cubicBezTo>
                        <a:cubicBezTo>
                          <a:pt x="23" y="115"/>
                          <a:pt x="23" y="115"/>
                          <a:pt x="23" y="115"/>
                        </a:cubicBezTo>
                        <a:cubicBezTo>
                          <a:pt x="23" y="121"/>
                          <a:pt x="18" y="127"/>
                          <a:pt x="12" y="127"/>
                        </a:cubicBezTo>
                        <a:cubicBezTo>
                          <a:pt x="12" y="127"/>
                          <a:pt x="12" y="127"/>
                          <a:pt x="12" y="127"/>
                        </a:cubicBezTo>
                        <a:cubicBezTo>
                          <a:pt x="6" y="127"/>
                          <a:pt x="0" y="121"/>
                          <a:pt x="0" y="115"/>
                        </a:cubicBezTo>
                        <a:lnTo>
                          <a:pt x="0" y="12"/>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0" name="Freeform 236"/>
                  <p:cNvSpPr>
                    <a:spLocks/>
                  </p:cNvSpPr>
                  <p:nvPr/>
                </p:nvSpPr>
                <p:spPr bwMode="auto">
                  <a:xfrm rot="5400000">
                    <a:off x="10708629" y="1453442"/>
                    <a:ext cx="24741" cy="144877"/>
                  </a:xfrm>
                  <a:custGeom>
                    <a:avLst/>
                    <a:gdLst>
                      <a:gd name="T0" fmla="*/ 0 w 23"/>
                      <a:gd name="T1" fmla="*/ 12 h 127"/>
                      <a:gd name="T2" fmla="*/ 11 w 23"/>
                      <a:gd name="T3" fmla="*/ 0 h 127"/>
                      <a:gd name="T4" fmla="*/ 11 w 23"/>
                      <a:gd name="T5" fmla="*/ 0 h 127"/>
                      <a:gd name="T6" fmla="*/ 23 w 23"/>
                      <a:gd name="T7" fmla="*/ 12 h 127"/>
                      <a:gd name="T8" fmla="*/ 23 w 23"/>
                      <a:gd name="T9" fmla="*/ 115 h 127"/>
                      <a:gd name="T10" fmla="*/ 11 w 23"/>
                      <a:gd name="T11" fmla="*/ 127 h 127"/>
                      <a:gd name="T12" fmla="*/ 11 w 23"/>
                      <a:gd name="T13" fmla="*/ 127 h 127"/>
                      <a:gd name="T14" fmla="*/ 0 w 23"/>
                      <a:gd name="T15" fmla="*/ 115 h 127"/>
                      <a:gd name="T16" fmla="*/ 0 w 23"/>
                      <a:gd name="T17" fmla="*/ 1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7">
                        <a:moveTo>
                          <a:pt x="0" y="12"/>
                        </a:moveTo>
                        <a:cubicBezTo>
                          <a:pt x="0" y="6"/>
                          <a:pt x="5" y="0"/>
                          <a:pt x="11" y="0"/>
                        </a:cubicBezTo>
                        <a:cubicBezTo>
                          <a:pt x="11" y="0"/>
                          <a:pt x="11" y="0"/>
                          <a:pt x="11" y="0"/>
                        </a:cubicBezTo>
                        <a:cubicBezTo>
                          <a:pt x="17" y="0"/>
                          <a:pt x="23" y="6"/>
                          <a:pt x="23" y="12"/>
                        </a:cubicBezTo>
                        <a:cubicBezTo>
                          <a:pt x="23" y="115"/>
                          <a:pt x="23" y="115"/>
                          <a:pt x="23" y="115"/>
                        </a:cubicBezTo>
                        <a:cubicBezTo>
                          <a:pt x="23" y="121"/>
                          <a:pt x="17" y="127"/>
                          <a:pt x="11" y="127"/>
                        </a:cubicBezTo>
                        <a:cubicBezTo>
                          <a:pt x="11" y="127"/>
                          <a:pt x="11" y="127"/>
                          <a:pt x="11" y="127"/>
                        </a:cubicBezTo>
                        <a:cubicBezTo>
                          <a:pt x="5" y="127"/>
                          <a:pt x="0" y="121"/>
                          <a:pt x="0" y="115"/>
                        </a:cubicBezTo>
                        <a:lnTo>
                          <a:pt x="0" y="12"/>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1" name="Freeform 237"/>
                  <p:cNvSpPr>
                    <a:spLocks/>
                  </p:cNvSpPr>
                  <p:nvPr/>
                </p:nvSpPr>
                <p:spPr bwMode="auto">
                  <a:xfrm rot="5400000">
                    <a:off x="10853883" y="1518930"/>
                    <a:ext cx="45116" cy="63384"/>
                  </a:xfrm>
                  <a:custGeom>
                    <a:avLst/>
                    <a:gdLst>
                      <a:gd name="T0" fmla="*/ 3 w 41"/>
                      <a:gd name="T1" fmla="*/ 15 h 56"/>
                      <a:gd name="T2" fmla="*/ 6 w 41"/>
                      <a:gd name="T3" fmla="*/ 2 h 56"/>
                      <a:gd name="T4" fmla="*/ 6 w 41"/>
                      <a:gd name="T5" fmla="*/ 2 h 56"/>
                      <a:gd name="T6" fmla="*/ 19 w 41"/>
                      <a:gd name="T7" fmla="*/ 6 h 56"/>
                      <a:gd name="T8" fmla="*/ 39 w 41"/>
                      <a:gd name="T9" fmla="*/ 40 h 56"/>
                      <a:gd name="T10" fmla="*/ 35 w 41"/>
                      <a:gd name="T11" fmla="*/ 53 h 56"/>
                      <a:gd name="T12" fmla="*/ 35 w 41"/>
                      <a:gd name="T13" fmla="*/ 53 h 56"/>
                      <a:gd name="T14" fmla="*/ 23 w 41"/>
                      <a:gd name="T15" fmla="*/ 49 h 56"/>
                      <a:gd name="T16" fmla="*/ 3 w 41"/>
                      <a:gd name="T17"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6">
                        <a:moveTo>
                          <a:pt x="3" y="15"/>
                        </a:moveTo>
                        <a:cubicBezTo>
                          <a:pt x="0" y="11"/>
                          <a:pt x="2" y="5"/>
                          <a:pt x="6" y="2"/>
                        </a:cubicBezTo>
                        <a:cubicBezTo>
                          <a:pt x="6" y="2"/>
                          <a:pt x="6" y="2"/>
                          <a:pt x="6" y="2"/>
                        </a:cubicBezTo>
                        <a:cubicBezTo>
                          <a:pt x="11" y="0"/>
                          <a:pt x="17" y="1"/>
                          <a:pt x="19" y="6"/>
                        </a:cubicBezTo>
                        <a:cubicBezTo>
                          <a:pt x="39" y="40"/>
                          <a:pt x="39" y="40"/>
                          <a:pt x="39" y="40"/>
                        </a:cubicBezTo>
                        <a:cubicBezTo>
                          <a:pt x="41" y="45"/>
                          <a:pt x="40" y="50"/>
                          <a:pt x="35" y="53"/>
                        </a:cubicBezTo>
                        <a:cubicBezTo>
                          <a:pt x="35" y="53"/>
                          <a:pt x="35" y="53"/>
                          <a:pt x="35" y="53"/>
                        </a:cubicBezTo>
                        <a:cubicBezTo>
                          <a:pt x="31" y="56"/>
                          <a:pt x="25" y="54"/>
                          <a:pt x="23" y="49"/>
                        </a:cubicBezTo>
                        <a:lnTo>
                          <a:pt x="3" y="15"/>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2" name="Freeform 238"/>
                  <p:cNvSpPr>
                    <a:spLocks/>
                  </p:cNvSpPr>
                  <p:nvPr/>
                </p:nvSpPr>
                <p:spPr bwMode="auto">
                  <a:xfrm rot="5400000">
                    <a:off x="10816047" y="1523350"/>
                    <a:ext cx="39294" cy="60365"/>
                  </a:xfrm>
                  <a:custGeom>
                    <a:avLst/>
                    <a:gdLst>
                      <a:gd name="T0" fmla="*/ 19 w 36"/>
                      <a:gd name="T1" fmla="*/ 6 h 54"/>
                      <a:gd name="T2" fmla="*/ 30 w 36"/>
                      <a:gd name="T3" fmla="*/ 2 h 54"/>
                      <a:gd name="T4" fmla="*/ 30 w 36"/>
                      <a:gd name="T5" fmla="*/ 2 h 54"/>
                      <a:gd name="T6" fmla="*/ 34 w 36"/>
                      <a:gd name="T7" fmla="*/ 13 h 54"/>
                      <a:gd name="T8" fmla="*/ 18 w 36"/>
                      <a:gd name="T9" fmla="*/ 48 h 54"/>
                      <a:gd name="T10" fmla="*/ 6 w 36"/>
                      <a:gd name="T11" fmla="*/ 52 h 54"/>
                      <a:gd name="T12" fmla="*/ 6 w 36"/>
                      <a:gd name="T13" fmla="*/ 52 h 54"/>
                      <a:gd name="T14" fmla="*/ 2 w 36"/>
                      <a:gd name="T15" fmla="*/ 41 h 54"/>
                      <a:gd name="T16" fmla="*/ 19 w 36"/>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4">
                        <a:moveTo>
                          <a:pt x="19" y="6"/>
                        </a:moveTo>
                        <a:cubicBezTo>
                          <a:pt x="21" y="1"/>
                          <a:pt x="26" y="0"/>
                          <a:pt x="30" y="2"/>
                        </a:cubicBezTo>
                        <a:cubicBezTo>
                          <a:pt x="30" y="2"/>
                          <a:pt x="30" y="2"/>
                          <a:pt x="30" y="2"/>
                        </a:cubicBezTo>
                        <a:cubicBezTo>
                          <a:pt x="34" y="4"/>
                          <a:pt x="36" y="9"/>
                          <a:pt x="34" y="13"/>
                        </a:cubicBezTo>
                        <a:cubicBezTo>
                          <a:pt x="18" y="48"/>
                          <a:pt x="18" y="48"/>
                          <a:pt x="18" y="48"/>
                        </a:cubicBezTo>
                        <a:cubicBezTo>
                          <a:pt x="16" y="52"/>
                          <a:pt x="11" y="54"/>
                          <a:pt x="6" y="52"/>
                        </a:cubicBezTo>
                        <a:cubicBezTo>
                          <a:pt x="6" y="52"/>
                          <a:pt x="6" y="52"/>
                          <a:pt x="6" y="52"/>
                        </a:cubicBezTo>
                        <a:cubicBezTo>
                          <a:pt x="2" y="50"/>
                          <a:pt x="0" y="45"/>
                          <a:pt x="2" y="41"/>
                        </a:cubicBezTo>
                        <a:lnTo>
                          <a:pt x="19" y="6"/>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3" name="Freeform 239"/>
                  <p:cNvSpPr>
                    <a:spLocks/>
                  </p:cNvSpPr>
                  <p:nvPr/>
                </p:nvSpPr>
                <p:spPr bwMode="auto">
                  <a:xfrm rot="5400000">
                    <a:off x="10853155" y="1430883"/>
                    <a:ext cx="46571" cy="63384"/>
                  </a:xfrm>
                  <a:custGeom>
                    <a:avLst/>
                    <a:gdLst>
                      <a:gd name="T0" fmla="*/ 39 w 42"/>
                      <a:gd name="T1" fmla="*/ 15 h 56"/>
                      <a:gd name="T2" fmla="*/ 36 w 42"/>
                      <a:gd name="T3" fmla="*/ 2 h 56"/>
                      <a:gd name="T4" fmla="*/ 36 w 42"/>
                      <a:gd name="T5" fmla="*/ 2 h 56"/>
                      <a:gd name="T6" fmla="*/ 23 w 42"/>
                      <a:gd name="T7" fmla="*/ 6 h 56"/>
                      <a:gd name="T8" fmla="*/ 3 w 42"/>
                      <a:gd name="T9" fmla="*/ 40 h 56"/>
                      <a:gd name="T10" fmla="*/ 7 w 42"/>
                      <a:gd name="T11" fmla="*/ 53 h 56"/>
                      <a:gd name="T12" fmla="*/ 7 w 42"/>
                      <a:gd name="T13" fmla="*/ 53 h 56"/>
                      <a:gd name="T14" fmla="*/ 19 w 42"/>
                      <a:gd name="T15" fmla="*/ 49 h 56"/>
                      <a:gd name="T16" fmla="*/ 39 w 42"/>
                      <a:gd name="T17"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6">
                        <a:moveTo>
                          <a:pt x="39" y="15"/>
                        </a:moveTo>
                        <a:cubicBezTo>
                          <a:pt x="42" y="11"/>
                          <a:pt x="40" y="5"/>
                          <a:pt x="36" y="2"/>
                        </a:cubicBezTo>
                        <a:cubicBezTo>
                          <a:pt x="36" y="2"/>
                          <a:pt x="36" y="2"/>
                          <a:pt x="36" y="2"/>
                        </a:cubicBezTo>
                        <a:cubicBezTo>
                          <a:pt x="31" y="0"/>
                          <a:pt x="25" y="1"/>
                          <a:pt x="23" y="6"/>
                        </a:cubicBezTo>
                        <a:cubicBezTo>
                          <a:pt x="3" y="40"/>
                          <a:pt x="3" y="40"/>
                          <a:pt x="3" y="40"/>
                        </a:cubicBezTo>
                        <a:cubicBezTo>
                          <a:pt x="0" y="45"/>
                          <a:pt x="2" y="50"/>
                          <a:pt x="7" y="53"/>
                        </a:cubicBezTo>
                        <a:cubicBezTo>
                          <a:pt x="7" y="53"/>
                          <a:pt x="7" y="53"/>
                          <a:pt x="7" y="53"/>
                        </a:cubicBezTo>
                        <a:cubicBezTo>
                          <a:pt x="11" y="56"/>
                          <a:pt x="17" y="54"/>
                          <a:pt x="19" y="49"/>
                        </a:cubicBezTo>
                        <a:lnTo>
                          <a:pt x="39" y="15"/>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4" name="Freeform 240"/>
                  <p:cNvSpPr>
                    <a:spLocks/>
                  </p:cNvSpPr>
                  <p:nvPr/>
                </p:nvSpPr>
                <p:spPr bwMode="auto">
                  <a:xfrm rot="5400000">
                    <a:off x="10816047" y="1431664"/>
                    <a:ext cx="39294" cy="60365"/>
                  </a:xfrm>
                  <a:custGeom>
                    <a:avLst/>
                    <a:gdLst>
                      <a:gd name="T0" fmla="*/ 17 w 36"/>
                      <a:gd name="T1" fmla="*/ 6 h 54"/>
                      <a:gd name="T2" fmla="*/ 6 w 36"/>
                      <a:gd name="T3" fmla="*/ 2 h 54"/>
                      <a:gd name="T4" fmla="*/ 6 w 36"/>
                      <a:gd name="T5" fmla="*/ 2 h 54"/>
                      <a:gd name="T6" fmla="*/ 2 w 36"/>
                      <a:gd name="T7" fmla="*/ 13 h 54"/>
                      <a:gd name="T8" fmla="*/ 18 w 36"/>
                      <a:gd name="T9" fmla="*/ 48 h 54"/>
                      <a:gd name="T10" fmla="*/ 30 w 36"/>
                      <a:gd name="T11" fmla="*/ 52 h 54"/>
                      <a:gd name="T12" fmla="*/ 30 w 36"/>
                      <a:gd name="T13" fmla="*/ 52 h 54"/>
                      <a:gd name="T14" fmla="*/ 34 w 36"/>
                      <a:gd name="T15" fmla="*/ 41 h 54"/>
                      <a:gd name="T16" fmla="*/ 17 w 36"/>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4">
                        <a:moveTo>
                          <a:pt x="17" y="6"/>
                        </a:moveTo>
                        <a:cubicBezTo>
                          <a:pt x="15" y="1"/>
                          <a:pt x="10" y="0"/>
                          <a:pt x="6" y="2"/>
                        </a:cubicBezTo>
                        <a:cubicBezTo>
                          <a:pt x="6" y="2"/>
                          <a:pt x="6" y="2"/>
                          <a:pt x="6" y="2"/>
                        </a:cubicBezTo>
                        <a:cubicBezTo>
                          <a:pt x="1" y="4"/>
                          <a:pt x="0" y="9"/>
                          <a:pt x="2" y="13"/>
                        </a:cubicBezTo>
                        <a:cubicBezTo>
                          <a:pt x="18" y="48"/>
                          <a:pt x="18" y="48"/>
                          <a:pt x="18" y="48"/>
                        </a:cubicBezTo>
                        <a:cubicBezTo>
                          <a:pt x="20" y="52"/>
                          <a:pt x="25" y="54"/>
                          <a:pt x="30" y="52"/>
                        </a:cubicBezTo>
                        <a:cubicBezTo>
                          <a:pt x="30" y="52"/>
                          <a:pt x="30" y="52"/>
                          <a:pt x="30" y="52"/>
                        </a:cubicBezTo>
                        <a:cubicBezTo>
                          <a:pt x="34" y="50"/>
                          <a:pt x="36" y="45"/>
                          <a:pt x="34" y="41"/>
                        </a:cubicBezTo>
                        <a:lnTo>
                          <a:pt x="17" y="6"/>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sp>
            <p:nvSpPr>
              <p:cNvPr id="696" name="Freeform 241"/>
              <p:cNvSpPr>
                <a:spLocks noEditPoints="1"/>
              </p:cNvSpPr>
              <p:nvPr/>
            </p:nvSpPr>
            <p:spPr bwMode="auto">
              <a:xfrm>
                <a:off x="12000421" y="1707561"/>
                <a:ext cx="104784" cy="176569"/>
              </a:xfrm>
              <a:custGeom>
                <a:avLst/>
                <a:gdLst>
                  <a:gd name="T0" fmla="*/ 82 w 95"/>
                  <a:gd name="T1" fmla="*/ 13 h 155"/>
                  <a:gd name="T2" fmla="*/ 49 w 95"/>
                  <a:gd name="T3" fmla="*/ 0 h 155"/>
                  <a:gd name="T4" fmla="*/ 16 w 95"/>
                  <a:gd name="T5" fmla="*/ 13 h 155"/>
                  <a:gd name="T6" fmla="*/ 0 w 95"/>
                  <a:gd name="T7" fmla="*/ 46 h 155"/>
                  <a:gd name="T8" fmla="*/ 8 w 95"/>
                  <a:gd name="T9" fmla="*/ 75 h 155"/>
                  <a:gd name="T10" fmla="*/ 31 w 95"/>
                  <a:gd name="T11" fmla="*/ 106 h 155"/>
                  <a:gd name="T12" fmla="*/ 45 w 95"/>
                  <a:gd name="T13" fmla="*/ 155 h 155"/>
                  <a:gd name="T14" fmla="*/ 53 w 95"/>
                  <a:gd name="T15" fmla="*/ 155 h 155"/>
                  <a:gd name="T16" fmla="*/ 72 w 95"/>
                  <a:gd name="T17" fmla="*/ 95 h 155"/>
                  <a:gd name="T18" fmla="*/ 88 w 95"/>
                  <a:gd name="T19" fmla="*/ 75 h 155"/>
                  <a:gd name="T20" fmla="*/ 95 w 95"/>
                  <a:gd name="T21" fmla="*/ 46 h 155"/>
                  <a:gd name="T22" fmla="*/ 82 w 95"/>
                  <a:gd name="T23" fmla="*/ 13 h 155"/>
                  <a:gd name="T24" fmla="*/ 49 w 95"/>
                  <a:gd name="T25" fmla="*/ 71 h 155"/>
                  <a:gd name="T26" fmla="*/ 25 w 95"/>
                  <a:gd name="T27" fmla="*/ 48 h 155"/>
                  <a:gd name="T28" fmla="*/ 49 w 95"/>
                  <a:gd name="T29" fmla="*/ 27 h 155"/>
                  <a:gd name="T30" fmla="*/ 70 w 95"/>
                  <a:gd name="T31" fmla="*/ 48 h 155"/>
                  <a:gd name="T32" fmla="*/ 49 w 95"/>
                  <a:gd name="T33" fmla="*/ 7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155">
                    <a:moveTo>
                      <a:pt x="82" y="13"/>
                    </a:moveTo>
                    <a:cubicBezTo>
                      <a:pt x="72" y="6"/>
                      <a:pt x="60" y="0"/>
                      <a:pt x="49" y="0"/>
                    </a:cubicBezTo>
                    <a:cubicBezTo>
                      <a:pt x="35" y="0"/>
                      <a:pt x="24" y="6"/>
                      <a:pt x="16" y="13"/>
                    </a:cubicBezTo>
                    <a:cubicBezTo>
                      <a:pt x="6" y="23"/>
                      <a:pt x="0" y="35"/>
                      <a:pt x="0" y="46"/>
                    </a:cubicBezTo>
                    <a:cubicBezTo>
                      <a:pt x="0" y="58"/>
                      <a:pt x="4" y="68"/>
                      <a:pt x="8" y="75"/>
                    </a:cubicBezTo>
                    <a:cubicBezTo>
                      <a:pt x="16" y="87"/>
                      <a:pt x="24" y="95"/>
                      <a:pt x="31" y="106"/>
                    </a:cubicBezTo>
                    <a:cubicBezTo>
                      <a:pt x="39" y="118"/>
                      <a:pt x="45" y="132"/>
                      <a:pt x="45" y="155"/>
                    </a:cubicBezTo>
                    <a:cubicBezTo>
                      <a:pt x="53" y="155"/>
                      <a:pt x="53" y="155"/>
                      <a:pt x="53" y="155"/>
                    </a:cubicBezTo>
                    <a:cubicBezTo>
                      <a:pt x="53" y="124"/>
                      <a:pt x="62" y="108"/>
                      <a:pt x="72" y="95"/>
                    </a:cubicBezTo>
                    <a:cubicBezTo>
                      <a:pt x="78" y="89"/>
                      <a:pt x="84" y="83"/>
                      <a:pt x="88" y="75"/>
                    </a:cubicBezTo>
                    <a:cubicBezTo>
                      <a:pt x="93" y="68"/>
                      <a:pt x="95" y="58"/>
                      <a:pt x="95" y="46"/>
                    </a:cubicBezTo>
                    <a:cubicBezTo>
                      <a:pt x="95" y="35"/>
                      <a:pt x="89" y="23"/>
                      <a:pt x="82" y="13"/>
                    </a:cubicBezTo>
                    <a:close/>
                    <a:moveTo>
                      <a:pt x="49" y="71"/>
                    </a:moveTo>
                    <a:cubicBezTo>
                      <a:pt x="35" y="71"/>
                      <a:pt x="25" y="60"/>
                      <a:pt x="25" y="48"/>
                    </a:cubicBezTo>
                    <a:cubicBezTo>
                      <a:pt x="25" y="37"/>
                      <a:pt x="35" y="27"/>
                      <a:pt x="49" y="27"/>
                    </a:cubicBezTo>
                    <a:cubicBezTo>
                      <a:pt x="60" y="27"/>
                      <a:pt x="70" y="37"/>
                      <a:pt x="70" y="48"/>
                    </a:cubicBezTo>
                    <a:cubicBezTo>
                      <a:pt x="70" y="60"/>
                      <a:pt x="60" y="71"/>
                      <a:pt x="49" y="71"/>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7" name="Freeform 242"/>
              <p:cNvSpPr>
                <a:spLocks noEditPoints="1"/>
              </p:cNvSpPr>
              <p:nvPr/>
            </p:nvSpPr>
            <p:spPr bwMode="auto">
              <a:xfrm rot="5400000">
                <a:off x="11571961" y="1163023"/>
                <a:ext cx="71312" cy="149404"/>
              </a:xfrm>
              <a:custGeom>
                <a:avLst/>
                <a:gdLst>
                  <a:gd name="T0" fmla="*/ 24 w 49"/>
                  <a:gd name="T1" fmla="*/ 82 h 99"/>
                  <a:gd name="T2" fmla="*/ 27 w 49"/>
                  <a:gd name="T3" fmla="*/ 83 h 99"/>
                  <a:gd name="T4" fmla="*/ 29 w 49"/>
                  <a:gd name="T5" fmla="*/ 86 h 99"/>
                  <a:gd name="T6" fmla="*/ 31 w 49"/>
                  <a:gd name="T7" fmla="*/ 89 h 99"/>
                  <a:gd name="T8" fmla="*/ 30 w 49"/>
                  <a:gd name="T9" fmla="*/ 93 h 99"/>
                  <a:gd name="T10" fmla="*/ 28 w 49"/>
                  <a:gd name="T11" fmla="*/ 96 h 99"/>
                  <a:gd name="T12" fmla="*/ 25 w 49"/>
                  <a:gd name="T13" fmla="*/ 98 h 99"/>
                  <a:gd name="T14" fmla="*/ 22 w 49"/>
                  <a:gd name="T15" fmla="*/ 99 h 99"/>
                  <a:gd name="T16" fmla="*/ 18 w 49"/>
                  <a:gd name="T17" fmla="*/ 99 h 99"/>
                  <a:gd name="T18" fmla="*/ 15 w 49"/>
                  <a:gd name="T19" fmla="*/ 97 h 99"/>
                  <a:gd name="T20" fmla="*/ 13 w 49"/>
                  <a:gd name="T21" fmla="*/ 94 h 99"/>
                  <a:gd name="T22" fmla="*/ 11 w 49"/>
                  <a:gd name="T23" fmla="*/ 91 h 99"/>
                  <a:gd name="T24" fmla="*/ 12 w 49"/>
                  <a:gd name="T25" fmla="*/ 88 h 99"/>
                  <a:gd name="T26" fmla="*/ 13 w 49"/>
                  <a:gd name="T27" fmla="*/ 85 h 99"/>
                  <a:gd name="T28" fmla="*/ 16 w 49"/>
                  <a:gd name="T29" fmla="*/ 82 h 99"/>
                  <a:gd name="T30" fmla="*/ 20 w 49"/>
                  <a:gd name="T31" fmla="*/ 82 h 99"/>
                  <a:gd name="T32" fmla="*/ 21 w 49"/>
                  <a:gd name="T33" fmla="*/ 82 h 99"/>
                  <a:gd name="T34" fmla="*/ 26 w 49"/>
                  <a:gd name="T35" fmla="*/ 1 h 99"/>
                  <a:gd name="T36" fmla="*/ 31 w 49"/>
                  <a:gd name="T37" fmla="*/ 2 h 99"/>
                  <a:gd name="T38" fmla="*/ 36 w 49"/>
                  <a:gd name="T39" fmla="*/ 3 h 99"/>
                  <a:gd name="T40" fmla="*/ 41 w 49"/>
                  <a:gd name="T41" fmla="*/ 5 h 99"/>
                  <a:gd name="T42" fmla="*/ 44 w 49"/>
                  <a:gd name="T43" fmla="*/ 8 h 99"/>
                  <a:gd name="T44" fmla="*/ 47 w 49"/>
                  <a:gd name="T45" fmla="*/ 12 h 99"/>
                  <a:gd name="T46" fmla="*/ 48 w 49"/>
                  <a:gd name="T47" fmla="*/ 16 h 99"/>
                  <a:gd name="T48" fmla="*/ 49 w 49"/>
                  <a:gd name="T49" fmla="*/ 21 h 99"/>
                  <a:gd name="T50" fmla="*/ 49 w 49"/>
                  <a:gd name="T51" fmla="*/ 26 h 99"/>
                  <a:gd name="T52" fmla="*/ 47 w 49"/>
                  <a:gd name="T53" fmla="*/ 30 h 99"/>
                  <a:gd name="T54" fmla="*/ 46 w 49"/>
                  <a:gd name="T55" fmla="*/ 34 h 99"/>
                  <a:gd name="T56" fmla="*/ 44 w 49"/>
                  <a:gd name="T57" fmla="*/ 38 h 99"/>
                  <a:gd name="T58" fmla="*/ 38 w 49"/>
                  <a:gd name="T59" fmla="*/ 44 h 99"/>
                  <a:gd name="T60" fmla="*/ 33 w 49"/>
                  <a:gd name="T61" fmla="*/ 49 h 99"/>
                  <a:gd name="T62" fmla="*/ 29 w 49"/>
                  <a:gd name="T63" fmla="*/ 52 h 99"/>
                  <a:gd name="T64" fmla="*/ 28 w 49"/>
                  <a:gd name="T65" fmla="*/ 55 h 99"/>
                  <a:gd name="T66" fmla="*/ 26 w 49"/>
                  <a:gd name="T67" fmla="*/ 57 h 99"/>
                  <a:gd name="T68" fmla="*/ 25 w 49"/>
                  <a:gd name="T69" fmla="*/ 61 h 99"/>
                  <a:gd name="T70" fmla="*/ 25 w 49"/>
                  <a:gd name="T71" fmla="*/ 66 h 99"/>
                  <a:gd name="T72" fmla="*/ 27 w 49"/>
                  <a:gd name="T73" fmla="*/ 70 h 99"/>
                  <a:gd name="T74" fmla="*/ 13 w 49"/>
                  <a:gd name="T75" fmla="*/ 70 h 99"/>
                  <a:gd name="T76" fmla="*/ 13 w 49"/>
                  <a:gd name="T77" fmla="*/ 68 h 99"/>
                  <a:gd name="T78" fmla="*/ 12 w 49"/>
                  <a:gd name="T79" fmla="*/ 64 h 99"/>
                  <a:gd name="T80" fmla="*/ 12 w 49"/>
                  <a:gd name="T81" fmla="*/ 59 h 99"/>
                  <a:gd name="T82" fmla="*/ 13 w 49"/>
                  <a:gd name="T83" fmla="*/ 56 h 99"/>
                  <a:gd name="T84" fmla="*/ 16 w 49"/>
                  <a:gd name="T85" fmla="*/ 51 h 99"/>
                  <a:gd name="T86" fmla="*/ 20 w 49"/>
                  <a:gd name="T87" fmla="*/ 45 h 99"/>
                  <a:gd name="T88" fmla="*/ 25 w 49"/>
                  <a:gd name="T89" fmla="*/ 39 h 99"/>
                  <a:gd name="T90" fmla="*/ 31 w 49"/>
                  <a:gd name="T91" fmla="*/ 34 h 99"/>
                  <a:gd name="T92" fmla="*/ 33 w 49"/>
                  <a:gd name="T93" fmla="*/ 30 h 99"/>
                  <a:gd name="T94" fmla="*/ 34 w 49"/>
                  <a:gd name="T95" fmla="*/ 27 h 99"/>
                  <a:gd name="T96" fmla="*/ 34 w 49"/>
                  <a:gd name="T97" fmla="*/ 24 h 99"/>
                  <a:gd name="T98" fmla="*/ 33 w 49"/>
                  <a:gd name="T99" fmla="*/ 21 h 99"/>
                  <a:gd name="T100" fmla="*/ 32 w 49"/>
                  <a:gd name="T101" fmla="*/ 19 h 99"/>
                  <a:gd name="T102" fmla="*/ 30 w 49"/>
                  <a:gd name="T103" fmla="*/ 17 h 99"/>
                  <a:gd name="T104" fmla="*/ 27 w 49"/>
                  <a:gd name="T105" fmla="*/ 15 h 99"/>
                  <a:gd name="T106" fmla="*/ 22 w 49"/>
                  <a:gd name="T107" fmla="*/ 14 h 99"/>
                  <a:gd name="T108" fmla="*/ 16 w 49"/>
                  <a:gd name="T109" fmla="*/ 14 h 99"/>
                  <a:gd name="T110" fmla="*/ 11 w 49"/>
                  <a:gd name="T111" fmla="*/ 14 h 99"/>
                  <a:gd name="T112" fmla="*/ 7 w 49"/>
                  <a:gd name="T113" fmla="*/ 17 h 99"/>
                  <a:gd name="T114" fmla="*/ 2 w 49"/>
                  <a:gd name="T115" fmla="*/ 20 h 99"/>
                  <a:gd name="T116" fmla="*/ 1 w 49"/>
                  <a:gd name="T117" fmla="*/ 6 h 99"/>
                  <a:gd name="T118" fmla="*/ 7 w 49"/>
                  <a:gd name="T119" fmla="*/ 3 h 99"/>
                  <a:gd name="T120" fmla="*/ 13 w 49"/>
                  <a:gd name="T121" fmla="*/ 2 h 99"/>
                  <a:gd name="T122" fmla="*/ 18 w 49"/>
                  <a:gd name="T123" fmla="*/ 1 h 99"/>
                  <a:gd name="T124" fmla="*/ 22 w 49"/>
                  <a:gd name="T12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 h="99">
                    <a:moveTo>
                      <a:pt x="21" y="82"/>
                    </a:moveTo>
                    <a:lnTo>
                      <a:pt x="22" y="82"/>
                    </a:lnTo>
                    <a:lnTo>
                      <a:pt x="23" y="82"/>
                    </a:lnTo>
                    <a:lnTo>
                      <a:pt x="24" y="82"/>
                    </a:lnTo>
                    <a:lnTo>
                      <a:pt x="25" y="82"/>
                    </a:lnTo>
                    <a:lnTo>
                      <a:pt x="25" y="82"/>
                    </a:lnTo>
                    <a:lnTo>
                      <a:pt x="26" y="83"/>
                    </a:lnTo>
                    <a:lnTo>
                      <a:pt x="27" y="83"/>
                    </a:lnTo>
                    <a:lnTo>
                      <a:pt x="28" y="84"/>
                    </a:lnTo>
                    <a:lnTo>
                      <a:pt x="28" y="85"/>
                    </a:lnTo>
                    <a:lnTo>
                      <a:pt x="29" y="85"/>
                    </a:lnTo>
                    <a:lnTo>
                      <a:pt x="29" y="86"/>
                    </a:lnTo>
                    <a:lnTo>
                      <a:pt x="30" y="87"/>
                    </a:lnTo>
                    <a:lnTo>
                      <a:pt x="30" y="88"/>
                    </a:lnTo>
                    <a:lnTo>
                      <a:pt x="30" y="88"/>
                    </a:lnTo>
                    <a:lnTo>
                      <a:pt x="31" y="89"/>
                    </a:lnTo>
                    <a:lnTo>
                      <a:pt x="31" y="91"/>
                    </a:lnTo>
                    <a:lnTo>
                      <a:pt x="31" y="91"/>
                    </a:lnTo>
                    <a:lnTo>
                      <a:pt x="30" y="92"/>
                    </a:lnTo>
                    <a:lnTo>
                      <a:pt x="30" y="93"/>
                    </a:lnTo>
                    <a:lnTo>
                      <a:pt x="30" y="94"/>
                    </a:lnTo>
                    <a:lnTo>
                      <a:pt x="29" y="94"/>
                    </a:lnTo>
                    <a:lnTo>
                      <a:pt x="29" y="95"/>
                    </a:lnTo>
                    <a:lnTo>
                      <a:pt x="28" y="96"/>
                    </a:lnTo>
                    <a:lnTo>
                      <a:pt x="28" y="97"/>
                    </a:lnTo>
                    <a:lnTo>
                      <a:pt x="27" y="97"/>
                    </a:lnTo>
                    <a:lnTo>
                      <a:pt x="26" y="97"/>
                    </a:lnTo>
                    <a:lnTo>
                      <a:pt x="25" y="98"/>
                    </a:lnTo>
                    <a:lnTo>
                      <a:pt x="25" y="99"/>
                    </a:lnTo>
                    <a:lnTo>
                      <a:pt x="24" y="99"/>
                    </a:lnTo>
                    <a:lnTo>
                      <a:pt x="23" y="99"/>
                    </a:lnTo>
                    <a:lnTo>
                      <a:pt x="22" y="99"/>
                    </a:lnTo>
                    <a:lnTo>
                      <a:pt x="21" y="99"/>
                    </a:lnTo>
                    <a:lnTo>
                      <a:pt x="20" y="99"/>
                    </a:lnTo>
                    <a:lnTo>
                      <a:pt x="19" y="99"/>
                    </a:lnTo>
                    <a:lnTo>
                      <a:pt x="18" y="99"/>
                    </a:lnTo>
                    <a:lnTo>
                      <a:pt x="17" y="99"/>
                    </a:lnTo>
                    <a:lnTo>
                      <a:pt x="16" y="98"/>
                    </a:lnTo>
                    <a:lnTo>
                      <a:pt x="16" y="97"/>
                    </a:lnTo>
                    <a:lnTo>
                      <a:pt x="15" y="97"/>
                    </a:lnTo>
                    <a:lnTo>
                      <a:pt x="14" y="97"/>
                    </a:lnTo>
                    <a:lnTo>
                      <a:pt x="13" y="96"/>
                    </a:lnTo>
                    <a:lnTo>
                      <a:pt x="13" y="95"/>
                    </a:lnTo>
                    <a:lnTo>
                      <a:pt x="13" y="94"/>
                    </a:lnTo>
                    <a:lnTo>
                      <a:pt x="12" y="94"/>
                    </a:lnTo>
                    <a:lnTo>
                      <a:pt x="12" y="93"/>
                    </a:lnTo>
                    <a:lnTo>
                      <a:pt x="12" y="92"/>
                    </a:lnTo>
                    <a:lnTo>
                      <a:pt x="11" y="91"/>
                    </a:lnTo>
                    <a:lnTo>
                      <a:pt x="11" y="91"/>
                    </a:lnTo>
                    <a:lnTo>
                      <a:pt x="11" y="89"/>
                    </a:lnTo>
                    <a:lnTo>
                      <a:pt x="12" y="88"/>
                    </a:lnTo>
                    <a:lnTo>
                      <a:pt x="12" y="88"/>
                    </a:lnTo>
                    <a:lnTo>
                      <a:pt x="12" y="87"/>
                    </a:lnTo>
                    <a:lnTo>
                      <a:pt x="13" y="86"/>
                    </a:lnTo>
                    <a:lnTo>
                      <a:pt x="13" y="85"/>
                    </a:lnTo>
                    <a:lnTo>
                      <a:pt x="13" y="85"/>
                    </a:lnTo>
                    <a:lnTo>
                      <a:pt x="14" y="84"/>
                    </a:lnTo>
                    <a:lnTo>
                      <a:pt x="15" y="83"/>
                    </a:lnTo>
                    <a:lnTo>
                      <a:pt x="16" y="83"/>
                    </a:lnTo>
                    <a:lnTo>
                      <a:pt x="16" y="82"/>
                    </a:lnTo>
                    <a:lnTo>
                      <a:pt x="17" y="82"/>
                    </a:lnTo>
                    <a:lnTo>
                      <a:pt x="18" y="82"/>
                    </a:lnTo>
                    <a:lnTo>
                      <a:pt x="19" y="82"/>
                    </a:lnTo>
                    <a:lnTo>
                      <a:pt x="20" y="82"/>
                    </a:lnTo>
                    <a:lnTo>
                      <a:pt x="21" y="82"/>
                    </a:lnTo>
                    <a:lnTo>
                      <a:pt x="21" y="82"/>
                    </a:lnTo>
                    <a:lnTo>
                      <a:pt x="21" y="82"/>
                    </a:lnTo>
                    <a:lnTo>
                      <a:pt x="21" y="82"/>
                    </a:lnTo>
                    <a:close/>
                    <a:moveTo>
                      <a:pt x="22" y="0"/>
                    </a:moveTo>
                    <a:lnTo>
                      <a:pt x="24" y="0"/>
                    </a:lnTo>
                    <a:lnTo>
                      <a:pt x="25" y="1"/>
                    </a:lnTo>
                    <a:lnTo>
                      <a:pt x="26" y="1"/>
                    </a:lnTo>
                    <a:lnTo>
                      <a:pt x="28" y="1"/>
                    </a:lnTo>
                    <a:lnTo>
                      <a:pt x="29" y="1"/>
                    </a:lnTo>
                    <a:lnTo>
                      <a:pt x="30" y="1"/>
                    </a:lnTo>
                    <a:lnTo>
                      <a:pt x="31" y="2"/>
                    </a:lnTo>
                    <a:lnTo>
                      <a:pt x="33" y="2"/>
                    </a:lnTo>
                    <a:lnTo>
                      <a:pt x="34" y="2"/>
                    </a:lnTo>
                    <a:lnTo>
                      <a:pt x="35" y="2"/>
                    </a:lnTo>
                    <a:lnTo>
                      <a:pt x="36" y="3"/>
                    </a:lnTo>
                    <a:lnTo>
                      <a:pt x="38" y="4"/>
                    </a:lnTo>
                    <a:lnTo>
                      <a:pt x="38" y="4"/>
                    </a:lnTo>
                    <a:lnTo>
                      <a:pt x="39" y="5"/>
                    </a:lnTo>
                    <a:lnTo>
                      <a:pt x="41" y="5"/>
                    </a:lnTo>
                    <a:lnTo>
                      <a:pt x="41" y="6"/>
                    </a:lnTo>
                    <a:lnTo>
                      <a:pt x="42" y="7"/>
                    </a:lnTo>
                    <a:lnTo>
                      <a:pt x="43" y="8"/>
                    </a:lnTo>
                    <a:lnTo>
                      <a:pt x="44" y="8"/>
                    </a:lnTo>
                    <a:lnTo>
                      <a:pt x="44" y="9"/>
                    </a:lnTo>
                    <a:lnTo>
                      <a:pt x="45" y="10"/>
                    </a:lnTo>
                    <a:lnTo>
                      <a:pt x="46" y="11"/>
                    </a:lnTo>
                    <a:lnTo>
                      <a:pt x="47" y="12"/>
                    </a:lnTo>
                    <a:lnTo>
                      <a:pt x="47" y="13"/>
                    </a:lnTo>
                    <a:lnTo>
                      <a:pt x="47" y="14"/>
                    </a:lnTo>
                    <a:lnTo>
                      <a:pt x="48" y="15"/>
                    </a:lnTo>
                    <a:lnTo>
                      <a:pt x="48" y="16"/>
                    </a:lnTo>
                    <a:lnTo>
                      <a:pt x="48" y="17"/>
                    </a:lnTo>
                    <a:lnTo>
                      <a:pt x="49" y="18"/>
                    </a:lnTo>
                    <a:lnTo>
                      <a:pt x="49" y="20"/>
                    </a:lnTo>
                    <a:lnTo>
                      <a:pt x="49" y="21"/>
                    </a:lnTo>
                    <a:lnTo>
                      <a:pt x="49" y="22"/>
                    </a:lnTo>
                    <a:lnTo>
                      <a:pt x="49" y="23"/>
                    </a:lnTo>
                    <a:lnTo>
                      <a:pt x="49" y="25"/>
                    </a:lnTo>
                    <a:lnTo>
                      <a:pt x="49" y="26"/>
                    </a:lnTo>
                    <a:lnTo>
                      <a:pt x="49" y="27"/>
                    </a:lnTo>
                    <a:lnTo>
                      <a:pt x="48" y="28"/>
                    </a:lnTo>
                    <a:lnTo>
                      <a:pt x="48" y="30"/>
                    </a:lnTo>
                    <a:lnTo>
                      <a:pt x="47" y="30"/>
                    </a:lnTo>
                    <a:lnTo>
                      <a:pt x="47" y="32"/>
                    </a:lnTo>
                    <a:lnTo>
                      <a:pt x="47" y="33"/>
                    </a:lnTo>
                    <a:lnTo>
                      <a:pt x="47" y="33"/>
                    </a:lnTo>
                    <a:lnTo>
                      <a:pt x="46" y="34"/>
                    </a:lnTo>
                    <a:lnTo>
                      <a:pt x="45" y="36"/>
                    </a:lnTo>
                    <a:lnTo>
                      <a:pt x="44" y="36"/>
                    </a:lnTo>
                    <a:lnTo>
                      <a:pt x="44" y="37"/>
                    </a:lnTo>
                    <a:lnTo>
                      <a:pt x="44" y="38"/>
                    </a:lnTo>
                    <a:lnTo>
                      <a:pt x="43" y="39"/>
                    </a:lnTo>
                    <a:lnTo>
                      <a:pt x="41" y="41"/>
                    </a:lnTo>
                    <a:lnTo>
                      <a:pt x="40" y="42"/>
                    </a:lnTo>
                    <a:lnTo>
                      <a:pt x="38" y="44"/>
                    </a:lnTo>
                    <a:lnTo>
                      <a:pt x="37" y="45"/>
                    </a:lnTo>
                    <a:lnTo>
                      <a:pt x="35" y="46"/>
                    </a:lnTo>
                    <a:lnTo>
                      <a:pt x="34" y="48"/>
                    </a:lnTo>
                    <a:lnTo>
                      <a:pt x="33" y="49"/>
                    </a:lnTo>
                    <a:lnTo>
                      <a:pt x="31" y="50"/>
                    </a:lnTo>
                    <a:lnTo>
                      <a:pt x="31" y="51"/>
                    </a:lnTo>
                    <a:lnTo>
                      <a:pt x="30" y="51"/>
                    </a:lnTo>
                    <a:lnTo>
                      <a:pt x="29" y="52"/>
                    </a:lnTo>
                    <a:lnTo>
                      <a:pt x="29" y="53"/>
                    </a:lnTo>
                    <a:lnTo>
                      <a:pt x="28" y="54"/>
                    </a:lnTo>
                    <a:lnTo>
                      <a:pt x="28" y="54"/>
                    </a:lnTo>
                    <a:lnTo>
                      <a:pt x="28" y="55"/>
                    </a:lnTo>
                    <a:lnTo>
                      <a:pt x="27" y="55"/>
                    </a:lnTo>
                    <a:lnTo>
                      <a:pt x="27" y="56"/>
                    </a:lnTo>
                    <a:lnTo>
                      <a:pt x="26" y="57"/>
                    </a:lnTo>
                    <a:lnTo>
                      <a:pt x="26" y="57"/>
                    </a:lnTo>
                    <a:lnTo>
                      <a:pt x="25" y="58"/>
                    </a:lnTo>
                    <a:lnTo>
                      <a:pt x="25" y="59"/>
                    </a:lnTo>
                    <a:lnTo>
                      <a:pt x="25" y="60"/>
                    </a:lnTo>
                    <a:lnTo>
                      <a:pt x="25" y="61"/>
                    </a:lnTo>
                    <a:lnTo>
                      <a:pt x="25" y="62"/>
                    </a:lnTo>
                    <a:lnTo>
                      <a:pt x="25" y="63"/>
                    </a:lnTo>
                    <a:lnTo>
                      <a:pt x="25" y="64"/>
                    </a:lnTo>
                    <a:lnTo>
                      <a:pt x="25" y="66"/>
                    </a:lnTo>
                    <a:lnTo>
                      <a:pt x="26" y="67"/>
                    </a:lnTo>
                    <a:lnTo>
                      <a:pt x="26" y="68"/>
                    </a:lnTo>
                    <a:lnTo>
                      <a:pt x="27" y="69"/>
                    </a:lnTo>
                    <a:lnTo>
                      <a:pt x="27" y="70"/>
                    </a:lnTo>
                    <a:lnTo>
                      <a:pt x="28" y="71"/>
                    </a:lnTo>
                    <a:lnTo>
                      <a:pt x="13" y="71"/>
                    </a:lnTo>
                    <a:lnTo>
                      <a:pt x="13" y="70"/>
                    </a:lnTo>
                    <a:lnTo>
                      <a:pt x="13" y="70"/>
                    </a:lnTo>
                    <a:lnTo>
                      <a:pt x="13" y="69"/>
                    </a:lnTo>
                    <a:lnTo>
                      <a:pt x="13" y="69"/>
                    </a:lnTo>
                    <a:lnTo>
                      <a:pt x="13" y="69"/>
                    </a:lnTo>
                    <a:lnTo>
                      <a:pt x="13" y="68"/>
                    </a:lnTo>
                    <a:lnTo>
                      <a:pt x="13" y="67"/>
                    </a:lnTo>
                    <a:lnTo>
                      <a:pt x="13" y="66"/>
                    </a:lnTo>
                    <a:lnTo>
                      <a:pt x="12" y="65"/>
                    </a:lnTo>
                    <a:lnTo>
                      <a:pt x="12" y="64"/>
                    </a:lnTo>
                    <a:lnTo>
                      <a:pt x="12" y="63"/>
                    </a:lnTo>
                    <a:lnTo>
                      <a:pt x="12" y="61"/>
                    </a:lnTo>
                    <a:lnTo>
                      <a:pt x="12" y="60"/>
                    </a:lnTo>
                    <a:lnTo>
                      <a:pt x="12" y="59"/>
                    </a:lnTo>
                    <a:lnTo>
                      <a:pt x="12" y="58"/>
                    </a:lnTo>
                    <a:lnTo>
                      <a:pt x="13" y="57"/>
                    </a:lnTo>
                    <a:lnTo>
                      <a:pt x="13" y="57"/>
                    </a:lnTo>
                    <a:lnTo>
                      <a:pt x="13" y="56"/>
                    </a:lnTo>
                    <a:lnTo>
                      <a:pt x="13" y="54"/>
                    </a:lnTo>
                    <a:lnTo>
                      <a:pt x="13" y="54"/>
                    </a:lnTo>
                    <a:lnTo>
                      <a:pt x="14" y="52"/>
                    </a:lnTo>
                    <a:lnTo>
                      <a:pt x="16" y="51"/>
                    </a:lnTo>
                    <a:lnTo>
                      <a:pt x="16" y="49"/>
                    </a:lnTo>
                    <a:lnTo>
                      <a:pt x="18" y="48"/>
                    </a:lnTo>
                    <a:lnTo>
                      <a:pt x="19" y="46"/>
                    </a:lnTo>
                    <a:lnTo>
                      <a:pt x="20" y="45"/>
                    </a:lnTo>
                    <a:lnTo>
                      <a:pt x="22" y="43"/>
                    </a:lnTo>
                    <a:lnTo>
                      <a:pt x="23" y="42"/>
                    </a:lnTo>
                    <a:lnTo>
                      <a:pt x="24" y="41"/>
                    </a:lnTo>
                    <a:lnTo>
                      <a:pt x="25" y="39"/>
                    </a:lnTo>
                    <a:lnTo>
                      <a:pt x="27" y="38"/>
                    </a:lnTo>
                    <a:lnTo>
                      <a:pt x="28" y="37"/>
                    </a:lnTo>
                    <a:lnTo>
                      <a:pt x="29" y="36"/>
                    </a:lnTo>
                    <a:lnTo>
                      <a:pt x="31" y="34"/>
                    </a:lnTo>
                    <a:lnTo>
                      <a:pt x="31" y="33"/>
                    </a:lnTo>
                    <a:lnTo>
                      <a:pt x="32" y="32"/>
                    </a:lnTo>
                    <a:lnTo>
                      <a:pt x="33" y="31"/>
                    </a:lnTo>
                    <a:lnTo>
                      <a:pt x="33" y="30"/>
                    </a:lnTo>
                    <a:lnTo>
                      <a:pt x="33" y="30"/>
                    </a:lnTo>
                    <a:lnTo>
                      <a:pt x="34" y="29"/>
                    </a:lnTo>
                    <a:lnTo>
                      <a:pt x="34" y="28"/>
                    </a:lnTo>
                    <a:lnTo>
                      <a:pt x="34" y="27"/>
                    </a:lnTo>
                    <a:lnTo>
                      <a:pt x="34" y="27"/>
                    </a:lnTo>
                    <a:lnTo>
                      <a:pt x="34" y="26"/>
                    </a:lnTo>
                    <a:lnTo>
                      <a:pt x="34" y="25"/>
                    </a:lnTo>
                    <a:lnTo>
                      <a:pt x="34" y="24"/>
                    </a:lnTo>
                    <a:lnTo>
                      <a:pt x="34" y="23"/>
                    </a:lnTo>
                    <a:lnTo>
                      <a:pt x="34" y="23"/>
                    </a:lnTo>
                    <a:lnTo>
                      <a:pt x="34" y="22"/>
                    </a:lnTo>
                    <a:lnTo>
                      <a:pt x="33" y="21"/>
                    </a:lnTo>
                    <a:lnTo>
                      <a:pt x="33" y="20"/>
                    </a:lnTo>
                    <a:lnTo>
                      <a:pt x="33" y="20"/>
                    </a:lnTo>
                    <a:lnTo>
                      <a:pt x="32" y="20"/>
                    </a:lnTo>
                    <a:lnTo>
                      <a:pt x="32" y="19"/>
                    </a:lnTo>
                    <a:lnTo>
                      <a:pt x="31" y="18"/>
                    </a:lnTo>
                    <a:lnTo>
                      <a:pt x="31" y="18"/>
                    </a:lnTo>
                    <a:lnTo>
                      <a:pt x="31" y="17"/>
                    </a:lnTo>
                    <a:lnTo>
                      <a:pt x="30" y="17"/>
                    </a:lnTo>
                    <a:lnTo>
                      <a:pt x="30" y="17"/>
                    </a:lnTo>
                    <a:lnTo>
                      <a:pt x="29" y="17"/>
                    </a:lnTo>
                    <a:lnTo>
                      <a:pt x="28" y="16"/>
                    </a:lnTo>
                    <a:lnTo>
                      <a:pt x="27" y="15"/>
                    </a:lnTo>
                    <a:lnTo>
                      <a:pt x="26" y="14"/>
                    </a:lnTo>
                    <a:lnTo>
                      <a:pt x="25" y="14"/>
                    </a:lnTo>
                    <a:lnTo>
                      <a:pt x="23" y="14"/>
                    </a:lnTo>
                    <a:lnTo>
                      <a:pt x="22" y="14"/>
                    </a:lnTo>
                    <a:lnTo>
                      <a:pt x="20" y="14"/>
                    </a:lnTo>
                    <a:lnTo>
                      <a:pt x="19" y="14"/>
                    </a:lnTo>
                    <a:lnTo>
                      <a:pt x="17" y="14"/>
                    </a:lnTo>
                    <a:lnTo>
                      <a:pt x="16" y="14"/>
                    </a:lnTo>
                    <a:lnTo>
                      <a:pt x="15" y="14"/>
                    </a:lnTo>
                    <a:lnTo>
                      <a:pt x="14" y="14"/>
                    </a:lnTo>
                    <a:lnTo>
                      <a:pt x="13" y="14"/>
                    </a:lnTo>
                    <a:lnTo>
                      <a:pt x="11" y="14"/>
                    </a:lnTo>
                    <a:lnTo>
                      <a:pt x="10" y="15"/>
                    </a:lnTo>
                    <a:lnTo>
                      <a:pt x="9" y="16"/>
                    </a:lnTo>
                    <a:lnTo>
                      <a:pt x="8" y="16"/>
                    </a:lnTo>
                    <a:lnTo>
                      <a:pt x="7" y="17"/>
                    </a:lnTo>
                    <a:lnTo>
                      <a:pt x="5" y="17"/>
                    </a:lnTo>
                    <a:lnTo>
                      <a:pt x="4" y="18"/>
                    </a:lnTo>
                    <a:lnTo>
                      <a:pt x="3" y="19"/>
                    </a:lnTo>
                    <a:lnTo>
                      <a:pt x="2" y="20"/>
                    </a:lnTo>
                    <a:lnTo>
                      <a:pt x="1" y="21"/>
                    </a:lnTo>
                    <a:lnTo>
                      <a:pt x="0" y="22"/>
                    </a:lnTo>
                    <a:lnTo>
                      <a:pt x="0" y="7"/>
                    </a:lnTo>
                    <a:lnTo>
                      <a:pt x="1" y="6"/>
                    </a:lnTo>
                    <a:lnTo>
                      <a:pt x="3" y="5"/>
                    </a:lnTo>
                    <a:lnTo>
                      <a:pt x="4" y="5"/>
                    </a:lnTo>
                    <a:lnTo>
                      <a:pt x="5" y="4"/>
                    </a:lnTo>
                    <a:lnTo>
                      <a:pt x="7" y="3"/>
                    </a:lnTo>
                    <a:lnTo>
                      <a:pt x="8" y="3"/>
                    </a:lnTo>
                    <a:lnTo>
                      <a:pt x="10" y="2"/>
                    </a:lnTo>
                    <a:lnTo>
                      <a:pt x="11" y="2"/>
                    </a:lnTo>
                    <a:lnTo>
                      <a:pt x="13" y="2"/>
                    </a:lnTo>
                    <a:lnTo>
                      <a:pt x="13" y="2"/>
                    </a:lnTo>
                    <a:lnTo>
                      <a:pt x="15" y="1"/>
                    </a:lnTo>
                    <a:lnTo>
                      <a:pt x="16" y="1"/>
                    </a:lnTo>
                    <a:lnTo>
                      <a:pt x="18" y="1"/>
                    </a:lnTo>
                    <a:lnTo>
                      <a:pt x="19" y="1"/>
                    </a:lnTo>
                    <a:lnTo>
                      <a:pt x="21" y="0"/>
                    </a:lnTo>
                    <a:lnTo>
                      <a:pt x="22" y="0"/>
                    </a:lnTo>
                    <a:lnTo>
                      <a:pt x="22" y="0"/>
                    </a:lnTo>
                    <a:lnTo>
                      <a:pt x="22" y="0"/>
                    </a:lnTo>
                    <a:lnTo>
                      <a:pt x="22"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8" name="Freeform 243"/>
              <p:cNvSpPr>
                <a:spLocks/>
              </p:cNvSpPr>
              <p:nvPr/>
            </p:nvSpPr>
            <p:spPr bwMode="auto">
              <a:xfrm rot="5400000">
                <a:off x="10645137" y="844463"/>
                <a:ext cx="18920" cy="18110"/>
              </a:xfrm>
              <a:custGeom>
                <a:avLst/>
                <a:gdLst>
                  <a:gd name="T0" fmla="*/ 9 w 17"/>
                  <a:gd name="T1" fmla="*/ 16 h 16"/>
                  <a:gd name="T2" fmla="*/ 0 w 17"/>
                  <a:gd name="T3" fmla="*/ 8 h 16"/>
                  <a:gd name="T4" fmla="*/ 8 w 17"/>
                  <a:gd name="T5" fmla="*/ 0 h 16"/>
                  <a:gd name="T6" fmla="*/ 17 w 17"/>
                  <a:gd name="T7" fmla="*/ 8 h 16"/>
                  <a:gd name="T8" fmla="*/ 9 w 17"/>
                  <a:gd name="T9" fmla="*/ 16 h 16"/>
                </a:gdLst>
                <a:ahLst/>
                <a:cxnLst>
                  <a:cxn ang="0">
                    <a:pos x="T0" y="T1"/>
                  </a:cxn>
                  <a:cxn ang="0">
                    <a:pos x="T2" y="T3"/>
                  </a:cxn>
                  <a:cxn ang="0">
                    <a:pos x="T4" y="T5"/>
                  </a:cxn>
                  <a:cxn ang="0">
                    <a:pos x="T6" y="T7"/>
                  </a:cxn>
                  <a:cxn ang="0">
                    <a:pos x="T8" y="T9"/>
                  </a:cxn>
                </a:cxnLst>
                <a:rect l="0" t="0" r="r" b="b"/>
                <a:pathLst>
                  <a:path w="17" h="16">
                    <a:moveTo>
                      <a:pt x="9" y="16"/>
                    </a:moveTo>
                    <a:cubicBezTo>
                      <a:pt x="5" y="16"/>
                      <a:pt x="1" y="12"/>
                      <a:pt x="0" y="8"/>
                    </a:cubicBezTo>
                    <a:cubicBezTo>
                      <a:pt x="0" y="4"/>
                      <a:pt x="3" y="0"/>
                      <a:pt x="8" y="0"/>
                    </a:cubicBezTo>
                    <a:cubicBezTo>
                      <a:pt x="13" y="0"/>
                      <a:pt x="17" y="3"/>
                      <a:pt x="17" y="8"/>
                    </a:cubicBezTo>
                    <a:cubicBezTo>
                      <a:pt x="17" y="12"/>
                      <a:pt x="14" y="16"/>
                      <a:pt x="9" y="16"/>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9" name="Freeform 244"/>
              <p:cNvSpPr>
                <a:spLocks/>
              </p:cNvSpPr>
              <p:nvPr/>
            </p:nvSpPr>
            <p:spPr bwMode="auto">
              <a:xfrm rot="5400000">
                <a:off x="10647723" y="843441"/>
                <a:ext cx="77133" cy="75457"/>
              </a:xfrm>
              <a:custGeom>
                <a:avLst/>
                <a:gdLst>
                  <a:gd name="T0" fmla="*/ 70 w 70"/>
                  <a:gd name="T1" fmla="*/ 64 h 67"/>
                  <a:gd name="T2" fmla="*/ 37 w 70"/>
                  <a:gd name="T3" fmla="*/ 8 h 67"/>
                  <a:gd name="T4" fmla="*/ 1 w 70"/>
                  <a:gd name="T5" fmla="*/ 1 h 67"/>
                  <a:gd name="T6" fmla="*/ 0 w 70"/>
                  <a:gd name="T7" fmla="*/ 2 h 67"/>
                  <a:gd name="T8" fmla="*/ 0 w 70"/>
                  <a:gd name="T9" fmla="*/ 11 h 67"/>
                  <a:gd name="T10" fmla="*/ 1 w 70"/>
                  <a:gd name="T11" fmla="*/ 12 h 67"/>
                  <a:gd name="T12" fmla="*/ 31 w 70"/>
                  <a:gd name="T13" fmla="*/ 19 h 67"/>
                  <a:gd name="T14" fmla="*/ 59 w 70"/>
                  <a:gd name="T15" fmla="*/ 66 h 67"/>
                  <a:gd name="T16" fmla="*/ 60 w 70"/>
                  <a:gd name="T17" fmla="*/ 67 h 67"/>
                  <a:gd name="T18" fmla="*/ 69 w 70"/>
                  <a:gd name="T19" fmla="*/ 66 h 67"/>
                  <a:gd name="T20" fmla="*/ 70 w 70"/>
                  <a:gd name="T21" fmla="*/ 6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67">
                    <a:moveTo>
                      <a:pt x="70" y="64"/>
                    </a:moveTo>
                    <a:cubicBezTo>
                      <a:pt x="69" y="33"/>
                      <a:pt x="53" y="16"/>
                      <a:pt x="37" y="8"/>
                    </a:cubicBezTo>
                    <a:cubicBezTo>
                      <a:pt x="21" y="0"/>
                      <a:pt x="5" y="1"/>
                      <a:pt x="1" y="1"/>
                    </a:cubicBezTo>
                    <a:cubicBezTo>
                      <a:pt x="0" y="1"/>
                      <a:pt x="0" y="1"/>
                      <a:pt x="0" y="2"/>
                    </a:cubicBezTo>
                    <a:cubicBezTo>
                      <a:pt x="0" y="3"/>
                      <a:pt x="0" y="10"/>
                      <a:pt x="0" y="11"/>
                    </a:cubicBezTo>
                    <a:cubicBezTo>
                      <a:pt x="0" y="12"/>
                      <a:pt x="0" y="12"/>
                      <a:pt x="1" y="12"/>
                    </a:cubicBezTo>
                    <a:cubicBezTo>
                      <a:pt x="5" y="11"/>
                      <a:pt x="18" y="12"/>
                      <a:pt x="31" y="19"/>
                    </a:cubicBezTo>
                    <a:cubicBezTo>
                      <a:pt x="44" y="26"/>
                      <a:pt x="57" y="41"/>
                      <a:pt x="59" y="66"/>
                    </a:cubicBezTo>
                    <a:cubicBezTo>
                      <a:pt x="59" y="66"/>
                      <a:pt x="59" y="67"/>
                      <a:pt x="60" y="67"/>
                    </a:cubicBezTo>
                    <a:cubicBezTo>
                      <a:pt x="60" y="67"/>
                      <a:pt x="68" y="66"/>
                      <a:pt x="69" y="66"/>
                    </a:cubicBezTo>
                    <a:cubicBezTo>
                      <a:pt x="70" y="66"/>
                      <a:pt x="70" y="66"/>
                      <a:pt x="70" y="64"/>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00" name="Freeform 245"/>
              <p:cNvSpPr>
                <a:spLocks/>
              </p:cNvSpPr>
              <p:nvPr/>
            </p:nvSpPr>
            <p:spPr bwMode="auto">
              <a:xfrm rot="5400000">
                <a:off x="10644948" y="843198"/>
                <a:ext cx="49481" cy="48292"/>
              </a:xfrm>
              <a:custGeom>
                <a:avLst/>
                <a:gdLst>
                  <a:gd name="T0" fmla="*/ 45 w 45"/>
                  <a:gd name="T1" fmla="*/ 40 h 42"/>
                  <a:gd name="T2" fmla="*/ 1 w 45"/>
                  <a:gd name="T3" fmla="*/ 0 h 42"/>
                  <a:gd name="T4" fmla="*/ 0 w 45"/>
                  <a:gd name="T5" fmla="*/ 1 h 42"/>
                  <a:gd name="T6" fmla="*/ 0 w 45"/>
                  <a:gd name="T7" fmla="*/ 10 h 42"/>
                  <a:gd name="T8" fmla="*/ 1 w 45"/>
                  <a:gd name="T9" fmla="*/ 12 h 42"/>
                  <a:gd name="T10" fmla="*/ 32 w 45"/>
                  <a:gd name="T11" fmla="*/ 40 h 42"/>
                  <a:gd name="T12" fmla="*/ 34 w 45"/>
                  <a:gd name="T13" fmla="*/ 42 h 42"/>
                  <a:gd name="T14" fmla="*/ 43 w 45"/>
                  <a:gd name="T15" fmla="*/ 41 h 42"/>
                  <a:gd name="T16" fmla="*/ 45 w 45"/>
                  <a:gd name="T17"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2">
                    <a:moveTo>
                      <a:pt x="45" y="40"/>
                    </a:moveTo>
                    <a:cubicBezTo>
                      <a:pt x="42" y="9"/>
                      <a:pt x="16" y="0"/>
                      <a:pt x="1" y="0"/>
                    </a:cubicBezTo>
                    <a:cubicBezTo>
                      <a:pt x="0" y="0"/>
                      <a:pt x="0" y="0"/>
                      <a:pt x="0" y="1"/>
                    </a:cubicBezTo>
                    <a:cubicBezTo>
                      <a:pt x="0" y="1"/>
                      <a:pt x="0" y="10"/>
                      <a:pt x="0" y="10"/>
                    </a:cubicBezTo>
                    <a:cubicBezTo>
                      <a:pt x="0" y="11"/>
                      <a:pt x="0" y="12"/>
                      <a:pt x="1" y="12"/>
                    </a:cubicBezTo>
                    <a:cubicBezTo>
                      <a:pt x="9" y="12"/>
                      <a:pt x="29" y="16"/>
                      <a:pt x="32" y="40"/>
                    </a:cubicBezTo>
                    <a:cubicBezTo>
                      <a:pt x="33" y="41"/>
                      <a:pt x="33" y="42"/>
                      <a:pt x="34" y="42"/>
                    </a:cubicBezTo>
                    <a:cubicBezTo>
                      <a:pt x="34" y="42"/>
                      <a:pt x="43" y="41"/>
                      <a:pt x="43" y="41"/>
                    </a:cubicBezTo>
                    <a:cubicBezTo>
                      <a:pt x="44" y="41"/>
                      <a:pt x="45" y="41"/>
                      <a:pt x="45" y="4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701" name="Group 700"/>
              <p:cNvGrpSpPr/>
              <p:nvPr/>
            </p:nvGrpSpPr>
            <p:grpSpPr>
              <a:xfrm rot="16200000">
                <a:off x="10518775" y="1654678"/>
                <a:ext cx="90548" cy="88776"/>
                <a:chOff x="10518775" y="1654678"/>
                <a:chExt cx="90548" cy="88776"/>
              </a:xfrm>
            </p:grpSpPr>
            <p:sp>
              <p:nvSpPr>
                <p:cNvPr id="712" name="Freeform 249"/>
                <p:cNvSpPr>
                  <a:spLocks/>
                </p:cNvSpPr>
                <p:nvPr/>
              </p:nvSpPr>
              <p:spPr bwMode="auto">
                <a:xfrm rot="5400000">
                  <a:off x="10519906" y="1656458"/>
                  <a:ext cx="20375" cy="22637"/>
                </a:xfrm>
                <a:custGeom>
                  <a:avLst/>
                  <a:gdLst>
                    <a:gd name="T0" fmla="*/ 10 w 19"/>
                    <a:gd name="T1" fmla="*/ 19 h 19"/>
                    <a:gd name="T2" fmla="*/ 0 w 19"/>
                    <a:gd name="T3" fmla="*/ 9 h 19"/>
                    <a:gd name="T4" fmla="*/ 9 w 19"/>
                    <a:gd name="T5" fmla="*/ 0 h 19"/>
                    <a:gd name="T6" fmla="*/ 19 w 19"/>
                    <a:gd name="T7" fmla="*/ 9 h 19"/>
                    <a:gd name="T8" fmla="*/ 10 w 19"/>
                    <a:gd name="T9" fmla="*/ 19 h 19"/>
                  </a:gdLst>
                  <a:ahLst/>
                  <a:cxnLst>
                    <a:cxn ang="0">
                      <a:pos x="T0" y="T1"/>
                    </a:cxn>
                    <a:cxn ang="0">
                      <a:pos x="T2" y="T3"/>
                    </a:cxn>
                    <a:cxn ang="0">
                      <a:pos x="T4" y="T5"/>
                    </a:cxn>
                    <a:cxn ang="0">
                      <a:pos x="T6" y="T7"/>
                    </a:cxn>
                    <a:cxn ang="0">
                      <a:pos x="T8" y="T9"/>
                    </a:cxn>
                  </a:cxnLst>
                  <a:rect l="0" t="0" r="r" b="b"/>
                  <a:pathLst>
                    <a:path w="19" h="19">
                      <a:moveTo>
                        <a:pt x="10" y="19"/>
                      </a:moveTo>
                      <a:cubicBezTo>
                        <a:pt x="5" y="19"/>
                        <a:pt x="0" y="15"/>
                        <a:pt x="0" y="9"/>
                      </a:cubicBezTo>
                      <a:cubicBezTo>
                        <a:pt x="0" y="4"/>
                        <a:pt x="3" y="0"/>
                        <a:pt x="9" y="0"/>
                      </a:cubicBezTo>
                      <a:cubicBezTo>
                        <a:pt x="14" y="0"/>
                        <a:pt x="19" y="4"/>
                        <a:pt x="19" y="9"/>
                      </a:cubicBezTo>
                      <a:cubicBezTo>
                        <a:pt x="19" y="15"/>
                        <a:pt x="15" y="19"/>
                        <a:pt x="10" y="19"/>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3" name="Freeform 250"/>
                <p:cNvSpPr>
                  <a:spLocks/>
                </p:cNvSpPr>
                <p:nvPr/>
              </p:nvSpPr>
              <p:spPr bwMode="auto">
                <a:xfrm rot="5400000">
                  <a:off x="10521925" y="1656056"/>
                  <a:ext cx="88776" cy="86020"/>
                </a:xfrm>
                <a:custGeom>
                  <a:avLst/>
                  <a:gdLst>
                    <a:gd name="T0" fmla="*/ 81 w 81"/>
                    <a:gd name="T1" fmla="*/ 73 h 76"/>
                    <a:gd name="T2" fmla="*/ 43 w 81"/>
                    <a:gd name="T3" fmla="*/ 9 h 76"/>
                    <a:gd name="T4" fmla="*/ 1 w 81"/>
                    <a:gd name="T5" fmla="*/ 0 h 76"/>
                    <a:gd name="T6" fmla="*/ 0 w 81"/>
                    <a:gd name="T7" fmla="*/ 2 h 76"/>
                    <a:gd name="T8" fmla="*/ 0 w 81"/>
                    <a:gd name="T9" fmla="*/ 11 h 76"/>
                    <a:gd name="T10" fmla="*/ 1 w 81"/>
                    <a:gd name="T11" fmla="*/ 13 h 76"/>
                    <a:gd name="T12" fmla="*/ 36 w 81"/>
                    <a:gd name="T13" fmla="*/ 21 h 76"/>
                    <a:gd name="T14" fmla="*/ 68 w 81"/>
                    <a:gd name="T15" fmla="*/ 75 h 76"/>
                    <a:gd name="T16" fmla="*/ 69 w 81"/>
                    <a:gd name="T17" fmla="*/ 76 h 76"/>
                    <a:gd name="T18" fmla="*/ 80 w 81"/>
                    <a:gd name="T19" fmla="*/ 75 h 76"/>
                    <a:gd name="T20" fmla="*/ 81 w 81"/>
                    <a:gd name="T21"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76">
                      <a:moveTo>
                        <a:pt x="81" y="73"/>
                      </a:moveTo>
                      <a:cubicBezTo>
                        <a:pt x="80" y="38"/>
                        <a:pt x="61" y="18"/>
                        <a:pt x="43" y="9"/>
                      </a:cubicBezTo>
                      <a:cubicBezTo>
                        <a:pt x="24" y="0"/>
                        <a:pt x="6" y="0"/>
                        <a:pt x="1" y="0"/>
                      </a:cubicBezTo>
                      <a:cubicBezTo>
                        <a:pt x="1" y="0"/>
                        <a:pt x="0" y="1"/>
                        <a:pt x="0" y="2"/>
                      </a:cubicBezTo>
                      <a:cubicBezTo>
                        <a:pt x="0" y="2"/>
                        <a:pt x="0" y="11"/>
                        <a:pt x="0" y="11"/>
                      </a:cubicBezTo>
                      <a:cubicBezTo>
                        <a:pt x="0" y="13"/>
                        <a:pt x="0" y="13"/>
                        <a:pt x="1" y="13"/>
                      </a:cubicBezTo>
                      <a:cubicBezTo>
                        <a:pt x="6" y="12"/>
                        <a:pt x="21" y="13"/>
                        <a:pt x="36" y="21"/>
                      </a:cubicBezTo>
                      <a:cubicBezTo>
                        <a:pt x="52" y="30"/>
                        <a:pt x="67" y="46"/>
                        <a:pt x="68" y="75"/>
                      </a:cubicBezTo>
                      <a:cubicBezTo>
                        <a:pt x="68" y="76"/>
                        <a:pt x="68" y="76"/>
                        <a:pt x="69" y="76"/>
                      </a:cubicBezTo>
                      <a:cubicBezTo>
                        <a:pt x="70" y="76"/>
                        <a:pt x="79" y="75"/>
                        <a:pt x="80" y="75"/>
                      </a:cubicBezTo>
                      <a:cubicBezTo>
                        <a:pt x="81" y="75"/>
                        <a:pt x="81" y="75"/>
                        <a:pt x="81" y="73"/>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4" name="Freeform 251"/>
                <p:cNvSpPr>
                  <a:spLocks/>
                </p:cNvSpPr>
                <p:nvPr/>
              </p:nvSpPr>
              <p:spPr bwMode="auto">
                <a:xfrm rot="5400000">
                  <a:off x="10518315" y="1655139"/>
                  <a:ext cx="56758" cy="55838"/>
                </a:xfrm>
                <a:custGeom>
                  <a:avLst/>
                  <a:gdLst>
                    <a:gd name="T0" fmla="*/ 52 w 52"/>
                    <a:gd name="T1" fmla="*/ 46 h 49"/>
                    <a:gd name="T2" fmla="*/ 1 w 52"/>
                    <a:gd name="T3" fmla="*/ 0 h 49"/>
                    <a:gd name="T4" fmla="*/ 0 w 52"/>
                    <a:gd name="T5" fmla="*/ 1 h 49"/>
                    <a:gd name="T6" fmla="*/ 0 w 52"/>
                    <a:gd name="T7" fmla="*/ 12 h 49"/>
                    <a:gd name="T8" fmla="*/ 1 w 52"/>
                    <a:gd name="T9" fmla="*/ 14 h 49"/>
                    <a:gd name="T10" fmla="*/ 38 w 52"/>
                    <a:gd name="T11" fmla="*/ 47 h 49"/>
                    <a:gd name="T12" fmla="*/ 40 w 52"/>
                    <a:gd name="T13" fmla="*/ 49 h 49"/>
                    <a:gd name="T14" fmla="*/ 50 w 52"/>
                    <a:gd name="T15" fmla="*/ 48 h 49"/>
                    <a:gd name="T16" fmla="*/ 52 w 52"/>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9">
                      <a:moveTo>
                        <a:pt x="52" y="46"/>
                      </a:moveTo>
                      <a:cubicBezTo>
                        <a:pt x="49" y="10"/>
                        <a:pt x="18" y="0"/>
                        <a:pt x="1" y="0"/>
                      </a:cubicBezTo>
                      <a:cubicBezTo>
                        <a:pt x="0" y="0"/>
                        <a:pt x="0" y="0"/>
                        <a:pt x="0" y="1"/>
                      </a:cubicBezTo>
                      <a:cubicBezTo>
                        <a:pt x="0" y="2"/>
                        <a:pt x="0" y="11"/>
                        <a:pt x="0" y="12"/>
                      </a:cubicBezTo>
                      <a:cubicBezTo>
                        <a:pt x="0" y="13"/>
                        <a:pt x="0" y="14"/>
                        <a:pt x="1" y="14"/>
                      </a:cubicBezTo>
                      <a:cubicBezTo>
                        <a:pt x="10" y="14"/>
                        <a:pt x="34" y="19"/>
                        <a:pt x="38" y="47"/>
                      </a:cubicBezTo>
                      <a:cubicBezTo>
                        <a:pt x="38" y="48"/>
                        <a:pt x="38" y="49"/>
                        <a:pt x="40" y="49"/>
                      </a:cubicBezTo>
                      <a:cubicBezTo>
                        <a:pt x="40" y="49"/>
                        <a:pt x="50" y="48"/>
                        <a:pt x="50" y="48"/>
                      </a:cubicBezTo>
                      <a:cubicBezTo>
                        <a:pt x="52" y="48"/>
                        <a:pt x="52" y="47"/>
                        <a:pt x="52" y="46"/>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sp>
            <p:nvSpPr>
              <p:cNvPr id="702" name="Freeform 252"/>
              <p:cNvSpPr>
                <a:spLocks/>
              </p:cNvSpPr>
              <p:nvPr/>
            </p:nvSpPr>
            <p:spPr bwMode="auto">
              <a:xfrm rot="5400000">
                <a:off x="11863849" y="1222685"/>
                <a:ext cx="217066" cy="368231"/>
              </a:xfrm>
              <a:custGeom>
                <a:avLst/>
                <a:gdLst>
                  <a:gd name="T0" fmla="*/ 340 w 340"/>
                  <a:gd name="T1" fmla="*/ 2 h 200"/>
                  <a:gd name="T2" fmla="*/ 340 w 340"/>
                  <a:gd name="T3" fmla="*/ 200 h 200"/>
                  <a:gd name="T4" fmla="*/ 1 w 340"/>
                  <a:gd name="T5" fmla="*/ 200 h 200"/>
                  <a:gd name="T6" fmla="*/ 0 w 340"/>
                  <a:gd name="T7" fmla="*/ 0 h 200"/>
                  <a:gd name="T8" fmla="*/ 340 w 340"/>
                  <a:gd name="T9" fmla="*/ 2 h 200"/>
                  <a:gd name="T10" fmla="*/ 340 w 340"/>
                  <a:gd name="T11" fmla="*/ 2 h 200"/>
                </a:gdLst>
                <a:ahLst/>
                <a:cxnLst>
                  <a:cxn ang="0">
                    <a:pos x="T0" y="T1"/>
                  </a:cxn>
                  <a:cxn ang="0">
                    <a:pos x="T2" y="T3"/>
                  </a:cxn>
                  <a:cxn ang="0">
                    <a:pos x="T4" y="T5"/>
                  </a:cxn>
                  <a:cxn ang="0">
                    <a:pos x="T6" y="T7"/>
                  </a:cxn>
                  <a:cxn ang="0">
                    <a:pos x="T8" y="T9"/>
                  </a:cxn>
                  <a:cxn ang="0">
                    <a:pos x="T10" y="T11"/>
                  </a:cxn>
                </a:cxnLst>
                <a:rect l="0" t="0" r="r" b="b"/>
                <a:pathLst>
                  <a:path w="340" h="200">
                    <a:moveTo>
                      <a:pt x="340" y="2"/>
                    </a:moveTo>
                    <a:cubicBezTo>
                      <a:pt x="340" y="200"/>
                      <a:pt x="340" y="200"/>
                      <a:pt x="340" y="200"/>
                    </a:cubicBezTo>
                    <a:cubicBezTo>
                      <a:pt x="1" y="200"/>
                      <a:pt x="1" y="200"/>
                      <a:pt x="1" y="200"/>
                    </a:cubicBezTo>
                    <a:cubicBezTo>
                      <a:pt x="1" y="134"/>
                      <a:pt x="0" y="0"/>
                      <a:pt x="0" y="0"/>
                    </a:cubicBezTo>
                    <a:cubicBezTo>
                      <a:pt x="340" y="2"/>
                      <a:pt x="340" y="2"/>
                      <a:pt x="340" y="2"/>
                    </a:cubicBezTo>
                    <a:cubicBezTo>
                      <a:pt x="340" y="2"/>
                      <a:pt x="340" y="2"/>
                      <a:pt x="340" y="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703" name="Group 702"/>
              <p:cNvGrpSpPr/>
              <p:nvPr/>
            </p:nvGrpSpPr>
            <p:grpSpPr>
              <a:xfrm rot="16200000">
                <a:off x="11860368" y="1212586"/>
                <a:ext cx="241462" cy="385663"/>
                <a:chOff x="11866434" y="1203525"/>
                <a:chExt cx="241462" cy="385663"/>
              </a:xfrm>
            </p:grpSpPr>
            <p:sp>
              <p:nvSpPr>
                <p:cNvPr id="709" name="Freeform 253"/>
                <p:cNvSpPr>
                  <a:spLocks noEditPoints="1"/>
                </p:cNvSpPr>
                <p:nvPr/>
              </p:nvSpPr>
              <p:spPr bwMode="auto">
                <a:xfrm rot="5400000">
                  <a:off x="11794333" y="1275626"/>
                  <a:ext cx="385663" cy="241462"/>
                </a:xfrm>
                <a:custGeom>
                  <a:avLst/>
                  <a:gdLst>
                    <a:gd name="T0" fmla="*/ 346 w 352"/>
                    <a:gd name="T1" fmla="*/ 212 h 212"/>
                    <a:gd name="T2" fmla="*/ 7 w 352"/>
                    <a:gd name="T3" fmla="*/ 212 h 212"/>
                    <a:gd name="T4" fmla="*/ 1 w 352"/>
                    <a:gd name="T5" fmla="*/ 206 h 212"/>
                    <a:gd name="T6" fmla="*/ 0 w 352"/>
                    <a:gd name="T7" fmla="*/ 6 h 212"/>
                    <a:gd name="T8" fmla="*/ 2 w 352"/>
                    <a:gd name="T9" fmla="*/ 2 h 212"/>
                    <a:gd name="T10" fmla="*/ 6 w 352"/>
                    <a:gd name="T11" fmla="*/ 0 h 212"/>
                    <a:gd name="T12" fmla="*/ 6 w 352"/>
                    <a:gd name="T13" fmla="*/ 0 h 212"/>
                    <a:gd name="T14" fmla="*/ 346 w 352"/>
                    <a:gd name="T15" fmla="*/ 2 h 212"/>
                    <a:gd name="T16" fmla="*/ 352 w 352"/>
                    <a:gd name="T17" fmla="*/ 8 h 212"/>
                    <a:gd name="T18" fmla="*/ 352 w 352"/>
                    <a:gd name="T19" fmla="*/ 206 h 212"/>
                    <a:gd name="T20" fmla="*/ 346 w 352"/>
                    <a:gd name="T21" fmla="*/ 212 h 212"/>
                    <a:gd name="T22" fmla="*/ 13 w 352"/>
                    <a:gd name="T23" fmla="*/ 200 h 212"/>
                    <a:gd name="T24" fmla="*/ 340 w 352"/>
                    <a:gd name="T25" fmla="*/ 200 h 212"/>
                    <a:gd name="T26" fmla="*/ 340 w 352"/>
                    <a:gd name="T27" fmla="*/ 14 h 212"/>
                    <a:gd name="T28" fmla="*/ 12 w 352"/>
                    <a:gd name="T29" fmla="*/ 12 h 212"/>
                    <a:gd name="T30" fmla="*/ 13 w 352"/>
                    <a:gd name="T31" fmla="*/ 20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2" h="212">
                      <a:moveTo>
                        <a:pt x="346" y="212"/>
                      </a:moveTo>
                      <a:cubicBezTo>
                        <a:pt x="7" y="212"/>
                        <a:pt x="7" y="212"/>
                        <a:pt x="7" y="212"/>
                      </a:cubicBezTo>
                      <a:cubicBezTo>
                        <a:pt x="4" y="212"/>
                        <a:pt x="1" y="209"/>
                        <a:pt x="1" y="206"/>
                      </a:cubicBezTo>
                      <a:cubicBezTo>
                        <a:pt x="1" y="141"/>
                        <a:pt x="0" y="7"/>
                        <a:pt x="0" y="6"/>
                      </a:cubicBezTo>
                      <a:cubicBezTo>
                        <a:pt x="0" y="4"/>
                        <a:pt x="1" y="3"/>
                        <a:pt x="2" y="2"/>
                      </a:cubicBezTo>
                      <a:cubicBezTo>
                        <a:pt x="3" y="1"/>
                        <a:pt x="5" y="0"/>
                        <a:pt x="6" y="0"/>
                      </a:cubicBezTo>
                      <a:cubicBezTo>
                        <a:pt x="6" y="0"/>
                        <a:pt x="6" y="0"/>
                        <a:pt x="6" y="0"/>
                      </a:cubicBezTo>
                      <a:cubicBezTo>
                        <a:pt x="346" y="2"/>
                        <a:pt x="346" y="2"/>
                        <a:pt x="346" y="2"/>
                      </a:cubicBezTo>
                      <a:cubicBezTo>
                        <a:pt x="349" y="2"/>
                        <a:pt x="352" y="5"/>
                        <a:pt x="352" y="8"/>
                      </a:cubicBezTo>
                      <a:cubicBezTo>
                        <a:pt x="352" y="206"/>
                        <a:pt x="352" y="206"/>
                        <a:pt x="352" y="206"/>
                      </a:cubicBezTo>
                      <a:cubicBezTo>
                        <a:pt x="352" y="209"/>
                        <a:pt x="349" y="212"/>
                        <a:pt x="346" y="212"/>
                      </a:cubicBezTo>
                      <a:close/>
                      <a:moveTo>
                        <a:pt x="13" y="200"/>
                      </a:moveTo>
                      <a:cubicBezTo>
                        <a:pt x="340" y="200"/>
                        <a:pt x="340" y="200"/>
                        <a:pt x="340" y="200"/>
                      </a:cubicBezTo>
                      <a:cubicBezTo>
                        <a:pt x="340" y="14"/>
                        <a:pt x="340" y="14"/>
                        <a:pt x="340" y="14"/>
                      </a:cubicBezTo>
                      <a:cubicBezTo>
                        <a:pt x="12" y="12"/>
                        <a:pt x="12" y="12"/>
                        <a:pt x="12" y="12"/>
                      </a:cubicBezTo>
                      <a:cubicBezTo>
                        <a:pt x="12" y="38"/>
                        <a:pt x="13" y="142"/>
                        <a:pt x="13" y="200"/>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0" name="Freeform 254"/>
                <p:cNvSpPr>
                  <a:spLocks noEditPoints="1"/>
                </p:cNvSpPr>
                <p:nvPr/>
              </p:nvSpPr>
              <p:spPr bwMode="auto">
                <a:xfrm rot="5400000">
                  <a:off x="11895210" y="1352244"/>
                  <a:ext cx="209568" cy="188642"/>
                </a:xfrm>
                <a:custGeom>
                  <a:avLst/>
                  <a:gdLst>
                    <a:gd name="T0" fmla="*/ 157 w 192"/>
                    <a:gd name="T1" fmla="*/ 26 h 165"/>
                    <a:gd name="T2" fmla="*/ 139 w 192"/>
                    <a:gd name="T3" fmla="*/ 31 h 165"/>
                    <a:gd name="T4" fmla="*/ 90 w 192"/>
                    <a:gd name="T5" fmla="*/ 0 h 165"/>
                    <a:gd name="T6" fmla="*/ 38 w 192"/>
                    <a:gd name="T7" fmla="*/ 43 h 165"/>
                    <a:gd name="T8" fmla="*/ 27 w 192"/>
                    <a:gd name="T9" fmla="*/ 40 h 165"/>
                    <a:gd name="T10" fmla="*/ 0 w 192"/>
                    <a:gd name="T11" fmla="*/ 68 h 165"/>
                    <a:gd name="T12" fmla="*/ 27 w 192"/>
                    <a:gd name="T13" fmla="*/ 95 h 165"/>
                    <a:gd name="T14" fmla="*/ 157 w 192"/>
                    <a:gd name="T15" fmla="*/ 95 h 165"/>
                    <a:gd name="T16" fmla="*/ 192 w 192"/>
                    <a:gd name="T17" fmla="*/ 61 h 165"/>
                    <a:gd name="T18" fmla="*/ 157 w 192"/>
                    <a:gd name="T19" fmla="*/ 26 h 165"/>
                    <a:gd name="T20" fmla="*/ 125 w 192"/>
                    <a:gd name="T21" fmla="*/ 105 h 165"/>
                    <a:gd name="T22" fmla="*/ 115 w 192"/>
                    <a:gd name="T23" fmla="*/ 105 h 165"/>
                    <a:gd name="T24" fmla="*/ 115 w 192"/>
                    <a:gd name="T25" fmla="*/ 137 h 165"/>
                    <a:gd name="T26" fmla="*/ 96 w 192"/>
                    <a:gd name="T27" fmla="*/ 152 h 165"/>
                    <a:gd name="T28" fmla="*/ 77 w 192"/>
                    <a:gd name="T29" fmla="*/ 137 h 165"/>
                    <a:gd name="T30" fmla="*/ 77 w 192"/>
                    <a:gd name="T31" fmla="*/ 105 h 165"/>
                    <a:gd name="T32" fmla="*/ 67 w 192"/>
                    <a:gd name="T33" fmla="*/ 105 h 165"/>
                    <a:gd name="T34" fmla="*/ 67 w 192"/>
                    <a:gd name="T35" fmla="*/ 131 h 165"/>
                    <a:gd name="T36" fmla="*/ 52 w 192"/>
                    <a:gd name="T37" fmla="*/ 131 h 165"/>
                    <a:gd name="T38" fmla="*/ 96 w 192"/>
                    <a:gd name="T39" fmla="*/ 165 h 165"/>
                    <a:gd name="T40" fmla="*/ 139 w 192"/>
                    <a:gd name="T41" fmla="*/ 131 h 165"/>
                    <a:gd name="T42" fmla="*/ 125 w 192"/>
                    <a:gd name="T43" fmla="*/ 131 h 165"/>
                    <a:gd name="T44" fmla="*/ 125 w 192"/>
                    <a:gd name="T45" fmla="*/ 105 h 165"/>
                    <a:gd name="T46" fmla="*/ 125 w 192"/>
                    <a:gd name="T47" fmla="*/ 10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65">
                      <a:moveTo>
                        <a:pt x="157" y="26"/>
                      </a:moveTo>
                      <a:cubicBezTo>
                        <a:pt x="150" y="26"/>
                        <a:pt x="144" y="28"/>
                        <a:pt x="139" y="31"/>
                      </a:cubicBezTo>
                      <a:cubicBezTo>
                        <a:pt x="130" y="13"/>
                        <a:pt x="112" y="0"/>
                        <a:pt x="90" y="0"/>
                      </a:cubicBezTo>
                      <a:cubicBezTo>
                        <a:pt x="65" y="0"/>
                        <a:pt x="43" y="18"/>
                        <a:pt x="38" y="43"/>
                      </a:cubicBezTo>
                      <a:cubicBezTo>
                        <a:pt x="35" y="41"/>
                        <a:pt x="31" y="40"/>
                        <a:pt x="27" y="40"/>
                      </a:cubicBezTo>
                      <a:cubicBezTo>
                        <a:pt x="12" y="40"/>
                        <a:pt x="0" y="53"/>
                        <a:pt x="0" y="68"/>
                      </a:cubicBezTo>
                      <a:cubicBezTo>
                        <a:pt x="0" y="83"/>
                        <a:pt x="12" y="95"/>
                        <a:pt x="27" y="95"/>
                      </a:cubicBezTo>
                      <a:cubicBezTo>
                        <a:pt x="157" y="95"/>
                        <a:pt x="157" y="95"/>
                        <a:pt x="157" y="95"/>
                      </a:cubicBezTo>
                      <a:cubicBezTo>
                        <a:pt x="176" y="95"/>
                        <a:pt x="192" y="80"/>
                        <a:pt x="192" y="61"/>
                      </a:cubicBezTo>
                      <a:cubicBezTo>
                        <a:pt x="192" y="42"/>
                        <a:pt x="176" y="26"/>
                        <a:pt x="157" y="26"/>
                      </a:cubicBezTo>
                      <a:close/>
                      <a:moveTo>
                        <a:pt x="125" y="105"/>
                      </a:moveTo>
                      <a:cubicBezTo>
                        <a:pt x="115" y="105"/>
                        <a:pt x="115" y="105"/>
                        <a:pt x="115" y="105"/>
                      </a:cubicBezTo>
                      <a:cubicBezTo>
                        <a:pt x="115" y="137"/>
                        <a:pt x="115" y="137"/>
                        <a:pt x="115" y="137"/>
                      </a:cubicBezTo>
                      <a:cubicBezTo>
                        <a:pt x="96" y="152"/>
                        <a:pt x="96" y="152"/>
                        <a:pt x="96" y="152"/>
                      </a:cubicBezTo>
                      <a:cubicBezTo>
                        <a:pt x="77" y="137"/>
                        <a:pt x="77" y="137"/>
                        <a:pt x="77" y="137"/>
                      </a:cubicBezTo>
                      <a:cubicBezTo>
                        <a:pt x="77" y="105"/>
                        <a:pt x="77" y="105"/>
                        <a:pt x="77" y="105"/>
                      </a:cubicBezTo>
                      <a:cubicBezTo>
                        <a:pt x="67" y="105"/>
                        <a:pt x="67" y="105"/>
                        <a:pt x="67" y="105"/>
                      </a:cubicBezTo>
                      <a:cubicBezTo>
                        <a:pt x="67" y="131"/>
                        <a:pt x="67" y="131"/>
                        <a:pt x="67" y="131"/>
                      </a:cubicBezTo>
                      <a:cubicBezTo>
                        <a:pt x="52" y="131"/>
                        <a:pt x="52" y="131"/>
                        <a:pt x="52" y="131"/>
                      </a:cubicBezTo>
                      <a:cubicBezTo>
                        <a:pt x="96" y="165"/>
                        <a:pt x="96" y="165"/>
                        <a:pt x="96" y="165"/>
                      </a:cubicBezTo>
                      <a:cubicBezTo>
                        <a:pt x="139" y="131"/>
                        <a:pt x="139" y="131"/>
                        <a:pt x="139" y="131"/>
                      </a:cubicBezTo>
                      <a:cubicBezTo>
                        <a:pt x="125" y="131"/>
                        <a:pt x="125" y="131"/>
                        <a:pt x="125" y="131"/>
                      </a:cubicBezTo>
                      <a:cubicBezTo>
                        <a:pt x="125" y="105"/>
                        <a:pt x="125" y="105"/>
                        <a:pt x="125" y="105"/>
                      </a:cubicBezTo>
                      <a:cubicBezTo>
                        <a:pt x="125" y="105"/>
                        <a:pt x="125" y="105"/>
                        <a:pt x="125" y="105"/>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1" name="Freeform 255"/>
                <p:cNvSpPr>
                  <a:spLocks noEditPoints="1"/>
                </p:cNvSpPr>
                <p:nvPr/>
              </p:nvSpPr>
              <p:spPr bwMode="auto">
                <a:xfrm rot="5400000">
                  <a:off x="11896345" y="1249129"/>
                  <a:ext cx="107695" cy="95075"/>
                </a:xfrm>
                <a:custGeom>
                  <a:avLst/>
                  <a:gdLst>
                    <a:gd name="T0" fmla="*/ 95 w 98"/>
                    <a:gd name="T1" fmla="*/ 0 h 83"/>
                    <a:gd name="T2" fmla="*/ 3 w 98"/>
                    <a:gd name="T3" fmla="*/ 0 h 83"/>
                    <a:gd name="T4" fmla="*/ 0 w 98"/>
                    <a:gd name="T5" fmla="*/ 3 h 83"/>
                    <a:gd name="T6" fmla="*/ 0 w 98"/>
                    <a:gd name="T7" fmla="*/ 69 h 83"/>
                    <a:gd name="T8" fmla="*/ 3 w 98"/>
                    <a:gd name="T9" fmla="*/ 72 h 83"/>
                    <a:gd name="T10" fmla="*/ 33 w 98"/>
                    <a:gd name="T11" fmla="*/ 72 h 83"/>
                    <a:gd name="T12" fmla="*/ 33 w 98"/>
                    <a:gd name="T13" fmla="*/ 77 h 83"/>
                    <a:gd name="T14" fmla="*/ 27 w 98"/>
                    <a:gd name="T15" fmla="*/ 83 h 83"/>
                    <a:gd name="T16" fmla="*/ 73 w 98"/>
                    <a:gd name="T17" fmla="*/ 83 h 83"/>
                    <a:gd name="T18" fmla="*/ 67 w 98"/>
                    <a:gd name="T19" fmla="*/ 77 h 83"/>
                    <a:gd name="T20" fmla="*/ 67 w 98"/>
                    <a:gd name="T21" fmla="*/ 72 h 83"/>
                    <a:gd name="T22" fmla="*/ 95 w 98"/>
                    <a:gd name="T23" fmla="*/ 72 h 83"/>
                    <a:gd name="T24" fmla="*/ 98 w 98"/>
                    <a:gd name="T25" fmla="*/ 69 h 83"/>
                    <a:gd name="T26" fmla="*/ 98 w 98"/>
                    <a:gd name="T27" fmla="*/ 3 h 83"/>
                    <a:gd name="T28" fmla="*/ 95 w 98"/>
                    <a:gd name="T29" fmla="*/ 0 h 83"/>
                    <a:gd name="T30" fmla="*/ 93 w 98"/>
                    <a:gd name="T31" fmla="*/ 64 h 83"/>
                    <a:gd name="T32" fmla="*/ 90 w 98"/>
                    <a:gd name="T33" fmla="*/ 67 h 83"/>
                    <a:gd name="T34" fmla="*/ 8 w 98"/>
                    <a:gd name="T35" fmla="*/ 67 h 83"/>
                    <a:gd name="T36" fmla="*/ 6 w 98"/>
                    <a:gd name="T37" fmla="*/ 64 h 83"/>
                    <a:gd name="T38" fmla="*/ 6 w 98"/>
                    <a:gd name="T39" fmla="*/ 8 h 83"/>
                    <a:gd name="T40" fmla="*/ 8 w 98"/>
                    <a:gd name="T41" fmla="*/ 5 h 83"/>
                    <a:gd name="T42" fmla="*/ 90 w 98"/>
                    <a:gd name="T43" fmla="*/ 5 h 83"/>
                    <a:gd name="T44" fmla="*/ 93 w 98"/>
                    <a:gd name="T45" fmla="*/ 8 h 83"/>
                    <a:gd name="T46" fmla="*/ 93 w 98"/>
                    <a:gd name="T47" fmla="*/ 64 h 83"/>
                    <a:gd name="T48" fmla="*/ 93 w 98"/>
                    <a:gd name="T49" fmla="*/ 6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83">
                      <a:moveTo>
                        <a:pt x="95" y="0"/>
                      </a:moveTo>
                      <a:cubicBezTo>
                        <a:pt x="3" y="0"/>
                        <a:pt x="3" y="0"/>
                        <a:pt x="3" y="0"/>
                      </a:cubicBezTo>
                      <a:cubicBezTo>
                        <a:pt x="1" y="0"/>
                        <a:pt x="0" y="1"/>
                        <a:pt x="0" y="3"/>
                      </a:cubicBezTo>
                      <a:cubicBezTo>
                        <a:pt x="0" y="69"/>
                        <a:pt x="0" y="69"/>
                        <a:pt x="0" y="69"/>
                      </a:cubicBezTo>
                      <a:cubicBezTo>
                        <a:pt x="0" y="71"/>
                        <a:pt x="1" y="72"/>
                        <a:pt x="3" y="72"/>
                      </a:cubicBezTo>
                      <a:cubicBezTo>
                        <a:pt x="33" y="72"/>
                        <a:pt x="33" y="72"/>
                        <a:pt x="33" y="72"/>
                      </a:cubicBezTo>
                      <a:cubicBezTo>
                        <a:pt x="33" y="77"/>
                        <a:pt x="33" y="77"/>
                        <a:pt x="33" y="77"/>
                      </a:cubicBezTo>
                      <a:cubicBezTo>
                        <a:pt x="27" y="83"/>
                        <a:pt x="27" y="83"/>
                        <a:pt x="27" y="83"/>
                      </a:cubicBezTo>
                      <a:cubicBezTo>
                        <a:pt x="73" y="83"/>
                        <a:pt x="73" y="83"/>
                        <a:pt x="73" y="83"/>
                      </a:cubicBezTo>
                      <a:cubicBezTo>
                        <a:pt x="67" y="77"/>
                        <a:pt x="67" y="77"/>
                        <a:pt x="67" y="77"/>
                      </a:cubicBezTo>
                      <a:cubicBezTo>
                        <a:pt x="67" y="72"/>
                        <a:pt x="67" y="72"/>
                        <a:pt x="67" y="72"/>
                      </a:cubicBezTo>
                      <a:cubicBezTo>
                        <a:pt x="95" y="72"/>
                        <a:pt x="95" y="72"/>
                        <a:pt x="95" y="72"/>
                      </a:cubicBezTo>
                      <a:cubicBezTo>
                        <a:pt x="97" y="72"/>
                        <a:pt x="98" y="71"/>
                        <a:pt x="98" y="69"/>
                      </a:cubicBezTo>
                      <a:cubicBezTo>
                        <a:pt x="98" y="3"/>
                        <a:pt x="98" y="3"/>
                        <a:pt x="98" y="3"/>
                      </a:cubicBezTo>
                      <a:cubicBezTo>
                        <a:pt x="98" y="1"/>
                        <a:pt x="97" y="0"/>
                        <a:pt x="95" y="0"/>
                      </a:cubicBezTo>
                      <a:close/>
                      <a:moveTo>
                        <a:pt x="93" y="64"/>
                      </a:moveTo>
                      <a:cubicBezTo>
                        <a:pt x="93" y="66"/>
                        <a:pt x="91" y="67"/>
                        <a:pt x="90" y="67"/>
                      </a:cubicBezTo>
                      <a:cubicBezTo>
                        <a:pt x="8" y="67"/>
                        <a:pt x="8" y="67"/>
                        <a:pt x="8" y="67"/>
                      </a:cubicBezTo>
                      <a:cubicBezTo>
                        <a:pt x="7" y="67"/>
                        <a:pt x="6" y="66"/>
                        <a:pt x="6" y="64"/>
                      </a:cubicBezTo>
                      <a:cubicBezTo>
                        <a:pt x="6" y="8"/>
                        <a:pt x="6" y="8"/>
                        <a:pt x="6" y="8"/>
                      </a:cubicBezTo>
                      <a:cubicBezTo>
                        <a:pt x="6" y="6"/>
                        <a:pt x="7" y="5"/>
                        <a:pt x="8" y="5"/>
                      </a:cubicBezTo>
                      <a:cubicBezTo>
                        <a:pt x="90" y="5"/>
                        <a:pt x="90" y="5"/>
                        <a:pt x="90" y="5"/>
                      </a:cubicBezTo>
                      <a:cubicBezTo>
                        <a:pt x="91" y="5"/>
                        <a:pt x="93" y="6"/>
                        <a:pt x="93" y="8"/>
                      </a:cubicBezTo>
                      <a:cubicBezTo>
                        <a:pt x="93" y="64"/>
                        <a:pt x="93" y="64"/>
                        <a:pt x="93" y="64"/>
                      </a:cubicBezTo>
                      <a:cubicBezTo>
                        <a:pt x="93" y="64"/>
                        <a:pt x="93" y="64"/>
                        <a:pt x="93" y="64"/>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sp>
            <p:nvSpPr>
              <p:cNvPr id="704" name="Freeform 256"/>
              <p:cNvSpPr>
                <a:spLocks/>
              </p:cNvSpPr>
              <p:nvPr/>
            </p:nvSpPr>
            <p:spPr bwMode="auto">
              <a:xfrm rot="5400000">
                <a:off x="11859127" y="1846436"/>
                <a:ext cx="135346" cy="141859"/>
              </a:xfrm>
              <a:custGeom>
                <a:avLst/>
                <a:gdLst>
                  <a:gd name="T0" fmla="*/ 93 w 93"/>
                  <a:gd name="T1" fmla="*/ 23 h 94"/>
                  <a:gd name="T2" fmla="*/ 46 w 93"/>
                  <a:gd name="T3" fmla="*/ 23 h 94"/>
                  <a:gd name="T4" fmla="*/ 46 w 93"/>
                  <a:gd name="T5" fmla="*/ 0 h 94"/>
                  <a:gd name="T6" fmla="*/ 0 w 93"/>
                  <a:gd name="T7" fmla="*/ 47 h 94"/>
                  <a:gd name="T8" fmla="*/ 46 w 93"/>
                  <a:gd name="T9" fmla="*/ 94 h 94"/>
                  <a:gd name="T10" fmla="*/ 46 w 93"/>
                  <a:gd name="T11" fmla="*/ 70 h 94"/>
                  <a:gd name="T12" fmla="*/ 93 w 93"/>
                  <a:gd name="T13" fmla="*/ 70 h 94"/>
                  <a:gd name="T14" fmla="*/ 93 w 93"/>
                  <a:gd name="T15" fmla="*/ 23 h 94"/>
                  <a:gd name="T16" fmla="*/ 93 w 93"/>
                  <a:gd name="T17"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4">
                    <a:moveTo>
                      <a:pt x="93" y="23"/>
                    </a:moveTo>
                    <a:lnTo>
                      <a:pt x="46" y="23"/>
                    </a:lnTo>
                    <a:lnTo>
                      <a:pt x="46" y="0"/>
                    </a:lnTo>
                    <a:lnTo>
                      <a:pt x="0" y="47"/>
                    </a:lnTo>
                    <a:lnTo>
                      <a:pt x="46" y="94"/>
                    </a:lnTo>
                    <a:lnTo>
                      <a:pt x="46" y="70"/>
                    </a:lnTo>
                    <a:lnTo>
                      <a:pt x="93" y="70"/>
                    </a:lnTo>
                    <a:lnTo>
                      <a:pt x="93" y="23"/>
                    </a:lnTo>
                    <a:lnTo>
                      <a:pt x="93" y="23"/>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705" name="Group 704"/>
              <p:cNvGrpSpPr/>
              <p:nvPr/>
            </p:nvGrpSpPr>
            <p:grpSpPr>
              <a:xfrm rot="16200000">
                <a:off x="10847771" y="1945572"/>
                <a:ext cx="239952" cy="64035"/>
                <a:chOff x="10769293" y="1881709"/>
                <a:chExt cx="239952" cy="64035"/>
              </a:xfrm>
            </p:grpSpPr>
            <p:sp>
              <p:nvSpPr>
                <p:cNvPr id="707" name="Freeform 257"/>
                <p:cNvSpPr>
                  <a:spLocks noEditPoints="1"/>
                </p:cNvSpPr>
                <p:nvPr/>
              </p:nvSpPr>
              <p:spPr bwMode="auto">
                <a:xfrm rot="5400000">
                  <a:off x="10857251" y="1793751"/>
                  <a:ext cx="64035" cy="239952"/>
                </a:xfrm>
                <a:custGeom>
                  <a:avLst/>
                  <a:gdLst>
                    <a:gd name="T0" fmla="*/ 49 w 58"/>
                    <a:gd name="T1" fmla="*/ 0 h 211"/>
                    <a:gd name="T2" fmla="*/ 9 w 58"/>
                    <a:gd name="T3" fmla="*/ 0 h 211"/>
                    <a:gd name="T4" fmla="*/ 0 w 58"/>
                    <a:gd name="T5" fmla="*/ 9 h 211"/>
                    <a:gd name="T6" fmla="*/ 0 w 58"/>
                    <a:gd name="T7" fmla="*/ 202 h 211"/>
                    <a:gd name="T8" fmla="*/ 9 w 58"/>
                    <a:gd name="T9" fmla="*/ 211 h 211"/>
                    <a:gd name="T10" fmla="*/ 49 w 58"/>
                    <a:gd name="T11" fmla="*/ 211 h 211"/>
                    <a:gd name="T12" fmla="*/ 58 w 58"/>
                    <a:gd name="T13" fmla="*/ 202 h 211"/>
                    <a:gd name="T14" fmla="*/ 58 w 58"/>
                    <a:gd name="T15" fmla="*/ 9 h 211"/>
                    <a:gd name="T16" fmla="*/ 49 w 58"/>
                    <a:gd name="T17" fmla="*/ 0 h 211"/>
                    <a:gd name="T18" fmla="*/ 13 w 58"/>
                    <a:gd name="T19" fmla="*/ 19 h 211"/>
                    <a:gd name="T20" fmla="*/ 19 w 58"/>
                    <a:gd name="T21" fmla="*/ 14 h 211"/>
                    <a:gd name="T22" fmla="*/ 39 w 58"/>
                    <a:gd name="T23" fmla="*/ 14 h 211"/>
                    <a:gd name="T24" fmla="*/ 44 w 58"/>
                    <a:gd name="T25" fmla="*/ 19 h 211"/>
                    <a:gd name="T26" fmla="*/ 44 w 58"/>
                    <a:gd name="T27" fmla="*/ 142 h 211"/>
                    <a:gd name="T28" fmla="*/ 39 w 58"/>
                    <a:gd name="T29" fmla="*/ 147 h 211"/>
                    <a:gd name="T30" fmla="*/ 19 w 58"/>
                    <a:gd name="T31" fmla="*/ 147 h 211"/>
                    <a:gd name="T32" fmla="*/ 13 w 58"/>
                    <a:gd name="T33" fmla="*/ 142 h 211"/>
                    <a:gd name="T34" fmla="*/ 13 w 58"/>
                    <a:gd name="T35" fmla="*/ 19 h 211"/>
                    <a:gd name="T36" fmla="*/ 13 w 58"/>
                    <a:gd name="T37" fmla="*/ 19 h 211"/>
                    <a:gd name="T38" fmla="*/ 29 w 58"/>
                    <a:gd name="T39" fmla="*/ 199 h 211"/>
                    <a:gd name="T40" fmla="*/ 13 w 58"/>
                    <a:gd name="T41" fmla="*/ 184 h 211"/>
                    <a:gd name="T42" fmla="*/ 29 w 58"/>
                    <a:gd name="T43" fmla="*/ 168 h 211"/>
                    <a:gd name="T44" fmla="*/ 44 w 58"/>
                    <a:gd name="T45" fmla="*/ 184 h 211"/>
                    <a:gd name="T46" fmla="*/ 29 w 58"/>
                    <a:gd name="T47" fmla="*/ 19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211">
                      <a:moveTo>
                        <a:pt x="49" y="0"/>
                      </a:moveTo>
                      <a:cubicBezTo>
                        <a:pt x="9" y="0"/>
                        <a:pt x="9" y="0"/>
                        <a:pt x="9" y="0"/>
                      </a:cubicBezTo>
                      <a:cubicBezTo>
                        <a:pt x="4" y="0"/>
                        <a:pt x="0" y="4"/>
                        <a:pt x="0" y="9"/>
                      </a:cubicBezTo>
                      <a:cubicBezTo>
                        <a:pt x="0" y="202"/>
                        <a:pt x="0" y="202"/>
                        <a:pt x="0" y="202"/>
                      </a:cubicBezTo>
                      <a:cubicBezTo>
                        <a:pt x="0" y="207"/>
                        <a:pt x="4" y="211"/>
                        <a:pt x="9" y="211"/>
                      </a:cubicBezTo>
                      <a:cubicBezTo>
                        <a:pt x="49" y="211"/>
                        <a:pt x="49" y="211"/>
                        <a:pt x="49" y="211"/>
                      </a:cubicBezTo>
                      <a:cubicBezTo>
                        <a:pt x="54" y="211"/>
                        <a:pt x="58" y="207"/>
                        <a:pt x="58" y="202"/>
                      </a:cubicBezTo>
                      <a:cubicBezTo>
                        <a:pt x="58" y="9"/>
                        <a:pt x="58" y="9"/>
                        <a:pt x="58" y="9"/>
                      </a:cubicBezTo>
                      <a:cubicBezTo>
                        <a:pt x="58" y="4"/>
                        <a:pt x="54" y="0"/>
                        <a:pt x="49" y="0"/>
                      </a:cubicBezTo>
                      <a:close/>
                      <a:moveTo>
                        <a:pt x="13" y="19"/>
                      </a:moveTo>
                      <a:cubicBezTo>
                        <a:pt x="13" y="17"/>
                        <a:pt x="16" y="14"/>
                        <a:pt x="19" y="14"/>
                      </a:cubicBezTo>
                      <a:cubicBezTo>
                        <a:pt x="39" y="14"/>
                        <a:pt x="39" y="14"/>
                        <a:pt x="39" y="14"/>
                      </a:cubicBezTo>
                      <a:cubicBezTo>
                        <a:pt x="42" y="14"/>
                        <a:pt x="44" y="17"/>
                        <a:pt x="44" y="19"/>
                      </a:cubicBezTo>
                      <a:cubicBezTo>
                        <a:pt x="44" y="142"/>
                        <a:pt x="44" y="142"/>
                        <a:pt x="44" y="142"/>
                      </a:cubicBezTo>
                      <a:cubicBezTo>
                        <a:pt x="44" y="145"/>
                        <a:pt x="42" y="147"/>
                        <a:pt x="39" y="147"/>
                      </a:cubicBezTo>
                      <a:cubicBezTo>
                        <a:pt x="19" y="147"/>
                        <a:pt x="19" y="147"/>
                        <a:pt x="19" y="147"/>
                      </a:cubicBezTo>
                      <a:cubicBezTo>
                        <a:pt x="16" y="147"/>
                        <a:pt x="13" y="145"/>
                        <a:pt x="13" y="142"/>
                      </a:cubicBezTo>
                      <a:cubicBezTo>
                        <a:pt x="13" y="19"/>
                        <a:pt x="13" y="19"/>
                        <a:pt x="13" y="19"/>
                      </a:cubicBezTo>
                      <a:cubicBezTo>
                        <a:pt x="13" y="19"/>
                        <a:pt x="13" y="19"/>
                        <a:pt x="13" y="19"/>
                      </a:cubicBezTo>
                      <a:close/>
                      <a:moveTo>
                        <a:pt x="29" y="199"/>
                      </a:moveTo>
                      <a:cubicBezTo>
                        <a:pt x="20" y="199"/>
                        <a:pt x="13" y="192"/>
                        <a:pt x="13" y="184"/>
                      </a:cubicBezTo>
                      <a:cubicBezTo>
                        <a:pt x="13" y="175"/>
                        <a:pt x="20" y="168"/>
                        <a:pt x="29" y="168"/>
                      </a:cubicBezTo>
                      <a:cubicBezTo>
                        <a:pt x="37" y="168"/>
                        <a:pt x="44" y="175"/>
                        <a:pt x="44" y="184"/>
                      </a:cubicBezTo>
                      <a:cubicBezTo>
                        <a:pt x="44" y="192"/>
                        <a:pt x="37" y="199"/>
                        <a:pt x="29" y="199"/>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08" name="Oval 707"/>
                <p:cNvSpPr>
                  <a:spLocks noChangeArrowheads="1"/>
                </p:cNvSpPr>
                <p:nvPr/>
              </p:nvSpPr>
              <p:spPr bwMode="auto">
                <a:xfrm rot="5400000">
                  <a:off x="10792251" y="1904672"/>
                  <a:ext cx="17464" cy="18110"/>
                </a:xfrm>
                <a:prstGeom prst="ellipse">
                  <a:avLst/>
                </a:pr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sp>
            <p:nvSpPr>
              <p:cNvPr id="706" name="Freeform 259"/>
              <p:cNvSpPr>
                <a:spLocks/>
              </p:cNvSpPr>
              <p:nvPr/>
            </p:nvSpPr>
            <p:spPr bwMode="auto">
              <a:xfrm>
                <a:off x="10332565" y="1583717"/>
                <a:ext cx="116985" cy="105399"/>
              </a:xfrm>
              <a:custGeom>
                <a:avLst/>
                <a:gdLst>
                  <a:gd name="T0" fmla="*/ 66 w 80"/>
                  <a:gd name="T1" fmla="*/ 0 h 70"/>
                  <a:gd name="T2" fmla="*/ 80 w 80"/>
                  <a:gd name="T3" fmla="*/ 14 h 70"/>
                  <a:gd name="T4" fmla="*/ 66 w 80"/>
                  <a:gd name="T5" fmla="*/ 28 h 70"/>
                  <a:gd name="T6" fmla="*/ 53 w 80"/>
                  <a:gd name="T7" fmla="*/ 19 h 70"/>
                  <a:gd name="T8" fmla="*/ 53 w 80"/>
                  <a:gd name="T9" fmla="*/ 18 h 70"/>
                  <a:gd name="T10" fmla="*/ 28 w 80"/>
                  <a:gd name="T11" fmla="*/ 28 h 70"/>
                  <a:gd name="T12" fmla="*/ 28 w 80"/>
                  <a:gd name="T13" fmla="*/ 29 h 70"/>
                  <a:gd name="T14" fmla="*/ 26 w 80"/>
                  <a:gd name="T15" fmla="*/ 34 h 70"/>
                  <a:gd name="T16" fmla="*/ 51 w 80"/>
                  <a:gd name="T17" fmla="*/ 49 h 70"/>
                  <a:gd name="T18" fmla="*/ 53 w 80"/>
                  <a:gd name="T19" fmla="*/ 46 h 70"/>
                  <a:gd name="T20" fmla="*/ 63 w 80"/>
                  <a:gd name="T21" fmla="*/ 42 h 70"/>
                  <a:gd name="T22" fmla="*/ 77 w 80"/>
                  <a:gd name="T23" fmla="*/ 56 h 70"/>
                  <a:gd name="T24" fmla="*/ 63 w 80"/>
                  <a:gd name="T25" fmla="*/ 70 h 70"/>
                  <a:gd name="T26" fmla="*/ 49 w 80"/>
                  <a:gd name="T27" fmla="*/ 56 h 70"/>
                  <a:gd name="T28" fmla="*/ 49 w 80"/>
                  <a:gd name="T29" fmla="*/ 55 h 70"/>
                  <a:gd name="T30" fmla="*/ 23 w 80"/>
                  <a:gd name="T31" fmla="*/ 40 h 70"/>
                  <a:gd name="T32" fmla="*/ 20 w 80"/>
                  <a:gd name="T33" fmla="*/ 42 h 70"/>
                  <a:gd name="T34" fmla="*/ 14 w 80"/>
                  <a:gd name="T35" fmla="*/ 43 h 70"/>
                  <a:gd name="T36" fmla="*/ 0 w 80"/>
                  <a:gd name="T37" fmla="*/ 29 h 70"/>
                  <a:gd name="T38" fmla="*/ 14 w 80"/>
                  <a:gd name="T39" fmla="*/ 15 h 70"/>
                  <a:gd name="T40" fmla="*/ 24 w 80"/>
                  <a:gd name="T41" fmla="*/ 19 h 70"/>
                  <a:gd name="T42" fmla="*/ 26 w 80"/>
                  <a:gd name="T43" fmla="*/ 21 h 70"/>
                  <a:gd name="T44" fmla="*/ 52 w 80"/>
                  <a:gd name="T45" fmla="*/ 12 h 70"/>
                  <a:gd name="T46" fmla="*/ 53 w 80"/>
                  <a:gd name="T47" fmla="*/ 8 h 70"/>
                  <a:gd name="T48" fmla="*/ 66 w 80"/>
                  <a:gd name="T4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 h="70">
                    <a:moveTo>
                      <a:pt x="66" y="0"/>
                    </a:moveTo>
                    <a:cubicBezTo>
                      <a:pt x="73" y="0"/>
                      <a:pt x="80" y="6"/>
                      <a:pt x="80" y="14"/>
                    </a:cubicBezTo>
                    <a:cubicBezTo>
                      <a:pt x="80" y="22"/>
                      <a:pt x="73" y="28"/>
                      <a:pt x="66" y="28"/>
                    </a:cubicBezTo>
                    <a:cubicBezTo>
                      <a:pt x="60" y="28"/>
                      <a:pt x="55" y="24"/>
                      <a:pt x="53" y="19"/>
                    </a:cubicBezTo>
                    <a:cubicBezTo>
                      <a:pt x="53" y="18"/>
                      <a:pt x="53" y="18"/>
                      <a:pt x="53" y="18"/>
                    </a:cubicBezTo>
                    <a:cubicBezTo>
                      <a:pt x="28" y="28"/>
                      <a:pt x="28" y="28"/>
                      <a:pt x="28" y="28"/>
                    </a:cubicBezTo>
                    <a:cubicBezTo>
                      <a:pt x="28" y="29"/>
                      <a:pt x="28" y="29"/>
                      <a:pt x="28" y="29"/>
                    </a:cubicBezTo>
                    <a:cubicBezTo>
                      <a:pt x="26" y="34"/>
                      <a:pt x="26" y="34"/>
                      <a:pt x="26" y="34"/>
                    </a:cubicBezTo>
                    <a:cubicBezTo>
                      <a:pt x="51" y="49"/>
                      <a:pt x="51" y="49"/>
                      <a:pt x="51" y="49"/>
                    </a:cubicBezTo>
                    <a:cubicBezTo>
                      <a:pt x="53" y="46"/>
                      <a:pt x="53" y="46"/>
                      <a:pt x="53" y="46"/>
                    </a:cubicBezTo>
                    <a:cubicBezTo>
                      <a:pt x="55" y="44"/>
                      <a:pt x="59" y="42"/>
                      <a:pt x="63" y="42"/>
                    </a:cubicBezTo>
                    <a:cubicBezTo>
                      <a:pt x="70" y="42"/>
                      <a:pt x="77" y="48"/>
                      <a:pt x="77" y="56"/>
                    </a:cubicBezTo>
                    <a:cubicBezTo>
                      <a:pt x="77" y="64"/>
                      <a:pt x="70" y="70"/>
                      <a:pt x="63" y="70"/>
                    </a:cubicBezTo>
                    <a:cubicBezTo>
                      <a:pt x="55" y="70"/>
                      <a:pt x="49" y="64"/>
                      <a:pt x="49" y="56"/>
                    </a:cubicBezTo>
                    <a:cubicBezTo>
                      <a:pt x="49" y="55"/>
                      <a:pt x="49" y="55"/>
                      <a:pt x="49" y="55"/>
                    </a:cubicBezTo>
                    <a:cubicBezTo>
                      <a:pt x="23" y="40"/>
                      <a:pt x="23" y="40"/>
                      <a:pt x="23" y="40"/>
                    </a:cubicBezTo>
                    <a:cubicBezTo>
                      <a:pt x="20" y="42"/>
                      <a:pt x="20" y="42"/>
                      <a:pt x="20" y="42"/>
                    </a:cubicBezTo>
                    <a:cubicBezTo>
                      <a:pt x="18" y="43"/>
                      <a:pt x="16" y="43"/>
                      <a:pt x="14" y="43"/>
                    </a:cubicBezTo>
                    <a:cubicBezTo>
                      <a:pt x="6" y="43"/>
                      <a:pt x="0" y="37"/>
                      <a:pt x="0" y="29"/>
                    </a:cubicBezTo>
                    <a:cubicBezTo>
                      <a:pt x="0" y="21"/>
                      <a:pt x="6" y="15"/>
                      <a:pt x="14" y="15"/>
                    </a:cubicBezTo>
                    <a:cubicBezTo>
                      <a:pt x="18" y="15"/>
                      <a:pt x="22" y="17"/>
                      <a:pt x="24" y="19"/>
                    </a:cubicBezTo>
                    <a:cubicBezTo>
                      <a:pt x="26" y="21"/>
                      <a:pt x="26" y="21"/>
                      <a:pt x="26" y="21"/>
                    </a:cubicBezTo>
                    <a:cubicBezTo>
                      <a:pt x="52" y="12"/>
                      <a:pt x="52" y="12"/>
                      <a:pt x="52" y="12"/>
                    </a:cubicBezTo>
                    <a:cubicBezTo>
                      <a:pt x="53" y="8"/>
                      <a:pt x="53" y="8"/>
                      <a:pt x="53" y="8"/>
                    </a:cubicBezTo>
                    <a:cubicBezTo>
                      <a:pt x="55" y="3"/>
                      <a:pt x="60" y="0"/>
                      <a:pt x="66" y="0"/>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nvGrpSpPr>
            <p:cNvPr id="380" name="Group 379"/>
            <p:cNvGrpSpPr/>
            <p:nvPr/>
          </p:nvGrpSpPr>
          <p:grpSpPr>
            <a:xfrm>
              <a:off x="11028859" y="4680637"/>
              <a:ext cx="1018140" cy="1001688"/>
              <a:chOff x="11146629" y="1737897"/>
              <a:chExt cx="835186" cy="821690"/>
            </a:xfrm>
          </p:grpSpPr>
          <p:sp>
            <p:nvSpPr>
              <p:cNvPr id="438" name="Rectangle 437"/>
              <p:cNvSpPr/>
              <p:nvPr/>
            </p:nvSpPr>
            <p:spPr>
              <a:xfrm>
                <a:off x="11146629" y="1737897"/>
                <a:ext cx="835186" cy="821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088105"/>
                <a:endParaRPr lang="en-US" sz="1200" dirty="0">
                  <a:solidFill>
                    <a:prstClr val="white"/>
                  </a:solidFill>
                </a:endParaRPr>
              </a:p>
            </p:txBody>
          </p:sp>
          <p:grpSp>
            <p:nvGrpSpPr>
              <p:cNvPr id="439" name="Group 438"/>
              <p:cNvGrpSpPr/>
              <p:nvPr/>
            </p:nvGrpSpPr>
            <p:grpSpPr>
              <a:xfrm>
                <a:off x="11328302" y="1917908"/>
                <a:ext cx="498726" cy="465947"/>
                <a:chOff x="10131652" y="3979813"/>
                <a:chExt cx="796500" cy="725203"/>
              </a:xfrm>
            </p:grpSpPr>
            <p:sp>
              <p:nvSpPr>
                <p:cNvPr id="440" name="Freeform 19"/>
                <p:cNvSpPr>
                  <a:spLocks/>
                </p:cNvSpPr>
                <p:nvPr/>
              </p:nvSpPr>
              <p:spPr bwMode="auto">
                <a:xfrm>
                  <a:off x="10131652" y="3979813"/>
                  <a:ext cx="562235" cy="368713"/>
                </a:xfrm>
                <a:custGeom>
                  <a:avLst/>
                  <a:gdLst>
                    <a:gd name="T0" fmla="*/ 165 w 197"/>
                    <a:gd name="T1" fmla="*/ 56 h 129"/>
                    <a:gd name="T2" fmla="*/ 165 w 197"/>
                    <a:gd name="T3" fmla="*/ 54 h 129"/>
                    <a:gd name="T4" fmla="*/ 111 w 197"/>
                    <a:gd name="T5" fmla="*/ 0 h 129"/>
                    <a:gd name="T6" fmla="*/ 66 w 197"/>
                    <a:gd name="T7" fmla="*/ 24 h 129"/>
                    <a:gd name="T8" fmla="*/ 51 w 197"/>
                    <a:gd name="T9" fmla="*/ 20 h 129"/>
                    <a:gd name="T10" fmla="*/ 34 w 197"/>
                    <a:gd name="T11" fmla="*/ 25 h 129"/>
                    <a:gd name="T12" fmla="*/ 20 w 197"/>
                    <a:gd name="T13" fmla="*/ 50 h 129"/>
                    <a:gd name="T14" fmla="*/ 0 w 197"/>
                    <a:gd name="T15" fmla="*/ 86 h 129"/>
                    <a:gd name="T16" fmla="*/ 38 w 197"/>
                    <a:gd name="T17" fmla="*/ 129 h 129"/>
                    <a:gd name="T18" fmla="*/ 43 w 197"/>
                    <a:gd name="T19" fmla="*/ 129 h 129"/>
                    <a:gd name="T20" fmla="*/ 47 w 197"/>
                    <a:gd name="T21" fmla="*/ 129 h 129"/>
                    <a:gd name="T22" fmla="*/ 136 w 197"/>
                    <a:gd name="T23" fmla="*/ 129 h 129"/>
                    <a:gd name="T24" fmla="*/ 138 w 197"/>
                    <a:gd name="T25" fmla="*/ 129 h 129"/>
                    <a:gd name="T26" fmla="*/ 140 w 197"/>
                    <a:gd name="T27" fmla="*/ 129 h 129"/>
                    <a:gd name="T28" fmla="*/ 146 w 197"/>
                    <a:gd name="T29" fmla="*/ 129 h 129"/>
                    <a:gd name="T30" fmla="*/ 160 w 197"/>
                    <a:gd name="T31" fmla="*/ 129 h 129"/>
                    <a:gd name="T32" fmla="*/ 197 w 197"/>
                    <a:gd name="T33" fmla="*/ 92 h 129"/>
                    <a:gd name="T34" fmla="*/ 165 w 197"/>
                    <a:gd name="T35" fmla="*/ 5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 h="129">
                      <a:moveTo>
                        <a:pt x="165" y="56"/>
                      </a:moveTo>
                      <a:cubicBezTo>
                        <a:pt x="165" y="56"/>
                        <a:pt x="165" y="54"/>
                        <a:pt x="165" y="54"/>
                      </a:cubicBezTo>
                      <a:cubicBezTo>
                        <a:pt x="165" y="24"/>
                        <a:pt x="141" y="0"/>
                        <a:pt x="111" y="0"/>
                      </a:cubicBezTo>
                      <a:cubicBezTo>
                        <a:pt x="92" y="0"/>
                        <a:pt x="76" y="9"/>
                        <a:pt x="66" y="24"/>
                      </a:cubicBezTo>
                      <a:cubicBezTo>
                        <a:pt x="62" y="21"/>
                        <a:pt x="57" y="20"/>
                        <a:pt x="51" y="20"/>
                      </a:cubicBezTo>
                      <a:cubicBezTo>
                        <a:pt x="45" y="20"/>
                        <a:pt x="39" y="22"/>
                        <a:pt x="34" y="25"/>
                      </a:cubicBezTo>
                      <a:cubicBezTo>
                        <a:pt x="25" y="31"/>
                        <a:pt x="20" y="40"/>
                        <a:pt x="20" y="50"/>
                      </a:cubicBezTo>
                      <a:cubicBezTo>
                        <a:pt x="8" y="58"/>
                        <a:pt x="0" y="71"/>
                        <a:pt x="0" y="86"/>
                      </a:cubicBezTo>
                      <a:cubicBezTo>
                        <a:pt x="0" y="108"/>
                        <a:pt x="17" y="126"/>
                        <a:pt x="38" y="129"/>
                      </a:cubicBezTo>
                      <a:cubicBezTo>
                        <a:pt x="40" y="129"/>
                        <a:pt x="41" y="129"/>
                        <a:pt x="43" y="129"/>
                      </a:cubicBezTo>
                      <a:cubicBezTo>
                        <a:pt x="44" y="129"/>
                        <a:pt x="46" y="129"/>
                        <a:pt x="47" y="129"/>
                      </a:cubicBezTo>
                      <a:cubicBezTo>
                        <a:pt x="67" y="129"/>
                        <a:pt x="114" y="129"/>
                        <a:pt x="136" y="129"/>
                      </a:cubicBezTo>
                      <a:cubicBezTo>
                        <a:pt x="136" y="129"/>
                        <a:pt x="137" y="129"/>
                        <a:pt x="138" y="129"/>
                      </a:cubicBezTo>
                      <a:cubicBezTo>
                        <a:pt x="140" y="129"/>
                        <a:pt x="140" y="129"/>
                        <a:pt x="140" y="129"/>
                      </a:cubicBezTo>
                      <a:cubicBezTo>
                        <a:pt x="141" y="129"/>
                        <a:pt x="144" y="129"/>
                        <a:pt x="146" y="129"/>
                      </a:cubicBezTo>
                      <a:cubicBezTo>
                        <a:pt x="160" y="129"/>
                        <a:pt x="160" y="129"/>
                        <a:pt x="160" y="129"/>
                      </a:cubicBezTo>
                      <a:cubicBezTo>
                        <a:pt x="181" y="129"/>
                        <a:pt x="197" y="112"/>
                        <a:pt x="197" y="92"/>
                      </a:cubicBezTo>
                      <a:cubicBezTo>
                        <a:pt x="197" y="74"/>
                        <a:pt x="183" y="59"/>
                        <a:pt x="165"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1" name="Freeform 20"/>
                <p:cNvSpPr>
                  <a:spLocks/>
                </p:cNvSpPr>
                <p:nvPr/>
              </p:nvSpPr>
              <p:spPr bwMode="auto">
                <a:xfrm>
                  <a:off x="10170357" y="4205930"/>
                  <a:ext cx="757795" cy="499086"/>
                </a:xfrm>
                <a:custGeom>
                  <a:avLst/>
                  <a:gdLst>
                    <a:gd name="T0" fmla="*/ 223 w 266"/>
                    <a:gd name="T1" fmla="*/ 77 h 175"/>
                    <a:gd name="T2" fmla="*/ 223 w 266"/>
                    <a:gd name="T3" fmla="*/ 74 h 175"/>
                    <a:gd name="T4" fmla="*/ 150 w 266"/>
                    <a:gd name="T5" fmla="*/ 0 h 175"/>
                    <a:gd name="T6" fmla="*/ 89 w 266"/>
                    <a:gd name="T7" fmla="*/ 33 h 175"/>
                    <a:gd name="T8" fmla="*/ 69 w 266"/>
                    <a:gd name="T9" fmla="*/ 28 h 175"/>
                    <a:gd name="T10" fmla="*/ 45 w 266"/>
                    <a:gd name="T11" fmla="*/ 35 h 175"/>
                    <a:gd name="T12" fmla="*/ 26 w 266"/>
                    <a:gd name="T13" fmla="*/ 69 h 175"/>
                    <a:gd name="T14" fmla="*/ 0 w 266"/>
                    <a:gd name="T15" fmla="*/ 118 h 175"/>
                    <a:gd name="T16" fmla="*/ 51 w 266"/>
                    <a:gd name="T17" fmla="*/ 175 h 175"/>
                    <a:gd name="T18" fmla="*/ 57 w 266"/>
                    <a:gd name="T19" fmla="*/ 175 h 175"/>
                    <a:gd name="T20" fmla="*/ 63 w 266"/>
                    <a:gd name="T21" fmla="*/ 175 h 175"/>
                    <a:gd name="T22" fmla="*/ 183 w 266"/>
                    <a:gd name="T23" fmla="*/ 175 h 175"/>
                    <a:gd name="T24" fmla="*/ 185 w 266"/>
                    <a:gd name="T25" fmla="*/ 175 h 175"/>
                    <a:gd name="T26" fmla="*/ 188 w 266"/>
                    <a:gd name="T27" fmla="*/ 175 h 175"/>
                    <a:gd name="T28" fmla="*/ 197 w 266"/>
                    <a:gd name="T29" fmla="*/ 175 h 175"/>
                    <a:gd name="T30" fmla="*/ 216 w 266"/>
                    <a:gd name="T31" fmla="*/ 175 h 175"/>
                    <a:gd name="T32" fmla="*/ 266 w 266"/>
                    <a:gd name="T33" fmla="*/ 126 h 175"/>
                    <a:gd name="T34" fmla="*/ 223 w 266"/>
                    <a:gd name="T35" fmla="*/ 7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6" h="175">
                      <a:moveTo>
                        <a:pt x="223" y="77"/>
                      </a:moveTo>
                      <a:cubicBezTo>
                        <a:pt x="223" y="76"/>
                        <a:pt x="223" y="75"/>
                        <a:pt x="223" y="74"/>
                      </a:cubicBezTo>
                      <a:cubicBezTo>
                        <a:pt x="223" y="33"/>
                        <a:pt x="190" y="0"/>
                        <a:pt x="150" y="0"/>
                      </a:cubicBezTo>
                      <a:cubicBezTo>
                        <a:pt x="124" y="0"/>
                        <a:pt x="102" y="14"/>
                        <a:pt x="89" y="33"/>
                      </a:cubicBezTo>
                      <a:cubicBezTo>
                        <a:pt x="83" y="30"/>
                        <a:pt x="76" y="28"/>
                        <a:pt x="69" y="28"/>
                      </a:cubicBezTo>
                      <a:cubicBezTo>
                        <a:pt x="60" y="28"/>
                        <a:pt x="52" y="30"/>
                        <a:pt x="45" y="35"/>
                      </a:cubicBezTo>
                      <a:cubicBezTo>
                        <a:pt x="34" y="42"/>
                        <a:pt x="27" y="55"/>
                        <a:pt x="26" y="69"/>
                      </a:cubicBezTo>
                      <a:cubicBezTo>
                        <a:pt x="11" y="80"/>
                        <a:pt x="0" y="98"/>
                        <a:pt x="0" y="118"/>
                      </a:cubicBezTo>
                      <a:cubicBezTo>
                        <a:pt x="0" y="147"/>
                        <a:pt x="22" y="172"/>
                        <a:pt x="51" y="175"/>
                      </a:cubicBezTo>
                      <a:cubicBezTo>
                        <a:pt x="53" y="175"/>
                        <a:pt x="56" y="175"/>
                        <a:pt x="57" y="175"/>
                      </a:cubicBezTo>
                      <a:cubicBezTo>
                        <a:pt x="59" y="175"/>
                        <a:pt x="61" y="175"/>
                        <a:pt x="63" y="175"/>
                      </a:cubicBezTo>
                      <a:cubicBezTo>
                        <a:pt x="90" y="175"/>
                        <a:pt x="153" y="175"/>
                        <a:pt x="183" y="175"/>
                      </a:cubicBezTo>
                      <a:cubicBezTo>
                        <a:pt x="184" y="175"/>
                        <a:pt x="185" y="175"/>
                        <a:pt x="185" y="175"/>
                      </a:cubicBezTo>
                      <a:cubicBezTo>
                        <a:pt x="188" y="175"/>
                        <a:pt x="188" y="175"/>
                        <a:pt x="188" y="175"/>
                      </a:cubicBezTo>
                      <a:cubicBezTo>
                        <a:pt x="190" y="175"/>
                        <a:pt x="194" y="175"/>
                        <a:pt x="197" y="175"/>
                      </a:cubicBezTo>
                      <a:cubicBezTo>
                        <a:pt x="216" y="175"/>
                        <a:pt x="216" y="175"/>
                        <a:pt x="216" y="175"/>
                      </a:cubicBezTo>
                      <a:cubicBezTo>
                        <a:pt x="244" y="175"/>
                        <a:pt x="266" y="153"/>
                        <a:pt x="266" y="126"/>
                      </a:cubicBezTo>
                      <a:cubicBezTo>
                        <a:pt x="266" y="101"/>
                        <a:pt x="247" y="81"/>
                        <a:pt x="223" y="7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grpSp>
          <p:nvGrpSpPr>
            <p:cNvPr id="381" name="Group 380"/>
            <p:cNvGrpSpPr/>
            <p:nvPr/>
          </p:nvGrpSpPr>
          <p:grpSpPr>
            <a:xfrm>
              <a:off x="11028863" y="5705291"/>
              <a:ext cx="1018187" cy="997895"/>
              <a:chOff x="11137074" y="2776123"/>
              <a:chExt cx="835222" cy="827508"/>
            </a:xfrm>
          </p:grpSpPr>
          <p:sp>
            <p:nvSpPr>
              <p:cNvPr id="408" name="Rectangle 407"/>
              <p:cNvSpPr/>
              <p:nvPr/>
            </p:nvSpPr>
            <p:spPr>
              <a:xfrm>
                <a:off x="11137110" y="2776123"/>
                <a:ext cx="835186" cy="821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088105"/>
                <a:endParaRPr lang="en-US" sz="1200" dirty="0">
                  <a:solidFill>
                    <a:prstClr val="white"/>
                  </a:solidFill>
                </a:endParaRPr>
              </a:p>
            </p:txBody>
          </p:sp>
          <p:grpSp>
            <p:nvGrpSpPr>
              <p:cNvPr id="409" name="Group 408"/>
              <p:cNvGrpSpPr/>
              <p:nvPr/>
            </p:nvGrpSpPr>
            <p:grpSpPr>
              <a:xfrm>
                <a:off x="11137074" y="3264425"/>
                <a:ext cx="824186" cy="339206"/>
                <a:chOff x="10027990" y="4738729"/>
                <a:chExt cx="2162197" cy="867217"/>
              </a:xfrm>
            </p:grpSpPr>
            <p:sp>
              <p:nvSpPr>
                <p:cNvPr id="410" name="Freeform 5"/>
                <p:cNvSpPr>
                  <a:spLocks/>
                </p:cNvSpPr>
                <p:nvPr/>
              </p:nvSpPr>
              <p:spPr bwMode="auto">
                <a:xfrm>
                  <a:off x="10428779" y="5276639"/>
                  <a:ext cx="30471" cy="119535"/>
                </a:xfrm>
                <a:custGeom>
                  <a:avLst/>
                  <a:gdLst>
                    <a:gd name="T0" fmla="*/ 26 w 26"/>
                    <a:gd name="T1" fmla="*/ 102 h 102"/>
                    <a:gd name="T2" fmla="*/ 26 w 26"/>
                    <a:gd name="T3" fmla="*/ 102 h 102"/>
                    <a:gd name="T4" fmla="*/ 0 w 26"/>
                    <a:gd name="T5" fmla="*/ 102 h 102"/>
                    <a:gd name="T6" fmla="*/ 0 w 26"/>
                    <a:gd name="T7" fmla="*/ 0 h 102"/>
                    <a:gd name="T8" fmla="*/ 26 w 26"/>
                    <a:gd name="T9" fmla="*/ 0 h 102"/>
                    <a:gd name="T10" fmla="*/ 26 w 26"/>
                    <a:gd name="T11" fmla="*/ 102 h 102"/>
                    <a:gd name="T12" fmla="*/ 26 w 26"/>
                    <a:gd name="T13" fmla="*/ 102 h 102"/>
                    <a:gd name="T14" fmla="*/ 26 w 26"/>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2">
                      <a:moveTo>
                        <a:pt x="26" y="102"/>
                      </a:moveTo>
                      <a:lnTo>
                        <a:pt x="26" y="102"/>
                      </a:lnTo>
                      <a:lnTo>
                        <a:pt x="0" y="102"/>
                      </a:lnTo>
                      <a:lnTo>
                        <a:pt x="0" y="0"/>
                      </a:lnTo>
                      <a:lnTo>
                        <a:pt x="26" y="0"/>
                      </a:lnTo>
                      <a:lnTo>
                        <a:pt x="26" y="102"/>
                      </a:lnTo>
                      <a:lnTo>
                        <a:pt x="26" y="102"/>
                      </a:lnTo>
                      <a:lnTo>
                        <a:pt x="26" y="10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1" name="Freeform 6"/>
                <p:cNvSpPr>
                  <a:spLocks/>
                </p:cNvSpPr>
                <p:nvPr/>
              </p:nvSpPr>
              <p:spPr bwMode="auto">
                <a:xfrm>
                  <a:off x="10363152" y="5171166"/>
                  <a:ext cx="158209" cy="159380"/>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2" name="Freeform 7"/>
                <p:cNvSpPr>
                  <a:spLocks/>
                </p:cNvSpPr>
                <p:nvPr/>
              </p:nvSpPr>
              <p:spPr bwMode="auto">
                <a:xfrm>
                  <a:off x="10384248" y="5089132"/>
                  <a:ext cx="116018" cy="117191"/>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3" name="Freeform 8"/>
                <p:cNvSpPr>
                  <a:spLocks/>
                </p:cNvSpPr>
                <p:nvPr/>
              </p:nvSpPr>
              <p:spPr bwMode="auto">
                <a:xfrm>
                  <a:off x="10027990" y="5378595"/>
                  <a:ext cx="1093390" cy="227351"/>
                </a:xfrm>
                <a:custGeom>
                  <a:avLst/>
                  <a:gdLst>
                    <a:gd name="T0" fmla="*/ 413 w 667"/>
                    <a:gd name="T1" fmla="*/ 7 h 139"/>
                    <a:gd name="T2" fmla="*/ 413 w 667"/>
                    <a:gd name="T3" fmla="*/ 7 h 139"/>
                    <a:gd name="T4" fmla="*/ 405 w 667"/>
                    <a:gd name="T5" fmla="*/ 6 h 139"/>
                    <a:gd name="T6" fmla="*/ 392 w 667"/>
                    <a:gd name="T7" fmla="*/ 22 h 139"/>
                    <a:gd name="T8" fmla="*/ 357 w 667"/>
                    <a:gd name="T9" fmla="*/ 38 h 139"/>
                    <a:gd name="T10" fmla="*/ 330 w 667"/>
                    <a:gd name="T11" fmla="*/ 23 h 139"/>
                    <a:gd name="T12" fmla="*/ 330 w 667"/>
                    <a:gd name="T13" fmla="*/ 0 h 139"/>
                    <a:gd name="T14" fmla="*/ 0 w 667"/>
                    <a:gd name="T15" fmla="*/ 139 h 139"/>
                    <a:gd name="T16" fmla="*/ 236 w 667"/>
                    <a:gd name="T17" fmla="*/ 139 h 139"/>
                    <a:gd name="T18" fmla="*/ 667 w 667"/>
                    <a:gd name="T19" fmla="*/ 139 h 139"/>
                    <a:gd name="T20" fmla="*/ 413 w 667"/>
                    <a:gd name="T21"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 h="139">
                      <a:moveTo>
                        <a:pt x="413" y="7"/>
                      </a:moveTo>
                      <a:cubicBezTo>
                        <a:pt x="413" y="7"/>
                        <a:pt x="413" y="7"/>
                        <a:pt x="413" y="7"/>
                      </a:cubicBezTo>
                      <a:cubicBezTo>
                        <a:pt x="410" y="6"/>
                        <a:pt x="408" y="6"/>
                        <a:pt x="405" y="6"/>
                      </a:cubicBezTo>
                      <a:cubicBezTo>
                        <a:pt x="401" y="12"/>
                        <a:pt x="396" y="18"/>
                        <a:pt x="392" y="22"/>
                      </a:cubicBezTo>
                      <a:cubicBezTo>
                        <a:pt x="381" y="33"/>
                        <a:pt x="371" y="38"/>
                        <a:pt x="357" y="38"/>
                      </a:cubicBezTo>
                      <a:cubicBezTo>
                        <a:pt x="344" y="38"/>
                        <a:pt x="334" y="33"/>
                        <a:pt x="330" y="23"/>
                      </a:cubicBezTo>
                      <a:cubicBezTo>
                        <a:pt x="327" y="17"/>
                        <a:pt x="327" y="9"/>
                        <a:pt x="330" y="0"/>
                      </a:cubicBezTo>
                      <a:cubicBezTo>
                        <a:pt x="210" y="1"/>
                        <a:pt x="92" y="47"/>
                        <a:pt x="0" y="139"/>
                      </a:cubicBezTo>
                      <a:cubicBezTo>
                        <a:pt x="236" y="139"/>
                        <a:pt x="236" y="139"/>
                        <a:pt x="236" y="139"/>
                      </a:cubicBezTo>
                      <a:cubicBezTo>
                        <a:pt x="667" y="139"/>
                        <a:pt x="667" y="139"/>
                        <a:pt x="667" y="139"/>
                      </a:cubicBezTo>
                      <a:cubicBezTo>
                        <a:pt x="595" y="66"/>
                        <a:pt x="506" y="23"/>
                        <a:pt x="413"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4" name="Freeform 9"/>
                <p:cNvSpPr>
                  <a:spLocks/>
                </p:cNvSpPr>
                <p:nvPr/>
              </p:nvSpPr>
              <p:spPr bwMode="auto">
                <a:xfrm>
                  <a:off x="10594022" y="5379768"/>
                  <a:ext cx="69141" cy="36331"/>
                </a:xfrm>
                <a:custGeom>
                  <a:avLst/>
                  <a:gdLst>
                    <a:gd name="T0" fmla="*/ 16 w 42"/>
                    <a:gd name="T1" fmla="*/ 22 h 22"/>
                    <a:gd name="T2" fmla="*/ 16 w 42"/>
                    <a:gd name="T3" fmla="*/ 22 h 22"/>
                    <a:gd name="T4" fmla="*/ 42 w 42"/>
                    <a:gd name="T5" fmla="*/ 2 h 22"/>
                    <a:gd name="T6" fmla="*/ 5 w 42"/>
                    <a:gd name="T7" fmla="*/ 0 h 22"/>
                    <a:gd name="T8" fmla="*/ 16 w 42"/>
                    <a:gd name="T9" fmla="*/ 22 h 22"/>
                  </a:gdLst>
                  <a:ahLst/>
                  <a:cxnLst>
                    <a:cxn ang="0">
                      <a:pos x="T0" y="T1"/>
                    </a:cxn>
                    <a:cxn ang="0">
                      <a:pos x="T2" y="T3"/>
                    </a:cxn>
                    <a:cxn ang="0">
                      <a:pos x="T4" y="T5"/>
                    </a:cxn>
                    <a:cxn ang="0">
                      <a:pos x="T6" y="T7"/>
                    </a:cxn>
                    <a:cxn ang="0">
                      <a:pos x="T8" y="T9"/>
                    </a:cxn>
                  </a:cxnLst>
                  <a:rect l="0" t="0" r="r" b="b"/>
                  <a:pathLst>
                    <a:path w="42" h="22">
                      <a:moveTo>
                        <a:pt x="16" y="22"/>
                      </a:moveTo>
                      <a:cubicBezTo>
                        <a:pt x="16" y="22"/>
                        <a:pt x="16" y="22"/>
                        <a:pt x="16" y="22"/>
                      </a:cubicBezTo>
                      <a:cubicBezTo>
                        <a:pt x="26" y="22"/>
                        <a:pt x="32" y="15"/>
                        <a:pt x="42" y="2"/>
                      </a:cubicBezTo>
                      <a:cubicBezTo>
                        <a:pt x="30" y="1"/>
                        <a:pt x="18" y="0"/>
                        <a:pt x="5" y="0"/>
                      </a:cubicBezTo>
                      <a:cubicBezTo>
                        <a:pt x="0" y="14"/>
                        <a:pt x="7" y="22"/>
                        <a:pt x="16" y="2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5" name="Freeform 10"/>
                <p:cNvSpPr>
                  <a:spLocks/>
                </p:cNvSpPr>
                <p:nvPr/>
              </p:nvSpPr>
              <p:spPr bwMode="auto">
                <a:xfrm>
                  <a:off x="10564725" y="5378595"/>
                  <a:ext cx="127738" cy="62111"/>
                </a:xfrm>
                <a:custGeom>
                  <a:avLst/>
                  <a:gdLst>
                    <a:gd name="T0" fmla="*/ 3 w 78"/>
                    <a:gd name="T1" fmla="*/ 23 h 38"/>
                    <a:gd name="T2" fmla="*/ 3 w 78"/>
                    <a:gd name="T3" fmla="*/ 23 h 38"/>
                    <a:gd name="T4" fmla="*/ 30 w 78"/>
                    <a:gd name="T5" fmla="*/ 38 h 38"/>
                    <a:gd name="T6" fmla="*/ 65 w 78"/>
                    <a:gd name="T7" fmla="*/ 22 h 38"/>
                    <a:gd name="T8" fmla="*/ 78 w 78"/>
                    <a:gd name="T9" fmla="*/ 6 h 38"/>
                    <a:gd name="T10" fmla="*/ 60 w 78"/>
                    <a:gd name="T11" fmla="*/ 3 h 38"/>
                    <a:gd name="T12" fmla="*/ 34 w 78"/>
                    <a:gd name="T13" fmla="*/ 23 h 38"/>
                    <a:gd name="T14" fmla="*/ 23 w 78"/>
                    <a:gd name="T15" fmla="*/ 1 h 38"/>
                    <a:gd name="T16" fmla="*/ 3 w 78"/>
                    <a:gd name="T17" fmla="*/ 0 h 38"/>
                    <a:gd name="T18" fmla="*/ 3 w 78"/>
                    <a:gd name="T19" fmla="*/ 2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8">
                      <a:moveTo>
                        <a:pt x="3" y="23"/>
                      </a:moveTo>
                      <a:cubicBezTo>
                        <a:pt x="3" y="23"/>
                        <a:pt x="3" y="23"/>
                        <a:pt x="3" y="23"/>
                      </a:cubicBezTo>
                      <a:cubicBezTo>
                        <a:pt x="7" y="33"/>
                        <a:pt x="17" y="38"/>
                        <a:pt x="30" y="38"/>
                      </a:cubicBezTo>
                      <a:cubicBezTo>
                        <a:pt x="44" y="38"/>
                        <a:pt x="54" y="33"/>
                        <a:pt x="65" y="22"/>
                      </a:cubicBezTo>
                      <a:cubicBezTo>
                        <a:pt x="69" y="18"/>
                        <a:pt x="74" y="12"/>
                        <a:pt x="78" y="6"/>
                      </a:cubicBezTo>
                      <a:cubicBezTo>
                        <a:pt x="72" y="5"/>
                        <a:pt x="66" y="4"/>
                        <a:pt x="60" y="3"/>
                      </a:cubicBezTo>
                      <a:cubicBezTo>
                        <a:pt x="50" y="16"/>
                        <a:pt x="44" y="23"/>
                        <a:pt x="34" y="23"/>
                      </a:cubicBezTo>
                      <a:cubicBezTo>
                        <a:pt x="25" y="23"/>
                        <a:pt x="18" y="15"/>
                        <a:pt x="23" y="1"/>
                      </a:cubicBezTo>
                      <a:cubicBezTo>
                        <a:pt x="16" y="0"/>
                        <a:pt x="10" y="0"/>
                        <a:pt x="3" y="0"/>
                      </a:cubicBezTo>
                      <a:cubicBezTo>
                        <a:pt x="0" y="9"/>
                        <a:pt x="0" y="17"/>
                        <a:pt x="3" y="23"/>
                      </a:cubicBezTo>
                      <a:close/>
                    </a:path>
                  </a:pathLst>
                </a:custGeom>
                <a:solidFill>
                  <a:srgbClr val="6E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6" name="Freeform 11"/>
                <p:cNvSpPr>
                  <a:spLocks noEditPoints="1"/>
                </p:cNvSpPr>
                <p:nvPr/>
              </p:nvSpPr>
              <p:spPr bwMode="auto">
                <a:xfrm>
                  <a:off x="10543630" y="5222732"/>
                  <a:ext cx="144145" cy="215633"/>
                </a:xfrm>
                <a:custGeom>
                  <a:avLst/>
                  <a:gdLst>
                    <a:gd name="T0" fmla="*/ 44 w 88"/>
                    <a:gd name="T1" fmla="*/ 16 h 132"/>
                    <a:gd name="T2" fmla="*/ 44 w 88"/>
                    <a:gd name="T3" fmla="*/ 16 h 132"/>
                    <a:gd name="T4" fmla="*/ 21 w 88"/>
                    <a:gd name="T5" fmla="*/ 67 h 132"/>
                    <a:gd name="T6" fmla="*/ 44 w 88"/>
                    <a:gd name="T7" fmla="*/ 116 h 132"/>
                    <a:gd name="T8" fmla="*/ 66 w 88"/>
                    <a:gd name="T9" fmla="*/ 67 h 132"/>
                    <a:gd name="T10" fmla="*/ 44 w 88"/>
                    <a:gd name="T11" fmla="*/ 16 h 132"/>
                    <a:gd name="T12" fmla="*/ 42 w 88"/>
                    <a:gd name="T13" fmla="*/ 132 h 132"/>
                    <a:gd name="T14" fmla="*/ 42 w 88"/>
                    <a:gd name="T15" fmla="*/ 132 h 132"/>
                    <a:gd name="T16" fmla="*/ 11 w 88"/>
                    <a:gd name="T17" fmla="*/ 116 h 132"/>
                    <a:gd name="T18" fmla="*/ 0 w 88"/>
                    <a:gd name="T19" fmla="*/ 68 h 132"/>
                    <a:gd name="T20" fmla="*/ 11 w 88"/>
                    <a:gd name="T21" fmla="*/ 17 h 132"/>
                    <a:gd name="T22" fmla="*/ 45 w 88"/>
                    <a:gd name="T23" fmla="*/ 0 h 132"/>
                    <a:gd name="T24" fmla="*/ 88 w 88"/>
                    <a:gd name="T25" fmla="*/ 65 h 132"/>
                    <a:gd name="T26" fmla="*/ 76 w 88"/>
                    <a:gd name="T27" fmla="*/ 115 h 132"/>
                    <a:gd name="T28" fmla="*/ 42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4" y="16"/>
                      </a:moveTo>
                      <a:cubicBezTo>
                        <a:pt x="44" y="16"/>
                        <a:pt x="44" y="16"/>
                        <a:pt x="44" y="16"/>
                      </a:cubicBezTo>
                      <a:cubicBezTo>
                        <a:pt x="29" y="16"/>
                        <a:pt x="21" y="33"/>
                        <a:pt x="21" y="67"/>
                      </a:cubicBezTo>
                      <a:cubicBezTo>
                        <a:pt x="21" y="100"/>
                        <a:pt x="29"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4" y="29"/>
                        <a:pt x="11" y="17"/>
                      </a:cubicBezTo>
                      <a:cubicBezTo>
                        <a:pt x="19" y="5"/>
                        <a:pt x="31" y="0"/>
                        <a:pt x="45" y="0"/>
                      </a:cubicBezTo>
                      <a:cubicBezTo>
                        <a:pt x="73" y="0"/>
                        <a:pt x="88" y="21"/>
                        <a:pt x="88" y="65"/>
                      </a:cubicBezTo>
                      <a:cubicBezTo>
                        <a:pt x="88" y="87"/>
                        <a:pt x="84" y="104"/>
                        <a:pt x="76" y="115"/>
                      </a:cubicBezTo>
                      <a:cubicBezTo>
                        <a:pt x="68" y="126"/>
                        <a:pt x="57" y="132"/>
                        <a:pt x="42"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7" name="Freeform 12"/>
                <p:cNvSpPr>
                  <a:spLocks/>
                </p:cNvSpPr>
                <p:nvPr/>
              </p:nvSpPr>
              <p:spPr bwMode="auto">
                <a:xfrm>
                  <a:off x="10701837" y="5223902"/>
                  <a:ext cx="76173" cy="209771"/>
                </a:xfrm>
                <a:custGeom>
                  <a:avLst/>
                  <a:gdLst>
                    <a:gd name="T0" fmla="*/ 46 w 46"/>
                    <a:gd name="T1" fmla="*/ 0 h 128"/>
                    <a:gd name="T2" fmla="*/ 46 w 46"/>
                    <a:gd name="T3" fmla="*/ 0 h 128"/>
                    <a:gd name="T4" fmla="*/ 46 w 46"/>
                    <a:gd name="T5" fmla="*/ 128 h 128"/>
                    <a:gd name="T6" fmla="*/ 26 w 46"/>
                    <a:gd name="T7" fmla="*/ 128 h 128"/>
                    <a:gd name="T8" fmla="*/ 26 w 46"/>
                    <a:gd name="T9" fmla="*/ 25 h 128"/>
                    <a:gd name="T10" fmla="*/ 14 w 46"/>
                    <a:gd name="T11" fmla="*/ 32 h 128"/>
                    <a:gd name="T12" fmla="*/ 0 w 46"/>
                    <a:gd name="T13" fmla="*/ 36 h 128"/>
                    <a:gd name="T14" fmla="*/ 0 w 46"/>
                    <a:gd name="T15" fmla="*/ 19 h 128"/>
                    <a:gd name="T16" fmla="*/ 9 w 46"/>
                    <a:gd name="T17" fmla="*/ 16 h 128"/>
                    <a:gd name="T18" fmla="*/ 19 w 46"/>
                    <a:gd name="T19" fmla="*/ 11 h 128"/>
                    <a:gd name="T20" fmla="*/ 28 w 46"/>
                    <a:gd name="T21" fmla="*/ 6 h 128"/>
                    <a:gd name="T22" fmla="*/ 38 w 46"/>
                    <a:gd name="T23" fmla="*/ 0 h 128"/>
                    <a:gd name="T24" fmla="*/ 46 w 46"/>
                    <a:gd name="T25" fmla="*/ 0 h 128"/>
                    <a:gd name="T26" fmla="*/ 46 w 46"/>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128">
                      <a:moveTo>
                        <a:pt x="46" y="0"/>
                      </a:moveTo>
                      <a:cubicBezTo>
                        <a:pt x="46" y="0"/>
                        <a:pt x="46" y="0"/>
                        <a:pt x="46" y="0"/>
                      </a:cubicBezTo>
                      <a:cubicBezTo>
                        <a:pt x="46" y="128"/>
                        <a:pt x="46" y="128"/>
                        <a:pt x="46" y="128"/>
                      </a:cubicBezTo>
                      <a:cubicBezTo>
                        <a:pt x="26" y="128"/>
                        <a:pt x="26" y="128"/>
                        <a:pt x="26" y="128"/>
                      </a:cubicBezTo>
                      <a:cubicBezTo>
                        <a:pt x="26" y="25"/>
                        <a:pt x="26" y="25"/>
                        <a:pt x="26" y="25"/>
                      </a:cubicBezTo>
                      <a:cubicBezTo>
                        <a:pt x="22" y="28"/>
                        <a:pt x="18" y="30"/>
                        <a:pt x="14" y="32"/>
                      </a:cubicBezTo>
                      <a:cubicBezTo>
                        <a:pt x="10" y="33"/>
                        <a:pt x="5" y="35"/>
                        <a:pt x="0" y="36"/>
                      </a:cubicBezTo>
                      <a:cubicBezTo>
                        <a:pt x="0" y="19"/>
                        <a:pt x="0" y="19"/>
                        <a:pt x="0" y="19"/>
                      </a:cubicBezTo>
                      <a:cubicBezTo>
                        <a:pt x="3" y="18"/>
                        <a:pt x="6" y="17"/>
                        <a:pt x="9" y="16"/>
                      </a:cubicBezTo>
                      <a:cubicBezTo>
                        <a:pt x="12" y="14"/>
                        <a:pt x="16" y="13"/>
                        <a:pt x="19" y="11"/>
                      </a:cubicBezTo>
                      <a:cubicBezTo>
                        <a:pt x="22" y="10"/>
                        <a:pt x="25" y="8"/>
                        <a:pt x="28" y="6"/>
                      </a:cubicBezTo>
                      <a:cubicBezTo>
                        <a:pt x="31" y="5"/>
                        <a:pt x="34" y="2"/>
                        <a:pt x="38" y="0"/>
                      </a:cubicBezTo>
                      <a:cubicBezTo>
                        <a:pt x="46" y="0"/>
                        <a:pt x="46" y="0"/>
                        <a:pt x="46" y="0"/>
                      </a:cubicBezTo>
                      <a:cubicBezTo>
                        <a:pt x="46" y="0"/>
                        <a:pt x="46" y="0"/>
                        <a:pt x="46" y="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8" name="Freeform 13"/>
                <p:cNvSpPr>
                  <a:spLocks noEditPoints="1"/>
                </p:cNvSpPr>
                <p:nvPr/>
              </p:nvSpPr>
              <p:spPr bwMode="auto">
                <a:xfrm>
                  <a:off x="10811997" y="5222732"/>
                  <a:ext cx="142973" cy="215633"/>
                </a:xfrm>
                <a:custGeom>
                  <a:avLst/>
                  <a:gdLst>
                    <a:gd name="T0" fmla="*/ 44 w 87"/>
                    <a:gd name="T1" fmla="*/ 16 h 132"/>
                    <a:gd name="T2" fmla="*/ 44 w 87"/>
                    <a:gd name="T3" fmla="*/ 16 h 132"/>
                    <a:gd name="T4" fmla="*/ 21 w 87"/>
                    <a:gd name="T5" fmla="*/ 67 h 132"/>
                    <a:gd name="T6" fmla="*/ 44 w 87"/>
                    <a:gd name="T7" fmla="*/ 116 h 132"/>
                    <a:gd name="T8" fmla="*/ 66 w 87"/>
                    <a:gd name="T9" fmla="*/ 67 h 132"/>
                    <a:gd name="T10" fmla="*/ 44 w 87"/>
                    <a:gd name="T11" fmla="*/ 16 h 132"/>
                    <a:gd name="T12" fmla="*/ 42 w 87"/>
                    <a:gd name="T13" fmla="*/ 132 h 132"/>
                    <a:gd name="T14" fmla="*/ 42 w 87"/>
                    <a:gd name="T15" fmla="*/ 132 h 132"/>
                    <a:gd name="T16" fmla="*/ 11 w 87"/>
                    <a:gd name="T17" fmla="*/ 116 h 132"/>
                    <a:gd name="T18" fmla="*/ 0 w 87"/>
                    <a:gd name="T19" fmla="*/ 68 h 132"/>
                    <a:gd name="T20" fmla="*/ 11 w 87"/>
                    <a:gd name="T21" fmla="*/ 17 h 132"/>
                    <a:gd name="T22" fmla="*/ 45 w 87"/>
                    <a:gd name="T23" fmla="*/ 0 h 132"/>
                    <a:gd name="T24" fmla="*/ 87 w 87"/>
                    <a:gd name="T25" fmla="*/ 65 h 132"/>
                    <a:gd name="T26" fmla="*/ 75 w 87"/>
                    <a:gd name="T27" fmla="*/ 115 h 132"/>
                    <a:gd name="T28" fmla="*/ 42 w 87"/>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32">
                      <a:moveTo>
                        <a:pt x="44" y="16"/>
                      </a:moveTo>
                      <a:cubicBezTo>
                        <a:pt x="44" y="16"/>
                        <a:pt x="44" y="16"/>
                        <a:pt x="44" y="16"/>
                      </a:cubicBezTo>
                      <a:cubicBezTo>
                        <a:pt x="29" y="16"/>
                        <a:pt x="21" y="33"/>
                        <a:pt x="21" y="67"/>
                      </a:cubicBezTo>
                      <a:cubicBezTo>
                        <a:pt x="21" y="100"/>
                        <a:pt x="28"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3" y="29"/>
                        <a:pt x="11" y="17"/>
                      </a:cubicBezTo>
                      <a:cubicBezTo>
                        <a:pt x="19" y="5"/>
                        <a:pt x="30" y="0"/>
                        <a:pt x="45" y="0"/>
                      </a:cubicBezTo>
                      <a:cubicBezTo>
                        <a:pt x="73" y="0"/>
                        <a:pt x="87" y="21"/>
                        <a:pt x="87" y="65"/>
                      </a:cubicBezTo>
                      <a:cubicBezTo>
                        <a:pt x="87" y="87"/>
                        <a:pt x="83" y="104"/>
                        <a:pt x="75" y="115"/>
                      </a:cubicBezTo>
                      <a:cubicBezTo>
                        <a:pt x="67" y="126"/>
                        <a:pt x="56" y="132"/>
                        <a:pt x="42"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9" name="Freeform 14"/>
                <p:cNvSpPr>
                  <a:spLocks noEditPoints="1"/>
                </p:cNvSpPr>
                <p:nvPr/>
              </p:nvSpPr>
              <p:spPr bwMode="auto">
                <a:xfrm>
                  <a:off x="10977235" y="5222732"/>
                  <a:ext cx="144145" cy="215633"/>
                </a:xfrm>
                <a:custGeom>
                  <a:avLst/>
                  <a:gdLst>
                    <a:gd name="T0" fmla="*/ 45 w 88"/>
                    <a:gd name="T1" fmla="*/ 16 h 132"/>
                    <a:gd name="T2" fmla="*/ 45 w 88"/>
                    <a:gd name="T3" fmla="*/ 16 h 132"/>
                    <a:gd name="T4" fmla="*/ 22 w 88"/>
                    <a:gd name="T5" fmla="*/ 67 h 132"/>
                    <a:gd name="T6" fmla="*/ 45 w 88"/>
                    <a:gd name="T7" fmla="*/ 116 h 132"/>
                    <a:gd name="T8" fmla="*/ 67 w 88"/>
                    <a:gd name="T9" fmla="*/ 67 h 132"/>
                    <a:gd name="T10" fmla="*/ 45 w 88"/>
                    <a:gd name="T11" fmla="*/ 16 h 132"/>
                    <a:gd name="T12" fmla="*/ 43 w 88"/>
                    <a:gd name="T13" fmla="*/ 132 h 132"/>
                    <a:gd name="T14" fmla="*/ 43 w 88"/>
                    <a:gd name="T15" fmla="*/ 132 h 132"/>
                    <a:gd name="T16" fmla="*/ 12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2" y="33"/>
                        <a:pt x="22" y="67"/>
                      </a:cubicBezTo>
                      <a:cubicBezTo>
                        <a:pt x="22" y="100"/>
                        <a:pt x="29" y="116"/>
                        <a:pt x="45" y="116"/>
                      </a:cubicBezTo>
                      <a:cubicBezTo>
                        <a:pt x="60" y="116"/>
                        <a:pt x="67" y="99"/>
                        <a:pt x="67" y="67"/>
                      </a:cubicBezTo>
                      <a:cubicBezTo>
                        <a:pt x="67" y="33"/>
                        <a:pt x="60" y="16"/>
                        <a:pt x="45" y="16"/>
                      </a:cubicBezTo>
                      <a:close/>
                      <a:moveTo>
                        <a:pt x="43" y="132"/>
                      </a:moveTo>
                      <a:cubicBezTo>
                        <a:pt x="43" y="132"/>
                        <a:pt x="43" y="132"/>
                        <a:pt x="43" y="132"/>
                      </a:cubicBezTo>
                      <a:cubicBezTo>
                        <a:pt x="29" y="132"/>
                        <a:pt x="19" y="127"/>
                        <a:pt x="12"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0" name="Freeform 15"/>
                <p:cNvSpPr>
                  <a:spLocks noEditPoints="1"/>
                </p:cNvSpPr>
                <p:nvPr/>
              </p:nvSpPr>
              <p:spPr bwMode="auto">
                <a:xfrm>
                  <a:off x="11154193" y="5222732"/>
                  <a:ext cx="144145" cy="215633"/>
                </a:xfrm>
                <a:custGeom>
                  <a:avLst/>
                  <a:gdLst>
                    <a:gd name="T0" fmla="*/ 45 w 88"/>
                    <a:gd name="T1" fmla="*/ 16 h 132"/>
                    <a:gd name="T2" fmla="*/ 45 w 88"/>
                    <a:gd name="T3" fmla="*/ 16 h 132"/>
                    <a:gd name="T4" fmla="*/ 21 w 88"/>
                    <a:gd name="T5" fmla="*/ 67 h 132"/>
                    <a:gd name="T6" fmla="*/ 44 w 88"/>
                    <a:gd name="T7" fmla="*/ 116 h 132"/>
                    <a:gd name="T8" fmla="*/ 67 w 88"/>
                    <a:gd name="T9" fmla="*/ 67 h 132"/>
                    <a:gd name="T10" fmla="*/ 45 w 88"/>
                    <a:gd name="T11" fmla="*/ 16 h 132"/>
                    <a:gd name="T12" fmla="*/ 43 w 88"/>
                    <a:gd name="T13" fmla="*/ 132 h 132"/>
                    <a:gd name="T14" fmla="*/ 43 w 88"/>
                    <a:gd name="T15" fmla="*/ 132 h 132"/>
                    <a:gd name="T16" fmla="*/ 11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1" y="33"/>
                        <a:pt x="21" y="67"/>
                      </a:cubicBezTo>
                      <a:cubicBezTo>
                        <a:pt x="21" y="100"/>
                        <a:pt x="29" y="116"/>
                        <a:pt x="44" y="116"/>
                      </a:cubicBezTo>
                      <a:cubicBezTo>
                        <a:pt x="59" y="116"/>
                        <a:pt x="67" y="99"/>
                        <a:pt x="67" y="67"/>
                      </a:cubicBezTo>
                      <a:cubicBezTo>
                        <a:pt x="67" y="33"/>
                        <a:pt x="59" y="16"/>
                        <a:pt x="45" y="16"/>
                      </a:cubicBezTo>
                      <a:close/>
                      <a:moveTo>
                        <a:pt x="43" y="132"/>
                      </a:moveTo>
                      <a:cubicBezTo>
                        <a:pt x="43" y="132"/>
                        <a:pt x="43" y="132"/>
                        <a:pt x="43" y="132"/>
                      </a:cubicBezTo>
                      <a:cubicBezTo>
                        <a:pt x="29" y="132"/>
                        <a:pt x="19" y="127"/>
                        <a:pt x="11"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1" name="Freeform 16"/>
                <p:cNvSpPr>
                  <a:spLocks/>
                </p:cNvSpPr>
                <p:nvPr/>
              </p:nvSpPr>
              <p:spPr bwMode="auto">
                <a:xfrm>
                  <a:off x="11465921" y="5312968"/>
                  <a:ext cx="724239" cy="292978"/>
                </a:xfrm>
                <a:custGeom>
                  <a:avLst/>
                  <a:gdLst>
                    <a:gd name="T0" fmla="*/ 0 w 442"/>
                    <a:gd name="T1" fmla="*/ 179 h 179"/>
                    <a:gd name="T2" fmla="*/ 0 w 442"/>
                    <a:gd name="T3" fmla="*/ 179 h 179"/>
                    <a:gd name="T4" fmla="*/ 290 w 442"/>
                    <a:gd name="T5" fmla="*/ 179 h 179"/>
                    <a:gd name="T6" fmla="*/ 442 w 442"/>
                    <a:gd name="T7" fmla="*/ 179 h 179"/>
                    <a:gd name="T8" fmla="*/ 442 w 442"/>
                    <a:gd name="T9" fmla="*/ 9 h 179"/>
                    <a:gd name="T10" fmla="*/ 0 w 442"/>
                    <a:gd name="T11" fmla="*/ 179 h 179"/>
                  </a:gdLst>
                  <a:ahLst/>
                  <a:cxnLst>
                    <a:cxn ang="0">
                      <a:pos x="T0" y="T1"/>
                    </a:cxn>
                    <a:cxn ang="0">
                      <a:pos x="T2" y="T3"/>
                    </a:cxn>
                    <a:cxn ang="0">
                      <a:pos x="T4" y="T5"/>
                    </a:cxn>
                    <a:cxn ang="0">
                      <a:pos x="T6" y="T7"/>
                    </a:cxn>
                    <a:cxn ang="0">
                      <a:pos x="T8" y="T9"/>
                    </a:cxn>
                    <a:cxn ang="0">
                      <a:pos x="T10" y="T11"/>
                    </a:cxn>
                  </a:cxnLst>
                  <a:rect l="0" t="0" r="r" b="b"/>
                  <a:pathLst>
                    <a:path w="442" h="179">
                      <a:moveTo>
                        <a:pt x="0" y="179"/>
                      </a:moveTo>
                      <a:cubicBezTo>
                        <a:pt x="0" y="179"/>
                        <a:pt x="0" y="179"/>
                        <a:pt x="0" y="179"/>
                      </a:cubicBezTo>
                      <a:cubicBezTo>
                        <a:pt x="290" y="179"/>
                        <a:pt x="290" y="179"/>
                        <a:pt x="290" y="179"/>
                      </a:cubicBezTo>
                      <a:cubicBezTo>
                        <a:pt x="442" y="179"/>
                        <a:pt x="442" y="179"/>
                        <a:pt x="442" y="179"/>
                      </a:cubicBezTo>
                      <a:cubicBezTo>
                        <a:pt x="442" y="9"/>
                        <a:pt x="442" y="9"/>
                        <a:pt x="442" y="9"/>
                      </a:cubicBezTo>
                      <a:cubicBezTo>
                        <a:pt x="283" y="0"/>
                        <a:pt x="122" y="57"/>
                        <a:pt x="0" y="17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2" name="Freeform 17"/>
                <p:cNvSpPr>
                  <a:spLocks/>
                </p:cNvSpPr>
                <p:nvPr/>
              </p:nvSpPr>
              <p:spPr bwMode="auto">
                <a:xfrm>
                  <a:off x="11297167" y="4746935"/>
                  <a:ext cx="229694" cy="631661"/>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3" name="Freeform 18"/>
                <p:cNvSpPr>
                  <a:spLocks noEditPoints="1"/>
                </p:cNvSpPr>
                <p:nvPr/>
              </p:nvSpPr>
              <p:spPr bwMode="auto">
                <a:xfrm>
                  <a:off x="11587798" y="4738729"/>
                  <a:ext cx="448840" cy="678537"/>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4" name="Freeform 19"/>
                <p:cNvSpPr>
                  <a:spLocks/>
                </p:cNvSpPr>
                <p:nvPr/>
              </p:nvSpPr>
              <p:spPr bwMode="auto">
                <a:xfrm>
                  <a:off x="10529564" y="5119601"/>
                  <a:ext cx="1660593" cy="486343"/>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5" name="Freeform 20"/>
                <p:cNvSpPr>
                  <a:spLocks/>
                </p:cNvSpPr>
                <p:nvPr/>
              </p:nvSpPr>
              <p:spPr bwMode="auto">
                <a:xfrm>
                  <a:off x="11013563" y="5252027"/>
                  <a:ext cx="213287" cy="260164"/>
                </a:xfrm>
                <a:custGeom>
                  <a:avLst/>
                  <a:gdLst>
                    <a:gd name="T0" fmla="*/ 43 w 130"/>
                    <a:gd name="T1" fmla="*/ 159 h 159"/>
                    <a:gd name="T2" fmla="*/ 43 w 130"/>
                    <a:gd name="T3" fmla="*/ 159 h 159"/>
                    <a:gd name="T4" fmla="*/ 130 w 130"/>
                    <a:gd name="T5" fmla="*/ 0 h 159"/>
                    <a:gd name="T6" fmla="*/ 77 w 130"/>
                    <a:gd name="T7" fmla="*/ 10 h 159"/>
                    <a:gd name="T8" fmla="*/ 0 w 130"/>
                    <a:gd name="T9" fmla="*/ 159 h 159"/>
                    <a:gd name="T10" fmla="*/ 43 w 130"/>
                    <a:gd name="T11" fmla="*/ 159 h 159"/>
                    <a:gd name="T12" fmla="*/ 43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3" y="159"/>
                      </a:moveTo>
                      <a:cubicBezTo>
                        <a:pt x="43" y="159"/>
                        <a:pt x="43" y="159"/>
                        <a:pt x="43" y="159"/>
                      </a:cubicBezTo>
                      <a:cubicBezTo>
                        <a:pt x="48" y="109"/>
                        <a:pt x="77" y="51"/>
                        <a:pt x="130" y="0"/>
                      </a:cubicBezTo>
                      <a:cubicBezTo>
                        <a:pt x="112" y="3"/>
                        <a:pt x="95" y="6"/>
                        <a:pt x="77" y="10"/>
                      </a:cubicBezTo>
                      <a:cubicBezTo>
                        <a:pt x="31" y="59"/>
                        <a:pt x="5" y="113"/>
                        <a:pt x="0" y="159"/>
                      </a:cubicBezTo>
                      <a:cubicBezTo>
                        <a:pt x="43" y="159"/>
                        <a:pt x="43" y="159"/>
                        <a:pt x="43" y="159"/>
                      </a:cubicBezTo>
                      <a:cubicBezTo>
                        <a:pt x="43" y="159"/>
                        <a:pt x="43" y="159"/>
                        <a:pt x="43"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6" name="Freeform 21"/>
                <p:cNvSpPr>
                  <a:spLocks/>
                </p:cNvSpPr>
                <p:nvPr/>
              </p:nvSpPr>
              <p:spPr bwMode="auto">
                <a:xfrm>
                  <a:off x="11700301" y="5261403"/>
                  <a:ext cx="64456" cy="24610"/>
                </a:xfrm>
                <a:custGeom>
                  <a:avLst/>
                  <a:gdLst>
                    <a:gd name="T0" fmla="*/ 39 w 39"/>
                    <a:gd name="T1" fmla="*/ 10 h 15"/>
                    <a:gd name="T2" fmla="*/ 39 w 39"/>
                    <a:gd name="T3" fmla="*/ 10 h 15"/>
                    <a:gd name="T4" fmla="*/ 6 w 39"/>
                    <a:gd name="T5" fmla="*/ 0 h 15"/>
                    <a:gd name="T6" fmla="*/ 0 w 39"/>
                    <a:gd name="T7" fmla="*/ 6 h 15"/>
                    <a:gd name="T8" fmla="*/ 35 w 39"/>
                    <a:gd name="T9" fmla="*/ 15 h 15"/>
                    <a:gd name="T10" fmla="*/ 39 w 39"/>
                    <a:gd name="T11" fmla="*/ 10 h 15"/>
                  </a:gdLst>
                  <a:ahLst/>
                  <a:cxnLst>
                    <a:cxn ang="0">
                      <a:pos x="T0" y="T1"/>
                    </a:cxn>
                    <a:cxn ang="0">
                      <a:pos x="T2" y="T3"/>
                    </a:cxn>
                    <a:cxn ang="0">
                      <a:pos x="T4" y="T5"/>
                    </a:cxn>
                    <a:cxn ang="0">
                      <a:pos x="T6" y="T7"/>
                    </a:cxn>
                    <a:cxn ang="0">
                      <a:pos x="T8" y="T9"/>
                    </a:cxn>
                    <a:cxn ang="0">
                      <a:pos x="T10" y="T11"/>
                    </a:cxn>
                  </a:cxnLst>
                  <a:rect l="0" t="0" r="r" b="b"/>
                  <a:pathLst>
                    <a:path w="39" h="15">
                      <a:moveTo>
                        <a:pt x="39" y="10"/>
                      </a:moveTo>
                      <a:cubicBezTo>
                        <a:pt x="39" y="10"/>
                        <a:pt x="39" y="10"/>
                        <a:pt x="39" y="10"/>
                      </a:cubicBezTo>
                      <a:cubicBezTo>
                        <a:pt x="28" y="6"/>
                        <a:pt x="17" y="3"/>
                        <a:pt x="6" y="0"/>
                      </a:cubicBezTo>
                      <a:cubicBezTo>
                        <a:pt x="4" y="2"/>
                        <a:pt x="2" y="4"/>
                        <a:pt x="0" y="6"/>
                      </a:cubicBezTo>
                      <a:cubicBezTo>
                        <a:pt x="11" y="9"/>
                        <a:pt x="23" y="12"/>
                        <a:pt x="35" y="15"/>
                      </a:cubicBezTo>
                      <a:cubicBezTo>
                        <a:pt x="36" y="13"/>
                        <a:pt x="38" y="12"/>
                        <a:pt x="39" y="1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7" name="Freeform 22"/>
                <p:cNvSpPr>
                  <a:spLocks/>
                </p:cNvSpPr>
                <p:nvPr/>
              </p:nvSpPr>
              <p:spPr bwMode="auto">
                <a:xfrm>
                  <a:off x="11576079" y="5271948"/>
                  <a:ext cx="181645" cy="240243"/>
                </a:xfrm>
                <a:custGeom>
                  <a:avLst/>
                  <a:gdLst>
                    <a:gd name="T0" fmla="*/ 43 w 111"/>
                    <a:gd name="T1" fmla="*/ 147 h 147"/>
                    <a:gd name="T2" fmla="*/ 43 w 111"/>
                    <a:gd name="T3" fmla="*/ 147 h 147"/>
                    <a:gd name="T4" fmla="*/ 111 w 111"/>
                    <a:gd name="T5" fmla="*/ 9 h 147"/>
                    <a:gd name="T6" fmla="*/ 76 w 111"/>
                    <a:gd name="T7" fmla="*/ 0 h 147"/>
                    <a:gd name="T8" fmla="*/ 0 w 111"/>
                    <a:gd name="T9" fmla="*/ 147 h 147"/>
                    <a:gd name="T10" fmla="*/ 43 w 111"/>
                    <a:gd name="T11" fmla="*/ 147 h 147"/>
                    <a:gd name="T12" fmla="*/ 43 w 111"/>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1" h="147">
                      <a:moveTo>
                        <a:pt x="43" y="147"/>
                      </a:moveTo>
                      <a:cubicBezTo>
                        <a:pt x="43" y="147"/>
                        <a:pt x="43" y="147"/>
                        <a:pt x="43" y="147"/>
                      </a:cubicBezTo>
                      <a:cubicBezTo>
                        <a:pt x="48" y="104"/>
                        <a:pt x="70" y="55"/>
                        <a:pt x="111" y="9"/>
                      </a:cubicBezTo>
                      <a:cubicBezTo>
                        <a:pt x="99" y="6"/>
                        <a:pt x="87" y="3"/>
                        <a:pt x="76" y="0"/>
                      </a:cubicBezTo>
                      <a:cubicBezTo>
                        <a:pt x="31"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8" name="Freeform 23"/>
                <p:cNvSpPr>
                  <a:spLocks/>
                </p:cNvSpPr>
                <p:nvPr/>
              </p:nvSpPr>
              <p:spPr bwMode="auto">
                <a:xfrm>
                  <a:off x="11182317" y="5239137"/>
                  <a:ext cx="414856" cy="283603"/>
                </a:xfrm>
                <a:custGeom>
                  <a:avLst/>
                  <a:gdLst>
                    <a:gd name="T0" fmla="*/ 40 w 253"/>
                    <a:gd name="T1" fmla="*/ 38 h 173"/>
                    <a:gd name="T2" fmla="*/ 40 w 253"/>
                    <a:gd name="T3" fmla="*/ 38 h 173"/>
                    <a:gd name="T4" fmla="*/ 9 w 253"/>
                    <a:gd name="T5" fmla="*/ 140 h 173"/>
                    <a:gd name="T6" fmla="*/ 70 w 253"/>
                    <a:gd name="T7" fmla="*/ 173 h 173"/>
                    <a:gd name="T8" fmla="*/ 146 w 253"/>
                    <a:gd name="T9" fmla="*/ 138 h 173"/>
                    <a:gd name="T10" fmla="*/ 232 w 253"/>
                    <a:gd name="T11" fmla="*/ 31 h 173"/>
                    <a:gd name="T12" fmla="*/ 253 w 253"/>
                    <a:gd name="T13" fmla="*/ 8 h 173"/>
                    <a:gd name="T14" fmla="*/ 213 w 253"/>
                    <a:gd name="T15" fmla="*/ 3 h 173"/>
                    <a:gd name="T16" fmla="*/ 184 w 253"/>
                    <a:gd name="T17" fmla="*/ 34 h 173"/>
                    <a:gd name="T18" fmla="*/ 79 w 253"/>
                    <a:gd name="T19" fmla="*/ 140 h 173"/>
                    <a:gd name="T20" fmla="*/ 87 w 253"/>
                    <a:gd name="T21" fmla="*/ 36 h 173"/>
                    <a:gd name="T22" fmla="*/ 123 w 253"/>
                    <a:gd name="T23" fmla="*/ 0 h 173"/>
                    <a:gd name="T24" fmla="*/ 76 w 253"/>
                    <a:gd name="T25" fmla="*/ 3 h 173"/>
                    <a:gd name="T26" fmla="*/ 40 w 253"/>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3">
                      <a:moveTo>
                        <a:pt x="40" y="38"/>
                      </a:moveTo>
                      <a:cubicBezTo>
                        <a:pt x="40" y="38"/>
                        <a:pt x="40" y="38"/>
                        <a:pt x="40" y="38"/>
                      </a:cubicBezTo>
                      <a:cubicBezTo>
                        <a:pt x="4" y="82"/>
                        <a:pt x="0" y="117"/>
                        <a:pt x="9" y="140"/>
                      </a:cubicBezTo>
                      <a:cubicBezTo>
                        <a:pt x="19" y="163"/>
                        <a:pt x="42" y="173"/>
                        <a:pt x="70" y="173"/>
                      </a:cubicBezTo>
                      <a:cubicBezTo>
                        <a:pt x="100" y="173"/>
                        <a:pt x="123" y="162"/>
                        <a:pt x="146" y="138"/>
                      </a:cubicBezTo>
                      <a:cubicBezTo>
                        <a:pt x="170" y="115"/>
                        <a:pt x="192" y="77"/>
                        <a:pt x="232" y="31"/>
                      </a:cubicBezTo>
                      <a:cubicBezTo>
                        <a:pt x="239" y="23"/>
                        <a:pt x="246" y="15"/>
                        <a:pt x="253" y="8"/>
                      </a:cubicBezTo>
                      <a:cubicBezTo>
                        <a:pt x="240" y="6"/>
                        <a:pt x="226" y="5"/>
                        <a:pt x="213" y="3"/>
                      </a:cubicBezTo>
                      <a:cubicBezTo>
                        <a:pt x="204" y="12"/>
                        <a:pt x="194" y="23"/>
                        <a:pt x="184" y="34"/>
                      </a:cubicBezTo>
                      <a:cubicBezTo>
                        <a:pt x="127" y="105"/>
                        <a:pt x="113" y="140"/>
                        <a:pt x="79" y="140"/>
                      </a:cubicBezTo>
                      <a:cubicBezTo>
                        <a:pt x="49" y="140"/>
                        <a:pt x="32" y="105"/>
                        <a:pt x="87" y="36"/>
                      </a:cubicBezTo>
                      <a:cubicBezTo>
                        <a:pt x="98" y="22"/>
                        <a:pt x="110" y="11"/>
                        <a:pt x="123" y="0"/>
                      </a:cubicBezTo>
                      <a:cubicBezTo>
                        <a:pt x="107" y="1"/>
                        <a:pt x="91" y="1"/>
                        <a:pt x="76" y="3"/>
                      </a:cubicBezTo>
                      <a:cubicBezTo>
                        <a:pt x="63" y="13"/>
                        <a:pt x="51" y="25"/>
                        <a:pt x="40"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9" name="Freeform 24"/>
                <p:cNvSpPr>
                  <a:spLocks/>
                </p:cNvSpPr>
                <p:nvPr/>
              </p:nvSpPr>
              <p:spPr bwMode="auto">
                <a:xfrm>
                  <a:off x="11749521" y="5304762"/>
                  <a:ext cx="288289" cy="217975"/>
                </a:xfrm>
                <a:custGeom>
                  <a:avLst/>
                  <a:gdLst>
                    <a:gd name="T0" fmla="*/ 9 w 176"/>
                    <a:gd name="T1" fmla="*/ 100 h 133"/>
                    <a:gd name="T2" fmla="*/ 9 w 176"/>
                    <a:gd name="T3" fmla="*/ 100 h 133"/>
                    <a:gd name="T4" fmla="*/ 70 w 176"/>
                    <a:gd name="T5" fmla="*/ 133 h 133"/>
                    <a:gd name="T6" fmla="*/ 146 w 176"/>
                    <a:gd name="T7" fmla="*/ 98 h 133"/>
                    <a:gd name="T8" fmla="*/ 176 w 176"/>
                    <a:gd name="T9" fmla="*/ 62 h 133"/>
                    <a:gd name="T10" fmla="*/ 145 w 176"/>
                    <a:gd name="T11" fmla="*/ 45 h 133"/>
                    <a:gd name="T12" fmla="*/ 79 w 176"/>
                    <a:gd name="T13" fmla="*/ 100 h 133"/>
                    <a:gd name="T14" fmla="*/ 74 w 176"/>
                    <a:gd name="T15" fmla="*/ 13 h 133"/>
                    <a:gd name="T16" fmla="*/ 39 w 176"/>
                    <a:gd name="T17" fmla="*/ 0 h 133"/>
                    <a:gd name="T18" fmla="*/ 9 w 176"/>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33">
                      <a:moveTo>
                        <a:pt x="9" y="100"/>
                      </a:moveTo>
                      <a:cubicBezTo>
                        <a:pt x="9" y="100"/>
                        <a:pt x="9" y="100"/>
                        <a:pt x="9" y="100"/>
                      </a:cubicBezTo>
                      <a:cubicBezTo>
                        <a:pt x="19" y="123"/>
                        <a:pt x="42" y="133"/>
                        <a:pt x="70" y="133"/>
                      </a:cubicBezTo>
                      <a:cubicBezTo>
                        <a:pt x="100" y="133"/>
                        <a:pt x="123" y="122"/>
                        <a:pt x="146" y="98"/>
                      </a:cubicBezTo>
                      <a:cubicBezTo>
                        <a:pt x="156" y="88"/>
                        <a:pt x="166" y="76"/>
                        <a:pt x="176" y="62"/>
                      </a:cubicBezTo>
                      <a:cubicBezTo>
                        <a:pt x="166" y="56"/>
                        <a:pt x="156" y="50"/>
                        <a:pt x="145" y="45"/>
                      </a:cubicBezTo>
                      <a:cubicBezTo>
                        <a:pt x="119" y="82"/>
                        <a:pt x="102" y="100"/>
                        <a:pt x="79" y="100"/>
                      </a:cubicBezTo>
                      <a:cubicBezTo>
                        <a:pt x="51" y="100"/>
                        <a:pt x="35" y="71"/>
                        <a:pt x="74" y="13"/>
                      </a:cubicBezTo>
                      <a:cubicBezTo>
                        <a:pt x="62" y="8"/>
                        <a:pt x="51" y="4"/>
                        <a:pt x="39" y="0"/>
                      </a:cubicBezTo>
                      <a:cubicBezTo>
                        <a:pt x="4" y="43"/>
                        <a:pt x="0" y="78"/>
                        <a:pt x="9"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0" name="Freeform 25"/>
                <p:cNvSpPr>
                  <a:spLocks/>
                </p:cNvSpPr>
                <p:nvPr/>
              </p:nvSpPr>
              <p:spPr bwMode="auto">
                <a:xfrm>
                  <a:off x="12123359" y="5460626"/>
                  <a:ext cx="66798" cy="62111"/>
                </a:xfrm>
                <a:custGeom>
                  <a:avLst/>
                  <a:gdLst>
                    <a:gd name="T0" fmla="*/ 0 w 41"/>
                    <a:gd name="T1" fmla="*/ 0 h 38"/>
                    <a:gd name="T2" fmla="*/ 0 w 41"/>
                    <a:gd name="T3" fmla="*/ 0 h 38"/>
                    <a:gd name="T4" fmla="*/ 0 w 41"/>
                    <a:gd name="T5" fmla="*/ 5 h 38"/>
                    <a:gd name="T6" fmla="*/ 38 w 41"/>
                    <a:gd name="T7" fmla="*/ 38 h 38"/>
                    <a:gd name="T8" fmla="*/ 41 w 41"/>
                    <a:gd name="T9" fmla="*/ 32 h 38"/>
                    <a:gd name="T10" fmla="*/ 41 w 41"/>
                    <a:gd name="T11" fmla="*/ 31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3" y="25"/>
                        <a:pt x="15" y="36"/>
                        <a:pt x="38" y="38"/>
                      </a:cubicBezTo>
                      <a:cubicBezTo>
                        <a:pt x="41" y="32"/>
                        <a:pt x="41" y="32"/>
                        <a:pt x="41" y="32"/>
                      </a:cubicBezTo>
                      <a:cubicBezTo>
                        <a:pt x="41" y="31"/>
                        <a:pt x="41" y="31"/>
                        <a:pt x="41" y="31"/>
                      </a:cubicBezTo>
                      <a:cubicBezTo>
                        <a:pt x="28"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1" name="Freeform 26"/>
                <p:cNvSpPr>
                  <a:spLocks/>
                </p:cNvSpPr>
                <p:nvPr/>
              </p:nvSpPr>
              <p:spPr bwMode="auto">
                <a:xfrm>
                  <a:off x="10926835" y="5083271"/>
                  <a:ext cx="155864" cy="428918"/>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30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30" y="65"/>
                      </a:cubicBezTo>
                      <a:cubicBezTo>
                        <a:pt x="21" y="68"/>
                        <a:pt x="11" y="72"/>
                        <a:pt x="0" y="74"/>
                      </a:cubicBezTo>
                      <a:cubicBezTo>
                        <a:pt x="0" y="39"/>
                        <a:pt x="0" y="39"/>
                        <a:pt x="0" y="39"/>
                      </a:cubicBezTo>
                      <a:cubicBezTo>
                        <a:pt x="7" y="37"/>
                        <a:pt x="14" y="34"/>
                        <a:pt x="20" y="32"/>
                      </a:cubicBezTo>
                      <a:cubicBezTo>
                        <a:pt x="26" y="30"/>
                        <a:pt x="33" y="27"/>
                        <a:pt x="39" y="24"/>
                      </a:cubicBezTo>
                      <a:cubicBezTo>
                        <a:pt x="45" y="20"/>
                        <a:pt x="52"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2" name="Freeform 27"/>
                <p:cNvSpPr>
                  <a:spLocks/>
                </p:cNvSpPr>
                <p:nvPr/>
              </p:nvSpPr>
              <p:spPr bwMode="auto">
                <a:xfrm>
                  <a:off x="11472947" y="5083271"/>
                  <a:ext cx="155864" cy="428918"/>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29" y="65"/>
                      </a:cubicBezTo>
                      <a:cubicBezTo>
                        <a:pt x="21" y="68"/>
                        <a:pt x="11" y="72"/>
                        <a:pt x="0" y="74"/>
                      </a:cubicBezTo>
                      <a:cubicBezTo>
                        <a:pt x="0" y="39"/>
                        <a:pt x="0" y="39"/>
                        <a:pt x="0" y="39"/>
                      </a:cubicBezTo>
                      <a:cubicBezTo>
                        <a:pt x="7" y="37"/>
                        <a:pt x="13" y="34"/>
                        <a:pt x="20" y="32"/>
                      </a:cubicBezTo>
                      <a:cubicBezTo>
                        <a:pt x="26" y="30"/>
                        <a:pt x="33" y="27"/>
                        <a:pt x="39" y="24"/>
                      </a:cubicBezTo>
                      <a:cubicBezTo>
                        <a:pt x="45" y="20"/>
                        <a:pt x="51"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3" name="Freeform 28"/>
                <p:cNvSpPr>
                  <a:spLocks noEditPoints="1"/>
                </p:cNvSpPr>
                <p:nvPr/>
              </p:nvSpPr>
              <p:spPr bwMode="auto">
                <a:xfrm>
                  <a:off x="11148333" y="5078584"/>
                  <a:ext cx="294148" cy="444155"/>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59" y="271"/>
                        <a:pt x="38" y="260"/>
                        <a:pt x="23" y="238"/>
                      </a:cubicBezTo>
                      <a:cubicBezTo>
                        <a:pt x="7"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4" name="Freeform 29"/>
                <p:cNvSpPr>
                  <a:spLocks noEditPoints="1"/>
                </p:cNvSpPr>
                <p:nvPr/>
              </p:nvSpPr>
              <p:spPr bwMode="auto">
                <a:xfrm>
                  <a:off x="11696785" y="5078584"/>
                  <a:ext cx="295321" cy="444155"/>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60" y="271"/>
                        <a:pt x="38" y="260"/>
                        <a:pt x="23" y="238"/>
                      </a:cubicBezTo>
                      <a:cubicBezTo>
                        <a:pt x="8"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5" name="Freeform 30"/>
                <p:cNvSpPr>
                  <a:spLocks/>
                </p:cNvSpPr>
                <p:nvPr/>
              </p:nvSpPr>
              <p:spPr bwMode="auto">
                <a:xfrm>
                  <a:off x="11162390" y="5391484"/>
                  <a:ext cx="910571" cy="214460"/>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6" name="Freeform 31"/>
                <p:cNvSpPr>
                  <a:spLocks/>
                </p:cNvSpPr>
                <p:nvPr/>
              </p:nvSpPr>
              <p:spPr bwMode="auto">
                <a:xfrm>
                  <a:off x="12097571" y="4787948"/>
                  <a:ext cx="92582" cy="587127"/>
                </a:xfrm>
                <a:custGeom>
                  <a:avLst/>
                  <a:gdLst>
                    <a:gd name="T0" fmla="*/ 36 w 57"/>
                    <a:gd name="T1" fmla="*/ 25 h 358"/>
                    <a:gd name="T2" fmla="*/ 36 w 57"/>
                    <a:gd name="T3" fmla="*/ 25 h 358"/>
                    <a:gd name="T4" fmla="*/ 0 w 57"/>
                    <a:gd name="T5" fmla="*/ 185 h 358"/>
                    <a:gd name="T6" fmla="*/ 35 w 57"/>
                    <a:gd name="T7" fmla="*/ 333 h 358"/>
                    <a:gd name="T8" fmla="*/ 57 w 57"/>
                    <a:gd name="T9" fmla="*/ 358 h 358"/>
                    <a:gd name="T10" fmla="*/ 57 w 57"/>
                    <a:gd name="T11" fmla="*/ 0 h 358"/>
                    <a:gd name="T12" fmla="*/ 36 w 57"/>
                    <a:gd name="T13" fmla="*/ 25 h 358"/>
                  </a:gdLst>
                  <a:ahLst/>
                  <a:cxnLst>
                    <a:cxn ang="0">
                      <a:pos x="T0" y="T1"/>
                    </a:cxn>
                    <a:cxn ang="0">
                      <a:pos x="T2" y="T3"/>
                    </a:cxn>
                    <a:cxn ang="0">
                      <a:pos x="T4" y="T5"/>
                    </a:cxn>
                    <a:cxn ang="0">
                      <a:pos x="T6" y="T7"/>
                    </a:cxn>
                    <a:cxn ang="0">
                      <a:pos x="T8" y="T9"/>
                    </a:cxn>
                    <a:cxn ang="0">
                      <a:pos x="T10" y="T11"/>
                    </a:cxn>
                    <a:cxn ang="0">
                      <a:pos x="T12" y="T13"/>
                    </a:cxn>
                  </a:cxnLst>
                  <a:rect l="0" t="0" r="r" b="b"/>
                  <a:pathLst>
                    <a:path w="57" h="358">
                      <a:moveTo>
                        <a:pt x="36" y="25"/>
                      </a:moveTo>
                      <a:cubicBezTo>
                        <a:pt x="36" y="25"/>
                        <a:pt x="36" y="25"/>
                        <a:pt x="36" y="25"/>
                      </a:cubicBezTo>
                      <a:cubicBezTo>
                        <a:pt x="12" y="61"/>
                        <a:pt x="0" y="114"/>
                        <a:pt x="0" y="185"/>
                      </a:cubicBezTo>
                      <a:cubicBezTo>
                        <a:pt x="0" y="250"/>
                        <a:pt x="11" y="299"/>
                        <a:pt x="35" y="333"/>
                      </a:cubicBezTo>
                      <a:cubicBezTo>
                        <a:pt x="42" y="343"/>
                        <a:pt x="49" y="351"/>
                        <a:pt x="57" y="358"/>
                      </a:cubicBezTo>
                      <a:cubicBezTo>
                        <a:pt x="57" y="0"/>
                        <a:pt x="57" y="0"/>
                        <a:pt x="57" y="0"/>
                      </a:cubicBezTo>
                      <a:cubicBezTo>
                        <a:pt x="50" y="7"/>
                        <a:pt x="43" y="15"/>
                        <a:pt x="36" y="2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7" name="Freeform 32"/>
                <p:cNvSpPr>
                  <a:spLocks/>
                </p:cNvSpPr>
                <p:nvPr/>
              </p:nvSpPr>
              <p:spPr bwMode="auto">
                <a:xfrm>
                  <a:off x="12061278" y="5079752"/>
                  <a:ext cx="128909" cy="442983"/>
                </a:xfrm>
                <a:custGeom>
                  <a:avLst/>
                  <a:gdLst>
                    <a:gd name="T0" fmla="*/ 43 w 79"/>
                    <a:gd name="T1" fmla="*/ 138 h 270"/>
                    <a:gd name="T2" fmla="*/ 43 w 79"/>
                    <a:gd name="T3" fmla="*/ 138 h 270"/>
                    <a:gd name="T4" fmla="*/ 79 w 79"/>
                    <a:gd name="T5" fmla="*/ 35 h 270"/>
                    <a:gd name="T6" fmla="*/ 79 w 79"/>
                    <a:gd name="T7" fmla="*/ 0 h 270"/>
                    <a:gd name="T8" fmla="*/ 24 w 79"/>
                    <a:gd name="T9" fmla="*/ 35 h 270"/>
                    <a:gd name="T10" fmla="*/ 0 w 79"/>
                    <a:gd name="T11" fmla="*/ 140 h 270"/>
                    <a:gd name="T12" fmla="*/ 23 w 79"/>
                    <a:gd name="T13" fmla="*/ 237 h 270"/>
                    <a:gd name="T14" fmla="*/ 79 w 79"/>
                    <a:gd name="T15" fmla="*/ 270 h 270"/>
                    <a:gd name="T16" fmla="*/ 79 w 79"/>
                    <a:gd name="T17" fmla="*/ 235 h 270"/>
                    <a:gd name="T18" fmla="*/ 43 w 79"/>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270">
                      <a:moveTo>
                        <a:pt x="43" y="138"/>
                      </a:moveTo>
                      <a:cubicBezTo>
                        <a:pt x="43" y="138"/>
                        <a:pt x="43" y="138"/>
                        <a:pt x="43" y="138"/>
                      </a:cubicBezTo>
                      <a:cubicBezTo>
                        <a:pt x="43" y="77"/>
                        <a:pt x="55" y="43"/>
                        <a:pt x="79" y="35"/>
                      </a:cubicBezTo>
                      <a:cubicBezTo>
                        <a:pt x="79" y="0"/>
                        <a:pt x="79" y="0"/>
                        <a:pt x="79" y="0"/>
                      </a:cubicBezTo>
                      <a:cubicBezTo>
                        <a:pt x="56" y="3"/>
                        <a:pt x="37" y="15"/>
                        <a:pt x="24" y="35"/>
                      </a:cubicBezTo>
                      <a:cubicBezTo>
                        <a:pt x="8" y="59"/>
                        <a:pt x="0" y="94"/>
                        <a:pt x="0" y="140"/>
                      </a:cubicBezTo>
                      <a:cubicBezTo>
                        <a:pt x="0" y="182"/>
                        <a:pt x="7" y="215"/>
                        <a:pt x="23" y="237"/>
                      </a:cubicBezTo>
                      <a:cubicBezTo>
                        <a:pt x="37" y="257"/>
                        <a:pt x="55" y="268"/>
                        <a:pt x="79" y="270"/>
                      </a:cubicBezTo>
                      <a:cubicBezTo>
                        <a:pt x="79" y="235"/>
                        <a:pt x="79" y="235"/>
                        <a:pt x="79" y="235"/>
                      </a:cubicBezTo>
                      <a:cubicBezTo>
                        <a:pt x="55" y="228"/>
                        <a:pt x="43" y="196"/>
                        <a:pt x="43"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grpSp>
          <p:nvGrpSpPr>
            <p:cNvPr id="383" name="Group 382"/>
            <p:cNvGrpSpPr/>
            <p:nvPr/>
          </p:nvGrpSpPr>
          <p:grpSpPr>
            <a:xfrm>
              <a:off x="11104464" y="5832277"/>
              <a:ext cx="792956" cy="454737"/>
              <a:chOff x="11268654" y="5874852"/>
              <a:chExt cx="475079" cy="272443"/>
            </a:xfrm>
          </p:grpSpPr>
          <p:grpSp>
            <p:nvGrpSpPr>
              <p:cNvPr id="384" name="Group 383"/>
              <p:cNvGrpSpPr/>
              <p:nvPr/>
            </p:nvGrpSpPr>
            <p:grpSpPr>
              <a:xfrm>
                <a:off x="11527880" y="5875025"/>
                <a:ext cx="215853" cy="265975"/>
                <a:chOff x="11191876" y="6141629"/>
                <a:chExt cx="215853" cy="265975"/>
              </a:xfrm>
            </p:grpSpPr>
            <p:sp>
              <p:nvSpPr>
                <p:cNvPr id="399" name="Freeform 380"/>
                <p:cNvSpPr>
                  <a:spLocks noEditPoints="1"/>
                </p:cNvSpPr>
                <p:nvPr/>
              </p:nvSpPr>
              <p:spPr bwMode="auto">
                <a:xfrm>
                  <a:off x="11191876" y="6141629"/>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0" name="Freeform 381"/>
                <p:cNvSpPr>
                  <a:spLocks/>
                </p:cNvSpPr>
                <p:nvPr/>
              </p:nvSpPr>
              <p:spPr bwMode="auto">
                <a:xfrm>
                  <a:off x="11260593" y="6141629"/>
                  <a:ext cx="30721" cy="71142"/>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1" name="Freeform 382"/>
                <p:cNvSpPr>
                  <a:spLocks noEditPoints="1"/>
                </p:cNvSpPr>
                <p:nvPr/>
              </p:nvSpPr>
              <p:spPr bwMode="auto">
                <a:xfrm>
                  <a:off x="11310716" y="614162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2" name="Freeform 394"/>
                <p:cNvSpPr>
                  <a:spLocks/>
                </p:cNvSpPr>
                <p:nvPr/>
              </p:nvSpPr>
              <p:spPr bwMode="auto">
                <a:xfrm>
                  <a:off x="11377008" y="6141629"/>
                  <a:ext cx="30721" cy="71142"/>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3" name="Freeform 396"/>
                <p:cNvSpPr>
                  <a:spLocks noEditPoints="1"/>
                </p:cNvSpPr>
                <p:nvPr/>
              </p:nvSpPr>
              <p:spPr bwMode="auto">
                <a:xfrm>
                  <a:off x="11191876" y="6234599"/>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4" name="Freeform 397"/>
                <p:cNvSpPr>
                  <a:spLocks/>
                </p:cNvSpPr>
                <p:nvPr/>
              </p:nvSpPr>
              <p:spPr bwMode="auto">
                <a:xfrm>
                  <a:off x="11260593" y="62345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5" name="Freeform 398"/>
                <p:cNvSpPr>
                  <a:spLocks noEditPoints="1"/>
                </p:cNvSpPr>
                <p:nvPr/>
              </p:nvSpPr>
              <p:spPr bwMode="auto">
                <a:xfrm>
                  <a:off x="11310716" y="623459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6" name="Freeform 399"/>
                <p:cNvSpPr>
                  <a:spLocks noEditPoints="1"/>
                </p:cNvSpPr>
                <p:nvPr/>
              </p:nvSpPr>
              <p:spPr bwMode="auto">
                <a:xfrm>
                  <a:off x="11191876" y="6334845"/>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7" name="Freeform 400"/>
                <p:cNvSpPr>
                  <a:spLocks noEditPoints="1"/>
                </p:cNvSpPr>
                <p:nvPr/>
              </p:nvSpPr>
              <p:spPr bwMode="auto">
                <a:xfrm>
                  <a:off x="11254126" y="6334845"/>
                  <a:ext cx="50123" cy="72759"/>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nvGrpSpPr>
              <p:cNvPr id="385" name="Group 384"/>
              <p:cNvGrpSpPr/>
              <p:nvPr/>
            </p:nvGrpSpPr>
            <p:grpSpPr>
              <a:xfrm>
                <a:off x="11268654" y="5874852"/>
                <a:ext cx="469471" cy="272443"/>
                <a:chOff x="11254126" y="5843315"/>
                <a:chExt cx="469471" cy="272443"/>
              </a:xfrm>
            </p:grpSpPr>
            <p:sp>
              <p:nvSpPr>
                <p:cNvPr id="386" name="Freeform 378"/>
                <p:cNvSpPr>
                  <a:spLocks/>
                </p:cNvSpPr>
                <p:nvPr/>
              </p:nvSpPr>
              <p:spPr bwMode="auto">
                <a:xfrm>
                  <a:off x="11260593" y="5843315"/>
                  <a:ext cx="30721" cy="70334"/>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87" name="Freeform 379"/>
                <p:cNvSpPr>
                  <a:spLocks noEditPoints="1"/>
                </p:cNvSpPr>
                <p:nvPr/>
              </p:nvSpPr>
              <p:spPr bwMode="auto">
                <a:xfrm>
                  <a:off x="11310716" y="5843315"/>
                  <a:ext cx="51740" cy="71951"/>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88" name="Freeform 384"/>
                <p:cNvSpPr>
                  <a:spLocks noEditPoints="1"/>
                </p:cNvSpPr>
                <p:nvPr/>
              </p:nvSpPr>
              <p:spPr bwMode="auto">
                <a:xfrm>
                  <a:off x="11254126" y="5942753"/>
                  <a:ext cx="50123" cy="72759"/>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89" name="Freeform 385"/>
                <p:cNvSpPr>
                  <a:spLocks/>
                </p:cNvSpPr>
                <p:nvPr/>
              </p:nvSpPr>
              <p:spPr bwMode="auto">
                <a:xfrm>
                  <a:off x="11318801" y="5942753"/>
                  <a:ext cx="29104" cy="71142"/>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0" name="Freeform 387"/>
                <p:cNvSpPr>
                  <a:spLocks/>
                </p:cNvSpPr>
                <p:nvPr/>
              </p:nvSpPr>
              <p:spPr bwMode="auto">
                <a:xfrm>
                  <a:off x="11692876" y="5931309"/>
                  <a:ext cx="30721" cy="71142"/>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1" name="Freeform 388"/>
                <p:cNvSpPr>
                  <a:spLocks noEditPoints="1"/>
                </p:cNvSpPr>
                <p:nvPr/>
              </p:nvSpPr>
              <p:spPr bwMode="auto">
                <a:xfrm>
                  <a:off x="11431982" y="5843315"/>
                  <a:ext cx="51740" cy="71951"/>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2" name="Freeform 389"/>
                <p:cNvSpPr>
                  <a:spLocks noEditPoints="1"/>
                </p:cNvSpPr>
                <p:nvPr/>
              </p:nvSpPr>
              <p:spPr bwMode="auto">
                <a:xfrm>
                  <a:off x="11431982" y="5942753"/>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3" name="Freeform 390"/>
                <p:cNvSpPr>
                  <a:spLocks/>
                </p:cNvSpPr>
                <p:nvPr/>
              </p:nvSpPr>
              <p:spPr bwMode="auto">
                <a:xfrm>
                  <a:off x="11440066" y="60429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4" name="Freeform 391"/>
                <p:cNvSpPr>
                  <a:spLocks/>
                </p:cNvSpPr>
                <p:nvPr/>
              </p:nvSpPr>
              <p:spPr bwMode="auto">
                <a:xfrm>
                  <a:off x="11260593" y="60429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5" name="Freeform 393"/>
                <p:cNvSpPr>
                  <a:spLocks/>
                </p:cNvSpPr>
                <p:nvPr/>
              </p:nvSpPr>
              <p:spPr bwMode="auto">
                <a:xfrm>
                  <a:off x="11377008" y="5843315"/>
                  <a:ext cx="30721" cy="70334"/>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6" name="Freeform 395"/>
                <p:cNvSpPr>
                  <a:spLocks noEditPoints="1"/>
                </p:cNvSpPr>
                <p:nvPr/>
              </p:nvSpPr>
              <p:spPr bwMode="auto">
                <a:xfrm>
                  <a:off x="11370541" y="5942753"/>
                  <a:ext cx="51740" cy="72759"/>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7" name="Freeform 401"/>
                <p:cNvSpPr>
                  <a:spLocks/>
                </p:cNvSpPr>
                <p:nvPr/>
              </p:nvSpPr>
              <p:spPr bwMode="auto">
                <a:xfrm>
                  <a:off x="11377008" y="6042999"/>
                  <a:ext cx="30721" cy="71142"/>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8" name="Freeform 402"/>
                <p:cNvSpPr>
                  <a:spLocks noEditPoints="1"/>
                </p:cNvSpPr>
                <p:nvPr/>
              </p:nvSpPr>
              <p:spPr bwMode="auto">
                <a:xfrm>
                  <a:off x="11310716" y="604299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grpSp>
    </p:spTree>
    <p:extLst>
      <p:ext uri="{BB962C8B-B14F-4D97-AF65-F5344CB8AC3E}">
        <p14:creationId xmlns:p14="http://schemas.microsoft.com/office/powerpoint/2010/main" val="2972121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tx1"/>
                </a:solidFill>
              </a:rPr>
              <a:t>Empower City Employees</a:t>
            </a:r>
          </a:p>
        </p:txBody>
      </p:sp>
      <p:sp>
        <p:nvSpPr>
          <p:cNvPr id="6" name="Freeform 5"/>
          <p:cNvSpPr>
            <a:spLocks noChangeAspect="1"/>
          </p:cNvSpPr>
          <p:nvPr/>
        </p:nvSpPr>
        <p:spPr bwMode="auto">
          <a:xfrm>
            <a:off x="10203683" y="5502166"/>
            <a:ext cx="1407056" cy="853077"/>
          </a:xfrm>
          <a:custGeom>
            <a:avLst/>
            <a:gdLst/>
            <a:ahLst/>
            <a:cxnLst/>
            <a:rect l="l" t="t" r="r" b="b"/>
            <a:pathLst>
              <a:path w="5246824" h="3181073">
                <a:moveTo>
                  <a:pt x="3735445" y="1121019"/>
                </a:moveTo>
                <a:cubicBezTo>
                  <a:pt x="4182142" y="1131526"/>
                  <a:pt x="4061877" y="1376195"/>
                  <a:pt x="4077497" y="1517293"/>
                </a:cubicBezTo>
                <a:cubicBezTo>
                  <a:pt x="4205571" y="1536806"/>
                  <a:pt x="4104048" y="1718431"/>
                  <a:pt x="4054068" y="1737945"/>
                </a:cubicBezTo>
                <a:cubicBezTo>
                  <a:pt x="4025955" y="1799487"/>
                  <a:pt x="3990812" y="1855965"/>
                  <a:pt x="3969727" y="1922572"/>
                </a:cubicBezTo>
                <a:lnTo>
                  <a:pt x="3967668" y="2088035"/>
                </a:lnTo>
                <a:cubicBezTo>
                  <a:pt x="4003538" y="2104933"/>
                  <a:pt x="4038513" y="2106213"/>
                  <a:pt x="4086820" y="2117581"/>
                </a:cubicBezTo>
                <a:cubicBezTo>
                  <a:pt x="4135128" y="2128948"/>
                  <a:pt x="4568184" y="2210801"/>
                  <a:pt x="4581245" y="2510322"/>
                </a:cubicBezTo>
                <a:cubicBezTo>
                  <a:pt x="4593591" y="2632786"/>
                  <a:pt x="4589468" y="2749118"/>
                  <a:pt x="4578859" y="2859218"/>
                </a:cubicBezTo>
                <a:lnTo>
                  <a:pt x="3801770" y="2858677"/>
                </a:lnTo>
                <a:cubicBezTo>
                  <a:pt x="3802502" y="2787752"/>
                  <a:pt x="3799437" y="2715169"/>
                  <a:pt x="3791954" y="2640940"/>
                </a:cubicBezTo>
                <a:cubicBezTo>
                  <a:pt x="3779735" y="2360730"/>
                  <a:pt x="3499101" y="2219631"/>
                  <a:pt x="3301043" y="2154424"/>
                </a:cubicBezTo>
                <a:cubicBezTo>
                  <a:pt x="3358735" y="2142280"/>
                  <a:pt x="3413196" y="2132840"/>
                  <a:pt x="3454407" y="2118009"/>
                </a:cubicBezTo>
                <a:cubicBezTo>
                  <a:pt x="3488241" y="2106029"/>
                  <a:pt x="3529557" y="2100195"/>
                  <a:pt x="3558509" y="2086370"/>
                </a:cubicBezTo>
                <a:lnTo>
                  <a:pt x="3562077" y="1925923"/>
                </a:lnTo>
                <a:cubicBezTo>
                  <a:pt x="3543530" y="1859877"/>
                  <a:pt x="3510925" y="1790481"/>
                  <a:pt x="3485349" y="1731190"/>
                </a:cubicBezTo>
                <a:cubicBezTo>
                  <a:pt x="3429708" y="1709425"/>
                  <a:pt x="3327795" y="1602102"/>
                  <a:pt x="3458993" y="1530802"/>
                </a:cubicBezTo>
                <a:cubicBezTo>
                  <a:pt x="3438688" y="1403214"/>
                  <a:pt x="3371528" y="1158545"/>
                  <a:pt x="3735445" y="1121019"/>
                </a:cubicBezTo>
                <a:close/>
                <a:moveTo>
                  <a:pt x="1511380" y="1121019"/>
                </a:moveTo>
                <a:cubicBezTo>
                  <a:pt x="1875297" y="1158545"/>
                  <a:pt x="1808137" y="1403214"/>
                  <a:pt x="1787833" y="1530802"/>
                </a:cubicBezTo>
                <a:cubicBezTo>
                  <a:pt x="1919030" y="1602102"/>
                  <a:pt x="1817117" y="1709425"/>
                  <a:pt x="1761476" y="1731190"/>
                </a:cubicBezTo>
                <a:cubicBezTo>
                  <a:pt x="1735900" y="1790481"/>
                  <a:pt x="1703295" y="1859877"/>
                  <a:pt x="1684749" y="1925923"/>
                </a:cubicBezTo>
                <a:lnTo>
                  <a:pt x="1688316" y="2086370"/>
                </a:lnTo>
                <a:cubicBezTo>
                  <a:pt x="1717268" y="2100195"/>
                  <a:pt x="1758585" y="2106029"/>
                  <a:pt x="1792418" y="2118009"/>
                </a:cubicBezTo>
                <a:cubicBezTo>
                  <a:pt x="1833629" y="2132840"/>
                  <a:pt x="1888090" y="2142280"/>
                  <a:pt x="1945782" y="2154424"/>
                </a:cubicBezTo>
                <a:cubicBezTo>
                  <a:pt x="1747724" y="2219631"/>
                  <a:pt x="1467090" y="2360730"/>
                  <a:pt x="1454871" y="2640940"/>
                </a:cubicBezTo>
                <a:cubicBezTo>
                  <a:pt x="1447388" y="2715169"/>
                  <a:pt x="1444323" y="2787752"/>
                  <a:pt x="1445055" y="2858677"/>
                </a:cubicBezTo>
                <a:lnTo>
                  <a:pt x="667966" y="2859218"/>
                </a:lnTo>
                <a:cubicBezTo>
                  <a:pt x="657357" y="2749118"/>
                  <a:pt x="653234" y="2632786"/>
                  <a:pt x="665580" y="2510322"/>
                </a:cubicBezTo>
                <a:cubicBezTo>
                  <a:pt x="678641" y="2210801"/>
                  <a:pt x="1111697" y="2128948"/>
                  <a:pt x="1160005" y="2117581"/>
                </a:cubicBezTo>
                <a:cubicBezTo>
                  <a:pt x="1208313" y="2106213"/>
                  <a:pt x="1243288" y="2104933"/>
                  <a:pt x="1279157" y="2088035"/>
                </a:cubicBezTo>
                <a:lnTo>
                  <a:pt x="1277099" y="1922572"/>
                </a:lnTo>
                <a:cubicBezTo>
                  <a:pt x="1256013" y="1855965"/>
                  <a:pt x="1220871" y="1799487"/>
                  <a:pt x="1192757" y="1737945"/>
                </a:cubicBezTo>
                <a:cubicBezTo>
                  <a:pt x="1142777" y="1718431"/>
                  <a:pt x="1041254" y="1536806"/>
                  <a:pt x="1169328" y="1517293"/>
                </a:cubicBezTo>
                <a:cubicBezTo>
                  <a:pt x="1184948" y="1376195"/>
                  <a:pt x="1064683" y="1131526"/>
                  <a:pt x="1511380" y="1121019"/>
                </a:cubicBezTo>
                <a:close/>
                <a:moveTo>
                  <a:pt x="2644025" y="804535"/>
                </a:moveTo>
                <a:cubicBezTo>
                  <a:pt x="3117058" y="855925"/>
                  <a:pt x="3029760" y="1190988"/>
                  <a:pt x="3003368" y="1365715"/>
                </a:cubicBezTo>
                <a:cubicBezTo>
                  <a:pt x="3173903" y="1463356"/>
                  <a:pt x="3041433" y="1610331"/>
                  <a:pt x="2969109" y="1640138"/>
                </a:cubicBezTo>
                <a:cubicBezTo>
                  <a:pt x="2935865" y="1721334"/>
                  <a:pt x="2895675" y="1820987"/>
                  <a:pt x="2871567" y="1911433"/>
                </a:cubicBezTo>
                <a:cubicBezTo>
                  <a:pt x="2872383" y="1983135"/>
                  <a:pt x="2873197" y="2054838"/>
                  <a:pt x="2874013" y="2126540"/>
                </a:cubicBezTo>
                <a:cubicBezTo>
                  <a:pt x="2911646" y="2145473"/>
                  <a:pt x="2965350" y="2153462"/>
                  <a:pt x="3009329" y="2169868"/>
                </a:cubicBezTo>
                <a:cubicBezTo>
                  <a:pt x="3222053" y="2221603"/>
                  <a:pt x="3720748" y="2225705"/>
                  <a:pt x="3725199" y="2704028"/>
                </a:cubicBezTo>
                <a:cubicBezTo>
                  <a:pt x="3737590" y="2865486"/>
                  <a:pt x="3727458" y="3021680"/>
                  <a:pt x="3731525" y="3179525"/>
                </a:cubicBezTo>
                <a:lnTo>
                  <a:pt x="1544046" y="3181073"/>
                </a:lnTo>
                <a:cubicBezTo>
                  <a:pt x="1548730" y="3030295"/>
                  <a:pt x="1528577" y="2874833"/>
                  <a:pt x="1544625" y="2707124"/>
                </a:cubicBezTo>
                <a:cubicBezTo>
                  <a:pt x="1524658" y="2213819"/>
                  <a:pt x="2124503" y="2184850"/>
                  <a:pt x="2187295" y="2169283"/>
                </a:cubicBezTo>
                <a:cubicBezTo>
                  <a:pt x="2250087" y="2153715"/>
                  <a:pt x="2295549" y="2151961"/>
                  <a:pt x="2342174" y="2128821"/>
                </a:cubicBezTo>
                <a:lnTo>
                  <a:pt x="2339498" y="1902226"/>
                </a:lnTo>
                <a:cubicBezTo>
                  <a:pt x="2312090" y="1811010"/>
                  <a:pt x="2266411" y="1733667"/>
                  <a:pt x="2229868" y="1649387"/>
                </a:cubicBezTo>
                <a:cubicBezTo>
                  <a:pt x="2164902" y="1622664"/>
                  <a:pt x="2032939" y="1373938"/>
                  <a:pt x="2199415" y="1347214"/>
                </a:cubicBezTo>
                <a:cubicBezTo>
                  <a:pt x="2219717" y="1153987"/>
                  <a:pt x="2063393" y="818925"/>
                  <a:pt x="2644025" y="804535"/>
                </a:cubicBezTo>
                <a:close/>
                <a:moveTo>
                  <a:pt x="2618959" y="4"/>
                </a:moveTo>
                <a:cubicBezTo>
                  <a:pt x="3113091" y="-895"/>
                  <a:pt x="3607459" y="147580"/>
                  <a:pt x="4040549" y="445541"/>
                </a:cubicBezTo>
                <a:cubicBezTo>
                  <a:pt x="4829951" y="988640"/>
                  <a:pt x="5288727" y="1942162"/>
                  <a:pt x="5243804" y="2946395"/>
                </a:cubicBezTo>
                <a:lnTo>
                  <a:pt x="4893772" y="2928408"/>
                </a:lnTo>
                <a:cubicBezTo>
                  <a:pt x="4932097" y="2053874"/>
                  <a:pt x="4538512" y="1223127"/>
                  <a:pt x="3860159" y="746736"/>
                </a:cubicBezTo>
                <a:cubicBezTo>
                  <a:pt x="3105483" y="216746"/>
                  <a:pt x="2133172" y="218542"/>
                  <a:pt x="1380169" y="751315"/>
                </a:cubicBezTo>
                <a:cubicBezTo>
                  <a:pt x="703569" y="1230031"/>
                  <a:pt x="312623" y="2061806"/>
                  <a:pt x="353389" y="2935887"/>
                </a:cubicBezTo>
                <a:lnTo>
                  <a:pt x="3419" y="2955027"/>
                </a:lnTo>
                <a:cubicBezTo>
                  <a:pt x="-44367" y="1951271"/>
                  <a:pt x="411365" y="996507"/>
                  <a:pt x="1198789" y="450712"/>
                </a:cubicBezTo>
                <a:cubicBezTo>
                  <a:pt x="1630932" y="151176"/>
                  <a:pt x="2124827" y="903"/>
                  <a:pt x="2618959" y="4"/>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dirty="0" err="1">
                <a:ln>
                  <a:noFill/>
                </a:ln>
                <a:solidFill>
                  <a:schemeClr val="tx1"/>
                </a:solidFill>
                <a:effectLst/>
                <a:uLnTx/>
                <a:uFillTx/>
                <a:latin typeface="Segoe UI Light" pitchFamily="34" charset="0"/>
                <a:ea typeface="Segoe UI" pitchFamily="34" charset="0"/>
                <a:cs typeface="Segoe UI" pitchFamily="34" charset="0"/>
              </a:rPr>
              <a:t>CityNext</a:t>
            </a:r>
            <a:r>
              <a:rPr kumimoji="0" lang="en-US" sz="3600" b="0" i="0" u="none" strike="noStrike" kern="1200" cap="none" spc="-98" normalizeH="0" baseline="0" noProof="0" dirty="0">
                <a:ln>
                  <a:noFill/>
                </a:ln>
                <a:solidFill>
                  <a:schemeClr val="tx1"/>
                </a:solidFill>
                <a:effectLst/>
                <a:uLnTx/>
                <a:uFillTx/>
                <a:latin typeface="Segoe UI Light" pitchFamily="34" charset="0"/>
                <a:ea typeface="Segoe UI" pitchFamily="34" charset="0"/>
                <a:cs typeface="Segoe UI" pitchFamily="34" charset="0"/>
              </a:rPr>
              <a:t> Book of Dreams</a:t>
            </a:r>
          </a:p>
        </p:txBody>
      </p:sp>
    </p:spTree>
    <p:extLst>
      <p:ext uri="{BB962C8B-B14F-4D97-AF65-F5344CB8AC3E}">
        <p14:creationId xmlns:p14="http://schemas.microsoft.com/office/powerpoint/2010/main" val="22121914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mart Buildings</a:t>
            </a:r>
          </a:p>
        </p:txBody>
      </p:sp>
      <p:sp>
        <p:nvSpPr>
          <p:cNvPr id="2" name="Slide Number Placeholder 1"/>
          <p:cNvSpPr>
            <a:spLocks noGrp="1"/>
          </p:cNvSpPr>
          <p:nvPr>
            <p:ph type="sldNum" sz="quarter" idx="14"/>
          </p:nvPr>
        </p:nvSpPr>
        <p:spPr/>
        <p:txBody>
          <a:bodyPr/>
          <a:lstStyle/>
          <a:p>
            <a:fld id="{FAADACFB-7C71-4E89-89D2-7BBA40B7BFA9}" type="slidenum">
              <a:rPr lang="en-US" smtClean="0">
                <a:solidFill>
                  <a:srgbClr val="505050"/>
                </a:solidFill>
              </a:rPr>
              <a:pPr/>
              <a:t>11</a:t>
            </a:fld>
            <a:endParaRPr lang="en-US" dirty="0">
              <a:solidFill>
                <a:srgbClr val="505050"/>
              </a:solidFill>
            </a:endParaRPr>
          </a:p>
        </p:txBody>
      </p:sp>
      <p:sp>
        <p:nvSpPr>
          <p:cNvPr id="99" name="Text Box 4"/>
          <p:cNvSpPr txBox="1">
            <a:spLocks noChangeArrowheads="1"/>
          </p:cNvSpPr>
          <p:nvPr/>
        </p:nvSpPr>
        <p:spPr bwMode="gray">
          <a:xfrm>
            <a:off x="3392754" y="1696924"/>
            <a:ext cx="5397016" cy="2551227"/>
          </a:xfrm>
          <a:prstGeom prst="rect">
            <a:avLst/>
          </a:prstGeom>
          <a:solidFill>
            <a:schemeClr val="bg1">
              <a:lumMod val="95000"/>
            </a:schemeClr>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400" kern="0" dirty="0">
                <a:ln>
                  <a:noFill/>
                </a:ln>
                <a:solidFill>
                  <a:srgbClr val="505050"/>
                </a:solidFill>
                <a:latin typeface="Segoe UI Semibold" panose="020B0702040204020203" pitchFamily="34" charset="0"/>
                <a:cs typeface="Segoe UI Semibold" panose="020B0702040204020203" pitchFamily="34" charset="0"/>
              </a:rPr>
              <a:t>Respond to needs of facilities and users</a:t>
            </a:r>
          </a:p>
        </p:txBody>
      </p:sp>
      <p:sp>
        <p:nvSpPr>
          <p:cNvPr id="101" name="Text Box 4"/>
          <p:cNvSpPr txBox="1">
            <a:spLocks noChangeArrowheads="1"/>
          </p:cNvSpPr>
          <p:nvPr/>
        </p:nvSpPr>
        <p:spPr bwMode="gray">
          <a:xfrm>
            <a:off x="304800" y="1711438"/>
            <a:ext cx="2858806"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400" kern="0" dirty="0">
                <a:ln>
                  <a:noFill/>
                </a:ln>
                <a:solidFill>
                  <a:srgbClr val="505050"/>
                </a:solidFill>
                <a:latin typeface="Segoe UI Semibold" panose="020B0702040204020203" pitchFamily="34" charset="0"/>
                <a:cs typeface="Segoe UI Semibold" panose="020B0702040204020203" pitchFamily="34" charset="0"/>
              </a:rPr>
              <a:t>Gather and analyze data</a:t>
            </a:r>
          </a:p>
        </p:txBody>
      </p:sp>
      <p:sp>
        <p:nvSpPr>
          <p:cNvPr id="102" name="Text Box 4"/>
          <p:cNvSpPr txBox="1">
            <a:spLocks noChangeArrowheads="1"/>
          </p:cNvSpPr>
          <p:nvPr/>
        </p:nvSpPr>
        <p:spPr bwMode="gray">
          <a:xfrm>
            <a:off x="9025128" y="1696924"/>
            <a:ext cx="2862072"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400" kern="0" dirty="0">
                <a:ln>
                  <a:noFill/>
                </a:ln>
                <a:solidFill>
                  <a:srgbClr val="505050"/>
                </a:solidFill>
                <a:latin typeface="Segoe UI Semibold" panose="020B0702040204020203" pitchFamily="34" charset="0"/>
                <a:cs typeface="Segoe UI Semibold" panose="020B0702040204020203" pitchFamily="34" charset="0"/>
              </a:rPr>
              <a:t>Optimize building </a:t>
            </a:r>
            <a:br>
              <a:rPr lang="en-US" sz="1400" kern="0" dirty="0">
                <a:ln>
                  <a:noFill/>
                </a:ln>
                <a:solidFill>
                  <a:srgbClr val="505050"/>
                </a:solidFill>
                <a:latin typeface="Segoe UI Semibold" panose="020B0702040204020203" pitchFamily="34" charset="0"/>
                <a:cs typeface="Segoe UI Semibold" panose="020B0702040204020203" pitchFamily="34" charset="0"/>
              </a:rPr>
            </a:br>
            <a:r>
              <a:rPr lang="en-US" sz="1400" kern="0" dirty="0">
                <a:ln>
                  <a:noFill/>
                </a:ln>
                <a:solidFill>
                  <a:srgbClr val="505050"/>
                </a:solidFill>
                <a:latin typeface="Segoe UI Semibold" panose="020B0702040204020203" pitchFamily="34" charset="0"/>
                <a:cs typeface="Segoe UI Semibold" panose="020B0702040204020203" pitchFamily="34" charset="0"/>
              </a:rPr>
              <a:t>condition, capabilities, and use</a:t>
            </a:r>
          </a:p>
        </p:txBody>
      </p:sp>
      <p:sp>
        <p:nvSpPr>
          <p:cNvPr id="103" name="Rectangle 102"/>
          <p:cNvSpPr/>
          <p:nvPr/>
        </p:nvSpPr>
        <p:spPr>
          <a:xfrm>
            <a:off x="304800" y="1275416"/>
            <a:ext cx="11582400" cy="276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defTabSz="1088105"/>
            <a:endParaRPr lang="en-IN" sz="1200" dirty="0">
              <a:solidFill>
                <a:prstClr val="white"/>
              </a:solidFill>
              <a:cs typeface="Segoe UI Semibold" panose="020B0702040204020203" pitchFamily="34" charset="0"/>
            </a:endParaRPr>
          </a:p>
        </p:txBody>
      </p:sp>
      <p:grpSp>
        <p:nvGrpSpPr>
          <p:cNvPr id="106" name="Group 105"/>
          <p:cNvGrpSpPr/>
          <p:nvPr/>
        </p:nvGrpSpPr>
        <p:grpSpPr>
          <a:xfrm>
            <a:off x="304800" y="4762176"/>
            <a:ext cx="11582400" cy="1717539"/>
            <a:chOff x="303212" y="4677426"/>
            <a:chExt cx="11243879" cy="1843336"/>
          </a:xfrm>
        </p:grpSpPr>
        <p:grpSp>
          <p:nvGrpSpPr>
            <p:cNvPr id="107" name="Group 106"/>
            <p:cNvGrpSpPr/>
            <p:nvPr/>
          </p:nvGrpSpPr>
          <p:grpSpPr>
            <a:xfrm>
              <a:off x="303212" y="4677426"/>
              <a:ext cx="2858806" cy="1840423"/>
              <a:chOff x="303212" y="4677426"/>
              <a:chExt cx="2858806" cy="1840423"/>
            </a:xfrm>
          </p:grpSpPr>
          <p:sp>
            <p:nvSpPr>
              <p:cNvPr id="117" name="Text Box 4"/>
              <p:cNvSpPr txBox="1">
                <a:spLocks noChangeArrowheads="1"/>
              </p:cNvSpPr>
              <p:nvPr/>
            </p:nvSpPr>
            <p:spPr bwMode="gray">
              <a:xfrm>
                <a:off x="303212" y="4951747"/>
                <a:ext cx="2858806" cy="1566102"/>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ncrease productivity of worker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mprove utilization of building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Reduce maintenance cost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mprove condition of building</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Save energy</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ncreased tenant satisfaction and retention</a:t>
                </a:r>
              </a:p>
              <a:p>
                <a:pPr marL="137160" indent="-137160">
                  <a:spcBef>
                    <a:spcPts val="100"/>
                  </a:spcBef>
                  <a:spcAft>
                    <a:spcPts val="100"/>
                  </a:spcAft>
                  <a:buFont typeface="Arial" panose="020B0604020202020204" pitchFamily="34" charset="0"/>
                  <a:buChar char="•"/>
                  <a:defRPr/>
                </a:pPr>
                <a:endParaRPr lang="en-US" sz="1050" kern="0" dirty="0">
                  <a:ln>
                    <a:noFill/>
                  </a:ln>
                  <a:solidFill>
                    <a:srgbClr val="505050"/>
                  </a:solidFill>
                </a:endParaRPr>
              </a:p>
              <a:p>
                <a:pPr marL="137160" indent="-137160">
                  <a:spcBef>
                    <a:spcPts val="100"/>
                  </a:spcBef>
                  <a:spcAft>
                    <a:spcPts val="100"/>
                  </a:spcAft>
                  <a:buFont typeface="Arial" panose="020B0604020202020204" pitchFamily="34" charset="0"/>
                  <a:buChar char="•"/>
                  <a:defRPr/>
                </a:pPr>
                <a:endParaRPr lang="en-US" sz="1050" kern="0" dirty="0">
                  <a:ln>
                    <a:noFill/>
                  </a:ln>
                  <a:solidFill>
                    <a:srgbClr val="505050"/>
                  </a:solidFill>
                </a:endParaRPr>
              </a:p>
              <a:p>
                <a:pPr marL="137160" indent="-137160">
                  <a:spcBef>
                    <a:spcPts val="100"/>
                  </a:spcBef>
                  <a:spcAft>
                    <a:spcPts val="100"/>
                  </a:spcAft>
                  <a:buFont typeface="Arial" panose="020B0604020202020204" pitchFamily="34" charset="0"/>
                  <a:buChar char="•"/>
                  <a:defRPr/>
                </a:pPr>
                <a:endParaRPr lang="en-US" sz="1050" kern="0" dirty="0">
                  <a:ln>
                    <a:noFill/>
                  </a:ln>
                  <a:solidFill>
                    <a:srgbClr val="505050"/>
                  </a:solidFill>
                </a:endParaRPr>
              </a:p>
              <a:p>
                <a:pPr marL="137160" indent="-137160">
                  <a:spcBef>
                    <a:spcPts val="100"/>
                  </a:spcBef>
                  <a:spcAft>
                    <a:spcPts val="100"/>
                  </a:spcAft>
                  <a:buFont typeface="Arial" panose="020B0604020202020204" pitchFamily="34" charset="0"/>
                  <a:buChar char="•"/>
                  <a:defRPr/>
                </a:pPr>
                <a:endParaRPr lang="en-US" sz="1050" kern="0" dirty="0">
                  <a:ln>
                    <a:noFill/>
                  </a:ln>
                  <a:solidFill>
                    <a:srgbClr val="505050"/>
                  </a:solidFill>
                </a:endParaRPr>
              </a:p>
            </p:txBody>
          </p:sp>
          <p:sp>
            <p:nvSpPr>
              <p:cNvPr id="118" name="Rectangle 117"/>
              <p:cNvSpPr/>
              <p:nvPr/>
            </p:nvSpPr>
            <p:spPr>
              <a:xfrm>
                <a:off x="303212" y="4677426"/>
                <a:ext cx="2858806" cy="274320"/>
              </a:xfrm>
              <a:prstGeom prst="rect">
                <a:avLst/>
              </a:prstGeom>
              <a:solidFill>
                <a:schemeClr val="bg2"/>
              </a:solidFill>
              <a:ln w="3175" cap="flat" cmpd="sng" algn="ctr">
                <a:noFill/>
                <a:prstDash val="solid"/>
              </a:ln>
              <a:effectLst/>
            </p:spPr>
            <p:txBody>
              <a:bodyPr wrap="square" lIns="91440" tIns="45720" rIns="91440" bIns="45720" rtlCol="0" anchor="ctr">
                <a:noAutofit/>
              </a:bodyPr>
              <a:lstStyle/>
              <a:p>
                <a:pPr marL="0" lvl="1" algn="ctr" defTabSz="1218106" fontAlgn="base">
                  <a:buClr>
                    <a:srgbClr val="FFFF99"/>
                  </a:buClr>
                  <a:buSzPct val="90000"/>
                  <a:defRPr/>
                </a:pPr>
                <a:r>
                  <a:rPr lang="en-US" sz="1200" kern="0" dirty="0">
                    <a:solidFill>
                      <a:srgbClr val="FFFFFF"/>
                    </a:solidFill>
                    <a:latin typeface="Segoe UI Semibold" panose="020B0702040204020203" pitchFamily="34" charset="0"/>
                    <a:ea typeface="Segoe UI" pitchFamily="34" charset="0"/>
                    <a:cs typeface="Segoe UI" pitchFamily="34" charset="0"/>
                  </a:rPr>
                  <a:t>Benefits</a:t>
                </a:r>
              </a:p>
            </p:txBody>
          </p:sp>
        </p:grpSp>
        <p:grpSp>
          <p:nvGrpSpPr>
            <p:cNvPr id="108" name="Group 107"/>
            <p:cNvGrpSpPr/>
            <p:nvPr/>
          </p:nvGrpSpPr>
          <p:grpSpPr>
            <a:xfrm>
              <a:off x="3221455" y="4677426"/>
              <a:ext cx="2678716" cy="1843336"/>
              <a:chOff x="3391166" y="4677426"/>
              <a:chExt cx="2678716" cy="1843336"/>
            </a:xfrm>
          </p:grpSpPr>
          <p:sp>
            <p:nvSpPr>
              <p:cNvPr id="115" name="Text Box 4"/>
              <p:cNvSpPr txBox="1">
                <a:spLocks noChangeArrowheads="1"/>
              </p:cNvSpPr>
              <p:nvPr/>
            </p:nvSpPr>
            <p:spPr bwMode="gray">
              <a:xfrm>
                <a:off x="3391166" y="4951747"/>
                <a:ext cx="267871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ntegrating data from sensors, scheduling, service providers, and worker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Evaluating a wide range of data for  insight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Creating dynamic working space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Scaling building operations to actual use</a:t>
                </a:r>
              </a:p>
              <a:p>
                <a:pPr marL="137160" indent="-137160">
                  <a:spcBef>
                    <a:spcPts val="100"/>
                  </a:spcBef>
                  <a:spcAft>
                    <a:spcPts val="100"/>
                  </a:spcAft>
                  <a:buFont typeface="Arial" panose="020B0604020202020204" pitchFamily="34" charset="0"/>
                  <a:buChar char="•"/>
                  <a:defRPr/>
                </a:pPr>
                <a:endParaRPr lang="en-US" sz="1050" kern="0" dirty="0">
                  <a:ln>
                    <a:noFill/>
                  </a:ln>
                  <a:solidFill>
                    <a:srgbClr val="505050"/>
                  </a:solidFill>
                </a:endParaRPr>
              </a:p>
            </p:txBody>
          </p:sp>
          <p:sp>
            <p:nvSpPr>
              <p:cNvPr id="116" name="Rectangle 115"/>
              <p:cNvSpPr/>
              <p:nvPr/>
            </p:nvSpPr>
            <p:spPr>
              <a:xfrm>
                <a:off x="3391166" y="4677426"/>
                <a:ext cx="2678716" cy="274320"/>
              </a:xfrm>
              <a:prstGeom prst="rect">
                <a:avLst/>
              </a:prstGeom>
              <a:solidFill>
                <a:schemeClr val="tx2"/>
              </a:solidFill>
              <a:ln w="3175" cap="flat" cmpd="sng" algn="ctr">
                <a:noFill/>
                <a:prstDash val="solid"/>
              </a:ln>
              <a:effectLst/>
            </p:spPr>
            <p:txBody>
              <a:bodyPr wrap="square" lIns="91440" tIns="45720" rIns="91440" bIns="45720" rtlCol="0" anchor="ctr">
                <a:noAutofit/>
              </a:bodyPr>
              <a:lstStyle/>
              <a:p>
                <a:pPr marL="0" lvl="1" algn="ctr" defTabSz="1218106" fontAlgn="base">
                  <a:spcBef>
                    <a:spcPts val="200"/>
                  </a:spcBef>
                  <a:buClr>
                    <a:srgbClr val="FFFF99"/>
                  </a:buClr>
                  <a:buSzPct val="90000"/>
                  <a:defRPr/>
                </a:pPr>
                <a:r>
                  <a:rPr lang="en-US" sz="1200" kern="0" dirty="0">
                    <a:solidFill>
                      <a:srgbClr val="FFFFFF"/>
                    </a:solidFill>
                    <a:latin typeface="Segoe UI Semibold" panose="020B0702040204020203" pitchFamily="34" charset="0"/>
                    <a:ea typeface="Segoe UI" pitchFamily="34" charset="0"/>
                    <a:cs typeface="Segoe UI" pitchFamily="34" charset="0"/>
                  </a:rPr>
                  <a:t>Start </a:t>
                </a:r>
              </a:p>
            </p:txBody>
          </p:sp>
        </p:grpSp>
        <p:grpSp>
          <p:nvGrpSpPr>
            <p:cNvPr id="109" name="Group 108"/>
            <p:cNvGrpSpPr/>
            <p:nvPr/>
          </p:nvGrpSpPr>
          <p:grpSpPr>
            <a:xfrm>
              <a:off x="5959608" y="4677426"/>
              <a:ext cx="2669241" cy="1843336"/>
              <a:chOff x="6118941" y="4677426"/>
              <a:chExt cx="2669241" cy="1843336"/>
            </a:xfrm>
          </p:grpSpPr>
          <p:sp>
            <p:nvSpPr>
              <p:cNvPr id="113" name="Text Box 4"/>
              <p:cNvSpPr txBox="1">
                <a:spLocks noChangeArrowheads="1"/>
              </p:cNvSpPr>
              <p:nvPr/>
            </p:nvSpPr>
            <p:spPr bwMode="gray">
              <a:xfrm>
                <a:off x="6118941" y="4951747"/>
                <a:ext cx="2669241"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Underutilizing building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Restricting citizens and employees to limited workspaces that don’t promote productivity</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Wasting energy</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Reactively maintaining buildings</a:t>
                </a:r>
              </a:p>
              <a:p>
                <a:pPr marL="137160" indent="-137160">
                  <a:spcBef>
                    <a:spcPts val="100"/>
                  </a:spcBef>
                  <a:spcAft>
                    <a:spcPts val="100"/>
                  </a:spcAft>
                  <a:buFont typeface="Arial" panose="020B0604020202020204" pitchFamily="34" charset="0"/>
                  <a:buChar char="•"/>
                  <a:defRPr/>
                </a:pPr>
                <a:endParaRPr lang="en-US" sz="1050" kern="0" dirty="0">
                  <a:ln>
                    <a:noFill/>
                  </a:ln>
                  <a:solidFill>
                    <a:srgbClr val="505050"/>
                  </a:solidFill>
                </a:endParaRPr>
              </a:p>
              <a:p>
                <a:pPr marL="137160" indent="-137160">
                  <a:spcBef>
                    <a:spcPts val="100"/>
                  </a:spcBef>
                  <a:spcAft>
                    <a:spcPts val="100"/>
                  </a:spcAft>
                  <a:buFont typeface="Arial" panose="020B0604020202020204" pitchFamily="34" charset="0"/>
                  <a:buChar char="•"/>
                  <a:defRPr/>
                </a:pPr>
                <a:endParaRPr lang="en-US" sz="1050" kern="0" dirty="0">
                  <a:ln>
                    <a:noFill/>
                  </a:ln>
                  <a:solidFill>
                    <a:srgbClr val="505050"/>
                  </a:solidFill>
                </a:endParaRPr>
              </a:p>
            </p:txBody>
          </p:sp>
          <p:sp>
            <p:nvSpPr>
              <p:cNvPr id="114" name="Rectangle 113"/>
              <p:cNvSpPr/>
              <p:nvPr/>
            </p:nvSpPr>
            <p:spPr>
              <a:xfrm>
                <a:off x="6118941" y="4677426"/>
                <a:ext cx="2669241" cy="274320"/>
              </a:xfrm>
              <a:prstGeom prst="rect">
                <a:avLst/>
              </a:prstGeom>
              <a:solidFill>
                <a:schemeClr val="accent1"/>
              </a:solidFill>
              <a:ln w="3175" cap="flat" cmpd="sng" algn="ctr">
                <a:noFill/>
                <a:prstDash val="solid"/>
              </a:ln>
              <a:effectLst/>
            </p:spPr>
            <p:txBody>
              <a:bodyPr wrap="square" lIns="91440" tIns="45720" rIns="91440" bIns="45720" rtlCol="0" anchor="ctr">
                <a:noAutofit/>
              </a:bodyPr>
              <a:lstStyle/>
              <a:p>
                <a:pPr marL="0" lvl="1" algn="ctr" defTabSz="1218106" fontAlgn="base">
                  <a:spcBef>
                    <a:spcPts val="200"/>
                  </a:spcBef>
                  <a:buClr>
                    <a:srgbClr val="FFFF99"/>
                  </a:buClr>
                  <a:buSzPct val="90000"/>
                  <a:defRPr/>
                </a:pPr>
                <a:r>
                  <a:rPr lang="en-US" sz="1200" kern="0" dirty="0">
                    <a:solidFill>
                      <a:srgbClr val="FFFFFF"/>
                    </a:solidFill>
                    <a:latin typeface="Segoe UI Semibold" panose="020B0702040204020203" pitchFamily="34" charset="0"/>
                    <a:ea typeface="Segoe UI" pitchFamily="34" charset="0"/>
                    <a:cs typeface="Segoe UI" pitchFamily="34" charset="0"/>
                  </a:rPr>
                  <a:t>Stop</a:t>
                </a:r>
              </a:p>
            </p:txBody>
          </p:sp>
        </p:grpSp>
        <p:grpSp>
          <p:nvGrpSpPr>
            <p:cNvPr id="110" name="Group 109"/>
            <p:cNvGrpSpPr/>
            <p:nvPr/>
          </p:nvGrpSpPr>
          <p:grpSpPr>
            <a:xfrm>
              <a:off x="8688285" y="4677426"/>
              <a:ext cx="2858806" cy="1843336"/>
              <a:chOff x="9026806" y="4677426"/>
              <a:chExt cx="2858806" cy="1843336"/>
            </a:xfrm>
          </p:grpSpPr>
          <p:sp>
            <p:nvSpPr>
              <p:cNvPr id="111" name="Text Box 4"/>
              <p:cNvSpPr txBox="1">
                <a:spLocks noChangeArrowheads="1"/>
              </p:cNvSpPr>
              <p:nvPr/>
            </p:nvSpPr>
            <p:spPr bwMode="gray">
              <a:xfrm>
                <a:off x="9026806" y="4951747"/>
                <a:ext cx="285880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mproving the quality and utility of our building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mproving the productivity of our employees and citizen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mplementing cost savings</a:t>
                </a:r>
              </a:p>
            </p:txBody>
          </p:sp>
          <p:sp>
            <p:nvSpPr>
              <p:cNvPr id="112" name="Rectangle 111"/>
              <p:cNvSpPr/>
              <p:nvPr/>
            </p:nvSpPr>
            <p:spPr>
              <a:xfrm>
                <a:off x="9026806" y="4677426"/>
                <a:ext cx="2858806" cy="274320"/>
              </a:xfrm>
              <a:prstGeom prst="rect">
                <a:avLst/>
              </a:prstGeom>
              <a:solidFill>
                <a:schemeClr val="accent2"/>
              </a:solidFill>
              <a:ln w="3175" cap="flat" cmpd="sng" algn="ctr">
                <a:noFill/>
                <a:prstDash val="solid"/>
              </a:ln>
              <a:effectLst/>
            </p:spPr>
            <p:txBody>
              <a:bodyPr wrap="square" lIns="91440" tIns="45720" rIns="91440" bIns="45720" rtlCol="0" anchor="ctr">
                <a:noAutofit/>
              </a:bodyPr>
              <a:lstStyle/>
              <a:p>
                <a:pPr marL="0" lvl="1" algn="ctr" defTabSz="1218106" fontAlgn="base">
                  <a:spcBef>
                    <a:spcPts val="200"/>
                  </a:spcBef>
                  <a:buClr>
                    <a:srgbClr val="FFFF99"/>
                  </a:buClr>
                  <a:buSzPct val="90000"/>
                  <a:defRPr/>
                </a:pPr>
                <a:r>
                  <a:rPr lang="en-US" sz="1200" kern="0" dirty="0">
                    <a:solidFill>
                      <a:srgbClr val="505050"/>
                    </a:solidFill>
                    <a:latin typeface="Segoe UI Semibold" panose="020B0702040204020203" pitchFamily="34" charset="0"/>
                    <a:ea typeface="Segoe UI" pitchFamily="34" charset="0"/>
                    <a:cs typeface="Segoe UI" pitchFamily="34" charset="0"/>
                  </a:rPr>
                  <a:t>Continue</a:t>
                </a:r>
              </a:p>
            </p:txBody>
          </p:sp>
        </p:grpSp>
      </p:grpSp>
      <p:sp>
        <p:nvSpPr>
          <p:cNvPr id="217" name="TextBox 216"/>
          <p:cNvSpPr txBox="1"/>
          <p:nvPr/>
        </p:nvSpPr>
        <p:spPr>
          <a:xfrm>
            <a:off x="10198017" y="3873663"/>
            <a:ext cx="523263" cy="286554"/>
          </a:xfrm>
          <a:prstGeom prst="rect">
            <a:avLst/>
          </a:prstGeom>
        </p:spPr>
        <p:txBody>
          <a:bodyPr vert="horz" wrap="none" lIns="91440" tIns="91440" rIns="91440" bIns="91440" rtlCol="0" anchor="t">
            <a:noAutofit/>
          </a:bodyPr>
          <a:lstStyle/>
          <a:p>
            <a:pPr algn="ctr" defTabSz="1088105"/>
            <a:endParaRPr lang="en-US" sz="1200" dirty="0">
              <a:solidFill>
                <a:srgbClr val="505050"/>
              </a:solidFill>
              <a:ea typeface="Segoe UI" pitchFamily="34" charset="0"/>
              <a:cs typeface="Segoe UI" pitchFamily="34" charset="0"/>
            </a:endParaRPr>
          </a:p>
        </p:txBody>
      </p:sp>
      <p:sp>
        <p:nvSpPr>
          <p:cNvPr id="192" name="TextBox 191"/>
          <p:cNvSpPr txBox="1"/>
          <p:nvPr/>
        </p:nvSpPr>
        <p:spPr>
          <a:xfrm>
            <a:off x="11186486" y="3226748"/>
            <a:ext cx="628890" cy="369332"/>
          </a:xfrm>
          <a:prstGeom prst="rect">
            <a:avLst/>
          </a:prstGeom>
        </p:spPr>
        <p:txBody>
          <a:bodyPr vert="horz" wrap="none" lIns="0" tIns="0" rIns="0" bIns="0" rtlCol="0" anchor="t">
            <a:spAutoFit/>
          </a:bodyPr>
          <a:lstStyle/>
          <a:p>
            <a:pPr algn="ctr" defTabSz="1088105"/>
            <a:r>
              <a:rPr lang="en-US" sz="1200" dirty="0">
                <a:solidFill>
                  <a:srgbClr val="505050"/>
                </a:solidFill>
                <a:ea typeface="Segoe UI" pitchFamily="34" charset="0"/>
                <a:cs typeface="Segoe UI" pitchFamily="34" charset="0"/>
              </a:rPr>
              <a:t>Reduced </a:t>
            </a:r>
            <a:br>
              <a:rPr lang="en-US" sz="1200" dirty="0">
                <a:solidFill>
                  <a:srgbClr val="505050"/>
                </a:solidFill>
                <a:ea typeface="Segoe UI" pitchFamily="34" charset="0"/>
                <a:cs typeface="Segoe UI" pitchFamily="34" charset="0"/>
              </a:rPr>
            </a:br>
            <a:r>
              <a:rPr lang="en-US" sz="1200" dirty="0">
                <a:solidFill>
                  <a:srgbClr val="505050"/>
                </a:solidFill>
                <a:ea typeface="Segoe UI" pitchFamily="34" charset="0"/>
                <a:cs typeface="Segoe UI" pitchFamily="34" charset="0"/>
              </a:rPr>
              <a:t>costs</a:t>
            </a:r>
          </a:p>
        </p:txBody>
      </p:sp>
      <p:sp>
        <p:nvSpPr>
          <p:cNvPr id="195" name="TextBox 194"/>
          <p:cNvSpPr txBox="1"/>
          <p:nvPr/>
        </p:nvSpPr>
        <p:spPr>
          <a:xfrm>
            <a:off x="9696496" y="3744407"/>
            <a:ext cx="691151" cy="369332"/>
          </a:xfrm>
          <a:prstGeom prst="rect">
            <a:avLst/>
          </a:prstGeom>
        </p:spPr>
        <p:txBody>
          <a:bodyPr vert="horz" wrap="none" lIns="0" tIns="0" rIns="0" bIns="0" rtlCol="0" anchor="t">
            <a:spAutoFit/>
          </a:bodyPr>
          <a:lstStyle/>
          <a:p>
            <a:pPr algn="ctr" defTabSz="1088105"/>
            <a:r>
              <a:rPr lang="en-US" sz="1200" dirty="0">
                <a:solidFill>
                  <a:srgbClr val="505050"/>
                </a:solidFill>
                <a:ea typeface="Segoe UI" pitchFamily="34" charset="0"/>
                <a:cs typeface="Segoe UI" pitchFamily="34" charset="0"/>
              </a:rPr>
              <a:t>Improved </a:t>
            </a:r>
            <a:br>
              <a:rPr lang="en-US" sz="1200" dirty="0">
                <a:solidFill>
                  <a:srgbClr val="505050"/>
                </a:solidFill>
                <a:ea typeface="Segoe UI" pitchFamily="34" charset="0"/>
                <a:cs typeface="Segoe UI" pitchFamily="34" charset="0"/>
              </a:rPr>
            </a:br>
            <a:r>
              <a:rPr lang="en-US" sz="1200" dirty="0">
                <a:solidFill>
                  <a:srgbClr val="505050"/>
                </a:solidFill>
                <a:ea typeface="Segoe UI" pitchFamily="34" charset="0"/>
                <a:cs typeface="Segoe UI" pitchFamily="34" charset="0"/>
              </a:rPr>
              <a:t>condition</a:t>
            </a:r>
          </a:p>
        </p:txBody>
      </p:sp>
      <p:pic>
        <p:nvPicPr>
          <p:cNvPr id="40" name="Picture 8" descr="\\MAGNUM\Projects\Microsoft\Cloud Power FY12\Design\Icons\PNGs\Partner.png"/>
          <p:cNvPicPr>
            <a:picLocks noChangeAspect="1" noChangeArrowheads="1"/>
          </p:cNvPicPr>
          <p:nvPr/>
        </p:nvPicPr>
        <p:blipFill>
          <a:blip r:embed="rId3" cstate="print">
            <a:duotone>
              <a:srgbClr val="5B9BD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258661" y="2296970"/>
            <a:ext cx="641465" cy="641465"/>
          </a:xfrm>
          <a:prstGeom prst="rect">
            <a:avLst/>
          </a:prstGeom>
          <a:noFill/>
        </p:spPr>
      </p:pic>
      <p:sp>
        <p:nvSpPr>
          <p:cNvPr id="45" name="Freeform 73"/>
          <p:cNvSpPr>
            <a:spLocks noChangeAspect="1" noEditPoints="1"/>
          </p:cNvSpPr>
          <p:nvPr/>
        </p:nvSpPr>
        <p:spPr bwMode="black">
          <a:xfrm>
            <a:off x="1021181" y="2887247"/>
            <a:ext cx="549121" cy="5301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5B9BD5">
              <a:lumMod val="50000"/>
            </a:srgbClr>
          </a:solidFill>
          <a:ln>
            <a:noFill/>
          </a:ln>
        </p:spPr>
        <p:txBody>
          <a:bodyPr vert="horz" wrap="square" lIns="82305" tIns="41153" rIns="82305" bIns="41153" numCol="1" anchor="t" anchorCtr="0" compatLnSpc="1">
            <a:prstTxWarp prst="textNoShape">
              <a:avLst/>
            </a:prstTxWarp>
          </a:bodyPr>
          <a:lstStyle/>
          <a:p>
            <a:pPr defTabSz="914400">
              <a:defRPr/>
            </a:pPr>
            <a:endParaRPr lang="en-US" sz="1600" kern="0">
              <a:solidFill>
                <a:prstClr val="white"/>
              </a:solidFill>
            </a:endParaRPr>
          </a:p>
        </p:txBody>
      </p:sp>
      <p:pic>
        <p:nvPicPr>
          <p:cNvPr id="55" name="Picture 2" descr="\\MAGNUM\Projects\Microsoft\Cloud Power FY12\Design\ICONS_PNG\Building.png"/>
          <p:cNvPicPr>
            <a:picLocks noChangeAspect="1" noChangeArrowheads="1"/>
          </p:cNvPicPr>
          <p:nvPr/>
        </p:nvPicPr>
        <p:blipFill>
          <a:blip r:embed="rId4" cstate="print">
            <a:duotone>
              <a:srgbClr val="5B9BD5">
                <a:shade val="45000"/>
                <a:satMod val="135000"/>
              </a:srgbClr>
              <a:prstClr val="white"/>
            </a:duotone>
            <a:extLst>
              <a:ext uri="{BEBA8EAE-BF5A-486C-A8C5-ECC9F3942E4B}">
                <a14:imgProps xmlns:a14="http://schemas.microsoft.com/office/drawing/2010/main">
                  <a14:imgLayer r:embed="rId5">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1366716" y="3055727"/>
            <a:ext cx="759188" cy="759188"/>
          </a:xfrm>
          <a:prstGeom prst="rect">
            <a:avLst/>
          </a:prstGeom>
          <a:noFill/>
        </p:spPr>
      </p:pic>
      <p:sp>
        <p:nvSpPr>
          <p:cNvPr id="59" name="TextBox 58"/>
          <p:cNvSpPr txBox="1"/>
          <p:nvPr/>
        </p:nvSpPr>
        <p:spPr>
          <a:xfrm>
            <a:off x="9135588" y="3209813"/>
            <a:ext cx="631583" cy="369332"/>
          </a:xfrm>
          <a:prstGeom prst="rect">
            <a:avLst/>
          </a:prstGeom>
        </p:spPr>
        <p:txBody>
          <a:bodyPr vert="horz" wrap="none" lIns="0" tIns="0" rIns="0" bIns="0" rtlCol="0" anchor="t">
            <a:spAutoFit/>
          </a:bodyPr>
          <a:lstStyle/>
          <a:p>
            <a:pPr algn="ctr" defTabSz="1088105"/>
            <a:r>
              <a:rPr lang="en-US" sz="1200" dirty="0">
                <a:solidFill>
                  <a:srgbClr val="505050"/>
                </a:solidFill>
                <a:ea typeface="Segoe UI" pitchFamily="34" charset="0"/>
                <a:cs typeface="Segoe UI" pitchFamily="34" charset="0"/>
              </a:rPr>
              <a:t>Energy </a:t>
            </a:r>
            <a:br>
              <a:rPr lang="en-US" sz="1200" dirty="0">
                <a:solidFill>
                  <a:srgbClr val="505050"/>
                </a:solidFill>
                <a:ea typeface="Segoe UI" pitchFamily="34" charset="0"/>
                <a:cs typeface="Segoe UI" pitchFamily="34" charset="0"/>
              </a:rPr>
            </a:br>
            <a:r>
              <a:rPr lang="en-US" sz="1200" dirty="0">
                <a:solidFill>
                  <a:srgbClr val="505050"/>
                </a:solidFill>
                <a:ea typeface="Segoe UI" pitchFamily="34" charset="0"/>
                <a:cs typeface="Segoe UI" pitchFamily="34" charset="0"/>
              </a:rPr>
              <a:t>efficiency</a:t>
            </a:r>
          </a:p>
        </p:txBody>
      </p:sp>
      <p:sp>
        <p:nvSpPr>
          <p:cNvPr id="49" name="TextBox 48"/>
          <p:cNvSpPr txBox="1"/>
          <p:nvPr/>
        </p:nvSpPr>
        <p:spPr>
          <a:xfrm>
            <a:off x="6067068" y="2566806"/>
            <a:ext cx="425465" cy="304331"/>
          </a:xfrm>
          <a:prstGeom prst="rect">
            <a:avLst/>
          </a:prstGeom>
        </p:spPr>
        <p:txBody>
          <a:bodyPr vert="horz" wrap="none" lIns="91440" tIns="91440" rIns="91440" bIns="91440" rtlCol="0" anchor="t">
            <a:noAutofit/>
          </a:bodyPr>
          <a:lstStyle/>
          <a:p>
            <a:pPr algn="ctr" defTabSz="1088105"/>
            <a:r>
              <a:rPr lang="en-US" sz="1200" dirty="0" err="1">
                <a:solidFill>
                  <a:srgbClr val="505050"/>
                </a:solidFill>
                <a:ea typeface="Segoe UI" pitchFamily="34" charset="0"/>
                <a:cs typeface="Segoe UI" pitchFamily="34" charset="0"/>
              </a:rPr>
              <a:t>IoT</a:t>
            </a:r>
            <a:endParaRPr lang="en-US" sz="1200" dirty="0">
              <a:solidFill>
                <a:srgbClr val="505050"/>
              </a:solidFill>
              <a:ea typeface="Segoe UI" pitchFamily="34" charset="0"/>
              <a:cs typeface="Segoe UI" pitchFamily="34" charset="0"/>
            </a:endParaRPr>
          </a:p>
        </p:txBody>
      </p:sp>
      <p:sp>
        <p:nvSpPr>
          <p:cNvPr id="50" name="TextBox 49"/>
          <p:cNvSpPr txBox="1"/>
          <p:nvPr/>
        </p:nvSpPr>
        <p:spPr>
          <a:xfrm>
            <a:off x="4169170" y="3142470"/>
            <a:ext cx="425465" cy="304331"/>
          </a:xfrm>
          <a:prstGeom prst="rect">
            <a:avLst/>
          </a:prstGeom>
        </p:spPr>
        <p:txBody>
          <a:bodyPr vert="horz" wrap="none" lIns="91440" tIns="91440" rIns="91440" bIns="91440" rtlCol="0" anchor="t">
            <a:noAutofit/>
          </a:bodyPr>
          <a:lstStyle/>
          <a:p>
            <a:pPr algn="ctr" defTabSz="1088105"/>
            <a:r>
              <a:rPr lang="en-US" sz="1200" dirty="0">
                <a:solidFill>
                  <a:srgbClr val="505050"/>
                </a:solidFill>
                <a:ea typeface="Segoe UI" pitchFamily="34" charset="0"/>
                <a:cs typeface="Segoe UI" pitchFamily="34" charset="0"/>
              </a:rPr>
              <a:t>Monitor</a:t>
            </a:r>
          </a:p>
        </p:txBody>
      </p:sp>
      <p:sp>
        <p:nvSpPr>
          <p:cNvPr id="51" name="TextBox 50"/>
          <p:cNvSpPr txBox="1"/>
          <p:nvPr/>
        </p:nvSpPr>
        <p:spPr>
          <a:xfrm>
            <a:off x="8111764" y="-556796"/>
            <a:ext cx="425465" cy="304331"/>
          </a:xfrm>
          <a:prstGeom prst="rect">
            <a:avLst/>
          </a:prstGeom>
        </p:spPr>
        <p:txBody>
          <a:bodyPr vert="horz" wrap="none" lIns="91440" tIns="91440" rIns="91440" bIns="91440" rtlCol="0" anchor="t">
            <a:noAutofit/>
          </a:bodyPr>
          <a:lstStyle/>
          <a:p>
            <a:pPr algn="ctr" defTabSz="1088105"/>
            <a:r>
              <a:rPr lang="en-US" sz="1200" dirty="0">
                <a:solidFill>
                  <a:srgbClr val="505050"/>
                </a:solidFill>
                <a:ea typeface="Segoe UI" pitchFamily="34" charset="0"/>
                <a:cs typeface="Segoe UI" pitchFamily="34" charset="0"/>
              </a:rPr>
              <a:t>Dashboards </a:t>
            </a:r>
            <a:br>
              <a:rPr lang="en-US" sz="1200" dirty="0">
                <a:solidFill>
                  <a:srgbClr val="505050"/>
                </a:solidFill>
                <a:ea typeface="Segoe UI" pitchFamily="34" charset="0"/>
                <a:cs typeface="Segoe UI" pitchFamily="34" charset="0"/>
              </a:rPr>
            </a:br>
            <a:r>
              <a:rPr lang="en-US" sz="1200" dirty="0">
                <a:solidFill>
                  <a:srgbClr val="505050"/>
                </a:solidFill>
                <a:ea typeface="Segoe UI" pitchFamily="34" charset="0"/>
                <a:cs typeface="Segoe UI" pitchFamily="34" charset="0"/>
              </a:rPr>
              <a:t>and tools</a:t>
            </a:r>
          </a:p>
        </p:txBody>
      </p:sp>
      <p:sp>
        <p:nvSpPr>
          <p:cNvPr id="58" name="TextBox 57"/>
          <p:cNvSpPr txBox="1"/>
          <p:nvPr/>
        </p:nvSpPr>
        <p:spPr>
          <a:xfrm>
            <a:off x="5124756" y="3252621"/>
            <a:ext cx="425465" cy="304331"/>
          </a:xfrm>
          <a:prstGeom prst="rect">
            <a:avLst/>
          </a:prstGeom>
        </p:spPr>
        <p:txBody>
          <a:bodyPr vert="horz" wrap="none" lIns="91440" tIns="91440" rIns="91440" bIns="91440" rtlCol="0" anchor="t">
            <a:noAutofit/>
          </a:bodyPr>
          <a:lstStyle/>
          <a:p>
            <a:pPr algn="ctr" defTabSz="1088105"/>
            <a:r>
              <a:rPr lang="en-US" sz="1200" dirty="0">
                <a:solidFill>
                  <a:srgbClr val="505050"/>
                </a:solidFill>
                <a:ea typeface="Segoe UI" pitchFamily="34" charset="0"/>
                <a:cs typeface="Segoe UI" pitchFamily="34" charset="0"/>
              </a:rPr>
              <a:t>Building </a:t>
            </a:r>
            <a:br>
              <a:rPr lang="en-US" sz="1200" dirty="0">
                <a:solidFill>
                  <a:srgbClr val="505050"/>
                </a:solidFill>
                <a:ea typeface="Segoe UI" pitchFamily="34" charset="0"/>
                <a:cs typeface="Segoe UI" pitchFamily="34" charset="0"/>
              </a:rPr>
            </a:br>
            <a:r>
              <a:rPr lang="en-US" sz="1200" dirty="0">
                <a:solidFill>
                  <a:srgbClr val="505050"/>
                </a:solidFill>
                <a:ea typeface="Segoe UI" pitchFamily="34" charset="0"/>
                <a:cs typeface="Segoe UI" pitchFamily="34" charset="0"/>
              </a:rPr>
              <a:t>data</a:t>
            </a:r>
          </a:p>
        </p:txBody>
      </p:sp>
      <p:sp>
        <p:nvSpPr>
          <p:cNvPr id="60" name="Round Same Side Corner Rectangle 2"/>
          <p:cNvSpPr>
            <a:spLocks noChangeAspect="1"/>
          </p:cNvSpPr>
          <p:nvPr/>
        </p:nvSpPr>
        <p:spPr>
          <a:xfrm>
            <a:off x="5047565" y="2440783"/>
            <a:ext cx="589917" cy="735016"/>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solidFill>
            <a:srgbClr val="5E83BD"/>
          </a:solidFill>
          <a:ln w="25400" cap="flat" cmpd="sng" algn="ctr">
            <a:noFill/>
            <a:prstDash val="solid"/>
          </a:ln>
          <a:effectLst/>
        </p:spPr>
        <p:txBody>
          <a:bodyPr rtlCol="0" anchor="ctr"/>
          <a:lstStyle/>
          <a:p>
            <a:pPr algn="ctr">
              <a:defRPr/>
            </a:pPr>
            <a:endParaRPr lang="en-US" kern="0">
              <a:solidFill>
                <a:srgbClr val="FFFFFF"/>
              </a:solidFill>
            </a:endParaRPr>
          </a:p>
        </p:txBody>
      </p:sp>
      <p:cxnSp>
        <p:nvCxnSpPr>
          <p:cNvPr id="61" name="Straight Arrow Connector 60"/>
          <p:cNvCxnSpPr>
            <a:cxnSpLocks/>
          </p:cNvCxnSpPr>
          <p:nvPr/>
        </p:nvCxnSpPr>
        <p:spPr>
          <a:xfrm flipH="1">
            <a:off x="5696609" y="2718971"/>
            <a:ext cx="353454" cy="0"/>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cxnSpLocks/>
          </p:cNvCxnSpPr>
          <p:nvPr/>
        </p:nvCxnSpPr>
        <p:spPr>
          <a:xfrm flipV="1">
            <a:off x="4499634" y="3025890"/>
            <a:ext cx="503939" cy="198539"/>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cxnSpLocks/>
          </p:cNvCxnSpPr>
          <p:nvPr/>
        </p:nvCxnSpPr>
        <p:spPr>
          <a:xfrm flipV="1">
            <a:off x="5335182" y="3220540"/>
            <a:ext cx="14682" cy="138432"/>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pic>
        <p:nvPicPr>
          <p:cNvPr id="64" name="Picture 47" descr="C:\Users\sakuu\Documents\Ballmer MGX 2011\Tile Icons\Calendar.png"/>
          <p:cNvPicPr>
            <a:picLocks noChangeAspect="1" noChangeArrowheads="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rightnessContrast bright="-82000" contrast="-40000"/>
                    </a14:imgEffect>
                  </a14:imgLayer>
                </a14:imgProps>
              </a:ext>
              <a:ext uri="{28A0092B-C50C-407E-A947-70E740481C1C}">
                <a14:useLocalDpi xmlns:a14="http://schemas.microsoft.com/office/drawing/2010/main"/>
              </a:ext>
            </a:extLst>
          </a:blip>
          <a:srcRect/>
          <a:stretch>
            <a:fillRect/>
          </a:stretch>
        </p:blipFill>
        <p:spPr bwMode="black">
          <a:xfrm>
            <a:off x="5146604" y="2577704"/>
            <a:ext cx="204981" cy="187588"/>
          </a:xfrm>
          <a:prstGeom prst="rect">
            <a:avLst/>
          </a:prstGeom>
          <a:noFill/>
          <a:extLst/>
        </p:spPr>
      </p:pic>
      <p:sp>
        <p:nvSpPr>
          <p:cNvPr id="65" name="Freeform 73"/>
          <p:cNvSpPr>
            <a:spLocks noChangeAspect="1" noEditPoints="1"/>
          </p:cNvSpPr>
          <p:nvPr/>
        </p:nvSpPr>
        <p:spPr bwMode="black">
          <a:xfrm>
            <a:off x="5378105" y="2718972"/>
            <a:ext cx="182957" cy="17662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5E83BD"/>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pic>
        <p:nvPicPr>
          <p:cNvPr id="67" name="Picture 66"/>
          <p:cNvPicPr>
            <a:picLocks noChangeAspect="1"/>
          </p:cNvPicPr>
          <p:nvPr/>
        </p:nvPicPr>
        <p:blipFill>
          <a:blip r:embed="rId8"/>
          <a:stretch>
            <a:fillRect/>
          </a:stretch>
        </p:blipFill>
        <p:spPr>
          <a:xfrm>
            <a:off x="5150913" y="2824374"/>
            <a:ext cx="198665" cy="151058"/>
          </a:xfrm>
          <a:prstGeom prst="rect">
            <a:avLst/>
          </a:prstGeom>
        </p:spPr>
      </p:pic>
      <p:sp>
        <p:nvSpPr>
          <p:cNvPr id="68" name="TextBox 67"/>
          <p:cNvSpPr txBox="1"/>
          <p:nvPr/>
        </p:nvSpPr>
        <p:spPr>
          <a:xfrm>
            <a:off x="4114465" y="2540685"/>
            <a:ext cx="425465" cy="304331"/>
          </a:xfrm>
          <a:prstGeom prst="rect">
            <a:avLst/>
          </a:prstGeom>
        </p:spPr>
        <p:txBody>
          <a:bodyPr vert="horz" wrap="none" lIns="91440" tIns="91440" rIns="91440" bIns="91440" rtlCol="0" anchor="t">
            <a:noAutofit/>
          </a:bodyPr>
          <a:lstStyle/>
          <a:p>
            <a:pPr algn="ctr" defTabSz="1088105"/>
            <a:r>
              <a:rPr lang="en-US" sz="1200" dirty="0">
                <a:solidFill>
                  <a:srgbClr val="505050"/>
                </a:solidFill>
                <a:ea typeface="Segoe UI" pitchFamily="34" charset="0"/>
                <a:cs typeface="Segoe UI" pitchFamily="34" charset="0"/>
              </a:rPr>
              <a:t>Schedule</a:t>
            </a:r>
          </a:p>
        </p:txBody>
      </p:sp>
      <p:cxnSp>
        <p:nvCxnSpPr>
          <p:cNvPr id="69" name="Straight Arrow Connector 68"/>
          <p:cNvCxnSpPr>
            <a:cxnSpLocks/>
          </p:cNvCxnSpPr>
          <p:nvPr/>
        </p:nvCxnSpPr>
        <p:spPr>
          <a:xfrm>
            <a:off x="4695698" y="2727638"/>
            <a:ext cx="272331" cy="10167"/>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6002306" y="3169389"/>
            <a:ext cx="425465" cy="304331"/>
          </a:xfrm>
          <a:prstGeom prst="rect">
            <a:avLst/>
          </a:prstGeom>
        </p:spPr>
        <p:txBody>
          <a:bodyPr vert="horz" wrap="none" lIns="91440" tIns="91440" rIns="91440" bIns="91440" rtlCol="0" anchor="t">
            <a:noAutofit/>
          </a:bodyPr>
          <a:lstStyle/>
          <a:p>
            <a:pPr algn="ctr" defTabSz="1088105"/>
            <a:r>
              <a:rPr lang="en-US" sz="1200" dirty="0">
                <a:solidFill>
                  <a:srgbClr val="505050"/>
                </a:solidFill>
                <a:ea typeface="Segoe UI" pitchFamily="34" charset="0"/>
                <a:cs typeface="Segoe UI" pitchFamily="34" charset="0"/>
              </a:rPr>
              <a:t>Collaborate</a:t>
            </a:r>
          </a:p>
        </p:txBody>
      </p:sp>
      <p:cxnSp>
        <p:nvCxnSpPr>
          <p:cNvPr id="71" name="Straight Arrow Connector 70"/>
          <p:cNvCxnSpPr>
            <a:cxnSpLocks/>
          </p:cNvCxnSpPr>
          <p:nvPr/>
        </p:nvCxnSpPr>
        <p:spPr>
          <a:xfrm flipH="1" flipV="1">
            <a:off x="5696609" y="3025890"/>
            <a:ext cx="283310" cy="189464"/>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599726" y="3093145"/>
            <a:ext cx="399585" cy="497911"/>
            <a:chOff x="9753600" y="378783"/>
            <a:chExt cx="1448804" cy="1805307"/>
          </a:xfrm>
        </p:grpSpPr>
        <p:sp>
          <p:nvSpPr>
            <p:cNvPr id="73" name="Freeform 72"/>
            <p:cNvSpPr/>
            <p:nvPr/>
          </p:nvSpPr>
          <p:spPr>
            <a:xfrm>
              <a:off x="9896022" y="378783"/>
              <a:ext cx="1163960" cy="1805307"/>
            </a:xfrm>
            <a:custGeom>
              <a:avLst/>
              <a:gdLst>
                <a:gd name="connsiteX0" fmla="*/ 990541 w 1163960"/>
                <a:gd name="connsiteY0" fmla="*/ 1274832 h 1805307"/>
                <a:gd name="connsiteX1" fmla="*/ 990541 w 1163960"/>
                <a:gd name="connsiteY1" fmla="*/ 1562630 h 1805307"/>
                <a:gd name="connsiteX2" fmla="*/ 1091271 w 1163960"/>
                <a:gd name="connsiteY2" fmla="*/ 1562630 h 1805307"/>
                <a:gd name="connsiteX3" fmla="*/ 1091271 w 1163960"/>
                <a:gd name="connsiteY3" fmla="*/ 1274832 h 1805307"/>
                <a:gd name="connsiteX4" fmla="*/ 806970 w 1163960"/>
                <a:gd name="connsiteY4" fmla="*/ 1274832 h 1805307"/>
                <a:gd name="connsiteX5" fmla="*/ 806970 w 1163960"/>
                <a:gd name="connsiteY5" fmla="*/ 1562630 h 1805307"/>
                <a:gd name="connsiteX6" fmla="*/ 907700 w 1163960"/>
                <a:gd name="connsiteY6" fmla="*/ 1562630 h 1805307"/>
                <a:gd name="connsiteX7" fmla="*/ 907700 w 1163960"/>
                <a:gd name="connsiteY7" fmla="*/ 1274832 h 1805307"/>
                <a:gd name="connsiteX8" fmla="*/ 623400 w 1163960"/>
                <a:gd name="connsiteY8" fmla="*/ 1274832 h 1805307"/>
                <a:gd name="connsiteX9" fmla="*/ 623400 w 1163960"/>
                <a:gd name="connsiteY9" fmla="*/ 1562630 h 1805307"/>
                <a:gd name="connsiteX10" fmla="*/ 724130 w 1163960"/>
                <a:gd name="connsiteY10" fmla="*/ 1562630 h 1805307"/>
                <a:gd name="connsiteX11" fmla="*/ 724130 w 1163960"/>
                <a:gd name="connsiteY11" fmla="*/ 1274832 h 1805307"/>
                <a:gd name="connsiteX12" fmla="*/ 439830 w 1163960"/>
                <a:gd name="connsiteY12" fmla="*/ 1274832 h 1805307"/>
                <a:gd name="connsiteX13" fmla="*/ 439830 w 1163960"/>
                <a:gd name="connsiteY13" fmla="*/ 1562630 h 1805307"/>
                <a:gd name="connsiteX14" fmla="*/ 540560 w 1163960"/>
                <a:gd name="connsiteY14" fmla="*/ 1562630 h 1805307"/>
                <a:gd name="connsiteX15" fmla="*/ 540560 w 1163960"/>
                <a:gd name="connsiteY15" fmla="*/ 1274832 h 1805307"/>
                <a:gd name="connsiteX16" fmla="*/ 256260 w 1163960"/>
                <a:gd name="connsiteY16" fmla="*/ 1274832 h 1805307"/>
                <a:gd name="connsiteX17" fmla="*/ 256260 w 1163960"/>
                <a:gd name="connsiteY17" fmla="*/ 1562630 h 1805307"/>
                <a:gd name="connsiteX18" fmla="*/ 356990 w 1163960"/>
                <a:gd name="connsiteY18" fmla="*/ 1562630 h 1805307"/>
                <a:gd name="connsiteX19" fmla="*/ 356990 w 1163960"/>
                <a:gd name="connsiteY19" fmla="*/ 1274832 h 1805307"/>
                <a:gd name="connsiteX20" fmla="*/ 72690 w 1163960"/>
                <a:gd name="connsiteY20" fmla="*/ 1274832 h 1805307"/>
                <a:gd name="connsiteX21" fmla="*/ 72690 w 1163960"/>
                <a:gd name="connsiteY21" fmla="*/ 1562630 h 1805307"/>
                <a:gd name="connsiteX22" fmla="*/ 173420 w 1163960"/>
                <a:gd name="connsiteY22" fmla="*/ 1562630 h 1805307"/>
                <a:gd name="connsiteX23" fmla="*/ 173420 w 1163960"/>
                <a:gd name="connsiteY23" fmla="*/ 1274832 h 1805307"/>
                <a:gd name="connsiteX24" fmla="*/ 579059 w 1163960"/>
                <a:gd name="connsiteY24" fmla="*/ 937467 h 1805307"/>
                <a:gd name="connsiteX25" fmla="*/ 1062364 w 1163960"/>
                <a:gd name="connsiteY25" fmla="*/ 1232336 h 1805307"/>
                <a:gd name="connsiteX26" fmla="*/ 1163960 w 1163960"/>
                <a:gd name="connsiteY26" fmla="*/ 1232336 h 1805307"/>
                <a:gd name="connsiteX27" fmla="*/ 1163960 w 1163960"/>
                <a:gd name="connsiteY27" fmla="*/ 1805307 h 1805307"/>
                <a:gd name="connsiteX28" fmla="*/ 0 w 1163960"/>
                <a:gd name="connsiteY28" fmla="*/ 1805307 h 1805307"/>
                <a:gd name="connsiteX29" fmla="*/ 0 w 1163960"/>
                <a:gd name="connsiteY29" fmla="*/ 1232336 h 1805307"/>
                <a:gd name="connsiteX30" fmla="*/ 101596 w 1163960"/>
                <a:gd name="connsiteY30" fmla="*/ 1232336 h 1805307"/>
                <a:gd name="connsiteX31" fmla="*/ 563905 w 1163960"/>
                <a:gd name="connsiteY31" fmla="*/ 0 h 1805307"/>
                <a:gd name="connsiteX32" fmla="*/ 600055 w 1163960"/>
                <a:gd name="connsiteY32" fmla="*/ 0 h 1805307"/>
                <a:gd name="connsiteX33" fmla="*/ 619818 w 1163960"/>
                <a:gd name="connsiteY33" fmla="*/ 19763 h 1805307"/>
                <a:gd name="connsiteX34" fmla="*/ 619818 w 1163960"/>
                <a:gd name="connsiteY34" fmla="*/ 115221 h 1805307"/>
                <a:gd name="connsiteX35" fmla="*/ 663060 w 1163960"/>
                <a:gd name="connsiteY35" fmla="*/ 115221 h 1805307"/>
                <a:gd name="connsiteX36" fmla="*/ 663060 w 1163960"/>
                <a:gd name="connsiteY36" fmla="*/ 264772 h 1805307"/>
                <a:gd name="connsiteX37" fmla="*/ 891526 w 1163960"/>
                <a:gd name="connsiteY37" fmla="*/ 538643 h 1805307"/>
                <a:gd name="connsiteX38" fmla="*/ 911709 w 1163960"/>
                <a:gd name="connsiteY38" fmla="*/ 538643 h 1805307"/>
                <a:gd name="connsiteX39" fmla="*/ 911709 w 1163960"/>
                <a:gd name="connsiteY39" fmla="*/ 681887 h 1805307"/>
                <a:gd name="connsiteX40" fmla="*/ 947745 w 1163960"/>
                <a:gd name="connsiteY40" fmla="*/ 681887 h 1805307"/>
                <a:gd name="connsiteX41" fmla="*/ 947745 w 1163960"/>
                <a:gd name="connsiteY41" fmla="*/ 908914 h 1805307"/>
                <a:gd name="connsiteX42" fmla="*/ 998195 w 1163960"/>
                <a:gd name="connsiteY42" fmla="*/ 908914 h 1805307"/>
                <a:gd name="connsiteX43" fmla="*/ 998195 w 1163960"/>
                <a:gd name="connsiteY43" fmla="*/ 1098778 h 1805307"/>
                <a:gd name="connsiteX44" fmla="*/ 883240 w 1163960"/>
                <a:gd name="connsiteY44" fmla="*/ 1028484 h 1805307"/>
                <a:gd name="connsiteX45" fmla="*/ 883240 w 1163960"/>
                <a:gd name="connsiteY45" fmla="*/ 774062 h 1805307"/>
                <a:gd name="connsiteX46" fmla="*/ 782510 w 1163960"/>
                <a:gd name="connsiteY46" fmla="*/ 774062 h 1805307"/>
                <a:gd name="connsiteX47" fmla="*/ 782510 w 1163960"/>
                <a:gd name="connsiteY47" fmla="*/ 966888 h 1805307"/>
                <a:gd name="connsiteX48" fmla="*/ 715978 w 1163960"/>
                <a:gd name="connsiteY48" fmla="*/ 926204 h 1805307"/>
                <a:gd name="connsiteX49" fmla="*/ 715978 w 1163960"/>
                <a:gd name="connsiteY49" fmla="*/ 774064 h 1805307"/>
                <a:gd name="connsiteX50" fmla="*/ 615248 w 1163960"/>
                <a:gd name="connsiteY50" fmla="*/ 774064 h 1805307"/>
                <a:gd name="connsiteX51" fmla="*/ 615248 w 1163960"/>
                <a:gd name="connsiteY51" fmla="*/ 864607 h 1805307"/>
                <a:gd name="connsiteX52" fmla="*/ 579059 w 1163960"/>
                <a:gd name="connsiteY52" fmla="*/ 842478 h 1805307"/>
                <a:gd name="connsiteX53" fmla="*/ 548714 w 1163960"/>
                <a:gd name="connsiteY53" fmla="*/ 861034 h 1805307"/>
                <a:gd name="connsiteX54" fmla="*/ 548714 w 1163960"/>
                <a:gd name="connsiteY54" fmla="*/ 774064 h 1805307"/>
                <a:gd name="connsiteX55" fmla="*/ 447985 w 1163960"/>
                <a:gd name="connsiteY55" fmla="*/ 774064 h 1805307"/>
                <a:gd name="connsiteX56" fmla="*/ 447985 w 1163960"/>
                <a:gd name="connsiteY56" fmla="*/ 922629 h 1805307"/>
                <a:gd name="connsiteX57" fmla="*/ 381451 w 1163960"/>
                <a:gd name="connsiteY57" fmla="*/ 963314 h 1805307"/>
                <a:gd name="connsiteX58" fmla="*/ 381451 w 1163960"/>
                <a:gd name="connsiteY58" fmla="*/ 774064 h 1805307"/>
                <a:gd name="connsiteX59" fmla="*/ 280721 w 1163960"/>
                <a:gd name="connsiteY59" fmla="*/ 774064 h 1805307"/>
                <a:gd name="connsiteX60" fmla="*/ 280721 w 1163960"/>
                <a:gd name="connsiteY60" fmla="*/ 1024911 h 1805307"/>
                <a:gd name="connsiteX61" fmla="*/ 165766 w 1163960"/>
                <a:gd name="connsiteY61" fmla="*/ 1095204 h 1805307"/>
                <a:gd name="connsiteX62" fmla="*/ 165766 w 1163960"/>
                <a:gd name="connsiteY62" fmla="*/ 908914 h 1805307"/>
                <a:gd name="connsiteX63" fmla="*/ 216215 w 1163960"/>
                <a:gd name="connsiteY63" fmla="*/ 908914 h 1805307"/>
                <a:gd name="connsiteX64" fmla="*/ 216215 w 1163960"/>
                <a:gd name="connsiteY64" fmla="*/ 681887 h 1805307"/>
                <a:gd name="connsiteX65" fmla="*/ 252251 w 1163960"/>
                <a:gd name="connsiteY65" fmla="*/ 681887 h 1805307"/>
                <a:gd name="connsiteX66" fmla="*/ 252251 w 1163960"/>
                <a:gd name="connsiteY66" fmla="*/ 538643 h 1805307"/>
                <a:gd name="connsiteX67" fmla="*/ 272434 w 1163960"/>
                <a:gd name="connsiteY67" fmla="*/ 538643 h 1805307"/>
                <a:gd name="connsiteX68" fmla="*/ 500900 w 1163960"/>
                <a:gd name="connsiteY68" fmla="*/ 264772 h 1805307"/>
                <a:gd name="connsiteX69" fmla="*/ 500900 w 1163960"/>
                <a:gd name="connsiteY69" fmla="*/ 115221 h 1805307"/>
                <a:gd name="connsiteX70" fmla="*/ 544142 w 1163960"/>
                <a:gd name="connsiteY70" fmla="*/ 115221 h 1805307"/>
                <a:gd name="connsiteX71" fmla="*/ 544142 w 1163960"/>
                <a:gd name="connsiteY71" fmla="*/ 19763 h 1805307"/>
                <a:gd name="connsiteX72" fmla="*/ 563905 w 1163960"/>
                <a:gd name="connsiteY72" fmla="*/ 0 h 180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63960" h="1805307">
                  <a:moveTo>
                    <a:pt x="990541" y="1274832"/>
                  </a:moveTo>
                  <a:lnTo>
                    <a:pt x="990541" y="1562630"/>
                  </a:lnTo>
                  <a:lnTo>
                    <a:pt x="1091271" y="1562630"/>
                  </a:lnTo>
                  <a:lnTo>
                    <a:pt x="1091271" y="1274832"/>
                  </a:lnTo>
                  <a:close/>
                  <a:moveTo>
                    <a:pt x="806970" y="1274832"/>
                  </a:moveTo>
                  <a:lnTo>
                    <a:pt x="806970" y="1562630"/>
                  </a:lnTo>
                  <a:lnTo>
                    <a:pt x="907700" y="1562630"/>
                  </a:lnTo>
                  <a:lnTo>
                    <a:pt x="907700" y="1274832"/>
                  </a:lnTo>
                  <a:close/>
                  <a:moveTo>
                    <a:pt x="623400" y="1274832"/>
                  </a:moveTo>
                  <a:lnTo>
                    <a:pt x="623400" y="1562630"/>
                  </a:lnTo>
                  <a:lnTo>
                    <a:pt x="724130" y="1562630"/>
                  </a:lnTo>
                  <a:lnTo>
                    <a:pt x="724130" y="1274832"/>
                  </a:lnTo>
                  <a:close/>
                  <a:moveTo>
                    <a:pt x="439830" y="1274832"/>
                  </a:moveTo>
                  <a:lnTo>
                    <a:pt x="439830" y="1562630"/>
                  </a:lnTo>
                  <a:lnTo>
                    <a:pt x="540560" y="1562630"/>
                  </a:lnTo>
                  <a:lnTo>
                    <a:pt x="540560" y="1274832"/>
                  </a:lnTo>
                  <a:close/>
                  <a:moveTo>
                    <a:pt x="256260" y="1274832"/>
                  </a:moveTo>
                  <a:lnTo>
                    <a:pt x="256260" y="1562630"/>
                  </a:lnTo>
                  <a:lnTo>
                    <a:pt x="356990" y="1562630"/>
                  </a:lnTo>
                  <a:lnTo>
                    <a:pt x="356990" y="1274832"/>
                  </a:lnTo>
                  <a:close/>
                  <a:moveTo>
                    <a:pt x="72690" y="1274832"/>
                  </a:moveTo>
                  <a:lnTo>
                    <a:pt x="72690" y="1562630"/>
                  </a:lnTo>
                  <a:lnTo>
                    <a:pt x="173420" y="1562630"/>
                  </a:lnTo>
                  <a:lnTo>
                    <a:pt x="173420" y="1274832"/>
                  </a:lnTo>
                  <a:close/>
                  <a:moveTo>
                    <a:pt x="579059" y="937467"/>
                  </a:moveTo>
                  <a:lnTo>
                    <a:pt x="1062364" y="1232336"/>
                  </a:lnTo>
                  <a:lnTo>
                    <a:pt x="1163960" y="1232336"/>
                  </a:lnTo>
                  <a:lnTo>
                    <a:pt x="1163960" y="1805307"/>
                  </a:lnTo>
                  <a:lnTo>
                    <a:pt x="0" y="1805307"/>
                  </a:lnTo>
                  <a:lnTo>
                    <a:pt x="0" y="1232336"/>
                  </a:lnTo>
                  <a:lnTo>
                    <a:pt x="101596" y="1232336"/>
                  </a:lnTo>
                  <a:close/>
                  <a:moveTo>
                    <a:pt x="563905" y="0"/>
                  </a:moveTo>
                  <a:lnTo>
                    <a:pt x="600055" y="0"/>
                  </a:lnTo>
                  <a:cubicBezTo>
                    <a:pt x="610970" y="0"/>
                    <a:pt x="619818" y="8848"/>
                    <a:pt x="619818" y="19763"/>
                  </a:cubicBezTo>
                  <a:lnTo>
                    <a:pt x="619818" y="115221"/>
                  </a:lnTo>
                  <a:lnTo>
                    <a:pt x="663060" y="115221"/>
                  </a:lnTo>
                  <a:lnTo>
                    <a:pt x="663060" y="264772"/>
                  </a:lnTo>
                  <a:cubicBezTo>
                    <a:pt x="792316" y="289557"/>
                    <a:pt x="890126" y="402518"/>
                    <a:pt x="891526" y="538643"/>
                  </a:cubicBezTo>
                  <a:lnTo>
                    <a:pt x="911709" y="538643"/>
                  </a:lnTo>
                  <a:lnTo>
                    <a:pt x="911709" y="681887"/>
                  </a:lnTo>
                  <a:lnTo>
                    <a:pt x="947745" y="681887"/>
                  </a:lnTo>
                  <a:lnTo>
                    <a:pt x="947745" y="908914"/>
                  </a:lnTo>
                  <a:lnTo>
                    <a:pt x="998195" y="908914"/>
                  </a:lnTo>
                  <a:lnTo>
                    <a:pt x="998195" y="1098778"/>
                  </a:lnTo>
                  <a:lnTo>
                    <a:pt x="883240" y="1028484"/>
                  </a:lnTo>
                  <a:lnTo>
                    <a:pt x="883240" y="774062"/>
                  </a:lnTo>
                  <a:lnTo>
                    <a:pt x="782510" y="774062"/>
                  </a:lnTo>
                  <a:lnTo>
                    <a:pt x="782510" y="966888"/>
                  </a:lnTo>
                  <a:lnTo>
                    <a:pt x="715978" y="926204"/>
                  </a:lnTo>
                  <a:lnTo>
                    <a:pt x="715978" y="774064"/>
                  </a:lnTo>
                  <a:lnTo>
                    <a:pt x="615248" y="774064"/>
                  </a:lnTo>
                  <a:lnTo>
                    <a:pt x="615248" y="864607"/>
                  </a:lnTo>
                  <a:lnTo>
                    <a:pt x="579059" y="842478"/>
                  </a:lnTo>
                  <a:lnTo>
                    <a:pt x="548714" y="861034"/>
                  </a:lnTo>
                  <a:lnTo>
                    <a:pt x="548714" y="774064"/>
                  </a:lnTo>
                  <a:lnTo>
                    <a:pt x="447985" y="774064"/>
                  </a:lnTo>
                  <a:lnTo>
                    <a:pt x="447985" y="922629"/>
                  </a:lnTo>
                  <a:lnTo>
                    <a:pt x="381451" y="963314"/>
                  </a:lnTo>
                  <a:lnTo>
                    <a:pt x="381451" y="774064"/>
                  </a:lnTo>
                  <a:lnTo>
                    <a:pt x="280721" y="774064"/>
                  </a:lnTo>
                  <a:lnTo>
                    <a:pt x="280721" y="1024911"/>
                  </a:lnTo>
                  <a:lnTo>
                    <a:pt x="165766" y="1095204"/>
                  </a:lnTo>
                  <a:lnTo>
                    <a:pt x="165766" y="908914"/>
                  </a:lnTo>
                  <a:lnTo>
                    <a:pt x="216215" y="908914"/>
                  </a:lnTo>
                  <a:lnTo>
                    <a:pt x="216215" y="681887"/>
                  </a:lnTo>
                  <a:lnTo>
                    <a:pt x="252251" y="681887"/>
                  </a:lnTo>
                  <a:lnTo>
                    <a:pt x="252251" y="538643"/>
                  </a:lnTo>
                  <a:lnTo>
                    <a:pt x="272434" y="538643"/>
                  </a:lnTo>
                  <a:cubicBezTo>
                    <a:pt x="273834" y="402518"/>
                    <a:pt x="371644" y="289557"/>
                    <a:pt x="500900" y="264772"/>
                  </a:cubicBezTo>
                  <a:lnTo>
                    <a:pt x="500900" y="115221"/>
                  </a:lnTo>
                  <a:lnTo>
                    <a:pt x="544142" y="115221"/>
                  </a:lnTo>
                  <a:lnTo>
                    <a:pt x="544142" y="19763"/>
                  </a:lnTo>
                  <a:cubicBezTo>
                    <a:pt x="544142" y="8848"/>
                    <a:pt x="552990" y="0"/>
                    <a:pt x="563905"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74" name="Rectangle 73"/>
            <p:cNvSpPr/>
            <p:nvPr/>
          </p:nvSpPr>
          <p:spPr>
            <a:xfrm>
              <a:off x="9753600" y="1538288"/>
              <a:ext cx="80963" cy="64580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75" name="Rectangle 74"/>
            <p:cNvSpPr/>
            <p:nvPr/>
          </p:nvSpPr>
          <p:spPr>
            <a:xfrm>
              <a:off x="11121441" y="1538288"/>
              <a:ext cx="80963" cy="64580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grpSp>
      <p:grpSp>
        <p:nvGrpSpPr>
          <p:cNvPr id="78" name="Group 77"/>
          <p:cNvGrpSpPr>
            <a:grpSpLocks noChangeAspect="1"/>
          </p:cNvGrpSpPr>
          <p:nvPr/>
        </p:nvGrpSpPr>
        <p:grpSpPr bwMode="black">
          <a:xfrm>
            <a:off x="8111764" y="2300979"/>
            <a:ext cx="168386" cy="411480"/>
            <a:chOff x="3233738" y="168276"/>
            <a:chExt cx="2651125" cy="6480174"/>
          </a:xfrm>
          <a:solidFill>
            <a:srgbClr val="5E83BD"/>
          </a:solidFill>
        </p:grpSpPr>
        <p:sp>
          <p:nvSpPr>
            <p:cNvPr id="79"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0"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81"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pic>
        <p:nvPicPr>
          <p:cNvPr id="82" name="Picture 7" descr="\\MAGNUM\Projects\Microsoft\Cloud Power FY12\Design\Icons\PNGs\Repair.png"/>
          <p:cNvPicPr>
            <a:picLocks noChangeAspect="1" noChangeArrowheads="1"/>
          </p:cNvPicPr>
          <p:nvPr/>
        </p:nvPicPr>
        <p:blipFill>
          <a:blip r:embed="rId9" cstate="print">
            <a:duotone>
              <a:schemeClr val="accent1">
                <a:shade val="45000"/>
                <a:satMod val="135000"/>
              </a:schemeClr>
              <a:prstClr val="white"/>
            </a:duotone>
            <a:extLst>
              <a:ext uri="{BEBA8EAE-BF5A-486C-A8C5-ECC9F3942E4B}">
                <a14:imgProps xmlns:a14="http://schemas.microsoft.com/office/drawing/2010/main">
                  <a14:imgLayer r:embed="rId10">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7928560" y="2869674"/>
            <a:ext cx="541740" cy="541740"/>
          </a:xfrm>
          <a:prstGeom prst="rect">
            <a:avLst/>
          </a:prstGeom>
          <a:noFill/>
        </p:spPr>
      </p:pic>
      <p:pic>
        <p:nvPicPr>
          <p:cNvPr id="83" name="Picture 47" descr="C:\Users\sakuu\Documents\Ballmer MGX 2011\Tile Icons\Calendar.png"/>
          <p:cNvPicPr>
            <a:picLocks noChangeAspect="1" noChangeArrowheads="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rightnessContrast bright="-82000" contrast="-40000"/>
                    </a14:imgEffect>
                  </a14:imgLayer>
                </a14:imgProps>
              </a:ext>
              <a:ext uri="{28A0092B-C50C-407E-A947-70E740481C1C}">
                <a14:useLocalDpi xmlns:a14="http://schemas.microsoft.com/office/drawing/2010/main"/>
              </a:ext>
            </a:extLst>
          </a:blip>
          <a:srcRect/>
          <a:stretch>
            <a:fillRect/>
          </a:stretch>
        </p:blipFill>
        <p:spPr bwMode="black">
          <a:xfrm>
            <a:off x="7225192" y="2338723"/>
            <a:ext cx="365760" cy="334724"/>
          </a:xfrm>
          <a:prstGeom prst="rect">
            <a:avLst/>
          </a:prstGeom>
          <a:noFill/>
          <a:extLst/>
        </p:spPr>
      </p:pic>
      <p:grpSp>
        <p:nvGrpSpPr>
          <p:cNvPr id="86" name="Group 85"/>
          <p:cNvGrpSpPr>
            <a:grpSpLocks noChangeAspect="1"/>
          </p:cNvGrpSpPr>
          <p:nvPr/>
        </p:nvGrpSpPr>
        <p:grpSpPr>
          <a:xfrm>
            <a:off x="7091880" y="3020316"/>
            <a:ext cx="626974" cy="299528"/>
            <a:chOff x="335107" y="1984056"/>
            <a:chExt cx="8623119" cy="4119564"/>
          </a:xfrm>
          <a:solidFill>
            <a:srgbClr val="4266A0"/>
          </a:solidFill>
        </p:grpSpPr>
        <p:sp>
          <p:nvSpPr>
            <p:cNvPr id="87" name="Freeform 86"/>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8" name="Man's Body"/>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89" name="Man's Body"/>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90" name="Man's Body"/>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91" name="Man's Body"/>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92" name="Man's Body"/>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93" name="Man's Body"/>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94" name="Freeform 93"/>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5" name="Freeform 94"/>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05" name="Group 104"/>
          <p:cNvGrpSpPr>
            <a:grpSpLocks noChangeAspect="1"/>
          </p:cNvGrpSpPr>
          <p:nvPr/>
        </p:nvGrpSpPr>
        <p:grpSpPr bwMode="black">
          <a:xfrm>
            <a:off x="9539302" y="2756756"/>
            <a:ext cx="168386" cy="411480"/>
            <a:chOff x="3233738" y="168276"/>
            <a:chExt cx="2651125" cy="6480174"/>
          </a:xfrm>
          <a:solidFill>
            <a:srgbClr val="5E83BD"/>
          </a:solidFill>
        </p:grpSpPr>
        <p:sp>
          <p:nvSpPr>
            <p:cNvPr id="119"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20"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21"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126" name="Down Arrow 28"/>
          <p:cNvSpPr>
            <a:spLocks noChangeAspect="1"/>
          </p:cNvSpPr>
          <p:nvPr/>
        </p:nvSpPr>
        <p:spPr>
          <a:xfrm>
            <a:off x="11322964" y="2777521"/>
            <a:ext cx="355934" cy="411480"/>
          </a:xfrm>
          <a:custGeom>
            <a:avLst/>
            <a:gdLst/>
            <a:ahLst/>
            <a:cxnLst/>
            <a:rect l="l" t="t" r="r" b="b"/>
            <a:pathLst>
              <a:path w="2019300" h="2334427">
                <a:moveTo>
                  <a:pt x="968576" y="1329015"/>
                </a:moveTo>
                <a:lnTo>
                  <a:pt x="1127023" y="1636940"/>
                </a:lnTo>
                <a:lnTo>
                  <a:pt x="1026873" y="1636940"/>
                </a:lnTo>
                <a:lnTo>
                  <a:pt x="1026873" y="1711680"/>
                </a:lnTo>
                <a:lnTo>
                  <a:pt x="1161403" y="1711680"/>
                </a:lnTo>
                <a:lnTo>
                  <a:pt x="1161403" y="1761007"/>
                </a:lnTo>
                <a:lnTo>
                  <a:pt x="1026873" y="1761007"/>
                </a:lnTo>
                <a:lnTo>
                  <a:pt x="1026873" y="1831262"/>
                </a:lnTo>
                <a:lnTo>
                  <a:pt x="1158414" y="1831262"/>
                </a:lnTo>
                <a:lnTo>
                  <a:pt x="1158414" y="1940381"/>
                </a:lnTo>
                <a:lnTo>
                  <a:pt x="1354230" y="1940381"/>
                </a:lnTo>
                <a:lnTo>
                  <a:pt x="1354230" y="1831262"/>
                </a:lnTo>
                <a:lnTo>
                  <a:pt x="1478297" y="1831262"/>
                </a:lnTo>
                <a:lnTo>
                  <a:pt x="1478297" y="1759513"/>
                </a:lnTo>
                <a:lnTo>
                  <a:pt x="1354230" y="1759513"/>
                </a:lnTo>
                <a:lnTo>
                  <a:pt x="1354230" y="1711680"/>
                </a:lnTo>
                <a:lnTo>
                  <a:pt x="1479792" y="1711680"/>
                </a:lnTo>
                <a:lnTo>
                  <a:pt x="1479792" y="1636940"/>
                </a:lnTo>
                <a:lnTo>
                  <a:pt x="1385621" y="1636940"/>
                </a:lnTo>
                <a:lnTo>
                  <a:pt x="1548464" y="1329484"/>
                </a:lnTo>
                <a:lnTo>
                  <a:pt x="1366960" y="1329015"/>
                </a:lnTo>
                <a:lnTo>
                  <a:pt x="1260059" y="1562201"/>
                </a:lnTo>
                <a:lnTo>
                  <a:pt x="1162898" y="1329015"/>
                </a:lnTo>
                <a:close/>
                <a:moveTo>
                  <a:pt x="788778" y="1313347"/>
                </a:moveTo>
                <a:cubicBezTo>
                  <a:pt x="653978" y="1319885"/>
                  <a:pt x="627201" y="1386882"/>
                  <a:pt x="609166" y="1426624"/>
                </a:cubicBezTo>
                <a:cubicBezTo>
                  <a:pt x="587816" y="1473674"/>
                  <a:pt x="603155" y="1541131"/>
                  <a:pt x="613772" y="1575897"/>
                </a:cubicBezTo>
                <a:lnTo>
                  <a:pt x="546284" y="1575897"/>
                </a:lnTo>
                <a:lnTo>
                  <a:pt x="546284" y="1674334"/>
                </a:lnTo>
                <a:lnTo>
                  <a:pt x="631032" y="1674334"/>
                </a:lnTo>
                <a:cubicBezTo>
                  <a:pt x="637642" y="1766331"/>
                  <a:pt x="570706" y="1807983"/>
                  <a:pt x="543933" y="1832128"/>
                </a:cubicBezTo>
                <a:lnTo>
                  <a:pt x="582721" y="1936149"/>
                </a:lnTo>
                <a:cubicBezTo>
                  <a:pt x="672122" y="1869520"/>
                  <a:pt x="735078" y="1911981"/>
                  <a:pt x="854232" y="1937912"/>
                </a:cubicBezTo>
                <a:cubicBezTo>
                  <a:pt x="911678" y="1946213"/>
                  <a:pt x="943780" y="1932476"/>
                  <a:pt x="993513" y="1913229"/>
                </a:cubicBezTo>
                <a:lnTo>
                  <a:pt x="950465" y="1812294"/>
                </a:lnTo>
                <a:cubicBezTo>
                  <a:pt x="875976" y="1851522"/>
                  <a:pt x="825166" y="1824709"/>
                  <a:pt x="796051" y="1819787"/>
                </a:cubicBezTo>
                <a:cubicBezTo>
                  <a:pt x="758960" y="1813517"/>
                  <a:pt x="747273" y="1801716"/>
                  <a:pt x="683215" y="1818024"/>
                </a:cubicBezTo>
                <a:cubicBezTo>
                  <a:pt x="720216" y="1782485"/>
                  <a:pt x="747754" y="1738212"/>
                  <a:pt x="748395" y="1674334"/>
                </a:cubicBezTo>
                <a:lnTo>
                  <a:pt x="857758" y="1674334"/>
                </a:lnTo>
                <a:lnTo>
                  <a:pt x="857758" y="1575897"/>
                </a:lnTo>
                <a:lnTo>
                  <a:pt x="728575" y="1575897"/>
                </a:lnTo>
                <a:cubicBezTo>
                  <a:pt x="678393" y="1415177"/>
                  <a:pt x="764043" y="1410847"/>
                  <a:pt x="774894" y="1407230"/>
                </a:cubicBezTo>
                <a:cubicBezTo>
                  <a:pt x="826904" y="1396505"/>
                  <a:pt x="863488" y="1440875"/>
                  <a:pt x="864810" y="1491857"/>
                </a:cubicBezTo>
                <a:lnTo>
                  <a:pt x="979409" y="1477753"/>
                </a:lnTo>
                <a:cubicBezTo>
                  <a:pt x="959207" y="1320840"/>
                  <a:pt x="832120" y="1313420"/>
                  <a:pt x="788778" y="1313347"/>
                </a:cubicBezTo>
                <a:close/>
                <a:moveTo>
                  <a:pt x="675630" y="549581"/>
                </a:moveTo>
                <a:lnTo>
                  <a:pt x="676815" y="619485"/>
                </a:lnTo>
                <a:cubicBezTo>
                  <a:pt x="643245" y="622447"/>
                  <a:pt x="561690" y="648513"/>
                  <a:pt x="547670" y="729673"/>
                </a:cubicBezTo>
                <a:cubicBezTo>
                  <a:pt x="516470" y="888834"/>
                  <a:pt x="690243" y="900485"/>
                  <a:pt x="713544" y="933462"/>
                </a:cubicBezTo>
                <a:cubicBezTo>
                  <a:pt x="730329" y="947877"/>
                  <a:pt x="729342" y="985397"/>
                  <a:pt x="694587" y="989149"/>
                </a:cubicBezTo>
                <a:cubicBezTo>
                  <a:pt x="658845" y="992703"/>
                  <a:pt x="594075" y="977300"/>
                  <a:pt x="550039" y="939386"/>
                </a:cubicBezTo>
                <a:lnTo>
                  <a:pt x="550039" y="1066162"/>
                </a:lnTo>
                <a:cubicBezTo>
                  <a:pt x="571564" y="1080380"/>
                  <a:pt x="629225" y="1093413"/>
                  <a:pt x="676815" y="1094597"/>
                </a:cubicBezTo>
                <a:lnTo>
                  <a:pt x="676815" y="1160947"/>
                </a:lnTo>
                <a:lnTo>
                  <a:pt x="757382" y="1160947"/>
                </a:lnTo>
                <a:lnTo>
                  <a:pt x="757382" y="1085119"/>
                </a:lnTo>
                <a:cubicBezTo>
                  <a:pt x="788583" y="1076233"/>
                  <a:pt x="868360" y="1047205"/>
                  <a:pt x="875864" y="957158"/>
                </a:cubicBezTo>
                <a:cubicBezTo>
                  <a:pt x="891267" y="827816"/>
                  <a:pt x="721246" y="800960"/>
                  <a:pt x="701696" y="773512"/>
                </a:cubicBezTo>
                <a:cubicBezTo>
                  <a:pt x="686096" y="762848"/>
                  <a:pt x="684121" y="732636"/>
                  <a:pt x="706435" y="723749"/>
                </a:cubicBezTo>
                <a:cubicBezTo>
                  <a:pt x="729144" y="708939"/>
                  <a:pt x="798654" y="722565"/>
                  <a:pt x="854537" y="752185"/>
                </a:cubicBezTo>
                <a:lnTo>
                  <a:pt x="854537" y="630149"/>
                </a:lnTo>
                <a:cubicBezTo>
                  <a:pt x="821758" y="620868"/>
                  <a:pt x="793717" y="615734"/>
                  <a:pt x="756198" y="614746"/>
                </a:cubicBezTo>
                <a:lnTo>
                  <a:pt x="756198" y="549581"/>
                </a:lnTo>
                <a:close/>
                <a:moveTo>
                  <a:pt x="1334533" y="545575"/>
                </a:moveTo>
                <a:cubicBezTo>
                  <a:pt x="1203526" y="553844"/>
                  <a:pt x="1106677" y="654420"/>
                  <a:pt x="1086074" y="763130"/>
                </a:cubicBezTo>
                <a:lnTo>
                  <a:pt x="1040530" y="763130"/>
                </a:lnTo>
                <a:lnTo>
                  <a:pt x="1026433" y="826024"/>
                </a:lnTo>
                <a:lnTo>
                  <a:pt x="1078484" y="826024"/>
                </a:lnTo>
                <a:cubicBezTo>
                  <a:pt x="1078845" y="844097"/>
                  <a:pt x="1079206" y="862170"/>
                  <a:pt x="1079568" y="880243"/>
                </a:cubicBezTo>
                <a:lnTo>
                  <a:pt x="1038361" y="880243"/>
                </a:lnTo>
                <a:lnTo>
                  <a:pt x="1027518" y="942053"/>
                </a:lnTo>
                <a:lnTo>
                  <a:pt x="1086074" y="942053"/>
                </a:lnTo>
                <a:cubicBezTo>
                  <a:pt x="1103424" y="1053383"/>
                  <a:pt x="1234996" y="1226884"/>
                  <a:pt x="1472114" y="1135073"/>
                </a:cubicBezTo>
                <a:cubicBezTo>
                  <a:pt x="1472114" y="1065311"/>
                  <a:pt x="1471210" y="1045611"/>
                  <a:pt x="1472114" y="1009285"/>
                </a:cubicBezTo>
                <a:cubicBezTo>
                  <a:pt x="1396388" y="1088987"/>
                  <a:pt x="1232827" y="1073444"/>
                  <a:pt x="1212947" y="943137"/>
                </a:cubicBezTo>
                <a:lnTo>
                  <a:pt x="1396207" y="943137"/>
                </a:lnTo>
                <a:lnTo>
                  <a:pt x="1408135" y="878074"/>
                </a:lnTo>
                <a:lnTo>
                  <a:pt x="1204272" y="878074"/>
                </a:lnTo>
                <a:lnTo>
                  <a:pt x="1203187" y="827108"/>
                </a:lnTo>
                <a:lnTo>
                  <a:pt x="1421148" y="827108"/>
                </a:lnTo>
                <a:lnTo>
                  <a:pt x="1433076" y="762045"/>
                </a:lnTo>
                <a:lnTo>
                  <a:pt x="1211862" y="762045"/>
                </a:lnTo>
                <a:cubicBezTo>
                  <a:pt x="1217284" y="693006"/>
                  <a:pt x="1329698" y="594327"/>
                  <a:pt x="1449342" y="682885"/>
                </a:cubicBezTo>
                <a:lnTo>
                  <a:pt x="1475367" y="571194"/>
                </a:lnTo>
                <a:cubicBezTo>
                  <a:pt x="1425666" y="550320"/>
                  <a:pt x="1378202" y="542819"/>
                  <a:pt x="1334533" y="545575"/>
                </a:cubicBezTo>
                <a:close/>
                <a:moveTo>
                  <a:pt x="428627" y="475147"/>
                </a:moveTo>
                <a:lnTo>
                  <a:pt x="1590673" y="475147"/>
                </a:lnTo>
                <a:lnTo>
                  <a:pt x="1590673" y="1645062"/>
                </a:lnTo>
                <a:lnTo>
                  <a:pt x="2019300" y="1645062"/>
                </a:lnTo>
                <a:lnTo>
                  <a:pt x="1009650" y="2334427"/>
                </a:lnTo>
                <a:lnTo>
                  <a:pt x="0" y="1645062"/>
                </a:lnTo>
                <a:lnTo>
                  <a:pt x="428627" y="1645062"/>
                </a:lnTo>
                <a:close/>
                <a:moveTo>
                  <a:pt x="1431495" y="335756"/>
                </a:moveTo>
                <a:cubicBezTo>
                  <a:pt x="1419701" y="335756"/>
                  <a:pt x="1410140" y="354877"/>
                  <a:pt x="1410140" y="378464"/>
                </a:cubicBezTo>
                <a:cubicBezTo>
                  <a:pt x="1410140" y="402051"/>
                  <a:pt x="1419701" y="421172"/>
                  <a:pt x="1431495" y="421172"/>
                </a:cubicBezTo>
                <a:cubicBezTo>
                  <a:pt x="1443289" y="421172"/>
                  <a:pt x="1452850" y="402051"/>
                  <a:pt x="1452850" y="378464"/>
                </a:cubicBezTo>
                <a:cubicBezTo>
                  <a:pt x="1452850" y="354877"/>
                  <a:pt x="1443289" y="335756"/>
                  <a:pt x="1431495" y="335756"/>
                </a:cubicBezTo>
                <a:close/>
                <a:moveTo>
                  <a:pt x="1191024" y="335756"/>
                </a:moveTo>
                <a:cubicBezTo>
                  <a:pt x="1179230" y="335756"/>
                  <a:pt x="1169669" y="354877"/>
                  <a:pt x="1169669" y="378464"/>
                </a:cubicBezTo>
                <a:cubicBezTo>
                  <a:pt x="1169669" y="402051"/>
                  <a:pt x="1179230" y="421172"/>
                  <a:pt x="1191024" y="421172"/>
                </a:cubicBezTo>
                <a:cubicBezTo>
                  <a:pt x="1202818" y="421172"/>
                  <a:pt x="1212379" y="402051"/>
                  <a:pt x="1212379" y="378464"/>
                </a:cubicBezTo>
                <a:cubicBezTo>
                  <a:pt x="1212379" y="354877"/>
                  <a:pt x="1202818" y="335756"/>
                  <a:pt x="1191024" y="335756"/>
                </a:cubicBezTo>
                <a:close/>
                <a:moveTo>
                  <a:pt x="715621" y="335756"/>
                </a:moveTo>
                <a:cubicBezTo>
                  <a:pt x="703827" y="335756"/>
                  <a:pt x="694266" y="354877"/>
                  <a:pt x="694266" y="378464"/>
                </a:cubicBezTo>
                <a:cubicBezTo>
                  <a:pt x="694266" y="402051"/>
                  <a:pt x="703827" y="421172"/>
                  <a:pt x="715621" y="421172"/>
                </a:cubicBezTo>
                <a:cubicBezTo>
                  <a:pt x="727415" y="421172"/>
                  <a:pt x="736976" y="402051"/>
                  <a:pt x="736976" y="378464"/>
                </a:cubicBezTo>
                <a:cubicBezTo>
                  <a:pt x="736976" y="354877"/>
                  <a:pt x="727415" y="335756"/>
                  <a:pt x="715621" y="335756"/>
                </a:cubicBezTo>
                <a:close/>
                <a:moveTo>
                  <a:pt x="475150" y="335756"/>
                </a:moveTo>
                <a:cubicBezTo>
                  <a:pt x="463356" y="335756"/>
                  <a:pt x="453795" y="354877"/>
                  <a:pt x="453795" y="378464"/>
                </a:cubicBezTo>
                <a:cubicBezTo>
                  <a:pt x="453795" y="402051"/>
                  <a:pt x="463356" y="421172"/>
                  <a:pt x="475150" y="421172"/>
                </a:cubicBezTo>
                <a:cubicBezTo>
                  <a:pt x="486944" y="421172"/>
                  <a:pt x="496505" y="402051"/>
                  <a:pt x="496505" y="378464"/>
                </a:cubicBezTo>
                <a:cubicBezTo>
                  <a:pt x="496505" y="354877"/>
                  <a:pt x="486944" y="335756"/>
                  <a:pt x="475150" y="335756"/>
                </a:cubicBezTo>
                <a:close/>
                <a:moveTo>
                  <a:pt x="1325166" y="314326"/>
                </a:moveTo>
                <a:lnTo>
                  <a:pt x="1325166" y="421601"/>
                </a:lnTo>
                <a:lnTo>
                  <a:pt x="1351275" y="421601"/>
                </a:lnTo>
                <a:lnTo>
                  <a:pt x="1351275" y="442602"/>
                </a:lnTo>
                <a:lnTo>
                  <a:pt x="1271244" y="442602"/>
                </a:lnTo>
                <a:lnTo>
                  <a:pt x="1271244" y="422169"/>
                </a:lnTo>
                <a:lnTo>
                  <a:pt x="1297353" y="422169"/>
                </a:lnTo>
                <a:lnTo>
                  <a:pt x="1297353" y="342705"/>
                </a:lnTo>
                <a:lnTo>
                  <a:pt x="1271244" y="347246"/>
                </a:lnTo>
                <a:lnTo>
                  <a:pt x="1271244" y="325110"/>
                </a:lnTo>
                <a:close/>
                <a:moveTo>
                  <a:pt x="1084695" y="314326"/>
                </a:moveTo>
                <a:lnTo>
                  <a:pt x="1084695" y="421601"/>
                </a:lnTo>
                <a:lnTo>
                  <a:pt x="1110804" y="421601"/>
                </a:lnTo>
                <a:lnTo>
                  <a:pt x="1110804" y="442602"/>
                </a:lnTo>
                <a:lnTo>
                  <a:pt x="1030773" y="442602"/>
                </a:lnTo>
                <a:lnTo>
                  <a:pt x="1030773" y="422169"/>
                </a:lnTo>
                <a:lnTo>
                  <a:pt x="1056883" y="422169"/>
                </a:lnTo>
                <a:lnTo>
                  <a:pt x="1056883" y="342705"/>
                </a:lnTo>
                <a:lnTo>
                  <a:pt x="1030773" y="347246"/>
                </a:lnTo>
                <a:lnTo>
                  <a:pt x="1030773" y="325110"/>
                </a:lnTo>
                <a:close/>
                <a:moveTo>
                  <a:pt x="967229" y="314326"/>
                </a:moveTo>
                <a:lnTo>
                  <a:pt x="967229" y="421601"/>
                </a:lnTo>
                <a:lnTo>
                  <a:pt x="993338" y="421601"/>
                </a:lnTo>
                <a:lnTo>
                  <a:pt x="993338" y="442602"/>
                </a:lnTo>
                <a:lnTo>
                  <a:pt x="913307" y="442602"/>
                </a:lnTo>
                <a:lnTo>
                  <a:pt x="913307" y="422169"/>
                </a:lnTo>
                <a:lnTo>
                  <a:pt x="939417" y="422169"/>
                </a:lnTo>
                <a:lnTo>
                  <a:pt x="939417" y="342705"/>
                </a:lnTo>
                <a:lnTo>
                  <a:pt x="913307" y="347246"/>
                </a:lnTo>
                <a:lnTo>
                  <a:pt x="913307" y="325110"/>
                </a:lnTo>
                <a:close/>
                <a:moveTo>
                  <a:pt x="849763" y="314326"/>
                </a:moveTo>
                <a:lnTo>
                  <a:pt x="849763" y="421601"/>
                </a:lnTo>
                <a:lnTo>
                  <a:pt x="875872" y="421601"/>
                </a:lnTo>
                <a:lnTo>
                  <a:pt x="875872" y="442602"/>
                </a:lnTo>
                <a:lnTo>
                  <a:pt x="795841" y="442602"/>
                </a:lnTo>
                <a:lnTo>
                  <a:pt x="795841" y="422169"/>
                </a:lnTo>
                <a:lnTo>
                  <a:pt x="821951" y="422169"/>
                </a:lnTo>
                <a:lnTo>
                  <a:pt x="821951" y="342705"/>
                </a:lnTo>
                <a:lnTo>
                  <a:pt x="795841" y="347246"/>
                </a:lnTo>
                <a:lnTo>
                  <a:pt x="795841" y="325110"/>
                </a:lnTo>
                <a:close/>
                <a:moveTo>
                  <a:pt x="609292" y="314326"/>
                </a:moveTo>
                <a:lnTo>
                  <a:pt x="609292" y="421601"/>
                </a:lnTo>
                <a:lnTo>
                  <a:pt x="635401" y="421601"/>
                </a:lnTo>
                <a:lnTo>
                  <a:pt x="635401" y="442602"/>
                </a:lnTo>
                <a:lnTo>
                  <a:pt x="555370" y="442602"/>
                </a:lnTo>
                <a:lnTo>
                  <a:pt x="555370" y="422169"/>
                </a:lnTo>
                <a:lnTo>
                  <a:pt x="581480" y="422169"/>
                </a:lnTo>
                <a:lnTo>
                  <a:pt x="581480" y="342705"/>
                </a:lnTo>
                <a:lnTo>
                  <a:pt x="555370" y="347246"/>
                </a:lnTo>
                <a:lnTo>
                  <a:pt x="555370" y="325110"/>
                </a:lnTo>
                <a:close/>
                <a:moveTo>
                  <a:pt x="1565634" y="314325"/>
                </a:moveTo>
                <a:lnTo>
                  <a:pt x="1565634" y="421600"/>
                </a:lnTo>
                <a:lnTo>
                  <a:pt x="1591743" y="421600"/>
                </a:lnTo>
                <a:lnTo>
                  <a:pt x="1591743" y="442601"/>
                </a:lnTo>
                <a:lnTo>
                  <a:pt x="1511712" y="442601"/>
                </a:lnTo>
                <a:lnTo>
                  <a:pt x="1511712" y="422168"/>
                </a:lnTo>
                <a:lnTo>
                  <a:pt x="1537821" y="422168"/>
                </a:lnTo>
                <a:lnTo>
                  <a:pt x="1537821" y="342704"/>
                </a:lnTo>
                <a:lnTo>
                  <a:pt x="1511712" y="347245"/>
                </a:lnTo>
                <a:lnTo>
                  <a:pt x="1511712" y="325109"/>
                </a:lnTo>
                <a:close/>
                <a:moveTo>
                  <a:pt x="1431495" y="314325"/>
                </a:moveTo>
                <a:cubicBezTo>
                  <a:pt x="1455125" y="314325"/>
                  <a:pt x="1474280" y="343041"/>
                  <a:pt x="1474280" y="378464"/>
                </a:cubicBezTo>
                <a:cubicBezTo>
                  <a:pt x="1474280" y="413887"/>
                  <a:pt x="1455125" y="442603"/>
                  <a:pt x="1431495" y="442603"/>
                </a:cubicBezTo>
                <a:cubicBezTo>
                  <a:pt x="1407865" y="442603"/>
                  <a:pt x="1388710" y="413887"/>
                  <a:pt x="1388710" y="378464"/>
                </a:cubicBezTo>
                <a:cubicBezTo>
                  <a:pt x="1388710" y="343041"/>
                  <a:pt x="1407865" y="314325"/>
                  <a:pt x="1431495" y="314325"/>
                </a:cubicBezTo>
                <a:close/>
                <a:moveTo>
                  <a:pt x="1191024" y="314325"/>
                </a:moveTo>
                <a:cubicBezTo>
                  <a:pt x="1214654" y="314325"/>
                  <a:pt x="1233809" y="343041"/>
                  <a:pt x="1233809" y="378464"/>
                </a:cubicBezTo>
                <a:cubicBezTo>
                  <a:pt x="1233809" y="413887"/>
                  <a:pt x="1214654" y="442603"/>
                  <a:pt x="1191024" y="442603"/>
                </a:cubicBezTo>
                <a:cubicBezTo>
                  <a:pt x="1167394" y="442603"/>
                  <a:pt x="1148239" y="413887"/>
                  <a:pt x="1148239" y="378464"/>
                </a:cubicBezTo>
                <a:cubicBezTo>
                  <a:pt x="1148239" y="343041"/>
                  <a:pt x="1167394" y="314325"/>
                  <a:pt x="1191024" y="314325"/>
                </a:cubicBezTo>
                <a:close/>
                <a:moveTo>
                  <a:pt x="715621" y="314325"/>
                </a:moveTo>
                <a:cubicBezTo>
                  <a:pt x="739251" y="314325"/>
                  <a:pt x="758406" y="343041"/>
                  <a:pt x="758406" y="378464"/>
                </a:cubicBezTo>
                <a:cubicBezTo>
                  <a:pt x="758406" y="413887"/>
                  <a:pt x="739251" y="442603"/>
                  <a:pt x="715621" y="442603"/>
                </a:cubicBezTo>
                <a:cubicBezTo>
                  <a:pt x="691991" y="442603"/>
                  <a:pt x="672836" y="413887"/>
                  <a:pt x="672836" y="378464"/>
                </a:cubicBezTo>
                <a:cubicBezTo>
                  <a:pt x="672836" y="343041"/>
                  <a:pt x="691991" y="314325"/>
                  <a:pt x="715621" y="314325"/>
                </a:cubicBezTo>
                <a:close/>
                <a:moveTo>
                  <a:pt x="475150" y="314325"/>
                </a:moveTo>
                <a:cubicBezTo>
                  <a:pt x="498780" y="314325"/>
                  <a:pt x="517935" y="343041"/>
                  <a:pt x="517935" y="378464"/>
                </a:cubicBezTo>
                <a:cubicBezTo>
                  <a:pt x="517935" y="413887"/>
                  <a:pt x="498780" y="442603"/>
                  <a:pt x="475150" y="442603"/>
                </a:cubicBezTo>
                <a:cubicBezTo>
                  <a:pt x="451520" y="442603"/>
                  <a:pt x="432365" y="413887"/>
                  <a:pt x="432365" y="378464"/>
                </a:cubicBezTo>
                <a:cubicBezTo>
                  <a:pt x="432365" y="343041"/>
                  <a:pt x="451520" y="314325"/>
                  <a:pt x="475150" y="314325"/>
                </a:cubicBezTo>
                <a:close/>
                <a:moveTo>
                  <a:pt x="1548464" y="178594"/>
                </a:moveTo>
                <a:cubicBezTo>
                  <a:pt x="1536670" y="178594"/>
                  <a:pt x="1527109" y="197715"/>
                  <a:pt x="1527109" y="221302"/>
                </a:cubicBezTo>
                <a:cubicBezTo>
                  <a:pt x="1527109" y="244889"/>
                  <a:pt x="1536670" y="264010"/>
                  <a:pt x="1548464" y="264010"/>
                </a:cubicBezTo>
                <a:cubicBezTo>
                  <a:pt x="1560258" y="264010"/>
                  <a:pt x="1569819" y="244889"/>
                  <a:pt x="1569819" y="221302"/>
                </a:cubicBezTo>
                <a:cubicBezTo>
                  <a:pt x="1569819" y="197715"/>
                  <a:pt x="1560258" y="178594"/>
                  <a:pt x="1548464" y="178594"/>
                </a:cubicBezTo>
                <a:close/>
                <a:moveTo>
                  <a:pt x="1310566" y="178594"/>
                </a:moveTo>
                <a:cubicBezTo>
                  <a:pt x="1298772" y="178594"/>
                  <a:pt x="1289211" y="197715"/>
                  <a:pt x="1289211" y="221302"/>
                </a:cubicBezTo>
                <a:cubicBezTo>
                  <a:pt x="1289211" y="244889"/>
                  <a:pt x="1298772" y="264010"/>
                  <a:pt x="1310566" y="264010"/>
                </a:cubicBezTo>
                <a:cubicBezTo>
                  <a:pt x="1322360" y="264010"/>
                  <a:pt x="1331921" y="244889"/>
                  <a:pt x="1331921" y="221302"/>
                </a:cubicBezTo>
                <a:cubicBezTo>
                  <a:pt x="1331921" y="197715"/>
                  <a:pt x="1322360" y="178594"/>
                  <a:pt x="1310566" y="178594"/>
                </a:cubicBezTo>
                <a:close/>
                <a:moveTo>
                  <a:pt x="956487" y="178593"/>
                </a:moveTo>
                <a:cubicBezTo>
                  <a:pt x="944693" y="178593"/>
                  <a:pt x="935132" y="197714"/>
                  <a:pt x="935132" y="221301"/>
                </a:cubicBezTo>
                <a:cubicBezTo>
                  <a:pt x="935132" y="244888"/>
                  <a:pt x="944693" y="264009"/>
                  <a:pt x="956487" y="264009"/>
                </a:cubicBezTo>
                <a:cubicBezTo>
                  <a:pt x="968281" y="264009"/>
                  <a:pt x="977842" y="244888"/>
                  <a:pt x="977842" y="221301"/>
                </a:cubicBezTo>
                <a:cubicBezTo>
                  <a:pt x="977842" y="197714"/>
                  <a:pt x="968281" y="178593"/>
                  <a:pt x="956487" y="178593"/>
                </a:cubicBezTo>
                <a:close/>
                <a:moveTo>
                  <a:pt x="718588" y="178593"/>
                </a:moveTo>
                <a:cubicBezTo>
                  <a:pt x="706794" y="178593"/>
                  <a:pt x="697233" y="197714"/>
                  <a:pt x="697233" y="221301"/>
                </a:cubicBezTo>
                <a:cubicBezTo>
                  <a:pt x="697233" y="244888"/>
                  <a:pt x="706794" y="264009"/>
                  <a:pt x="718588" y="264009"/>
                </a:cubicBezTo>
                <a:cubicBezTo>
                  <a:pt x="730382" y="264009"/>
                  <a:pt x="739943" y="244888"/>
                  <a:pt x="739943" y="221301"/>
                </a:cubicBezTo>
                <a:cubicBezTo>
                  <a:pt x="739943" y="197714"/>
                  <a:pt x="730382" y="178593"/>
                  <a:pt x="718588" y="178593"/>
                </a:cubicBezTo>
                <a:close/>
                <a:moveTo>
                  <a:pt x="596869" y="178593"/>
                </a:moveTo>
                <a:cubicBezTo>
                  <a:pt x="585075" y="178593"/>
                  <a:pt x="575514" y="197714"/>
                  <a:pt x="575514" y="221301"/>
                </a:cubicBezTo>
                <a:cubicBezTo>
                  <a:pt x="575514" y="244888"/>
                  <a:pt x="585075" y="264009"/>
                  <a:pt x="596869" y="264009"/>
                </a:cubicBezTo>
                <a:cubicBezTo>
                  <a:pt x="608663" y="264009"/>
                  <a:pt x="618224" y="244888"/>
                  <a:pt x="618224" y="221301"/>
                </a:cubicBezTo>
                <a:cubicBezTo>
                  <a:pt x="618224" y="197714"/>
                  <a:pt x="608663" y="178593"/>
                  <a:pt x="596869" y="178593"/>
                </a:cubicBezTo>
                <a:close/>
                <a:moveTo>
                  <a:pt x="475150" y="178593"/>
                </a:moveTo>
                <a:cubicBezTo>
                  <a:pt x="463356" y="178593"/>
                  <a:pt x="453795" y="197714"/>
                  <a:pt x="453795" y="221301"/>
                </a:cubicBezTo>
                <a:cubicBezTo>
                  <a:pt x="453795" y="244888"/>
                  <a:pt x="463356" y="264009"/>
                  <a:pt x="475150" y="264009"/>
                </a:cubicBezTo>
                <a:cubicBezTo>
                  <a:pt x="486944" y="264009"/>
                  <a:pt x="496505" y="244888"/>
                  <a:pt x="496505" y="221301"/>
                </a:cubicBezTo>
                <a:cubicBezTo>
                  <a:pt x="496505" y="197714"/>
                  <a:pt x="486944" y="178593"/>
                  <a:pt x="475150" y="178593"/>
                </a:cubicBezTo>
                <a:close/>
                <a:moveTo>
                  <a:pt x="1548464" y="157163"/>
                </a:moveTo>
                <a:cubicBezTo>
                  <a:pt x="1572094" y="157163"/>
                  <a:pt x="1591249" y="185879"/>
                  <a:pt x="1591249" y="221302"/>
                </a:cubicBezTo>
                <a:cubicBezTo>
                  <a:pt x="1591249" y="256725"/>
                  <a:pt x="1572094" y="285441"/>
                  <a:pt x="1548464" y="285441"/>
                </a:cubicBezTo>
                <a:cubicBezTo>
                  <a:pt x="1524834" y="285441"/>
                  <a:pt x="1505679" y="256725"/>
                  <a:pt x="1505679" y="221302"/>
                </a:cubicBezTo>
                <a:cubicBezTo>
                  <a:pt x="1505679" y="185879"/>
                  <a:pt x="1524834" y="157163"/>
                  <a:pt x="1548464" y="157163"/>
                </a:cubicBezTo>
                <a:close/>
                <a:moveTo>
                  <a:pt x="1443422" y="157163"/>
                </a:moveTo>
                <a:lnTo>
                  <a:pt x="1443422" y="264438"/>
                </a:lnTo>
                <a:lnTo>
                  <a:pt x="1469531" y="264438"/>
                </a:lnTo>
                <a:lnTo>
                  <a:pt x="1469531" y="285439"/>
                </a:lnTo>
                <a:lnTo>
                  <a:pt x="1389500" y="285439"/>
                </a:lnTo>
                <a:lnTo>
                  <a:pt x="1389500" y="265006"/>
                </a:lnTo>
                <a:lnTo>
                  <a:pt x="1415609" y="265006"/>
                </a:lnTo>
                <a:lnTo>
                  <a:pt x="1415609" y="185542"/>
                </a:lnTo>
                <a:lnTo>
                  <a:pt x="1389500" y="190083"/>
                </a:lnTo>
                <a:lnTo>
                  <a:pt x="1389500" y="167947"/>
                </a:lnTo>
                <a:close/>
                <a:moveTo>
                  <a:pt x="1310566" y="157163"/>
                </a:moveTo>
                <a:cubicBezTo>
                  <a:pt x="1334196" y="157163"/>
                  <a:pt x="1353351" y="185879"/>
                  <a:pt x="1353351" y="221302"/>
                </a:cubicBezTo>
                <a:cubicBezTo>
                  <a:pt x="1353351" y="256725"/>
                  <a:pt x="1334196" y="285441"/>
                  <a:pt x="1310566" y="285441"/>
                </a:cubicBezTo>
                <a:cubicBezTo>
                  <a:pt x="1286936" y="285441"/>
                  <a:pt x="1267781" y="256725"/>
                  <a:pt x="1267781" y="221302"/>
                </a:cubicBezTo>
                <a:cubicBezTo>
                  <a:pt x="1267781" y="185879"/>
                  <a:pt x="1286936" y="157163"/>
                  <a:pt x="1310566" y="157163"/>
                </a:cubicBezTo>
                <a:close/>
                <a:moveTo>
                  <a:pt x="1205523" y="157163"/>
                </a:moveTo>
                <a:lnTo>
                  <a:pt x="1205523" y="264438"/>
                </a:lnTo>
                <a:lnTo>
                  <a:pt x="1231632" y="264438"/>
                </a:lnTo>
                <a:lnTo>
                  <a:pt x="1231632" y="285439"/>
                </a:lnTo>
                <a:lnTo>
                  <a:pt x="1151601" y="285439"/>
                </a:lnTo>
                <a:lnTo>
                  <a:pt x="1151601" y="265006"/>
                </a:lnTo>
                <a:lnTo>
                  <a:pt x="1177711" y="265006"/>
                </a:lnTo>
                <a:lnTo>
                  <a:pt x="1177711" y="185542"/>
                </a:lnTo>
                <a:lnTo>
                  <a:pt x="1151601" y="190083"/>
                </a:lnTo>
                <a:lnTo>
                  <a:pt x="1151601" y="167947"/>
                </a:lnTo>
                <a:close/>
                <a:moveTo>
                  <a:pt x="1089343" y="157163"/>
                </a:moveTo>
                <a:lnTo>
                  <a:pt x="1089343" y="264438"/>
                </a:lnTo>
                <a:lnTo>
                  <a:pt x="1115452" y="264438"/>
                </a:lnTo>
                <a:lnTo>
                  <a:pt x="1115452" y="285439"/>
                </a:lnTo>
                <a:lnTo>
                  <a:pt x="1035421" y="285439"/>
                </a:lnTo>
                <a:lnTo>
                  <a:pt x="1035421" y="265006"/>
                </a:lnTo>
                <a:lnTo>
                  <a:pt x="1061531" y="265006"/>
                </a:lnTo>
                <a:lnTo>
                  <a:pt x="1061531" y="185542"/>
                </a:lnTo>
                <a:lnTo>
                  <a:pt x="1035421" y="190083"/>
                </a:lnTo>
                <a:lnTo>
                  <a:pt x="1035421" y="167947"/>
                </a:lnTo>
                <a:close/>
                <a:moveTo>
                  <a:pt x="851444" y="157163"/>
                </a:moveTo>
                <a:lnTo>
                  <a:pt x="851444" y="264438"/>
                </a:lnTo>
                <a:lnTo>
                  <a:pt x="877553" y="264438"/>
                </a:lnTo>
                <a:lnTo>
                  <a:pt x="877553" y="285439"/>
                </a:lnTo>
                <a:lnTo>
                  <a:pt x="797522" y="285439"/>
                </a:lnTo>
                <a:lnTo>
                  <a:pt x="797522" y="265006"/>
                </a:lnTo>
                <a:lnTo>
                  <a:pt x="823632" y="265006"/>
                </a:lnTo>
                <a:lnTo>
                  <a:pt x="823632" y="185542"/>
                </a:lnTo>
                <a:lnTo>
                  <a:pt x="797522" y="190083"/>
                </a:lnTo>
                <a:lnTo>
                  <a:pt x="797522" y="167947"/>
                </a:lnTo>
                <a:close/>
                <a:moveTo>
                  <a:pt x="956487" y="157162"/>
                </a:moveTo>
                <a:cubicBezTo>
                  <a:pt x="980117" y="157162"/>
                  <a:pt x="999272" y="185878"/>
                  <a:pt x="999272" y="221301"/>
                </a:cubicBezTo>
                <a:cubicBezTo>
                  <a:pt x="999272" y="256724"/>
                  <a:pt x="980117" y="285440"/>
                  <a:pt x="956487" y="285440"/>
                </a:cubicBezTo>
                <a:cubicBezTo>
                  <a:pt x="932857" y="285440"/>
                  <a:pt x="913702" y="256724"/>
                  <a:pt x="913702" y="221301"/>
                </a:cubicBezTo>
                <a:cubicBezTo>
                  <a:pt x="913702" y="185878"/>
                  <a:pt x="932857" y="157162"/>
                  <a:pt x="956487" y="157162"/>
                </a:cubicBezTo>
                <a:close/>
                <a:moveTo>
                  <a:pt x="718588" y="157162"/>
                </a:moveTo>
                <a:cubicBezTo>
                  <a:pt x="742218" y="157162"/>
                  <a:pt x="761373" y="185878"/>
                  <a:pt x="761373" y="221301"/>
                </a:cubicBezTo>
                <a:cubicBezTo>
                  <a:pt x="761373" y="256724"/>
                  <a:pt x="742218" y="285440"/>
                  <a:pt x="718588" y="285440"/>
                </a:cubicBezTo>
                <a:cubicBezTo>
                  <a:pt x="694958" y="285440"/>
                  <a:pt x="675803" y="256724"/>
                  <a:pt x="675803" y="221301"/>
                </a:cubicBezTo>
                <a:cubicBezTo>
                  <a:pt x="675803" y="185878"/>
                  <a:pt x="694958" y="157162"/>
                  <a:pt x="718588" y="157162"/>
                </a:cubicBezTo>
                <a:close/>
                <a:moveTo>
                  <a:pt x="596869" y="157162"/>
                </a:moveTo>
                <a:cubicBezTo>
                  <a:pt x="620499" y="157162"/>
                  <a:pt x="639654" y="185878"/>
                  <a:pt x="639654" y="221301"/>
                </a:cubicBezTo>
                <a:cubicBezTo>
                  <a:pt x="639654" y="256724"/>
                  <a:pt x="620499" y="285440"/>
                  <a:pt x="596869" y="285440"/>
                </a:cubicBezTo>
                <a:cubicBezTo>
                  <a:pt x="573239" y="285440"/>
                  <a:pt x="554084" y="256724"/>
                  <a:pt x="554084" y="221301"/>
                </a:cubicBezTo>
                <a:cubicBezTo>
                  <a:pt x="554084" y="185878"/>
                  <a:pt x="573239" y="157162"/>
                  <a:pt x="596869" y="157162"/>
                </a:cubicBezTo>
                <a:close/>
                <a:moveTo>
                  <a:pt x="475150" y="157162"/>
                </a:moveTo>
                <a:cubicBezTo>
                  <a:pt x="498780" y="157162"/>
                  <a:pt x="517935" y="185878"/>
                  <a:pt x="517935" y="221301"/>
                </a:cubicBezTo>
                <a:cubicBezTo>
                  <a:pt x="517935" y="256724"/>
                  <a:pt x="498780" y="285440"/>
                  <a:pt x="475150" y="285440"/>
                </a:cubicBezTo>
                <a:cubicBezTo>
                  <a:pt x="451520" y="285440"/>
                  <a:pt x="432365" y="256724"/>
                  <a:pt x="432365" y="221301"/>
                </a:cubicBezTo>
                <a:cubicBezTo>
                  <a:pt x="432365" y="185878"/>
                  <a:pt x="451520" y="157162"/>
                  <a:pt x="475150" y="157162"/>
                </a:cubicBezTo>
                <a:close/>
                <a:moveTo>
                  <a:pt x="1313021" y="21431"/>
                </a:moveTo>
                <a:cubicBezTo>
                  <a:pt x="1301227" y="21431"/>
                  <a:pt x="1291666" y="40552"/>
                  <a:pt x="1291666" y="64139"/>
                </a:cubicBezTo>
                <a:cubicBezTo>
                  <a:pt x="1291666" y="87726"/>
                  <a:pt x="1301227" y="106847"/>
                  <a:pt x="1313021" y="106847"/>
                </a:cubicBezTo>
                <a:cubicBezTo>
                  <a:pt x="1324815" y="106847"/>
                  <a:pt x="1334376" y="87726"/>
                  <a:pt x="1334376" y="64139"/>
                </a:cubicBezTo>
                <a:cubicBezTo>
                  <a:pt x="1334376" y="40552"/>
                  <a:pt x="1324815" y="21431"/>
                  <a:pt x="1313021" y="21431"/>
                </a:cubicBezTo>
                <a:close/>
                <a:moveTo>
                  <a:pt x="1072838" y="21431"/>
                </a:moveTo>
                <a:cubicBezTo>
                  <a:pt x="1061044" y="21431"/>
                  <a:pt x="1051483" y="40552"/>
                  <a:pt x="1051483" y="64139"/>
                </a:cubicBezTo>
                <a:cubicBezTo>
                  <a:pt x="1051483" y="87726"/>
                  <a:pt x="1061044" y="106847"/>
                  <a:pt x="1072838" y="106847"/>
                </a:cubicBezTo>
                <a:cubicBezTo>
                  <a:pt x="1084632" y="106847"/>
                  <a:pt x="1094193" y="87726"/>
                  <a:pt x="1094193" y="64139"/>
                </a:cubicBezTo>
                <a:cubicBezTo>
                  <a:pt x="1094193" y="40552"/>
                  <a:pt x="1084632" y="21431"/>
                  <a:pt x="1072838" y="21431"/>
                </a:cubicBezTo>
                <a:close/>
                <a:moveTo>
                  <a:pt x="832655" y="21431"/>
                </a:moveTo>
                <a:cubicBezTo>
                  <a:pt x="820861" y="21431"/>
                  <a:pt x="811300" y="40552"/>
                  <a:pt x="811300" y="64139"/>
                </a:cubicBezTo>
                <a:cubicBezTo>
                  <a:pt x="811300" y="87726"/>
                  <a:pt x="820861" y="106847"/>
                  <a:pt x="832655" y="106847"/>
                </a:cubicBezTo>
                <a:cubicBezTo>
                  <a:pt x="844449" y="106847"/>
                  <a:pt x="854010" y="87726"/>
                  <a:pt x="854010" y="64139"/>
                </a:cubicBezTo>
                <a:cubicBezTo>
                  <a:pt x="854010" y="40552"/>
                  <a:pt x="844449" y="21431"/>
                  <a:pt x="832655" y="21431"/>
                </a:cubicBezTo>
                <a:close/>
                <a:moveTo>
                  <a:pt x="475150" y="21431"/>
                </a:moveTo>
                <a:cubicBezTo>
                  <a:pt x="463356" y="21431"/>
                  <a:pt x="453795" y="40552"/>
                  <a:pt x="453795" y="64139"/>
                </a:cubicBezTo>
                <a:cubicBezTo>
                  <a:pt x="453795" y="87726"/>
                  <a:pt x="463356" y="106847"/>
                  <a:pt x="475150" y="106847"/>
                </a:cubicBezTo>
                <a:cubicBezTo>
                  <a:pt x="486944" y="106847"/>
                  <a:pt x="496505" y="87726"/>
                  <a:pt x="496505" y="64139"/>
                </a:cubicBezTo>
                <a:cubicBezTo>
                  <a:pt x="496505" y="40552"/>
                  <a:pt x="486944" y="21431"/>
                  <a:pt x="475150" y="21431"/>
                </a:cubicBezTo>
                <a:close/>
                <a:moveTo>
                  <a:pt x="1564338" y="0"/>
                </a:moveTo>
                <a:lnTo>
                  <a:pt x="1564338" y="107275"/>
                </a:lnTo>
                <a:lnTo>
                  <a:pt x="1590447" y="107275"/>
                </a:lnTo>
                <a:lnTo>
                  <a:pt x="1590447" y="128276"/>
                </a:lnTo>
                <a:lnTo>
                  <a:pt x="1510416" y="128276"/>
                </a:lnTo>
                <a:lnTo>
                  <a:pt x="1510416" y="107843"/>
                </a:lnTo>
                <a:lnTo>
                  <a:pt x="1536525" y="107843"/>
                </a:lnTo>
                <a:lnTo>
                  <a:pt x="1536525" y="28379"/>
                </a:lnTo>
                <a:lnTo>
                  <a:pt x="1510416" y="32920"/>
                </a:lnTo>
                <a:lnTo>
                  <a:pt x="1510416" y="10784"/>
                </a:lnTo>
                <a:close/>
                <a:moveTo>
                  <a:pt x="1447019" y="0"/>
                </a:moveTo>
                <a:lnTo>
                  <a:pt x="1447019" y="107275"/>
                </a:lnTo>
                <a:lnTo>
                  <a:pt x="1473128" y="107275"/>
                </a:lnTo>
                <a:lnTo>
                  <a:pt x="1473128" y="128276"/>
                </a:lnTo>
                <a:lnTo>
                  <a:pt x="1393097" y="128276"/>
                </a:lnTo>
                <a:lnTo>
                  <a:pt x="1393097" y="107843"/>
                </a:lnTo>
                <a:lnTo>
                  <a:pt x="1419206" y="107843"/>
                </a:lnTo>
                <a:lnTo>
                  <a:pt x="1419206" y="28379"/>
                </a:lnTo>
                <a:lnTo>
                  <a:pt x="1393097" y="32920"/>
                </a:lnTo>
                <a:lnTo>
                  <a:pt x="1393097" y="10784"/>
                </a:lnTo>
                <a:close/>
                <a:moveTo>
                  <a:pt x="1313021" y="0"/>
                </a:moveTo>
                <a:cubicBezTo>
                  <a:pt x="1336651" y="0"/>
                  <a:pt x="1355806" y="28716"/>
                  <a:pt x="1355806" y="64139"/>
                </a:cubicBezTo>
                <a:cubicBezTo>
                  <a:pt x="1355806" y="99562"/>
                  <a:pt x="1336651" y="128278"/>
                  <a:pt x="1313021" y="128278"/>
                </a:cubicBezTo>
                <a:cubicBezTo>
                  <a:pt x="1289391" y="128278"/>
                  <a:pt x="1270236" y="99562"/>
                  <a:pt x="1270236" y="64139"/>
                </a:cubicBezTo>
                <a:cubicBezTo>
                  <a:pt x="1270236" y="28716"/>
                  <a:pt x="1289391" y="0"/>
                  <a:pt x="1313021" y="0"/>
                </a:cubicBezTo>
                <a:close/>
                <a:moveTo>
                  <a:pt x="1206836" y="0"/>
                </a:moveTo>
                <a:lnTo>
                  <a:pt x="1206836" y="107275"/>
                </a:lnTo>
                <a:lnTo>
                  <a:pt x="1232945" y="107275"/>
                </a:lnTo>
                <a:lnTo>
                  <a:pt x="1232945" y="128276"/>
                </a:lnTo>
                <a:lnTo>
                  <a:pt x="1152914" y="128276"/>
                </a:lnTo>
                <a:lnTo>
                  <a:pt x="1152914" y="107843"/>
                </a:lnTo>
                <a:lnTo>
                  <a:pt x="1179024" y="107843"/>
                </a:lnTo>
                <a:lnTo>
                  <a:pt x="1179024" y="28379"/>
                </a:lnTo>
                <a:lnTo>
                  <a:pt x="1152914" y="32920"/>
                </a:lnTo>
                <a:lnTo>
                  <a:pt x="1152914" y="10784"/>
                </a:lnTo>
                <a:close/>
                <a:moveTo>
                  <a:pt x="1072838" y="0"/>
                </a:moveTo>
                <a:cubicBezTo>
                  <a:pt x="1096468" y="0"/>
                  <a:pt x="1115623" y="28716"/>
                  <a:pt x="1115623" y="64139"/>
                </a:cubicBezTo>
                <a:cubicBezTo>
                  <a:pt x="1115623" y="99562"/>
                  <a:pt x="1096468" y="128278"/>
                  <a:pt x="1072838" y="128278"/>
                </a:cubicBezTo>
                <a:cubicBezTo>
                  <a:pt x="1049208" y="128278"/>
                  <a:pt x="1030053" y="99562"/>
                  <a:pt x="1030053" y="64139"/>
                </a:cubicBezTo>
                <a:cubicBezTo>
                  <a:pt x="1030053" y="28716"/>
                  <a:pt x="1049208" y="0"/>
                  <a:pt x="1072838" y="0"/>
                </a:cubicBezTo>
                <a:close/>
                <a:moveTo>
                  <a:pt x="966653" y="0"/>
                </a:moveTo>
                <a:lnTo>
                  <a:pt x="966653" y="107275"/>
                </a:lnTo>
                <a:lnTo>
                  <a:pt x="992762" y="107275"/>
                </a:lnTo>
                <a:lnTo>
                  <a:pt x="992762" y="128276"/>
                </a:lnTo>
                <a:lnTo>
                  <a:pt x="912731" y="128276"/>
                </a:lnTo>
                <a:lnTo>
                  <a:pt x="912731" y="107843"/>
                </a:lnTo>
                <a:lnTo>
                  <a:pt x="938841" y="107843"/>
                </a:lnTo>
                <a:lnTo>
                  <a:pt x="938841" y="28379"/>
                </a:lnTo>
                <a:lnTo>
                  <a:pt x="912731" y="32920"/>
                </a:lnTo>
                <a:lnTo>
                  <a:pt x="912731" y="10784"/>
                </a:lnTo>
                <a:close/>
                <a:moveTo>
                  <a:pt x="832655" y="0"/>
                </a:moveTo>
                <a:cubicBezTo>
                  <a:pt x="856285" y="0"/>
                  <a:pt x="875440" y="28716"/>
                  <a:pt x="875440" y="64139"/>
                </a:cubicBezTo>
                <a:cubicBezTo>
                  <a:pt x="875440" y="99562"/>
                  <a:pt x="856285" y="128278"/>
                  <a:pt x="832655" y="128278"/>
                </a:cubicBezTo>
                <a:cubicBezTo>
                  <a:pt x="809025" y="128278"/>
                  <a:pt x="789870" y="99562"/>
                  <a:pt x="789870" y="64139"/>
                </a:cubicBezTo>
                <a:cubicBezTo>
                  <a:pt x="789870" y="28716"/>
                  <a:pt x="809025" y="0"/>
                  <a:pt x="832655" y="0"/>
                </a:cubicBezTo>
                <a:close/>
                <a:moveTo>
                  <a:pt x="726470" y="0"/>
                </a:moveTo>
                <a:lnTo>
                  <a:pt x="726470" y="107275"/>
                </a:lnTo>
                <a:lnTo>
                  <a:pt x="752579" y="107275"/>
                </a:lnTo>
                <a:lnTo>
                  <a:pt x="752579" y="128276"/>
                </a:lnTo>
                <a:lnTo>
                  <a:pt x="672548" y="128276"/>
                </a:lnTo>
                <a:lnTo>
                  <a:pt x="672548" y="107843"/>
                </a:lnTo>
                <a:lnTo>
                  <a:pt x="698658" y="107843"/>
                </a:lnTo>
                <a:lnTo>
                  <a:pt x="698658" y="28379"/>
                </a:lnTo>
                <a:lnTo>
                  <a:pt x="672548" y="32920"/>
                </a:lnTo>
                <a:lnTo>
                  <a:pt x="672548" y="10784"/>
                </a:lnTo>
                <a:close/>
                <a:moveTo>
                  <a:pt x="609148" y="0"/>
                </a:moveTo>
                <a:lnTo>
                  <a:pt x="609148" y="107275"/>
                </a:lnTo>
                <a:lnTo>
                  <a:pt x="635257" y="107275"/>
                </a:lnTo>
                <a:lnTo>
                  <a:pt x="635257" y="128276"/>
                </a:lnTo>
                <a:lnTo>
                  <a:pt x="555226" y="128276"/>
                </a:lnTo>
                <a:lnTo>
                  <a:pt x="555226" y="107843"/>
                </a:lnTo>
                <a:lnTo>
                  <a:pt x="581336" y="107843"/>
                </a:lnTo>
                <a:lnTo>
                  <a:pt x="581336" y="28379"/>
                </a:lnTo>
                <a:lnTo>
                  <a:pt x="555226" y="32920"/>
                </a:lnTo>
                <a:lnTo>
                  <a:pt x="555226" y="10784"/>
                </a:lnTo>
                <a:close/>
                <a:moveTo>
                  <a:pt x="475150" y="0"/>
                </a:moveTo>
                <a:cubicBezTo>
                  <a:pt x="498780" y="0"/>
                  <a:pt x="517935" y="28716"/>
                  <a:pt x="517935" y="64139"/>
                </a:cubicBezTo>
                <a:cubicBezTo>
                  <a:pt x="517935" y="99562"/>
                  <a:pt x="498780" y="128278"/>
                  <a:pt x="475150" y="128278"/>
                </a:cubicBezTo>
                <a:cubicBezTo>
                  <a:pt x="451520" y="128278"/>
                  <a:pt x="432365" y="99562"/>
                  <a:pt x="432365" y="64139"/>
                </a:cubicBezTo>
                <a:cubicBezTo>
                  <a:pt x="432365" y="28716"/>
                  <a:pt x="451520" y="0"/>
                  <a:pt x="475150" y="0"/>
                </a:cubicBezTo>
                <a:close/>
              </a:path>
            </a:pathLst>
          </a:custGeom>
          <a:solidFill>
            <a:srgbClr val="5E83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pic>
        <p:nvPicPr>
          <p:cNvPr id="127" name="Picture 2" descr="\\MAGNUM\Projects\Microsoft\Cloud Power FY12\Design\ICONS_PNG\Growth.png"/>
          <p:cNvPicPr>
            <a:picLocks noChangeAspect="1" noChangeArrowheads="1"/>
          </p:cNvPicPr>
          <p:nvPr/>
        </p:nvPicPr>
        <p:blipFill>
          <a:blip r:embed="rId11" cstate="print">
            <a:duotone>
              <a:schemeClr val="accent1">
                <a:shade val="45000"/>
                <a:satMod val="135000"/>
              </a:schemeClr>
              <a:prstClr val="white"/>
            </a:duotone>
            <a:extLst>
              <a:ext uri="{BEBA8EAE-BF5A-486C-A8C5-ECC9F3942E4B}">
                <a14:imgProps xmlns:a14="http://schemas.microsoft.com/office/drawing/2010/main">
                  <a14:imgLayer r:embed="rId12">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8987335" y="2667389"/>
            <a:ext cx="629665" cy="629665"/>
          </a:xfrm>
          <a:prstGeom prst="rect">
            <a:avLst/>
          </a:prstGeom>
          <a:noFill/>
        </p:spPr>
      </p:pic>
      <p:sp>
        <p:nvSpPr>
          <p:cNvPr id="128" name="TextBox 127"/>
          <p:cNvSpPr txBox="1"/>
          <p:nvPr/>
        </p:nvSpPr>
        <p:spPr>
          <a:xfrm>
            <a:off x="10576419" y="3744407"/>
            <a:ext cx="805862" cy="369332"/>
          </a:xfrm>
          <a:prstGeom prst="rect">
            <a:avLst/>
          </a:prstGeom>
        </p:spPr>
        <p:txBody>
          <a:bodyPr vert="horz" wrap="none" lIns="0" tIns="0" rIns="0" bIns="0" rtlCol="0" anchor="t">
            <a:spAutoFit/>
          </a:bodyPr>
          <a:lstStyle/>
          <a:p>
            <a:pPr algn="ctr" defTabSz="1088105"/>
            <a:r>
              <a:rPr lang="en-US" sz="1200" dirty="0">
                <a:solidFill>
                  <a:srgbClr val="505050"/>
                </a:solidFill>
                <a:ea typeface="Segoe UI" pitchFamily="34" charset="0"/>
                <a:cs typeface="Segoe UI" pitchFamily="34" charset="0"/>
              </a:rPr>
              <a:t>Increased </a:t>
            </a:r>
            <a:br>
              <a:rPr lang="en-US" sz="1200" dirty="0">
                <a:solidFill>
                  <a:srgbClr val="505050"/>
                </a:solidFill>
                <a:ea typeface="Segoe UI" pitchFamily="34" charset="0"/>
                <a:cs typeface="Segoe UI" pitchFamily="34" charset="0"/>
              </a:rPr>
            </a:br>
            <a:r>
              <a:rPr lang="en-US" sz="1200" dirty="0">
                <a:solidFill>
                  <a:srgbClr val="505050"/>
                </a:solidFill>
                <a:ea typeface="Segoe UI" pitchFamily="34" charset="0"/>
                <a:cs typeface="Segoe UI" pitchFamily="34" charset="0"/>
              </a:rPr>
              <a:t>productivity</a:t>
            </a:r>
          </a:p>
        </p:txBody>
      </p:sp>
      <p:pic>
        <p:nvPicPr>
          <p:cNvPr id="129" name="Picture 2" descr="\\MAGNUM\Projects\Microsoft\Cloud Power FY12\Design\ICONS_PNG\Devices.png"/>
          <p:cNvPicPr>
            <a:picLocks noChangeAspect="1" noChangeArrowheads="1"/>
          </p:cNvPicPr>
          <p:nvPr/>
        </p:nvPicPr>
        <p:blipFill>
          <a:blip r:embed="rId13"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9777223" y="3329849"/>
            <a:ext cx="450611" cy="450611"/>
          </a:xfrm>
          <a:prstGeom prst="rect">
            <a:avLst/>
          </a:prstGeom>
          <a:noFill/>
          <a:ln>
            <a:noFill/>
          </a:ln>
        </p:spPr>
      </p:pic>
      <p:grpSp>
        <p:nvGrpSpPr>
          <p:cNvPr id="130" name="Group 129"/>
          <p:cNvGrpSpPr>
            <a:grpSpLocks noChangeAspect="1"/>
          </p:cNvGrpSpPr>
          <p:nvPr/>
        </p:nvGrpSpPr>
        <p:grpSpPr>
          <a:xfrm>
            <a:off x="10714341" y="3466015"/>
            <a:ext cx="503831" cy="240698"/>
            <a:chOff x="335107" y="1984056"/>
            <a:chExt cx="8623119" cy="4119564"/>
          </a:xfrm>
          <a:solidFill>
            <a:srgbClr val="4266A0"/>
          </a:solidFill>
        </p:grpSpPr>
        <p:sp>
          <p:nvSpPr>
            <p:cNvPr id="131" name="Freeform 130"/>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2" name="Man's Body"/>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33" name="Man's Body"/>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34" name="Man's Body"/>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35" name="Man's Body"/>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36" name="Man's Body"/>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37" name="Man's Body"/>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138" name="Freeform 137"/>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9" name="Freeform 138"/>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97" name="Group 96"/>
          <p:cNvGrpSpPr/>
          <p:nvPr/>
        </p:nvGrpSpPr>
        <p:grpSpPr>
          <a:xfrm>
            <a:off x="2298452" y="2546809"/>
            <a:ext cx="742320" cy="783049"/>
            <a:chOff x="5760840" y="2470790"/>
            <a:chExt cx="1103454" cy="1163997"/>
          </a:xfrm>
        </p:grpSpPr>
        <p:grpSp>
          <p:nvGrpSpPr>
            <p:cNvPr id="98" name="Group 97"/>
            <p:cNvGrpSpPr>
              <a:grpSpLocks/>
            </p:cNvGrpSpPr>
            <p:nvPr/>
          </p:nvGrpSpPr>
          <p:grpSpPr>
            <a:xfrm>
              <a:off x="5835818" y="2637004"/>
              <a:ext cx="965424" cy="843079"/>
              <a:chOff x="3576277" y="1473954"/>
              <a:chExt cx="4798544" cy="4260681"/>
            </a:xfrm>
            <a:solidFill>
              <a:schemeClr val="bg1">
                <a:lumMod val="50000"/>
              </a:schemeClr>
            </a:solidFill>
          </p:grpSpPr>
          <p:sp>
            <p:nvSpPr>
              <p:cNvPr id="154" name="Freeform 153"/>
              <p:cNvSpPr/>
              <p:nvPr/>
            </p:nvSpPr>
            <p:spPr bwMode="auto">
              <a:xfrm>
                <a:off x="4166794"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55" name="Freeform 154"/>
              <p:cNvSpPr/>
              <p:nvPr/>
            </p:nvSpPr>
            <p:spPr bwMode="auto">
              <a:xfrm flipH="1">
                <a:off x="6100719"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56" name="Freeform 155"/>
              <p:cNvSpPr/>
              <p:nvPr/>
            </p:nvSpPr>
            <p:spPr bwMode="auto">
              <a:xfrm flipV="1">
                <a:off x="4166794"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57" name="Freeform 156"/>
              <p:cNvSpPr/>
              <p:nvPr/>
            </p:nvSpPr>
            <p:spPr bwMode="auto">
              <a:xfrm flipH="1" flipV="1">
                <a:off x="6100719"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58" name="Freeform 157"/>
              <p:cNvSpPr/>
              <p:nvPr/>
            </p:nvSpPr>
            <p:spPr bwMode="auto">
              <a:xfrm rot="17954294">
                <a:off x="3288256"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59" name="Freeform 158"/>
              <p:cNvSpPr/>
              <p:nvPr/>
            </p:nvSpPr>
            <p:spPr bwMode="auto">
              <a:xfrm rot="3645706" flipH="1">
                <a:off x="6969782"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grpSp>
        <p:sp>
          <p:nvSpPr>
            <p:cNvPr id="100" name="Freeform 7"/>
            <p:cNvSpPr>
              <a:spLocks noEditPoints="1"/>
            </p:cNvSpPr>
            <p:nvPr/>
          </p:nvSpPr>
          <p:spPr bwMode="auto">
            <a:xfrm>
              <a:off x="6609086" y="2674774"/>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endParaRPr lang="en-US" sz="2400" kern="0" dirty="0">
                <a:ln>
                  <a:solidFill>
                    <a:srgbClr val="FFFFFF">
                      <a:alpha val="0"/>
                    </a:srgbClr>
                  </a:solidFill>
                </a:ln>
                <a:solidFill>
                  <a:srgbClr val="44546A"/>
                </a:solidFill>
              </a:endParaRPr>
            </a:p>
          </p:txBody>
        </p:sp>
        <p:sp>
          <p:nvSpPr>
            <p:cNvPr id="104" name="Freeform 138"/>
            <p:cNvSpPr>
              <a:spLocks noChangeAspect="1" noEditPoints="1"/>
            </p:cNvSpPr>
            <p:nvPr/>
          </p:nvSpPr>
          <p:spPr bwMode="black">
            <a:xfrm>
              <a:off x="6664759" y="2716842"/>
              <a:ext cx="143863" cy="176195"/>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ysClr val="window" lastClr="FFFFFF">
                <a:lumMod val="50000"/>
              </a:sysClr>
            </a:solidFill>
            <a:ln>
              <a:noFill/>
            </a:ln>
            <a:extLst/>
          </p:spPr>
          <p:txBody>
            <a:bodyPr vert="horz" wrap="square" lIns="91440" tIns="45720" rIns="91440" bIns="45720" numCol="1" anchor="t" anchorCtr="0" compatLnSpc="1">
              <a:prstTxWarp prst="textNoShape">
                <a:avLst/>
              </a:prstTxWarp>
              <a:noAutofit/>
            </a:bodyPr>
            <a:lstStyle/>
            <a:p>
              <a:pPr>
                <a:defRPr/>
              </a:pPr>
              <a:endParaRPr lang="en-US" sz="2000" kern="0">
                <a:ln>
                  <a:solidFill>
                    <a:srgbClr val="FFFFFF">
                      <a:alpha val="0"/>
                    </a:srgbClr>
                  </a:solidFill>
                </a:ln>
                <a:solidFill>
                  <a:srgbClr val="44546A"/>
                </a:solidFill>
              </a:endParaRPr>
            </a:p>
          </p:txBody>
        </p:sp>
        <p:sp>
          <p:nvSpPr>
            <p:cNvPr id="122" name="Freeform 7"/>
            <p:cNvSpPr>
              <a:spLocks noEditPoints="1"/>
            </p:cNvSpPr>
            <p:nvPr/>
          </p:nvSpPr>
          <p:spPr bwMode="auto">
            <a:xfrm>
              <a:off x="6605670" y="3146922"/>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23" name="Freeform 7"/>
            <p:cNvSpPr>
              <a:spLocks noEditPoints="1"/>
            </p:cNvSpPr>
            <p:nvPr/>
          </p:nvSpPr>
          <p:spPr bwMode="auto">
            <a:xfrm>
              <a:off x="5766963" y="317243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24" name="Freeform 7"/>
            <p:cNvSpPr>
              <a:spLocks noEditPoints="1"/>
            </p:cNvSpPr>
            <p:nvPr/>
          </p:nvSpPr>
          <p:spPr bwMode="auto">
            <a:xfrm>
              <a:off x="5760840" y="2689027"/>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25" name="Freeform 7"/>
            <p:cNvSpPr>
              <a:spLocks noEditPoints="1"/>
            </p:cNvSpPr>
            <p:nvPr/>
          </p:nvSpPr>
          <p:spPr bwMode="auto">
            <a:xfrm>
              <a:off x="6190926" y="247079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40" name="original cloud"/>
            <p:cNvSpPr>
              <a:spLocks noChangeAspect="1"/>
            </p:cNvSpPr>
            <p:nvPr/>
          </p:nvSpPr>
          <p:spPr bwMode="black">
            <a:xfrm>
              <a:off x="6232032" y="2546232"/>
              <a:ext cx="172996" cy="1051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50000"/>
              </a:schemeClr>
            </a:solidFill>
            <a:ln>
              <a:noFill/>
            </a:ln>
            <a:extLst/>
          </p:spPr>
          <p:txBody>
            <a:bodyPr vert="horz" wrap="square" lIns="121920" tIns="60960" rIns="121920" bIns="60960" numCol="1" anchor="t" anchorCtr="0" compatLnSpc="1">
              <a:prstTxWarp prst="textNoShape">
                <a:avLst/>
              </a:prstTxWarp>
              <a:noAutofit/>
            </a:bodyPr>
            <a:lstStyle/>
            <a:p>
              <a:pPr defTabSz="776791">
                <a:defRPr/>
              </a:pPr>
              <a:endParaRPr lang="en-US" sz="2000" kern="0" dirty="0">
                <a:ln>
                  <a:solidFill>
                    <a:srgbClr val="FFFFFF">
                      <a:alpha val="0"/>
                    </a:srgbClr>
                  </a:solidFill>
                </a:ln>
                <a:solidFill>
                  <a:srgbClr val="44546A"/>
                </a:solidFill>
              </a:endParaRPr>
            </a:p>
          </p:txBody>
        </p:sp>
        <p:sp>
          <p:nvSpPr>
            <p:cNvPr id="141" name="Freeform 7"/>
            <p:cNvSpPr>
              <a:spLocks noEditPoints="1"/>
            </p:cNvSpPr>
            <p:nvPr/>
          </p:nvSpPr>
          <p:spPr bwMode="auto">
            <a:xfrm>
              <a:off x="6190926" y="3378755"/>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grpSp>
          <p:nvGrpSpPr>
            <p:cNvPr id="142" name="Group 141"/>
            <p:cNvGrpSpPr/>
            <p:nvPr/>
          </p:nvGrpSpPr>
          <p:grpSpPr>
            <a:xfrm>
              <a:off x="6209498" y="3479631"/>
              <a:ext cx="218065" cy="67360"/>
              <a:chOff x="4888707" y="5496501"/>
              <a:chExt cx="2071733" cy="650674"/>
            </a:xfrm>
            <a:solidFill>
              <a:srgbClr val="7F7F7F"/>
            </a:solidFill>
          </p:grpSpPr>
          <p:sp>
            <p:nvSpPr>
              <p:cNvPr id="150" name="Freeform 61"/>
              <p:cNvSpPr>
                <a:spLocks/>
              </p:cNvSpPr>
              <p:nvPr/>
            </p:nvSpPr>
            <p:spPr bwMode="black">
              <a:xfrm rot="10800000">
                <a:off x="5227783" y="5496501"/>
                <a:ext cx="411263" cy="594652"/>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ln w="12700">
                <a:noFill/>
              </a:ln>
              <a:extLst/>
            </p:spPr>
            <p:txBody>
              <a:bodyPr vert="horz" wrap="square" lIns="91440" tIns="45720" rIns="91440" bIns="45720"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151" name="Freeform 20"/>
              <p:cNvSpPr>
                <a:spLocks noEditPoints="1"/>
              </p:cNvSpPr>
              <p:nvPr/>
            </p:nvSpPr>
            <p:spPr bwMode="black">
              <a:xfrm>
                <a:off x="5734595" y="5507339"/>
                <a:ext cx="839742" cy="58381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grpFill/>
              <a:ln w="12700">
                <a:noFill/>
              </a:ln>
              <a:extLst/>
            </p:spPr>
            <p:txBody>
              <a:bodyPr vert="horz" wrap="square" lIns="82305" tIns="41153" rIns="82305" bIns="41153"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152" name="Rounded Rectangle 4"/>
              <p:cNvSpPr/>
              <p:nvPr/>
            </p:nvSpPr>
            <p:spPr bwMode="auto">
              <a:xfrm>
                <a:off x="6657183" y="5507336"/>
                <a:ext cx="303257" cy="582786"/>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grpFill/>
              <a:ln w="12700">
                <a:noFill/>
              </a:ln>
              <a:extLst/>
            </p:spPr>
            <p:txBody>
              <a:bodyPr vert="horz" wrap="square" lIns="91440" tIns="45720" rIns="91440" bIns="45720" numCol="1" rtlCol="0" anchor="t" anchorCtr="0" compatLnSpc="1">
                <a:prstTxWarp prst="textNoShape">
                  <a:avLst/>
                </a:prstTxWarp>
                <a:noAutofit/>
              </a:bodyPr>
              <a:lstStyle/>
              <a:p>
                <a:pPr algn="ctr">
                  <a:defRPr/>
                </a:pPr>
                <a:endParaRPr lang="en-US" kern="0">
                  <a:ln>
                    <a:solidFill>
                      <a:srgbClr val="FFFFFF">
                        <a:alpha val="0"/>
                      </a:srgbClr>
                    </a:solidFill>
                  </a:ln>
                  <a:solidFill>
                    <a:srgbClr val="44546A"/>
                  </a:solidFill>
                </a:endParaRPr>
              </a:p>
            </p:txBody>
          </p:sp>
          <p:sp>
            <p:nvSpPr>
              <p:cNvPr id="153" name="Freeform 152"/>
              <p:cNvSpPr/>
              <p:nvPr/>
            </p:nvSpPr>
            <p:spPr>
              <a:xfrm>
                <a:off x="4888707" y="5854458"/>
                <a:ext cx="388142" cy="292717"/>
              </a:xfrm>
              <a:custGeom>
                <a:avLst/>
                <a:gdLst>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0 w 392906"/>
                  <a:gd name="connsiteY19"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4763 w 392906"/>
                  <a:gd name="connsiteY19" fmla="*/ 140494 h 300038"/>
                  <a:gd name="connsiteX20" fmla="*/ 0 w 392906"/>
                  <a:gd name="connsiteY20"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7890 w 392906"/>
                  <a:gd name="connsiteY19" fmla="*/ 142057 h 300038"/>
                  <a:gd name="connsiteX20" fmla="*/ 0 w 392906"/>
                  <a:gd name="connsiteY20" fmla="*/ 176213 h 300038"/>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9256"/>
                  <a:gd name="connsiteX1" fmla="*/ 132459 w 392906"/>
                  <a:gd name="connsiteY1" fmla="*/ 299256 h 299256"/>
                  <a:gd name="connsiteX2" fmla="*/ 157163 w 392906"/>
                  <a:gd name="connsiteY2" fmla="*/ 285786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6814" h="299256">
                    <a:moveTo>
                      <a:pt x="0" y="173868"/>
                    </a:moveTo>
                    <a:lnTo>
                      <a:pt x="132459" y="299256"/>
                    </a:lnTo>
                    <a:cubicBezTo>
                      <a:pt x="140694" y="294766"/>
                      <a:pt x="144700" y="290364"/>
                      <a:pt x="157945" y="288913"/>
                    </a:cubicBezTo>
                    <a:cubicBezTo>
                      <a:pt x="171190" y="287462"/>
                      <a:pt x="193675" y="288961"/>
                      <a:pt x="211931" y="290549"/>
                    </a:cubicBezTo>
                    <a:cubicBezTo>
                      <a:pt x="248311" y="279377"/>
                      <a:pt x="267535" y="266488"/>
                      <a:pt x="285114" y="256249"/>
                    </a:cubicBezTo>
                    <a:cubicBezTo>
                      <a:pt x="302693" y="246010"/>
                      <a:pt x="296819" y="197468"/>
                      <a:pt x="324560" y="179412"/>
                    </a:cubicBezTo>
                    <a:cubicBezTo>
                      <a:pt x="321076" y="163433"/>
                      <a:pt x="308212" y="159180"/>
                      <a:pt x="301601" y="159616"/>
                    </a:cubicBezTo>
                    <a:cubicBezTo>
                      <a:pt x="273074" y="148205"/>
                      <a:pt x="267116" y="247024"/>
                      <a:pt x="222275" y="219966"/>
                    </a:cubicBezTo>
                    <a:cubicBezTo>
                      <a:pt x="241530" y="188220"/>
                      <a:pt x="371414" y="64666"/>
                      <a:pt x="396814" y="27757"/>
                    </a:cubicBezTo>
                    <a:cubicBezTo>
                      <a:pt x="394645" y="9931"/>
                      <a:pt x="384660" y="702"/>
                      <a:pt x="362168" y="2418"/>
                    </a:cubicBezTo>
                    <a:cubicBezTo>
                      <a:pt x="318439" y="44487"/>
                      <a:pt x="238561" y="139759"/>
                      <a:pt x="231763" y="132532"/>
                    </a:cubicBezTo>
                    <a:cubicBezTo>
                      <a:pt x="224965" y="125305"/>
                      <a:pt x="256864" y="100734"/>
                      <a:pt x="265101" y="85689"/>
                    </a:cubicBezTo>
                    <a:cubicBezTo>
                      <a:pt x="278281" y="72255"/>
                      <a:pt x="251595" y="54132"/>
                      <a:pt x="238198" y="53987"/>
                    </a:cubicBezTo>
                    <a:cubicBezTo>
                      <a:pt x="221529" y="67481"/>
                      <a:pt x="195032" y="102304"/>
                      <a:pt x="190536" y="96032"/>
                    </a:cubicBezTo>
                    <a:cubicBezTo>
                      <a:pt x="186040" y="89760"/>
                      <a:pt x="219015" y="61094"/>
                      <a:pt x="220602" y="49188"/>
                    </a:cubicBezTo>
                    <a:cubicBezTo>
                      <a:pt x="227825" y="39166"/>
                      <a:pt x="208471" y="22892"/>
                      <a:pt x="193808" y="24595"/>
                    </a:cubicBezTo>
                    <a:cubicBezTo>
                      <a:pt x="181902" y="27770"/>
                      <a:pt x="151991" y="72419"/>
                      <a:pt x="145256" y="64330"/>
                    </a:cubicBezTo>
                    <a:cubicBezTo>
                      <a:pt x="138521" y="56241"/>
                      <a:pt x="169027" y="38370"/>
                      <a:pt x="167470" y="27648"/>
                    </a:cubicBezTo>
                    <a:cubicBezTo>
                      <a:pt x="168676" y="4362"/>
                      <a:pt x="153467" y="1399"/>
                      <a:pt x="135913" y="0"/>
                    </a:cubicBezTo>
                    <a:cubicBezTo>
                      <a:pt x="94638" y="49213"/>
                      <a:pt x="12865" y="126764"/>
                      <a:pt x="7890" y="139712"/>
                    </a:cubicBezTo>
                    <a:cubicBezTo>
                      <a:pt x="2915" y="152660"/>
                      <a:pt x="2630" y="162483"/>
                      <a:pt x="0" y="173868"/>
                    </a:cubicBezTo>
                    <a:close/>
                  </a:path>
                </a:pathLst>
              </a:custGeom>
              <a:grpFill/>
              <a:ln w="12700"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defRPr/>
                </a:pPr>
                <a:endParaRPr lang="en-US" kern="0" dirty="0" err="1">
                  <a:ln>
                    <a:solidFill>
                      <a:srgbClr val="FFFFFF">
                        <a:alpha val="0"/>
                      </a:srgbClr>
                    </a:solidFill>
                  </a:ln>
                  <a:solidFill>
                    <a:srgbClr val="44546A"/>
                  </a:solidFill>
                  <a:ea typeface="Segoe UI" pitchFamily="34" charset="0"/>
                  <a:cs typeface="Segoe UI" pitchFamily="34" charset="0"/>
                </a:endParaRPr>
              </a:p>
            </p:txBody>
          </p:sp>
        </p:grpSp>
        <p:pic>
          <p:nvPicPr>
            <p:cNvPr id="143" name="Picture 42"/>
            <p:cNvPicPr>
              <a:picLocks noChangeAspect="1"/>
            </p:cNvPicPr>
            <p:nvPr/>
          </p:nvPicPr>
          <p:blipFill>
            <a:blip r:embed="rId14"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5807405" y="2755642"/>
              <a:ext cx="162079" cy="122803"/>
            </a:xfrm>
            <a:prstGeom prst="rect">
              <a:avLst/>
            </a:prstGeom>
          </p:spPr>
        </p:pic>
        <p:grpSp>
          <p:nvGrpSpPr>
            <p:cNvPr id="144" name="Group 9"/>
            <p:cNvGrpSpPr>
              <a:grpSpLocks/>
            </p:cNvGrpSpPr>
            <p:nvPr/>
          </p:nvGrpSpPr>
          <p:grpSpPr bwMode="auto">
            <a:xfrm>
              <a:off x="5794575" y="3218649"/>
              <a:ext cx="190686" cy="156029"/>
              <a:chOff x="6940223" y="1895560"/>
              <a:chExt cx="721993" cy="641901"/>
            </a:xfrm>
            <a:solidFill>
              <a:schemeClr val="bg1">
                <a:lumMod val="95000"/>
              </a:schemeClr>
            </a:solidFill>
          </p:grpSpPr>
          <p:cxnSp>
            <p:nvCxnSpPr>
              <p:cNvPr id="146" name="Straight Connector 10"/>
              <p:cNvCxnSpPr/>
              <p:nvPr/>
            </p:nvCxnSpPr>
            <p:spPr>
              <a:xfrm flipV="1">
                <a:off x="7247609" y="1895560"/>
                <a:ext cx="294081" cy="641901"/>
              </a:xfrm>
              <a:prstGeom prst="line">
                <a:avLst/>
              </a:prstGeom>
              <a:grpFill/>
              <a:ln w="38100" cap="rnd" cmpd="sng" algn="ctr">
                <a:solidFill>
                  <a:srgbClr val="7F7F7F"/>
                </a:solidFill>
                <a:prstDash val="sysDot"/>
              </a:ln>
              <a:effectLst/>
            </p:spPr>
          </p:cxnSp>
          <p:grpSp>
            <p:nvGrpSpPr>
              <p:cNvPr id="147" name="Group 11"/>
              <p:cNvGrpSpPr>
                <a:grpSpLocks/>
              </p:cNvGrpSpPr>
              <p:nvPr/>
            </p:nvGrpSpPr>
            <p:grpSpPr bwMode="auto">
              <a:xfrm>
                <a:off x="6940223" y="2011636"/>
                <a:ext cx="721993" cy="430704"/>
                <a:chOff x="6997583" y="1705969"/>
                <a:chExt cx="1039555" cy="620144"/>
              </a:xfrm>
              <a:grpFill/>
            </p:grpSpPr>
            <p:pic>
              <p:nvPicPr>
                <p:cNvPr id="148" name="Picture 47" descr="C:\Users\sakuu\Documents\Ballmer MGX 2011\Tile Icons\Calendar.png"/>
                <p:cNvPicPr>
                  <a:picLocks noChangeAspect="1" noChangeArrowheads="1"/>
                </p:cNvPicPr>
                <p:nvPr/>
              </p:nvPicPr>
              <p:blipFill>
                <a:blip r:embed="rId15" cstate="screen">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black">
                <a:xfrm>
                  <a:off x="7458341" y="1774201"/>
                  <a:ext cx="578797" cy="551912"/>
                </a:xfrm>
                <a:prstGeom prst="rect">
                  <a:avLst/>
                </a:prstGeom>
                <a:grpFill/>
                <a:extLst>
                  <a:ext uri="{909E8E84-426E-40dd-AFC4-6F175D3DCCD1}">
                    <a14:hiddenFill xmlns="" xmlns:a14="http://schemas.microsoft.com/office/drawing/2010/main">
                      <a:solidFill>
                        <a:srgbClr val="FFFFFF"/>
                      </a:solidFill>
                    </a14:hiddenFill>
                  </a:ext>
                </a:extLst>
              </p:spPr>
            </p:pic>
            <p:sp>
              <p:nvSpPr>
                <p:cNvPr id="149" name="Freeform 113"/>
                <p:cNvSpPr>
                  <a:spLocks noEditPoints="1"/>
                </p:cNvSpPr>
                <p:nvPr/>
              </p:nvSpPr>
              <p:spPr bwMode="black">
                <a:xfrm>
                  <a:off x="6997583" y="1705969"/>
                  <a:ext cx="424935" cy="48747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7F7F7F"/>
                </a:solidFill>
                <a:ln>
                  <a:noFill/>
                </a:ln>
                <a:extLst/>
              </p:spPr>
              <p:txBody>
                <a:bodyPr/>
                <a:lstStyle/>
                <a:p>
                  <a:pPr defTabSz="914400">
                    <a:defRPr/>
                  </a:pPr>
                  <a:endParaRPr lang="en-US" sz="1050" kern="0">
                    <a:solidFill>
                      <a:srgbClr val="000000"/>
                    </a:solidFill>
                  </a:endParaRPr>
                </a:p>
              </p:txBody>
            </p:sp>
          </p:grpSp>
        </p:grpSp>
        <p:sp>
          <p:nvSpPr>
            <p:cNvPr id="145" name="Freeform 73"/>
            <p:cNvSpPr>
              <a:spLocks noEditPoints="1"/>
            </p:cNvSpPr>
            <p:nvPr/>
          </p:nvSpPr>
          <p:spPr bwMode="black">
            <a:xfrm>
              <a:off x="6646247" y="3186281"/>
              <a:ext cx="185208" cy="17476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lumMod val="50000"/>
              </a:schemeClr>
            </a:solidFill>
            <a:ln w="9525">
              <a:noFill/>
              <a:round/>
              <a:headEnd/>
              <a:tailEnd/>
            </a:ln>
          </p:spPr>
          <p:txBody>
            <a:bodyPr/>
            <a:lstStyle/>
            <a:p>
              <a:pPr algn="ctr" defTabSz="1088105"/>
              <a:endParaRPr lang="en-US" sz="2200">
                <a:ln>
                  <a:solidFill>
                    <a:srgbClr val="505050">
                      <a:alpha val="0"/>
                    </a:srgbClr>
                  </a:solidFill>
                </a:ln>
                <a:solidFill>
                  <a:srgbClr val="505050"/>
                </a:solidFill>
              </a:endParaRPr>
            </a:p>
          </p:txBody>
        </p:sp>
      </p:grpSp>
      <p:pic>
        <p:nvPicPr>
          <p:cNvPr id="160" name="Picture 2" descr="\\MAGNUM\Projects\Microsoft\Cloud Power FY12\Design\ICONS_PNG\Building.png"/>
          <p:cNvPicPr>
            <a:picLocks noChangeAspect="1" noChangeArrowheads="1"/>
          </p:cNvPicPr>
          <p:nvPr/>
        </p:nvPicPr>
        <p:blipFill>
          <a:blip r:embed="rId4" cstate="print">
            <a:duotone>
              <a:srgbClr val="5B9BD5">
                <a:shade val="45000"/>
                <a:satMod val="135000"/>
              </a:srgbClr>
              <a:prstClr val="white"/>
            </a:duotone>
            <a:extLst>
              <a:ext uri="{BEBA8EAE-BF5A-486C-A8C5-ECC9F3942E4B}">
                <a14:imgProps xmlns:a14="http://schemas.microsoft.com/office/drawing/2010/main">
                  <a14:imgLayer r:embed="rId5">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2374121" y="2643436"/>
            <a:ext cx="526656" cy="526656"/>
          </a:xfrm>
          <a:prstGeom prst="rect">
            <a:avLst/>
          </a:prstGeom>
          <a:noFill/>
        </p:spPr>
      </p:pic>
      <p:cxnSp>
        <p:nvCxnSpPr>
          <p:cNvPr id="161" name="Straight Arrow Connector 160"/>
          <p:cNvCxnSpPr>
            <a:cxnSpLocks/>
          </p:cNvCxnSpPr>
          <p:nvPr/>
        </p:nvCxnSpPr>
        <p:spPr>
          <a:xfrm flipV="1">
            <a:off x="1844749" y="2910645"/>
            <a:ext cx="316703" cy="34635"/>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sp>
        <p:nvSpPr>
          <p:cNvPr id="162" name="TextBox 161"/>
          <p:cNvSpPr txBox="1"/>
          <p:nvPr/>
        </p:nvSpPr>
        <p:spPr>
          <a:xfrm>
            <a:off x="8004758" y="2620841"/>
            <a:ext cx="425465" cy="304331"/>
          </a:xfrm>
          <a:prstGeom prst="rect">
            <a:avLst/>
          </a:prstGeom>
        </p:spPr>
        <p:txBody>
          <a:bodyPr vert="horz" wrap="none" lIns="91440" tIns="91440" rIns="91440" bIns="91440" rtlCol="0" anchor="t">
            <a:noAutofit/>
          </a:bodyPr>
          <a:lstStyle/>
          <a:p>
            <a:pPr algn="ctr" defTabSz="1088105"/>
            <a:r>
              <a:rPr lang="en-US" sz="1200" dirty="0">
                <a:solidFill>
                  <a:srgbClr val="505050"/>
                </a:solidFill>
                <a:ea typeface="Segoe UI" pitchFamily="34" charset="0"/>
                <a:cs typeface="Segoe UI" pitchFamily="34" charset="0"/>
              </a:rPr>
              <a:t>Energy</a:t>
            </a:r>
          </a:p>
        </p:txBody>
      </p:sp>
      <p:sp>
        <p:nvSpPr>
          <p:cNvPr id="163" name="TextBox 162"/>
          <p:cNvSpPr txBox="1"/>
          <p:nvPr/>
        </p:nvSpPr>
        <p:spPr>
          <a:xfrm>
            <a:off x="7184146" y="2617417"/>
            <a:ext cx="425465" cy="304331"/>
          </a:xfrm>
          <a:prstGeom prst="rect">
            <a:avLst/>
          </a:prstGeom>
        </p:spPr>
        <p:txBody>
          <a:bodyPr vert="horz" wrap="none" lIns="91440" tIns="91440" rIns="91440" bIns="91440" rtlCol="0" anchor="t">
            <a:noAutofit/>
          </a:bodyPr>
          <a:lstStyle/>
          <a:p>
            <a:pPr algn="ctr" defTabSz="1088105"/>
            <a:r>
              <a:rPr lang="en-US" sz="1200" dirty="0">
                <a:solidFill>
                  <a:srgbClr val="505050"/>
                </a:solidFill>
                <a:ea typeface="Segoe UI" pitchFamily="34" charset="0"/>
                <a:cs typeface="Segoe UI" pitchFamily="34" charset="0"/>
              </a:rPr>
              <a:t>Productivity</a:t>
            </a:r>
          </a:p>
        </p:txBody>
      </p:sp>
      <p:sp>
        <p:nvSpPr>
          <p:cNvPr id="164" name="TextBox 163"/>
          <p:cNvSpPr txBox="1"/>
          <p:nvPr/>
        </p:nvSpPr>
        <p:spPr>
          <a:xfrm>
            <a:off x="7183554" y="3259857"/>
            <a:ext cx="425465" cy="304331"/>
          </a:xfrm>
          <a:prstGeom prst="rect">
            <a:avLst/>
          </a:prstGeom>
        </p:spPr>
        <p:txBody>
          <a:bodyPr vert="horz" wrap="none" lIns="91440" tIns="91440" rIns="91440" bIns="91440" rtlCol="0" anchor="t">
            <a:noAutofit/>
          </a:bodyPr>
          <a:lstStyle/>
          <a:p>
            <a:pPr algn="ctr" defTabSz="1088105"/>
            <a:r>
              <a:rPr lang="en-US" sz="1200" dirty="0">
                <a:solidFill>
                  <a:srgbClr val="505050"/>
                </a:solidFill>
                <a:ea typeface="Segoe UI" pitchFamily="34" charset="0"/>
                <a:cs typeface="Segoe UI" pitchFamily="34" charset="0"/>
              </a:rPr>
              <a:t>Dynamic </a:t>
            </a:r>
            <a:br>
              <a:rPr lang="en-US" sz="1200" dirty="0">
                <a:solidFill>
                  <a:srgbClr val="505050"/>
                </a:solidFill>
                <a:ea typeface="Segoe UI" pitchFamily="34" charset="0"/>
                <a:cs typeface="Segoe UI" pitchFamily="34" charset="0"/>
              </a:rPr>
            </a:br>
            <a:r>
              <a:rPr lang="en-US" sz="1200" dirty="0">
                <a:solidFill>
                  <a:srgbClr val="505050"/>
                </a:solidFill>
                <a:ea typeface="Segoe UI" pitchFamily="34" charset="0"/>
                <a:cs typeface="Segoe UI" pitchFamily="34" charset="0"/>
              </a:rPr>
              <a:t>utilization</a:t>
            </a:r>
          </a:p>
        </p:txBody>
      </p:sp>
      <p:sp>
        <p:nvSpPr>
          <p:cNvPr id="165" name="TextBox 164"/>
          <p:cNvSpPr txBox="1"/>
          <p:nvPr/>
        </p:nvSpPr>
        <p:spPr>
          <a:xfrm>
            <a:off x="8000995" y="3259857"/>
            <a:ext cx="425465" cy="304331"/>
          </a:xfrm>
          <a:prstGeom prst="rect">
            <a:avLst/>
          </a:prstGeom>
        </p:spPr>
        <p:txBody>
          <a:bodyPr vert="horz" wrap="none" lIns="91440" tIns="91440" rIns="91440" bIns="91440" rtlCol="0" anchor="t">
            <a:noAutofit/>
          </a:bodyPr>
          <a:lstStyle/>
          <a:p>
            <a:pPr algn="ctr" defTabSz="1088105"/>
            <a:r>
              <a:rPr lang="en-US" sz="1200" dirty="0">
                <a:solidFill>
                  <a:srgbClr val="505050"/>
                </a:solidFill>
                <a:ea typeface="Segoe UI" pitchFamily="34" charset="0"/>
                <a:cs typeface="Segoe UI" pitchFamily="34" charset="0"/>
              </a:rPr>
              <a:t>Maintenance</a:t>
            </a:r>
          </a:p>
        </p:txBody>
      </p:sp>
      <p:grpSp>
        <p:nvGrpSpPr>
          <p:cNvPr id="166" name="Group 165"/>
          <p:cNvGrpSpPr/>
          <p:nvPr/>
        </p:nvGrpSpPr>
        <p:grpSpPr>
          <a:xfrm>
            <a:off x="10096759" y="2214280"/>
            <a:ext cx="742320" cy="783049"/>
            <a:chOff x="5760840" y="2470790"/>
            <a:chExt cx="1103454" cy="1163997"/>
          </a:xfrm>
        </p:grpSpPr>
        <p:grpSp>
          <p:nvGrpSpPr>
            <p:cNvPr id="167" name="Group 166"/>
            <p:cNvGrpSpPr>
              <a:grpSpLocks/>
            </p:cNvGrpSpPr>
            <p:nvPr/>
          </p:nvGrpSpPr>
          <p:grpSpPr>
            <a:xfrm>
              <a:off x="5835818" y="2637004"/>
              <a:ext cx="965424" cy="843079"/>
              <a:chOff x="3576277" y="1473954"/>
              <a:chExt cx="4798544" cy="4260681"/>
            </a:xfrm>
            <a:solidFill>
              <a:schemeClr val="bg1">
                <a:lumMod val="50000"/>
              </a:schemeClr>
            </a:solidFill>
          </p:grpSpPr>
          <p:sp>
            <p:nvSpPr>
              <p:cNvPr id="188" name="Freeform 187"/>
              <p:cNvSpPr/>
              <p:nvPr/>
            </p:nvSpPr>
            <p:spPr bwMode="auto">
              <a:xfrm>
                <a:off x="4166794"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89" name="Freeform 188"/>
              <p:cNvSpPr/>
              <p:nvPr/>
            </p:nvSpPr>
            <p:spPr bwMode="auto">
              <a:xfrm flipH="1">
                <a:off x="6100719"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90" name="Freeform 189"/>
              <p:cNvSpPr/>
              <p:nvPr/>
            </p:nvSpPr>
            <p:spPr bwMode="auto">
              <a:xfrm flipV="1">
                <a:off x="4166794"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91" name="Freeform 190"/>
              <p:cNvSpPr/>
              <p:nvPr/>
            </p:nvSpPr>
            <p:spPr bwMode="auto">
              <a:xfrm flipH="1" flipV="1">
                <a:off x="6100719"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93" name="Freeform 192"/>
              <p:cNvSpPr/>
              <p:nvPr/>
            </p:nvSpPr>
            <p:spPr bwMode="auto">
              <a:xfrm rot="17954294">
                <a:off x="3288256"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94" name="Freeform 193"/>
              <p:cNvSpPr/>
              <p:nvPr/>
            </p:nvSpPr>
            <p:spPr bwMode="auto">
              <a:xfrm rot="3645706" flipH="1">
                <a:off x="6969782"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grpSp>
        <p:sp>
          <p:nvSpPr>
            <p:cNvPr id="168" name="Freeform 7"/>
            <p:cNvSpPr>
              <a:spLocks noEditPoints="1"/>
            </p:cNvSpPr>
            <p:nvPr/>
          </p:nvSpPr>
          <p:spPr bwMode="auto">
            <a:xfrm>
              <a:off x="6609086" y="2674774"/>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endParaRPr lang="en-US" sz="2400" kern="0" dirty="0">
                <a:ln>
                  <a:solidFill>
                    <a:srgbClr val="FFFFFF">
                      <a:alpha val="0"/>
                    </a:srgbClr>
                  </a:solidFill>
                </a:ln>
                <a:solidFill>
                  <a:srgbClr val="44546A"/>
                </a:solidFill>
              </a:endParaRPr>
            </a:p>
          </p:txBody>
        </p:sp>
        <p:sp>
          <p:nvSpPr>
            <p:cNvPr id="169" name="Freeform 138"/>
            <p:cNvSpPr>
              <a:spLocks noChangeAspect="1" noEditPoints="1"/>
            </p:cNvSpPr>
            <p:nvPr/>
          </p:nvSpPr>
          <p:spPr bwMode="black">
            <a:xfrm>
              <a:off x="6664759" y="2716842"/>
              <a:ext cx="143863" cy="176195"/>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ysClr val="window" lastClr="FFFFFF">
                <a:lumMod val="50000"/>
              </a:sysClr>
            </a:solidFill>
            <a:ln>
              <a:noFill/>
            </a:ln>
            <a:extLst/>
          </p:spPr>
          <p:txBody>
            <a:bodyPr vert="horz" wrap="square" lIns="91440" tIns="45720" rIns="91440" bIns="45720" numCol="1" anchor="t" anchorCtr="0" compatLnSpc="1">
              <a:prstTxWarp prst="textNoShape">
                <a:avLst/>
              </a:prstTxWarp>
              <a:noAutofit/>
            </a:bodyPr>
            <a:lstStyle/>
            <a:p>
              <a:pPr>
                <a:defRPr/>
              </a:pPr>
              <a:endParaRPr lang="en-US" sz="2000" kern="0">
                <a:ln>
                  <a:solidFill>
                    <a:srgbClr val="FFFFFF">
                      <a:alpha val="0"/>
                    </a:srgbClr>
                  </a:solidFill>
                </a:ln>
                <a:solidFill>
                  <a:srgbClr val="44546A"/>
                </a:solidFill>
              </a:endParaRPr>
            </a:p>
          </p:txBody>
        </p:sp>
        <p:sp>
          <p:nvSpPr>
            <p:cNvPr id="170" name="Freeform 7"/>
            <p:cNvSpPr>
              <a:spLocks noEditPoints="1"/>
            </p:cNvSpPr>
            <p:nvPr/>
          </p:nvSpPr>
          <p:spPr bwMode="auto">
            <a:xfrm>
              <a:off x="6605670" y="3146922"/>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71" name="Freeform 7"/>
            <p:cNvSpPr>
              <a:spLocks noEditPoints="1"/>
            </p:cNvSpPr>
            <p:nvPr/>
          </p:nvSpPr>
          <p:spPr bwMode="auto">
            <a:xfrm>
              <a:off x="5766963" y="317243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72" name="Freeform 7"/>
            <p:cNvSpPr>
              <a:spLocks noEditPoints="1"/>
            </p:cNvSpPr>
            <p:nvPr/>
          </p:nvSpPr>
          <p:spPr bwMode="auto">
            <a:xfrm>
              <a:off x="5760840" y="2689027"/>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73" name="Freeform 7"/>
            <p:cNvSpPr>
              <a:spLocks noEditPoints="1"/>
            </p:cNvSpPr>
            <p:nvPr/>
          </p:nvSpPr>
          <p:spPr bwMode="auto">
            <a:xfrm>
              <a:off x="6190926" y="247079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74" name="original cloud"/>
            <p:cNvSpPr>
              <a:spLocks noChangeAspect="1"/>
            </p:cNvSpPr>
            <p:nvPr/>
          </p:nvSpPr>
          <p:spPr bwMode="black">
            <a:xfrm>
              <a:off x="6232032" y="2546232"/>
              <a:ext cx="172996" cy="1051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50000"/>
              </a:schemeClr>
            </a:solidFill>
            <a:ln>
              <a:noFill/>
            </a:ln>
            <a:extLst/>
          </p:spPr>
          <p:txBody>
            <a:bodyPr vert="horz" wrap="square" lIns="121920" tIns="60960" rIns="121920" bIns="60960" numCol="1" anchor="t" anchorCtr="0" compatLnSpc="1">
              <a:prstTxWarp prst="textNoShape">
                <a:avLst/>
              </a:prstTxWarp>
              <a:noAutofit/>
            </a:bodyPr>
            <a:lstStyle/>
            <a:p>
              <a:pPr defTabSz="776791">
                <a:defRPr/>
              </a:pPr>
              <a:endParaRPr lang="en-US" sz="2000" kern="0" dirty="0">
                <a:ln>
                  <a:solidFill>
                    <a:srgbClr val="FFFFFF">
                      <a:alpha val="0"/>
                    </a:srgbClr>
                  </a:solidFill>
                </a:ln>
                <a:solidFill>
                  <a:srgbClr val="44546A"/>
                </a:solidFill>
              </a:endParaRPr>
            </a:p>
          </p:txBody>
        </p:sp>
        <p:sp>
          <p:nvSpPr>
            <p:cNvPr id="175" name="Freeform 7"/>
            <p:cNvSpPr>
              <a:spLocks noEditPoints="1"/>
            </p:cNvSpPr>
            <p:nvPr/>
          </p:nvSpPr>
          <p:spPr bwMode="auto">
            <a:xfrm>
              <a:off x="6190926" y="3378755"/>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grpSp>
          <p:nvGrpSpPr>
            <p:cNvPr id="176" name="Group 175"/>
            <p:cNvGrpSpPr/>
            <p:nvPr/>
          </p:nvGrpSpPr>
          <p:grpSpPr>
            <a:xfrm>
              <a:off x="6209498" y="3479631"/>
              <a:ext cx="218065" cy="67360"/>
              <a:chOff x="4888707" y="5496501"/>
              <a:chExt cx="2071733" cy="650674"/>
            </a:xfrm>
            <a:solidFill>
              <a:srgbClr val="7F7F7F"/>
            </a:solidFill>
          </p:grpSpPr>
          <p:sp>
            <p:nvSpPr>
              <p:cNvPr id="184" name="Freeform 61"/>
              <p:cNvSpPr>
                <a:spLocks/>
              </p:cNvSpPr>
              <p:nvPr/>
            </p:nvSpPr>
            <p:spPr bwMode="black">
              <a:xfrm rot="10800000">
                <a:off x="5227783" y="5496501"/>
                <a:ext cx="411263" cy="594652"/>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ln w="12700">
                <a:noFill/>
              </a:ln>
              <a:extLst/>
            </p:spPr>
            <p:txBody>
              <a:bodyPr vert="horz" wrap="square" lIns="91440" tIns="45720" rIns="91440" bIns="45720"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185" name="Freeform 20"/>
              <p:cNvSpPr>
                <a:spLocks noEditPoints="1"/>
              </p:cNvSpPr>
              <p:nvPr/>
            </p:nvSpPr>
            <p:spPr bwMode="black">
              <a:xfrm>
                <a:off x="5734595" y="5507339"/>
                <a:ext cx="839742" cy="58381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grpFill/>
              <a:ln w="12700">
                <a:noFill/>
              </a:ln>
              <a:extLst/>
            </p:spPr>
            <p:txBody>
              <a:bodyPr vert="horz" wrap="square" lIns="82305" tIns="41153" rIns="82305" bIns="41153"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186" name="Rounded Rectangle 4"/>
              <p:cNvSpPr/>
              <p:nvPr/>
            </p:nvSpPr>
            <p:spPr bwMode="auto">
              <a:xfrm>
                <a:off x="6657183" y="5507336"/>
                <a:ext cx="303257" cy="582786"/>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grpFill/>
              <a:ln w="12700">
                <a:noFill/>
              </a:ln>
              <a:extLst/>
            </p:spPr>
            <p:txBody>
              <a:bodyPr vert="horz" wrap="square" lIns="91440" tIns="45720" rIns="91440" bIns="45720" numCol="1" rtlCol="0" anchor="t" anchorCtr="0" compatLnSpc="1">
                <a:prstTxWarp prst="textNoShape">
                  <a:avLst/>
                </a:prstTxWarp>
                <a:noAutofit/>
              </a:bodyPr>
              <a:lstStyle/>
              <a:p>
                <a:pPr algn="ctr">
                  <a:defRPr/>
                </a:pPr>
                <a:endParaRPr lang="en-US" kern="0">
                  <a:ln>
                    <a:solidFill>
                      <a:srgbClr val="FFFFFF">
                        <a:alpha val="0"/>
                      </a:srgbClr>
                    </a:solidFill>
                  </a:ln>
                  <a:solidFill>
                    <a:srgbClr val="44546A"/>
                  </a:solidFill>
                </a:endParaRPr>
              </a:p>
            </p:txBody>
          </p:sp>
          <p:sp>
            <p:nvSpPr>
              <p:cNvPr id="187" name="Freeform 186"/>
              <p:cNvSpPr/>
              <p:nvPr/>
            </p:nvSpPr>
            <p:spPr>
              <a:xfrm>
                <a:off x="4888707" y="5854458"/>
                <a:ext cx="388142" cy="292717"/>
              </a:xfrm>
              <a:custGeom>
                <a:avLst/>
                <a:gdLst>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0 w 392906"/>
                  <a:gd name="connsiteY19"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4763 w 392906"/>
                  <a:gd name="connsiteY19" fmla="*/ 140494 h 300038"/>
                  <a:gd name="connsiteX20" fmla="*/ 0 w 392906"/>
                  <a:gd name="connsiteY20"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7890 w 392906"/>
                  <a:gd name="connsiteY19" fmla="*/ 142057 h 300038"/>
                  <a:gd name="connsiteX20" fmla="*/ 0 w 392906"/>
                  <a:gd name="connsiteY20" fmla="*/ 176213 h 300038"/>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9256"/>
                  <a:gd name="connsiteX1" fmla="*/ 132459 w 392906"/>
                  <a:gd name="connsiteY1" fmla="*/ 299256 h 299256"/>
                  <a:gd name="connsiteX2" fmla="*/ 157163 w 392906"/>
                  <a:gd name="connsiteY2" fmla="*/ 285786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6814" h="299256">
                    <a:moveTo>
                      <a:pt x="0" y="173868"/>
                    </a:moveTo>
                    <a:lnTo>
                      <a:pt x="132459" y="299256"/>
                    </a:lnTo>
                    <a:cubicBezTo>
                      <a:pt x="140694" y="294766"/>
                      <a:pt x="144700" y="290364"/>
                      <a:pt x="157945" y="288913"/>
                    </a:cubicBezTo>
                    <a:cubicBezTo>
                      <a:pt x="171190" y="287462"/>
                      <a:pt x="193675" y="288961"/>
                      <a:pt x="211931" y="290549"/>
                    </a:cubicBezTo>
                    <a:cubicBezTo>
                      <a:pt x="248311" y="279377"/>
                      <a:pt x="267535" y="266488"/>
                      <a:pt x="285114" y="256249"/>
                    </a:cubicBezTo>
                    <a:cubicBezTo>
                      <a:pt x="302693" y="246010"/>
                      <a:pt x="296819" y="197468"/>
                      <a:pt x="324560" y="179412"/>
                    </a:cubicBezTo>
                    <a:cubicBezTo>
                      <a:pt x="321076" y="163433"/>
                      <a:pt x="308212" y="159180"/>
                      <a:pt x="301601" y="159616"/>
                    </a:cubicBezTo>
                    <a:cubicBezTo>
                      <a:pt x="273074" y="148205"/>
                      <a:pt x="267116" y="247024"/>
                      <a:pt x="222275" y="219966"/>
                    </a:cubicBezTo>
                    <a:cubicBezTo>
                      <a:pt x="241530" y="188220"/>
                      <a:pt x="371414" y="64666"/>
                      <a:pt x="396814" y="27757"/>
                    </a:cubicBezTo>
                    <a:cubicBezTo>
                      <a:pt x="394645" y="9931"/>
                      <a:pt x="384660" y="702"/>
                      <a:pt x="362168" y="2418"/>
                    </a:cubicBezTo>
                    <a:cubicBezTo>
                      <a:pt x="318439" y="44487"/>
                      <a:pt x="238561" y="139759"/>
                      <a:pt x="231763" y="132532"/>
                    </a:cubicBezTo>
                    <a:cubicBezTo>
                      <a:pt x="224965" y="125305"/>
                      <a:pt x="256864" y="100734"/>
                      <a:pt x="265101" y="85689"/>
                    </a:cubicBezTo>
                    <a:cubicBezTo>
                      <a:pt x="278281" y="72255"/>
                      <a:pt x="251595" y="54132"/>
                      <a:pt x="238198" y="53987"/>
                    </a:cubicBezTo>
                    <a:cubicBezTo>
                      <a:pt x="221529" y="67481"/>
                      <a:pt x="195032" y="102304"/>
                      <a:pt x="190536" y="96032"/>
                    </a:cubicBezTo>
                    <a:cubicBezTo>
                      <a:pt x="186040" y="89760"/>
                      <a:pt x="219015" y="61094"/>
                      <a:pt x="220602" y="49188"/>
                    </a:cubicBezTo>
                    <a:cubicBezTo>
                      <a:pt x="227825" y="39166"/>
                      <a:pt x="208471" y="22892"/>
                      <a:pt x="193808" y="24595"/>
                    </a:cubicBezTo>
                    <a:cubicBezTo>
                      <a:pt x="181902" y="27770"/>
                      <a:pt x="151991" y="72419"/>
                      <a:pt x="145256" y="64330"/>
                    </a:cubicBezTo>
                    <a:cubicBezTo>
                      <a:pt x="138521" y="56241"/>
                      <a:pt x="169027" y="38370"/>
                      <a:pt x="167470" y="27648"/>
                    </a:cubicBezTo>
                    <a:cubicBezTo>
                      <a:pt x="168676" y="4362"/>
                      <a:pt x="153467" y="1399"/>
                      <a:pt x="135913" y="0"/>
                    </a:cubicBezTo>
                    <a:cubicBezTo>
                      <a:pt x="94638" y="49213"/>
                      <a:pt x="12865" y="126764"/>
                      <a:pt x="7890" y="139712"/>
                    </a:cubicBezTo>
                    <a:cubicBezTo>
                      <a:pt x="2915" y="152660"/>
                      <a:pt x="2630" y="162483"/>
                      <a:pt x="0" y="173868"/>
                    </a:cubicBezTo>
                    <a:close/>
                  </a:path>
                </a:pathLst>
              </a:custGeom>
              <a:grpFill/>
              <a:ln w="12700"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defRPr/>
                </a:pPr>
                <a:endParaRPr lang="en-US" kern="0" dirty="0" err="1">
                  <a:ln>
                    <a:solidFill>
                      <a:srgbClr val="FFFFFF">
                        <a:alpha val="0"/>
                      </a:srgbClr>
                    </a:solidFill>
                  </a:ln>
                  <a:solidFill>
                    <a:srgbClr val="44546A"/>
                  </a:solidFill>
                  <a:ea typeface="Segoe UI" pitchFamily="34" charset="0"/>
                  <a:cs typeface="Segoe UI" pitchFamily="34" charset="0"/>
                </a:endParaRPr>
              </a:p>
            </p:txBody>
          </p:sp>
        </p:grpSp>
        <p:pic>
          <p:nvPicPr>
            <p:cNvPr id="177" name="Picture 42"/>
            <p:cNvPicPr>
              <a:picLocks noChangeAspect="1"/>
            </p:cNvPicPr>
            <p:nvPr/>
          </p:nvPicPr>
          <p:blipFill>
            <a:blip r:embed="rId14"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5807405" y="2755642"/>
              <a:ext cx="162079" cy="122803"/>
            </a:xfrm>
            <a:prstGeom prst="rect">
              <a:avLst/>
            </a:prstGeom>
          </p:spPr>
        </p:pic>
        <p:grpSp>
          <p:nvGrpSpPr>
            <p:cNvPr id="178" name="Group 9"/>
            <p:cNvGrpSpPr>
              <a:grpSpLocks/>
            </p:cNvGrpSpPr>
            <p:nvPr/>
          </p:nvGrpSpPr>
          <p:grpSpPr bwMode="auto">
            <a:xfrm>
              <a:off x="5794575" y="3218649"/>
              <a:ext cx="190686" cy="156029"/>
              <a:chOff x="6940223" y="1895560"/>
              <a:chExt cx="721993" cy="641901"/>
            </a:xfrm>
            <a:solidFill>
              <a:schemeClr val="bg1">
                <a:lumMod val="95000"/>
              </a:schemeClr>
            </a:solidFill>
          </p:grpSpPr>
          <p:cxnSp>
            <p:nvCxnSpPr>
              <p:cNvPr id="180" name="Straight Connector 10"/>
              <p:cNvCxnSpPr/>
              <p:nvPr/>
            </p:nvCxnSpPr>
            <p:spPr>
              <a:xfrm flipV="1">
                <a:off x="7247609" y="1895560"/>
                <a:ext cx="294081" cy="641901"/>
              </a:xfrm>
              <a:prstGeom prst="line">
                <a:avLst/>
              </a:prstGeom>
              <a:grpFill/>
              <a:ln w="38100" cap="rnd" cmpd="sng" algn="ctr">
                <a:solidFill>
                  <a:srgbClr val="7F7F7F"/>
                </a:solidFill>
                <a:prstDash val="sysDot"/>
              </a:ln>
              <a:effectLst/>
            </p:spPr>
          </p:cxnSp>
          <p:grpSp>
            <p:nvGrpSpPr>
              <p:cNvPr id="181" name="Group 11"/>
              <p:cNvGrpSpPr>
                <a:grpSpLocks/>
              </p:cNvGrpSpPr>
              <p:nvPr/>
            </p:nvGrpSpPr>
            <p:grpSpPr bwMode="auto">
              <a:xfrm>
                <a:off x="6940223" y="2011636"/>
                <a:ext cx="721993" cy="430704"/>
                <a:chOff x="6997583" y="1705969"/>
                <a:chExt cx="1039555" cy="620144"/>
              </a:xfrm>
              <a:grpFill/>
            </p:grpSpPr>
            <p:pic>
              <p:nvPicPr>
                <p:cNvPr id="182" name="Picture 47" descr="C:\Users\sakuu\Documents\Ballmer MGX 2011\Tile Icons\Calendar.png"/>
                <p:cNvPicPr>
                  <a:picLocks noChangeAspect="1" noChangeArrowheads="1"/>
                </p:cNvPicPr>
                <p:nvPr/>
              </p:nvPicPr>
              <p:blipFill>
                <a:blip r:embed="rId15" cstate="screen">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black">
                <a:xfrm>
                  <a:off x="7458341" y="1774201"/>
                  <a:ext cx="578797" cy="551912"/>
                </a:xfrm>
                <a:prstGeom prst="rect">
                  <a:avLst/>
                </a:prstGeom>
                <a:grpFill/>
                <a:extLst>
                  <a:ext uri="{909E8E84-426E-40dd-AFC4-6F175D3DCCD1}">
                    <a14:hiddenFill xmlns="" xmlns:a14="http://schemas.microsoft.com/office/drawing/2010/main">
                      <a:solidFill>
                        <a:srgbClr val="FFFFFF"/>
                      </a:solidFill>
                    </a14:hiddenFill>
                  </a:ext>
                </a:extLst>
              </p:spPr>
            </p:pic>
            <p:sp>
              <p:nvSpPr>
                <p:cNvPr id="183" name="Freeform 113"/>
                <p:cNvSpPr>
                  <a:spLocks noEditPoints="1"/>
                </p:cNvSpPr>
                <p:nvPr/>
              </p:nvSpPr>
              <p:spPr bwMode="black">
                <a:xfrm>
                  <a:off x="6997583" y="1705969"/>
                  <a:ext cx="424935" cy="48747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7F7F7F"/>
                </a:solidFill>
                <a:ln>
                  <a:noFill/>
                </a:ln>
                <a:extLst/>
              </p:spPr>
              <p:txBody>
                <a:bodyPr/>
                <a:lstStyle/>
                <a:p>
                  <a:pPr defTabSz="914400">
                    <a:defRPr/>
                  </a:pPr>
                  <a:endParaRPr lang="en-US" sz="1050" kern="0">
                    <a:solidFill>
                      <a:srgbClr val="000000"/>
                    </a:solidFill>
                  </a:endParaRPr>
                </a:p>
              </p:txBody>
            </p:sp>
          </p:grpSp>
        </p:grpSp>
        <p:sp>
          <p:nvSpPr>
            <p:cNvPr id="179" name="Freeform 73"/>
            <p:cNvSpPr>
              <a:spLocks noEditPoints="1"/>
            </p:cNvSpPr>
            <p:nvPr/>
          </p:nvSpPr>
          <p:spPr bwMode="black">
            <a:xfrm>
              <a:off x="6646247" y="3186281"/>
              <a:ext cx="185208" cy="17476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lumMod val="50000"/>
              </a:schemeClr>
            </a:solidFill>
            <a:ln w="9525">
              <a:noFill/>
              <a:round/>
              <a:headEnd/>
              <a:tailEnd/>
            </a:ln>
          </p:spPr>
          <p:txBody>
            <a:bodyPr/>
            <a:lstStyle/>
            <a:p>
              <a:pPr algn="ctr" defTabSz="1088105"/>
              <a:endParaRPr lang="en-US" sz="2200">
                <a:ln>
                  <a:solidFill>
                    <a:srgbClr val="505050">
                      <a:alpha val="0"/>
                    </a:srgbClr>
                  </a:solidFill>
                </a:ln>
                <a:solidFill>
                  <a:srgbClr val="505050"/>
                </a:solidFill>
              </a:endParaRPr>
            </a:p>
          </p:txBody>
        </p:sp>
      </p:grpSp>
      <p:pic>
        <p:nvPicPr>
          <p:cNvPr id="196" name="Picture 2" descr="\\MAGNUM\Projects\Microsoft\Cloud Power FY12\Design\ICONS_PNG\Building.png"/>
          <p:cNvPicPr>
            <a:picLocks noChangeAspect="1" noChangeArrowheads="1"/>
          </p:cNvPicPr>
          <p:nvPr/>
        </p:nvPicPr>
        <p:blipFill>
          <a:blip r:embed="rId4" cstate="print">
            <a:duotone>
              <a:srgbClr val="5B9BD5">
                <a:shade val="45000"/>
                <a:satMod val="135000"/>
              </a:srgbClr>
              <a:prstClr val="white"/>
            </a:duotone>
            <a:extLst>
              <a:ext uri="{BEBA8EAE-BF5A-486C-A8C5-ECC9F3942E4B}">
                <a14:imgProps xmlns:a14="http://schemas.microsoft.com/office/drawing/2010/main">
                  <a14:imgLayer r:embed="rId5">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10172428" y="2310907"/>
            <a:ext cx="526656" cy="526656"/>
          </a:xfrm>
          <a:prstGeom prst="rect">
            <a:avLst/>
          </a:prstGeom>
          <a:noFill/>
        </p:spPr>
      </p:pic>
      <p:grpSp>
        <p:nvGrpSpPr>
          <p:cNvPr id="197" name="Group 196"/>
          <p:cNvGrpSpPr>
            <a:grpSpLocks noChangeAspect="1"/>
          </p:cNvGrpSpPr>
          <p:nvPr/>
        </p:nvGrpSpPr>
        <p:grpSpPr>
          <a:xfrm>
            <a:off x="592681" y="2524183"/>
            <a:ext cx="559150" cy="267126"/>
            <a:chOff x="335107" y="1984056"/>
            <a:chExt cx="8623119" cy="4119564"/>
          </a:xfrm>
          <a:solidFill>
            <a:srgbClr val="4266A0"/>
          </a:solidFill>
        </p:grpSpPr>
        <p:sp>
          <p:nvSpPr>
            <p:cNvPr id="198" name="Freeform 197"/>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99" name="Man's Body"/>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00" name="Man's Body"/>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01" name="Man's Body"/>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02" name="Man's Body"/>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03" name="Man's Body"/>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04" name="Man's Body"/>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05" name="Freeform 204"/>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6" name="Freeform 205"/>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07" name="Text Placeholder 6"/>
          <p:cNvSpPr txBox="1">
            <a:spLocks/>
          </p:cNvSpPr>
          <p:nvPr/>
        </p:nvSpPr>
        <p:spPr>
          <a:xfrm>
            <a:off x="8389559"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dirty="0"/>
              <a:t>Solution Storyboard</a:t>
            </a:r>
          </a:p>
        </p:txBody>
      </p:sp>
    </p:spTree>
    <p:extLst>
      <p:ext uri="{BB962C8B-B14F-4D97-AF65-F5344CB8AC3E}">
        <p14:creationId xmlns:p14="http://schemas.microsoft.com/office/powerpoint/2010/main" val="4010296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mart Buildings</a:t>
            </a:r>
            <a:endParaRPr lang="en-IN" dirty="0"/>
          </a:p>
        </p:txBody>
      </p:sp>
      <p:sp>
        <p:nvSpPr>
          <p:cNvPr id="5" name="Slide Number Placeholder 4"/>
          <p:cNvSpPr>
            <a:spLocks noGrp="1"/>
          </p:cNvSpPr>
          <p:nvPr>
            <p:ph type="sldNum" sz="quarter" idx="4294967295"/>
          </p:nvPr>
        </p:nvSpPr>
        <p:spPr>
          <a:xfrm>
            <a:off x="11430001" y="6478588"/>
            <a:ext cx="761998" cy="379413"/>
          </a:xfrm>
          <a:prstGeom prst="rect">
            <a:avLst/>
          </a:prstGeom>
        </p:spPr>
        <p:txBody>
          <a:bodyPr/>
          <a:lstStyle/>
          <a:p>
            <a:pPr>
              <a:defRPr/>
            </a:pPr>
            <a:fld id="{6A4C1A4A-E5E6-4CC1-B72C-A20A4EB3E2D2}" type="slidenum">
              <a:rPr lang="en-US" sz="1800" kern="0" smtClean="0">
                <a:solidFill>
                  <a:srgbClr val="505050"/>
                </a:solidFill>
              </a:rPr>
              <a:pPr>
                <a:defRPr/>
              </a:pPr>
              <a:t>12</a:t>
            </a:fld>
            <a:endParaRPr lang="en-US" sz="1800" kern="0" dirty="0">
              <a:solidFill>
                <a:srgbClr val="505050"/>
              </a:solidFill>
            </a:endParaRPr>
          </a:p>
        </p:txBody>
      </p:sp>
      <p:grpSp>
        <p:nvGrpSpPr>
          <p:cNvPr id="31" name="Group 30"/>
          <p:cNvGrpSpPr/>
          <p:nvPr/>
        </p:nvGrpSpPr>
        <p:grpSpPr>
          <a:xfrm>
            <a:off x="3679065" y="2714355"/>
            <a:ext cx="1594664" cy="1565035"/>
            <a:chOff x="295792" y="1312953"/>
            <a:chExt cx="1594664" cy="1565035"/>
          </a:xfrm>
        </p:grpSpPr>
        <p:grpSp>
          <p:nvGrpSpPr>
            <p:cNvPr id="28" name="Group 27"/>
            <p:cNvGrpSpPr/>
            <p:nvPr/>
          </p:nvGrpSpPr>
          <p:grpSpPr>
            <a:xfrm>
              <a:off x="297534" y="1312953"/>
              <a:ext cx="1592922" cy="961432"/>
              <a:chOff x="97654" y="1817834"/>
              <a:chExt cx="2838836" cy="1750989"/>
            </a:xfrm>
          </p:grpSpPr>
          <p:sp>
            <p:nvSpPr>
              <p:cNvPr id="105" name="Oval 104"/>
              <p:cNvSpPr/>
              <p:nvPr/>
            </p:nvSpPr>
            <p:spPr>
              <a:xfrm>
                <a:off x="97654" y="1817834"/>
                <a:ext cx="2838836" cy="175098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endParaRPr lang="en-US" sz="1200" kern="0" dirty="0" err="1">
                  <a:solidFill>
                    <a:prstClr val="white"/>
                  </a:solidFill>
                </a:endParaRPr>
              </a:p>
            </p:txBody>
          </p:sp>
          <p:sp>
            <p:nvSpPr>
              <p:cNvPr id="106" name="Freeform 105"/>
              <p:cNvSpPr/>
              <p:nvPr/>
            </p:nvSpPr>
            <p:spPr>
              <a:xfrm>
                <a:off x="793927" y="2308405"/>
                <a:ext cx="594455" cy="47272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7F7F7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defRPr/>
                </a:pPr>
                <a:endParaRPr lang="en-US" sz="1799"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ound Same Side Corner Rectangle 2"/>
              <p:cNvSpPr/>
              <p:nvPr/>
            </p:nvSpPr>
            <p:spPr>
              <a:xfrm>
                <a:off x="392298" y="2320739"/>
                <a:ext cx="257829" cy="480859"/>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ctr" defTabSz="1088105">
                  <a:defRPr/>
                </a:pPr>
                <a:endParaRPr lang="en-US" sz="1200" kern="0">
                  <a:solidFill>
                    <a:prstClr val="white"/>
                  </a:solidFill>
                </a:endParaRPr>
              </a:p>
            </p:txBody>
          </p:sp>
          <p:sp>
            <p:nvSpPr>
              <p:cNvPr id="108" name="Freeform 107"/>
              <p:cNvSpPr>
                <a:spLocks noChangeAspect="1"/>
              </p:cNvSpPr>
              <p:nvPr/>
            </p:nvSpPr>
            <p:spPr bwMode="auto">
              <a:xfrm>
                <a:off x="2041235" y="2334828"/>
                <a:ext cx="584817" cy="407786"/>
              </a:xfrm>
              <a:custGeom>
                <a:avLst/>
                <a:gdLst>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1944920 w 4250373"/>
                  <a:gd name="connsiteY108" fmla="*/ 474006 h 3382171"/>
                  <a:gd name="connsiteX109" fmla="*/ 1994308 w 4250373"/>
                  <a:gd name="connsiteY109" fmla="*/ 424618 h 3382171"/>
                  <a:gd name="connsiteX110" fmla="*/ 1994308 w 4250373"/>
                  <a:gd name="connsiteY110" fmla="*/ 154163 h 3382171"/>
                  <a:gd name="connsiteX111" fmla="*/ 722896 w 4250373"/>
                  <a:gd name="connsiteY111" fmla="*/ 104775 h 3382171"/>
                  <a:gd name="connsiteX112" fmla="*/ 576301 w 4250373"/>
                  <a:gd name="connsiteY112" fmla="*/ 0 h 3382171"/>
                  <a:gd name="connsiteX113" fmla="*/ 2091515 w 4250373"/>
                  <a:gd name="connsiteY113" fmla="*/ 0 h 3382171"/>
                  <a:gd name="connsiteX114" fmla="*/ 2168933 w 4250373"/>
                  <a:gd name="connsiteY114" fmla="*/ 77418 h 3382171"/>
                  <a:gd name="connsiteX115" fmla="*/ 2168933 w 4250373"/>
                  <a:gd name="connsiteY115" fmla="*/ 501363 h 3382171"/>
                  <a:gd name="connsiteX116" fmla="*/ 2091515 w 4250373"/>
                  <a:gd name="connsiteY116" fmla="*/ 578781 h 3382171"/>
                  <a:gd name="connsiteX117" fmla="*/ 1535838 w 4250373"/>
                  <a:gd name="connsiteY117" fmla="*/ 578781 h 3382171"/>
                  <a:gd name="connsiteX118" fmla="*/ 1535838 w 4250373"/>
                  <a:gd name="connsiteY118" fmla="*/ 1055029 h 3382171"/>
                  <a:gd name="connsiteX119" fmla="*/ 2583508 w 4250373"/>
                  <a:gd name="connsiteY119" fmla="*/ 1055029 h 3382171"/>
                  <a:gd name="connsiteX120" fmla="*/ 2623911 w 4250373"/>
                  <a:gd name="connsiteY120" fmla="*/ 475594 h 3382171"/>
                  <a:gd name="connsiteX121" fmla="*/ 2671536 w 4250373"/>
                  <a:gd name="connsiteY121" fmla="*/ 426381 h 3382171"/>
                  <a:gd name="connsiteX122" fmla="*/ 3339873 w 4250373"/>
                  <a:gd name="connsiteY122" fmla="*/ 418443 h 3382171"/>
                  <a:gd name="connsiteX123" fmla="*/ 3327420 w 4250373"/>
                  <a:gd name="connsiteY123" fmla="*/ 1055029 h 3382171"/>
                  <a:gd name="connsiteX124" fmla="*/ 3504752 w 4250373"/>
                  <a:gd name="connsiteY124" fmla="*/ 1055029 h 3382171"/>
                  <a:gd name="connsiteX125" fmla="*/ 3740691 w 4250373"/>
                  <a:gd name="connsiteY125" fmla="*/ 1290968 h 3382171"/>
                  <a:gd name="connsiteX126" fmla="*/ 3740691 w 4250373"/>
                  <a:gd name="connsiteY126" fmla="*/ 2355081 h 3382171"/>
                  <a:gd name="connsiteX127" fmla="*/ 4250373 w 4250373"/>
                  <a:gd name="connsiteY127" fmla="*/ 2862875 h 3382171"/>
                  <a:gd name="connsiteX128" fmla="*/ 4245831 w 4250373"/>
                  <a:gd name="connsiteY128" fmla="*/ 2862877 h 3382171"/>
                  <a:gd name="connsiteX129" fmla="*/ 4245831 w 4250373"/>
                  <a:gd name="connsiteY129" fmla="*/ 3282908 h 3382171"/>
                  <a:gd name="connsiteX130" fmla="*/ 4146568 w 4250373"/>
                  <a:gd name="connsiteY130" fmla="*/ 3382171 h 3382171"/>
                  <a:gd name="connsiteX131" fmla="*/ 102439 w 4250373"/>
                  <a:gd name="connsiteY131" fmla="*/ 3382171 h 3382171"/>
                  <a:gd name="connsiteX132" fmla="*/ 3176 w 4250373"/>
                  <a:gd name="connsiteY132" fmla="*/ 3282908 h 3382171"/>
                  <a:gd name="connsiteX133" fmla="*/ 3176 w 4250373"/>
                  <a:gd name="connsiteY133" fmla="*/ 2864144 h 3382171"/>
                  <a:gd name="connsiteX134" fmla="*/ 0 w 4250373"/>
                  <a:gd name="connsiteY134" fmla="*/ 2864145 h 3382171"/>
                  <a:gd name="connsiteX135" fmla="*/ 3176 w 4250373"/>
                  <a:gd name="connsiteY135" fmla="*/ 2861005 h 3382171"/>
                  <a:gd name="connsiteX136" fmla="*/ 3176 w 4250373"/>
                  <a:gd name="connsiteY136" fmla="*/ 2860970 h 3382171"/>
                  <a:gd name="connsiteX137" fmla="*/ 3211 w 4250373"/>
                  <a:gd name="connsiteY137" fmla="*/ 2860970 h 3382171"/>
                  <a:gd name="connsiteX138" fmla="*/ 511811 w 4250373"/>
                  <a:gd name="connsiteY138" fmla="*/ 2358050 h 3382171"/>
                  <a:gd name="connsiteX139" fmla="*/ 512859 w 4250373"/>
                  <a:gd name="connsiteY139" fmla="*/ 2358048 h 3382171"/>
                  <a:gd name="connsiteX140" fmla="*/ 512859 w 4250373"/>
                  <a:gd name="connsiteY140" fmla="*/ 1290968 h 3382171"/>
                  <a:gd name="connsiteX141" fmla="*/ 748798 w 4250373"/>
                  <a:gd name="connsiteY141" fmla="*/ 1055029 h 3382171"/>
                  <a:gd name="connsiteX142" fmla="*/ 1131978 w 4250373"/>
                  <a:gd name="connsiteY142" fmla="*/ 1055029 h 3382171"/>
                  <a:gd name="connsiteX143" fmla="*/ 1131978 w 4250373"/>
                  <a:gd name="connsiteY143" fmla="*/ 578781 h 3382171"/>
                  <a:gd name="connsiteX144" fmla="*/ 576301 w 4250373"/>
                  <a:gd name="connsiteY144" fmla="*/ 578781 h 3382171"/>
                  <a:gd name="connsiteX145" fmla="*/ 498883 w 4250373"/>
                  <a:gd name="connsiteY145" fmla="*/ 501363 h 3382171"/>
                  <a:gd name="connsiteX146" fmla="*/ 498883 w 4250373"/>
                  <a:gd name="connsiteY146" fmla="*/ 77418 h 3382171"/>
                  <a:gd name="connsiteX147" fmla="*/ 576301 w 4250373"/>
                  <a:gd name="connsiteY147"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1944920 w 4250373"/>
                  <a:gd name="connsiteY108" fmla="*/ 474006 h 3382171"/>
                  <a:gd name="connsiteX109" fmla="*/ 1994308 w 4250373"/>
                  <a:gd name="connsiteY109" fmla="*/ 424618 h 3382171"/>
                  <a:gd name="connsiteX110" fmla="*/ 722896 w 4250373"/>
                  <a:gd name="connsiteY110" fmla="*/ 104775 h 3382171"/>
                  <a:gd name="connsiteX111" fmla="*/ 576301 w 4250373"/>
                  <a:gd name="connsiteY111" fmla="*/ 0 h 3382171"/>
                  <a:gd name="connsiteX112" fmla="*/ 2091515 w 4250373"/>
                  <a:gd name="connsiteY112" fmla="*/ 0 h 3382171"/>
                  <a:gd name="connsiteX113" fmla="*/ 2168933 w 4250373"/>
                  <a:gd name="connsiteY113" fmla="*/ 77418 h 3382171"/>
                  <a:gd name="connsiteX114" fmla="*/ 2168933 w 4250373"/>
                  <a:gd name="connsiteY114" fmla="*/ 501363 h 3382171"/>
                  <a:gd name="connsiteX115" fmla="*/ 2091515 w 4250373"/>
                  <a:gd name="connsiteY115" fmla="*/ 578781 h 3382171"/>
                  <a:gd name="connsiteX116" fmla="*/ 1535838 w 4250373"/>
                  <a:gd name="connsiteY116" fmla="*/ 578781 h 3382171"/>
                  <a:gd name="connsiteX117" fmla="*/ 1535838 w 4250373"/>
                  <a:gd name="connsiteY117" fmla="*/ 1055029 h 3382171"/>
                  <a:gd name="connsiteX118" fmla="*/ 2583508 w 4250373"/>
                  <a:gd name="connsiteY118" fmla="*/ 1055029 h 3382171"/>
                  <a:gd name="connsiteX119" fmla="*/ 2623911 w 4250373"/>
                  <a:gd name="connsiteY119" fmla="*/ 475594 h 3382171"/>
                  <a:gd name="connsiteX120" fmla="*/ 2671536 w 4250373"/>
                  <a:gd name="connsiteY120" fmla="*/ 426381 h 3382171"/>
                  <a:gd name="connsiteX121" fmla="*/ 3339873 w 4250373"/>
                  <a:gd name="connsiteY121" fmla="*/ 418443 h 3382171"/>
                  <a:gd name="connsiteX122" fmla="*/ 3327420 w 4250373"/>
                  <a:gd name="connsiteY122" fmla="*/ 1055029 h 3382171"/>
                  <a:gd name="connsiteX123" fmla="*/ 3504752 w 4250373"/>
                  <a:gd name="connsiteY123" fmla="*/ 1055029 h 3382171"/>
                  <a:gd name="connsiteX124" fmla="*/ 3740691 w 4250373"/>
                  <a:gd name="connsiteY124" fmla="*/ 1290968 h 3382171"/>
                  <a:gd name="connsiteX125" fmla="*/ 3740691 w 4250373"/>
                  <a:gd name="connsiteY125" fmla="*/ 2355081 h 3382171"/>
                  <a:gd name="connsiteX126" fmla="*/ 4250373 w 4250373"/>
                  <a:gd name="connsiteY126" fmla="*/ 2862875 h 3382171"/>
                  <a:gd name="connsiteX127" fmla="*/ 4245831 w 4250373"/>
                  <a:gd name="connsiteY127" fmla="*/ 2862877 h 3382171"/>
                  <a:gd name="connsiteX128" fmla="*/ 4245831 w 4250373"/>
                  <a:gd name="connsiteY128" fmla="*/ 3282908 h 3382171"/>
                  <a:gd name="connsiteX129" fmla="*/ 4146568 w 4250373"/>
                  <a:gd name="connsiteY129" fmla="*/ 3382171 h 3382171"/>
                  <a:gd name="connsiteX130" fmla="*/ 102439 w 4250373"/>
                  <a:gd name="connsiteY130" fmla="*/ 3382171 h 3382171"/>
                  <a:gd name="connsiteX131" fmla="*/ 3176 w 4250373"/>
                  <a:gd name="connsiteY131" fmla="*/ 3282908 h 3382171"/>
                  <a:gd name="connsiteX132" fmla="*/ 3176 w 4250373"/>
                  <a:gd name="connsiteY132" fmla="*/ 2864144 h 3382171"/>
                  <a:gd name="connsiteX133" fmla="*/ 0 w 4250373"/>
                  <a:gd name="connsiteY133" fmla="*/ 2864145 h 3382171"/>
                  <a:gd name="connsiteX134" fmla="*/ 3176 w 4250373"/>
                  <a:gd name="connsiteY134" fmla="*/ 2861005 h 3382171"/>
                  <a:gd name="connsiteX135" fmla="*/ 3176 w 4250373"/>
                  <a:gd name="connsiteY135" fmla="*/ 2860970 h 3382171"/>
                  <a:gd name="connsiteX136" fmla="*/ 3211 w 4250373"/>
                  <a:gd name="connsiteY136" fmla="*/ 2860970 h 3382171"/>
                  <a:gd name="connsiteX137" fmla="*/ 511811 w 4250373"/>
                  <a:gd name="connsiteY137" fmla="*/ 2358050 h 3382171"/>
                  <a:gd name="connsiteX138" fmla="*/ 512859 w 4250373"/>
                  <a:gd name="connsiteY138" fmla="*/ 2358048 h 3382171"/>
                  <a:gd name="connsiteX139" fmla="*/ 512859 w 4250373"/>
                  <a:gd name="connsiteY139" fmla="*/ 1290968 h 3382171"/>
                  <a:gd name="connsiteX140" fmla="*/ 748798 w 4250373"/>
                  <a:gd name="connsiteY140" fmla="*/ 1055029 h 3382171"/>
                  <a:gd name="connsiteX141" fmla="*/ 1131978 w 4250373"/>
                  <a:gd name="connsiteY141" fmla="*/ 1055029 h 3382171"/>
                  <a:gd name="connsiteX142" fmla="*/ 1131978 w 4250373"/>
                  <a:gd name="connsiteY142" fmla="*/ 578781 h 3382171"/>
                  <a:gd name="connsiteX143" fmla="*/ 576301 w 4250373"/>
                  <a:gd name="connsiteY143" fmla="*/ 578781 h 3382171"/>
                  <a:gd name="connsiteX144" fmla="*/ 498883 w 4250373"/>
                  <a:gd name="connsiteY144" fmla="*/ 501363 h 3382171"/>
                  <a:gd name="connsiteX145" fmla="*/ 498883 w 4250373"/>
                  <a:gd name="connsiteY145" fmla="*/ 77418 h 3382171"/>
                  <a:gd name="connsiteX146" fmla="*/ 576301 w 4250373"/>
                  <a:gd name="connsiteY146"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1944920 w 4250373"/>
                  <a:gd name="connsiteY108" fmla="*/ 474006 h 3382171"/>
                  <a:gd name="connsiteX109" fmla="*/ 722896 w 4250373"/>
                  <a:gd name="connsiteY109" fmla="*/ 104775 h 3382171"/>
                  <a:gd name="connsiteX110" fmla="*/ 576301 w 4250373"/>
                  <a:gd name="connsiteY110" fmla="*/ 0 h 3382171"/>
                  <a:gd name="connsiteX111" fmla="*/ 2091515 w 4250373"/>
                  <a:gd name="connsiteY111" fmla="*/ 0 h 3382171"/>
                  <a:gd name="connsiteX112" fmla="*/ 2168933 w 4250373"/>
                  <a:gd name="connsiteY112" fmla="*/ 77418 h 3382171"/>
                  <a:gd name="connsiteX113" fmla="*/ 2168933 w 4250373"/>
                  <a:gd name="connsiteY113" fmla="*/ 501363 h 3382171"/>
                  <a:gd name="connsiteX114" fmla="*/ 2091515 w 4250373"/>
                  <a:gd name="connsiteY114" fmla="*/ 578781 h 3382171"/>
                  <a:gd name="connsiteX115" fmla="*/ 1535838 w 4250373"/>
                  <a:gd name="connsiteY115" fmla="*/ 578781 h 3382171"/>
                  <a:gd name="connsiteX116" fmla="*/ 1535838 w 4250373"/>
                  <a:gd name="connsiteY116" fmla="*/ 1055029 h 3382171"/>
                  <a:gd name="connsiteX117" fmla="*/ 2583508 w 4250373"/>
                  <a:gd name="connsiteY117" fmla="*/ 1055029 h 3382171"/>
                  <a:gd name="connsiteX118" fmla="*/ 2623911 w 4250373"/>
                  <a:gd name="connsiteY118" fmla="*/ 475594 h 3382171"/>
                  <a:gd name="connsiteX119" fmla="*/ 2671536 w 4250373"/>
                  <a:gd name="connsiteY119" fmla="*/ 426381 h 3382171"/>
                  <a:gd name="connsiteX120" fmla="*/ 3339873 w 4250373"/>
                  <a:gd name="connsiteY120" fmla="*/ 418443 h 3382171"/>
                  <a:gd name="connsiteX121" fmla="*/ 3327420 w 4250373"/>
                  <a:gd name="connsiteY121" fmla="*/ 1055029 h 3382171"/>
                  <a:gd name="connsiteX122" fmla="*/ 3504752 w 4250373"/>
                  <a:gd name="connsiteY122" fmla="*/ 1055029 h 3382171"/>
                  <a:gd name="connsiteX123" fmla="*/ 3740691 w 4250373"/>
                  <a:gd name="connsiteY123" fmla="*/ 1290968 h 3382171"/>
                  <a:gd name="connsiteX124" fmla="*/ 3740691 w 4250373"/>
                  <a:gd name="connsiteY124" fmla="*/ 2355081 h 3382171"/>
                  <a:gd name="connsiteX125" fmla="*/ 4250373 w 4250373"/>
                  <a:gd name="connsiteY125" fmla="*/ 2862875 h 3382171"/>
                  <a:gd name="connsiteX126" fmla="*/ 4245831 w 4250373"/>
                  <a:gd name="connsiteY126" fmla="*/ 2862877 h 3382171"/>
                  <a:gd name="connsiteX127" fmla="*/ 4245831 w 4250373"/>
                  <a:gd name="connsiteY127" fmla="*/ 3282908 h 3382171"/>
                  <a:gd name="connsiteX128" fmla="*/ 4146568 w 4250373"/>
                  <a:gd name="connsiteY128" fmla="*/ 3382171 h 3382171"/>
                  <a:gd name="connsiteX129" fmla="*/ 102439 w 4250373"/>
                  <a:gd name="connsiteY129" fmla="*/ 3382171 h 3382171"/>
                  <a:gd name="connsiteX130" fmla="*/ 3176 w 4250373"/>
                  <a:gd name="connsiteY130" fmla="*/ 3282908 h 3382171"/>
                  <a:gd name="connsiteX131" fmla="*/ 3176 w 4250373"/>
                  <a:gd name="connsiteY131" fmla="*/ 2864144 h 3382171"/>
                  <a:gd name="connsiteX132" fmla="*/ 0 w 4250373"/>
                  <a:gd name="connsiteY132" fmla="*/ 2864145 h 3382171"/>
                  <a:gd name="connsiteX133" fmla="*/ 3176 w 4250373"/>
                  <a:gd name="connsiteY133" fmla="*/ 2861005 h 3382171"/>
                  <a:gd name="connsiteX134" fmla="*/ 3176 w 4250373"/>
                  <a:gd name="connsiteY134" fmla="*/ 2860970 h 3382171"/>
                  <a:gd name="connsiteX135" fmla="*/ 3211 w 4250373"/>
                  <a:gd name="connsiteY135" fmla="*/ 2860970 h 3382171"/>
                  <a:gd name="connsiteX136" fmla="*/ 511811 w 4250373"/>
                  <a:gd name="connsiteY136" fmla="*/ 2358050 h 3382171"/>
                  <a:gd name="connsiteX137" fmla="*/ 512859 w 4250373"/>
                  <a:gd name="connsiteY137" fmla="*/ 2358048 h 3382171"/>
                  <a:gd name="connsiteX138" fmla="*/ 512859 w 4250373"/>
                  <a:gd name="connsiteY138" fmla="*/ 1290968 h 3382171"/>
                  <a:gd name="connsiteX139" fmla="*/ 748798 w 4250373"/>
                  <a:gd name="connsiteY139" fmla="*/ 1055029 h 3382171"/>
                  <a:gd name="connsiteX140" fmla="*/ 1131978 w 4250373"/>
                  <a:gd name="connsiteY140" fmla="*/ 1055029 h 3382171"/>
                  <a:gd name="connsiteX141" fmla="*/ 1131978 w 4250373"/>
                  <a:gd name="connsiteY141" fmla="*/ 578781 h 3382171"/>
                  <a:gd name="connsiteX142" fmla="*/ 576301 w 4250373"/>
                  <a:gd name="connsiteY142" fmla="*/ 578781 h 3382171"/>
                  <a:gd name="connsiteX143" fmla="*/ 498883 w 4250373"/>
                  <a:gd name="connsiteY143" fmla="*/ 501363 h 3382171"/>
                  <a:gd name="connsiteX144" fmla="*/ 498883 w 4250373"/>
                  <a:gd name="connsiteY144" fmla="*/ 77418 h 3382171"/>
                  <a:gd name="connsiteX145" fmla="*/ 576301 w 4250373"/>
                  <a:gd name="connsiteY145"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722896 w 4250373"/>
                  <a:gd name="connsiteY108" fmla="*/ 104775 h 3382171"/>
                  <a:gd name="connsiteX109" fmla="*/ 576301 w 4250373"/>
                  <a:gd name="connsiteY109" fmla="*/ 0 h 3382171"/>
                  <a:gd name="connsiteX110" fmla="*/ 2091515 w 4250373"/>
                  <a:gd name="connsiteY110" fmla="*/ 0 h 3382171"/>
                  <a:gd name="connsiteX111" fmla="*/ 2168933 w 4250373"/>
                  <a:gd name="connsiteY111" fmla="*/ 77418 h 3382171"/>
                  <a:gd name="connsiteX112" fmla="*/ 2168933 w 4250373"/>
                  <a:gd name="connsiteY112" fmla="*/ 501363 h 3382171"/>
                  <a:gd name="connsiteX113" fmla="*/ 2091515 w 4250373"/>
                  <a:gd name="connsiteY113" fmla="*/ 578781 h 3382171"/>
                  <a:gd name="connsiteX114" fmla="*/ 1535838 w 4250373"/>
                  <a:gd name="connsiteY114" fmla="*/ 578781 h 3382171"/>
                  <a:gd name="connsiteX115" fmla="*/ 1535838 w 4250373"/>
                  <a:gd name="connsiteY115" fmla="*/ 1055029 h 3382171"/>
                  <a:gd name="connsiteX116" fmla="*/ 2583508 w 4250373"/>
                  <a:gd name="connsiteY116" fmla="*/ 1055029 h 3382171"/>
                  <a:gd name="connsiteX117" fmla="*/ 2623911 w 4250373"/>
                  <a:gd name="connsiteY117" fmla="*/ 475594 h 3382171"/>
                  <a:gd name="connsiteX118" fmla="*/ 2671536 w 4250373"/>
                  <a:gd name="connsiteY118" fmla="*/ 426381 h 3382171"/>
                  <a:gd name="connsiteX119" fmla="*/ 3339873 w 4250373"/>
                  <a:gd name="connsiteY119" fmla="*/ 418443 h 3382171"/>
                  <a:gd name="connsiteX120" fmla="*/ 3327420 w 4250373"/>
                  <a:gd name="connsiteY120" fmla="*/ 1055029 h 3382171"/>
                  <a:gd name="connsiteX121" fmla="*/ 3504752 w 4250373"/>
                  <a:gd name="connsiteY121" fmla="*/ 1055029 h 3382171"/>
                  <a:gd name="connsiteX122" fmla="*/ 3740691 w 4250373"/>
                  <a:gd name="connsiteY122" fmla="*/ 1290968 h 3382171"/>
                  <a:gd name="connsiteX123" fmla="*/ 3740691 w 4250373"/>
                  <a:gd name="connsiteY123" fmla="*/ 2355081 h 3382171"/>
                  <a:gd name="connsiteX124" fmla="*/ 4250373 w 4250373"/>
                  <a:gd name="connsiteY124" fmla="*/ 2862875 h 3382171"/>
                  <a:gd name="connsiteX125" fmla="*/ 4245831 w 4250373"/>
                  <a:gd name="connsiteY125" fmla="*/ 2862877 h 3382171"/>
                  <a:gd name="connsiteX126" fmla="*/ 4245831 w 4250373"/>
                  <a:gd name="connsiteY126" fmla="*/ 3282908 h 3382171"/>
                  <a:gd name="connsiteX127" fmla="*/ 4146568 w 4250373"/>
                  <a:gd name="connsiteY127" fmla="*/ 3382171 h 3382171"/>
                  <a:gd name="connsiteX128" fmla="*/ 102439 w 4250373"/>
                  <a:gd name="connsiteY128" fmla="*/ 3382171 h 3382171"/>
                  <a:gd name="connsiteX129" fmla="*/ 3176 w 4250373"/>
                  <a:gd name="connsiteY129" fmla="*/ 3282908 h 3382171"/>
                  <a:gd name="connsiteX130" fmla="*/ 3176 w 4250373"/>
                  <a:gd name="connsiteY130" fmla="*/ 2864144 h 3382171"/>
                  <a:gd name="connsiteX131" fmla="*/ 0 w 4250373"/>
                  <a:gd name="connsiteY131" fmla="*/ 2864145 h 3382171"/>
                  <a:gd name="connsiteX132" fmla="*/ 3176 w 4250373"/>
                  <a:gd name="connsiteY132" fmla="*/ 2861005 h 3382171"/>
                  <a:gd name="connsiteX133" fmla="*/ 3176 w 4250373"/>
                  <a:gd name="connsiteY133" fmla="*/ 2860970 h 3382171"/>
                  <a:gd name="connsiteX134" fmla="*/ 3211 w 4250373"/>
                  <a:gd name="connsiteY134" fmla="*/ 2860970 h 3382171"/>
                  <a:gd name="connsiteX135" fmla="*/ 511811 w 4250373"/>
                  <a:gd name="connsiteY135" fmla="*/ 2358050 h 3382171"/>
                  <a:gd name="connsiteX136" fmla="*/ 512859 w 4250373"/>
                  <a:gd name="connsiteY136" fmla="*/ 2358048 h 3382171"/>
                  <a:gd name="connsiteX137" fmla="*/ 512859 w 4250373"/>
                  <a:gd name="connsiteY137" fmla="*/ 1290968 h 3382171"/>
                  <a:gd name="connsiteX138" fmla="*/ 748798 w 4250373"/>
                  <a:gd name="connsiteY138" fmla="*/ 1055029 h 3382171"/>
                  <a:gd name="connsiteX139" fmla="*/ 1131978 w 4250373"/>
                  <a:gd name="connsiteY139" fmla="*/ 1055029 h 3382171"/>
                  <a:gd name="connsiteX140" fmla="*/ 1131978 w 4250373"/>
                  <a:gd name="connsiteY140" fmla="*/ 578781 h 3382171"/>
                  <a:gd name="connsiteX141" fmla="*/ 576301 w 4250373"/>
                  <a:gd name="connsiteY141" fmla="*/ 578781 h 3382171"/>
                  <a:gd name="connsiteX142" fmla="*/ 498883 w 4250373"/>
                  <a:gd name="connsiteY142" fmla="*/ 501363 h 3382171"/>
                  <a:gd name="connsiteX143" fmla="*/ 498883 w 4250373"/>
                  <a:gd name="connsiteY143" fmla="*/ 77418 h 3382171"/>
                  <a:gd name="connsiteX144" fmla="*/ 576301 w 4250373"/>
                  <a:gd name="connsiteY144"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722896 w 4250373"/>
                  <a:gd name="connsiteY108" fmla="*/ 104775 h 3382171"/>
                  <a:gd name="connsiteX109" fmla="*/ 576301 w 4250373"/>
                  <a:gd name="connsiteY109" fmla="*/ 0 h 3382171"/>
                  <a:gd name="connsiteX110" fmla="*/ 2091515 w 4250373"/>
                  <a:gd name="connsiteY110" fmla="*/ 0 h 3382171"/>
                  <a:gd name="connsiteX111" fmla="*/ 2168933 w 4250373"/>
                  <a:gd name="connsiteY111" fmla="*/ 77418 h 3382171"/>
                  <a:gd name="connsiteX112" fmla="*/ 2168933 w 4250373"/>
                  <a:gd name="connsiteY112" fmla="*/ 501363 h 3382171"/>
                  <a:gd name="connsiteX113" fmla="*/ 1535838 w 4250373"/>
                  <a:gd name="connsiteY113" fmla="*/ 578781 h 3382171"/>
                  <a:gd name="connsiteX114" fmla="*/ 1535838 w 4250373"/>
                  <a:gd name="connsiteY114" fmla="*/ 1055029 h 3382171"/>
                  <a:gd name="connsiteX115" fmla="*/ 2583508 w 4250373"/>
                  <a:gd name="connsiteY115" fmla="*/ 1055029 h 3382171"/>
                  <a:gd name="connsiteX116" fmla="*/ 2623911 w 4250373"/>
                  <a:gd name="connsiteY116" fmla="*/ 475594 h 3382171"/>
                  <a:gd name="connsiteX117" fmla="*/ 2671536 w 4250373"/>
                  <a:gd name="connsiteY117" fmla="*/ 426381 h 3382171"/>
                  <a:gd name="connsiteX118" fmla="*/ 3339873 w 4250373"/>
                  <a:gd name="connsiteY118" fmla="*/ 418443 h 3382171"/>
                  <a:gd name="connsiteX119" fmla="*/ 3327420 w 4250373"/>
                  <a:gd name="connsiteY119" fmla="*/ 1055029 h 3382171"/>
                  <a:gd name="connsiteX120" fmla="*/ 3504752 w 4250373"/>
                  <a:gd name="connsiteY120" fmla="*/ 1055029 h 3382171"/>
                  <a:gd name="connsiteX121" fmla="*/ 3740691 w 4250373"/>
                  <a:gd name="connsiteY121" fmla="*/ 1290968 h 3382171"/>
                  <a:gd name="connsiteX122" fmla="*/ 3740691 w 4250373"/>
                  <a:gd name="connsiteY122" fmla="*/ 2355081 h 3382171"/>
                  <a:gd name="connsiteX123" fmla="*/ 4250373 w 4250373"/>
                  <a:gd name="connsiteY123" fmla="*/ 2862875 h 3382171"/>
                  <a:gd name="connsiteX124" fmla="*/ 4245831 w 4250373"/>
                  <a:gd name="connsiteY124" fmla="*/ 2862877 h 3382171"/>
                  <a:gd name="connsiteX125" fmla="*/ 4245831 w 4250373"/>
                  <a:gd name="connsiteY125" fmla="*/ 3282908 h 3382171"/>
                  <a:gd name="connsiteX126" fmla="*/ 4146568 w 4250373"/>
                  <a:gd name="connsiteY126" fmla="*/ 3382171 h 3382171"/>
                  <a:gd name="connsiteX127" fmla="*/ 102439 w 4250373"/>
                  <a:gd name="connsiteY127" fmla="*/ 3382171 h 3382171"/>
                  <a:gd name="connsiteX128" fmla="*/ 3176 w 4250373"/>
                  <a:gd name="connsiteY128" fmla="*/ 3282908 h 3382171"/>
                  <a:gd name="connsiteX129" fmla="*/ 3176 w 4250373"/>
                  <a:gd name="connsiteY129" fmla="*/ 2864144 h 3382171"/>
                  <a:gd name="connsiteX130" fmla="*/ 0 w 4250373"/>
                  <a:gd name="connsiteY130" fmla="*/ 2864145 h 3382171"/>
                  <a:gd name="connsiteX131" fmla="*/ 3176 w 4250373"/>
                  <a:gd name="connsiteY131" fmla="*/ 2861005 h 3382171"/>
                  <a:gd name="connsiteX132" fmla="*/ 3176 w 4250373"/>
                  <a:gd name="connsiteY132" fmla="*/ 2860970 h 3382171"/>
                  <a:gd name="connsiteX133" fmla="*/ 3211 w 4250373"/>
                  <a:gd name="connsiteY133" fmla="*/ 2860970 h 3382171"/>
                  <a:gd name="connsiteX134" fmla="*/ 511811 w 4250373"/>
                  <a:gd name="connsiteY134" fmla="*/ 2358050 h 3382171"/>
                  <a:gd name="connsiteX135" fmla="*/ 512859 w 4250373"/>
                  <a:gd name="connsiteY135" fmla="*/ 2358048 h 3382171"/>
                  <a:gd name="connsiteX136" fmla="*/ 512859 w 4250373"/>
                  <a:gd name="connsiteY136" fmla="*/ 1290968 h 3382171"/>
                  <a:gd name="connsiteX137" fmla="*/ 748798 w 4250373"/>
                  <a:gd name="connsiteY137" fmla="*/ 1055029 h 3382171"/>
                  <a:gd name="connsiteX138" fmla="*/ 1131978 w 4250373"/>
                  <a:gd name="connsiteY138" fmla="*/ 1055029 h 3382171"/>
                  <a:gd name="connsiteX139" fmla="*/ 1131978 w 4250373"/>
                  <a:gd name="connsiteY139" fmla="*/ 578781 h 3382171"/>
                  <a:gd name="connsiteX140" fmla="*/ 576301 w 4250373"/>
                  <a:gd name="connsiteY140" fmla="*/ 578781 h 3382171"/>
                  <a:gd name="connsiteX141" fmla="*/ 498883 w 4250373"/>
                  <a:gd name="connsiteY141" fmla="*/ 501363 h 3382171"/>
                  <a:gd name="connsiteX142" fmla="*/ 498883 w 4250373"/>
                  <a:gd name="connsiteY142" fmla="*/ 77418 h 3382171"/>
                  <a:gd name="connsiteX143" fmla="*/ 576301 w 4250373"/>
                  <a:gd name="connsiteY143"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722896 w 4250373"/>
                  <a:gd name="connsiteY108" fmla="*/ 104775 h 3382171"/>
                  <a:gd name="connsiteX109" fmla="*/ 576301 w 4250373"/>
                  <a:gd name="connsiteY109" fmla="*/ 0 h 3382171"/>
                  <a:gd name="connsiteX110" fmla="*/ 2091515 w 4250373"/>
                  <a:gd name="connsiteY110" fmla="*/ 0 h 3382171"/>
                  <a:gd name="connsiteX111" fmla="*/ 2168933 w 4250373"/>
                  <a:gd name="connsiteY111" fmla="*/ 77418 h 3382171"/>
                  <a:gd name="connsiteX112" fmla="*/ 1535838 w 4250373"/>
                  <a:gd name="connsiteY112" fmla="*/ 578781 h 3382171"/>
                  <a:gd name="connsiteX113" fmla="*/ 1535838 w 4250373"/>
                  <a:gd name="connsiteY113" fmla="*/ 1055029 h 3382171"/>
                  <a:gd name="connsiteX114" fmla="*/ 2583508 w 4250373"/>
                  <a:gd name="connsiteY114" fmla="*/ 1055029 h 3382171"/>
                  <a:gd name="connsiteX115" fmla="*/ 2623911 w 4250373"/>
                  <a:gd name="connsiteY115" fmla="*/ 475594 h 3382171"/>
                  <a:gd name="connsiteX116" fmla="*/ 2671536 w 4250373"/>
                  <a:gd name="connsiteY116" fmla="*/ 426381 h 3382171"/>
                  <a:gd name="connsiteX117" fmla="*/ 3339873 w 4250373"/>
                  <a:gd name="connsiteY117" fmla="*/ 418443 h 3382171"/>
                  <a:gd name="connsiteX118" fmla="*/ 3327420 w 4250373"/>
                  <a:gd name="connsiteY118" fmla="*/ 1055029 h 3382171"/>
                  <a:gd name="connsiteX119" fmla="*/ 3504752 w 4250373"/>
                  <a:gd name="connsiteY119" fmla="*/ 1055029 h 3382171"/>
                  <a:gd name="connsiteX120" fmla="*/ 3740691 w 4250373"/>
                  <a:gd name="connsiteY120" fmla="*/ 1290968 h 3382171"/>
                  <a:gd name="connsiteX121" fmla="*/ 3740691 w 4250373"/>
                  <a:gd name="connsiteY121" fmla="*/ 2355081 h 3382171"/>
                  <a:gd name="connsiteX122" fmla="*/ 4250373 w 4250373"/>
                  <a:gd name="connsiteY122" fmla="*/ 2862875 h 3382171"/>
                  <a:gd name="connsiteX123" fmla="*/ 4245831 w 4250373"/>
                  <a:gd name="connsiteY123" fmla="*/ 2862877 h 3382171"/>
                  <a:gd name="connsiteX124" fmla="*/ 4245831 w 4250373"/>
                  <a:gd name="connsiteY124" fmla="*/ 3282908 h 3382171"/>
                  <a:gd name="connsiteX125" fmla="*/ 4146568 w 4250373"/>
                  <a:gd name="connsiteY125" fmla="*/ 3382171 h 3382171"/>
                  <a:gd name="connsiteX126" fmla="*/ 102439 w 4250373"/>
                  <a:gd name="connsiteY126" fmla="*/ 3382171 h 3382171"/>
                  <a:gd name="connsiteX127" fmla="*/ 3176 w 4250373"/>
                  <a:gd name="connsiteY127" fmla="*/ 3282908 h 3382171"/>
                  <a:gd name="connsiteX128" fmla="*/ 3176 w 4250373"/>
                  <a:gd name="connsiteY128" fmla="*/ 2864144 h 3382171"/>
                  <a:gd name="connsiteX129" fmla="*/ 0 w 4250373"/>
                  <a:gd name="connsiteY129" fmla="*/ 2864145 h 3382171"/>
                  <a:gd name="connsiteX130" fmla="*/ 3176 w 4250373"/>
                  <a:gd name="connsiteY130" fmla="*/ 2861005 h 3382171"/>
                  <a:gd name="connsiteX131" fmla="*/ 3176 w 4250373"/>
                  <a:gd name="connsiteY131" fmla="*/ 2860970 h 3382171"/>
                  <a:gd name="connsiteX132" fmla="*/ 3211 w 4250373"/>
                  <a:gd name="connsiteY132" fmla="*/ 2860970 h 3382171"/>
                  <a:gd name="connsiteX133" fmla="*/ 511811 w 4250373"/>
                  <a:gd name="connsiteY133" fmla="*/ 2358050 h 3382171"/>
                  <a:gd name="connsiteX134" fmla="*/ 512859 w 4250373"/>
                  <a:gd name="connsiteY134" fmla="*/ 2358048 h 3382171"/>
                  <a:gd name="connsiteX135" fmla="*/ 512859 w 4250373"/>
                  <a:gd name="connsiteY135" fmla="*/ 1290968 h 3382171"/>
                  <a:gd name="connsiteX136" fmla="*/ 748798 w 4250373"/>
                  <a:gd name="connsiteY136" fmla="*/ 1055029 h 3382171"/>
                  <a:gd name="connsiteX137" fmla="*/ 1131978 w 4250373"/>
                  <a:gd name="connsiteY137" fmla="*/ 1055029 h 3382171"/>
                  <a:gd name="connsiteX138" fmla="*/ 1131978 w 4250373"/>
                  <a:gd name="connsiteY138" fmla="*/ 578781 h 3382171"/>
                  <a:gd name="connsiteX139" fmla="*/ 576301 w 4250373"/>
                  <a:gd name="connsiteY139" fmla="*/ 578781 h 3382171"/>
                  <a:gd name="connsiteX140" fmla="*/ 498883 w 4250373"/>
                  <a:gd name="connsiteY140" fmla="*/ 501363 h 3382171"/>
                  <a:gd name="connsiteX141" fmla="*/ 498883 w 4250373"/>
                  <a:gd name="connsiteY141" fmla="*/ 77418 h 3382171"/>
                  <a:gd name="connsiteX142" fmla="*/ 576301 w 4250373"/>
                  <a:gd name="connsiteY142"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722896 w 4250373"/>
                  <a:gd name="connsiteY108" fmla="*/ 104775 h 3382171"/>
                  <a:gd name="connsiteX109" fmla="*/ 576301 w 4250373"/>
                  <a:gd name="connsiteY109" fmla="*/ 0 h 3382171"/>
                  <a:gd name="connsiteX110" fmla="*/ 2091515 w 4250373"/>
                  <a:gd name="connsiteY110" fmla="*/ 0 h 3382171"/>
                  <a:gd name="connsiteX111" fmla="*/ 1535838 w 4250373"/>
                  <a:gd name="connsiteY111" fmla="*/ 578781 h 3382171"/>
                  <a:gd name="connsiteX112" fmla="*/ 1535838 w 4250373"/>
                  <a:gd name="connsiteY112" fmla="*/ 1055029 h 3382171"/>
                  <a:gd name="connsiteX113" fmla="*/ 2583508 w 4250373"/>
                  <a:gd name="connsiteY113" fmla="*/ 1055029 h 3382171"/>
                  <a:gd name="connsiteX114" fmla="*/ 2623911 w 4250373"/>
                  <a:gd name="connsiteY114" fmla="*/ 475594 h 3382171"/>
                  <a:gd name="connsiteX115" fmla="*/ 2671536 w 4250373"/>
                  <a:gd name="connsiteY115" fmla="*/ 426381 h 3382171"/>
                  <a:gd name="connsiteX116" fmla="*/ 3339873 w 4250373"/>
                  <a:gd name="connsiteY116" fmla="*/ 418443 h 3382171"/>
                  <a:gd name="connsiteX117" fmla="*/ 3327420 w 4250373"/>
                  <a:gd name="connsiteY117" fmla="*/ 1055029 h 3382171"/>
                  <a:gd name="connsiteX118" fmla="*/ 3504752 w 4250373"/>
                  <a:gd name="connsiteY118" fmla="*/ 1055029 h 3382171"/>
                  <a:gd name="connsiteX119" fmla="*/ 3740691 w 4250373"/>
                  <a:gd name="connsiteY119" fmla="*/ 1290968 h 3382171"/>
                  <a:gd name="connsiteX120" fmla="*/ 3740691 w 4250373"/>
                  <a:gd name="connsiteY120" fmla="*/ 2355081 h 3382171"/>
                  <a:gd name="connsiteX121" fmla="*/ 4250373 w 4250373"/>
                  <a:gd name="connsiteY121" fmla="*/ 2862875 h 3382171"/>
                  <a:gd name="connsiteX122" fmla="*/ 4245831 w 4250373"/>
                  <a:gd name="connsiteY122" fmla="*/ 2862877 h 3382171"/>
                  <a:gd name="connsiteX123" fmla="*/ 4245831 w 4250373"/>
                  <a:gd name="connsiteY123" fmla="*/ 3282908 h 3382171"/>
                  <a:gd name="connsiteX124" fmla="*/ 4146568 w 4250373"/>
                  <a:gd name="connsiteY124" fmla="*/ 3382171 h 3382171"/>
                  <a:gd name="connsiteX125" fmla="*/ 102439 w 4250373"/>
                  <a:gd name="connsiteY125" fmla="*/ 3382171 h 3382171"/>
                  <a:gd name="connsiteX126" fmla="*/ 3176 w 4250373"/>
                  <a:gd name="connsiteY126" fmla="*/ 3282908 h 3382171"/>
                  <a:gd name="connsiteX127" fmla="*/ 3176 w 4250373"/>
                  <a:gd name="connsiteY127" fmla="*/ 2864144 h 3382171"/>
                  <a:gd name="connsiteX128" fmla="*/ 0 w 4250373"/>
                  <a:gd name="connsiteY128" fmla="*/ 2864145 h 3382171"/>
                  <a:gd name="connsiteX129" fmla="*/ 3176 w 4250373"/>
                  <a:gd name="connsiteY129" fmla="*/ 2861005 h 3382171"/>
                  <a:gd name="connsiteX130" fmla="*/ 3176 w 4250373"/>
                  <a:gd name="connsiteY130" fmla="*/ 2860970 h 3382171"/>
                  <a:gd name="connsiteX131" fmla="*/ 3211 w 4250373"/>
                  <a:gd name="connsiteY131" fmla="*/ 2860970 h 3382171"/>
                  <a:gd name="connsiteX132" fmla="*/ 511811 w 4250373"/>
                  <a:gd name="connsiteY132" fmla="*/ 2358050 h 3382171"/>
                  <a:gd name="connsiteX133" fmla="*/ 512859 w 4250373"/>
                  <a:gd name="connsiteY133" fmla="*/ 2358048 h 3382171"/>
                  <a:gd name="connsiteX134" fmla="*/ 512859 w 4250373"/>
                  <a:gd name="connsiteY134" fmla="*/ 1290968 h 3382171"/>
                  <a:gd name="connsiteX135" fmla="*/ 748798 w 4250373"/>
                  <a:gd name="connsiteY135" fmla="*/ 1055029 h 3382171"/>
                  <a:gd name="connsiteX136" fmla="*/ 1131978 w 4250373"/>
                  <a:gd name="connsiteY136" fmla="*/ 1055029 h 3382171"/>
                  <a:gd name="connsiteX137" fmla="*/ 1131978 w 4250373"/>
                  <a:gd name="connsiteY137" fmla="*/ 578781 h 3382171"/>
                  <a:gd name="connsiteX138" fmla="*/ 576301 w 4250373"/>
                  <a:gd name="connsiteY138" fmla="*/ 578781 h 3382171"/>
                  <a:gd name="connsiteX139" fmla="*/ 498883 w 4250373"/>
                  <a:gd name="connsiteY139" fmla="*/ 501363 h 3382171"/>
                  <a:gd name="connsiteX140" fmla="*/ 498883 w 4250373"/>
                  <a:gd name="connsiteY140" fmla="*/ 77418 h 3382171"/>
                  <a:gd name="connsiteX141" fmla="*/ 576301 w 4250373"/>
                  <a:gd name="connsiteY141"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722896 w 4250373"/>
                  <a:gd name="connsiteY108" fmla="*/ 104775 h 3382171"/>
                  <a:gd name="connsiteX109" fmla="*/ 576301 w 4250373"/>
                  <a:gd name="connsiteY109" fmla="*/ 0 h 3382171"/>
                  <a:gd name="connsiteX110" fmla="*/ 1535838 w 4250373"/>
                  <a:gd name="connsiteY110" fmla="*/ 578781 h 3382171"/>
                  <a:gd name="connsiteX111" fmla="*/ 1535838 w 4250373"/>
                  <a:gd name="connsiteY111" fmla="*/ 1055029 h 3382171"/>
                  <a:gd name="connsiteX112" fmla="*/ 2583508 w 4250373"/>
                  <a:gd name="connsiteY112" fmla="*/ 1055029 h 3382171"/>
                  <a:gd name="connsiteX113" fmla="*/ 2623911 w 4250373"/>
                  <a:gd name="connsiteY113" fmla="*/ 475594 h 3382171"/>
                  <a:gd name="connsiteX114" fmla="*/ 2671536 w 4250373"/>
                  <a:gd name="connsiteY114" fmla="*/ 426381 h 3382171"/>
                  <a:gd name="connsiteX115" fmla="*/ 3339873 w 4250373"/>
                  <a:gd name="connsiteY115" fmla="*/ 418443 h 3382171"/>
                  <a:gd name="connsiteX116" fmla="*/ 3327420 w 4250373"/>
                  <a:gd name="connsiteY116" fmla="*/ 1055029 h 3382171"/>
                  <a:gd name="connsiteX117" fmla="*/ 3504752 w 4250373"/>
                  <a:gd name="connsiteY117" fmla="*/ 1055029 h 3382171"/>
                  <a:gd name="connsiteX118" fmla="*/ 3740691 w 4250373"/>
                  <a:gd name="connsiteY118" fmla="*/ 1290968 h 3382171"/>
                  <a:gd name="connsiteX119" fmla="*/ 3740691 w 4250373"/>
                  <a:gd name="connsiteY119" fmla="*/ 2355081 h 3382171"/>
                  <a:gd name="connsiteX120" fmla="*/ 4250373 w 4250373"/>
                  <a:gd name="connsiteY120" fmla="*/ 2862875 h 3382171"/>
                  <a:gd name="connsiteX121" fmla="*/ 4245831 w 4250373"/>
                  <a:gd name="connsiteY121" fmla="*/ 2862877 h 3382171"/>
                  <a:gd name="connsiteX122" fmla="*/ 4245831 w 4250373"/>
                  <a:gd name="connsiteY122" fmla="*/ 3282908 h 3382171"/>
                  <a:gd name="connsiteX123" fmla="*/ 4146568 w 4250373"/>
                  <a:gd name="connsiteY123" fmla="*/ 3382171 h 3382171"/>
                  <a:gd name="connsiteX124" fmla="*/ 102439 w 4250373"/>
                  <a:gd name="connsiteY124" fmla="*/ 3382171 h 3382171"/>
                  <a:gd name="connsiteX125" fmla="*/ 3176 w 4250373"/>
                  <a:gd name="connsiteY125" fmla="*/ 3282908 h 3382171"/>
                  <a:gd name="connsiteX126" fmla="*/ 3176 w 4250373"/>
                  <a:gd name="connsiteY126" fmla="*/ 2864144 h 3382171"/>
                  <a:gd name="connsiteX127" fmla="*/ 0 w 4250373"/>
                  <a:gd name="connsiteY127" fmla="*/ 2864145 h 3382171"/>
                  <a:gd name="connsiteX128" fmla="*/ 3176 w 4250373"/>
                  <a:gd name="connsiteY128" fmla="*/ 2861005 h 3382171"/>
                  <a:gd name="connsiteX129" fmla="*/ 3176 w 4250373"/>
                  <a:gd name="connsiteY129" fmla="*/ 2860970 h 3382171"/>
                  <a:gd name="connsiteX130" fmla="*/ 3211 w 4250373"/>
                  <a:gd name="connsiteY130" fmla="*/ 2860970 h 3382171"/>
                  <a:gd name="connsiteX131" fmla="*/ 511811 w 4250373"/>
                  <a:gd name="connsiteY131" fmla="*/ 2358050 h 3382171"/>
                  <a:gd name="connsiteX132" fmla="*/ 512859 w 4250373"/>
                  <a:gd name="connsiteY132" fmla="*/ 2358048 h 3382171"/>
                  <a:gd name="connsiteX133" fmla="*/ 512859 w 4250373"/>
                  <a:gd name="connsiteY133" fmla="*/ 1290968 h 3382171"/>
                  <a:gd name="connsiteX134" fmla="*/ 748798 w 4250373"/>
                  <a:gd name="connsiteY134" fmla="*/ 1055029 h 3382171"/>
                  <a:gd name="connsiteX135" fmla="*/ 1131978 w 4250373"/>
                  <a:gd name="connsiteY135" fmla="*/ 1055029 h 3382171"/>
                  <a:gd name="connsiteX136" fmla="*/ 1131978 w 4250373"/>
                  <a:gd name="connsiteY136" fmla="*/ 578781 h 3382171"/>
                  <a:gd name="connsiteX137" fmla="*/ 576301 w 4250373"/>
                  <a:gd name="connsiteY137" fmla="*/ 578781 h 3382171"/>
                  <a:gd name="connsiteX138" fmla="*/ 498883 w 4250373"/>
                  <a:gd name="connsiteY138" fmla="*/ 501363 h 3382171"/>
                  <a:gd name="connsiteX139" fmla="*/ 498883 w 4250373"/>
                  <a:gd name="connsiteY139" fmla="*/ 77418 h 3382171"/>
                  <a:gd name="connsiteX140" fmla="*/ 576301 w 4250373"/>
                  <a:gd name="connsiteY140" fmla="*/ 0 h 3382171"/>
                  <a:gd name="connsiteX0" fmla="*/ 1629417 w 4250373"/>
                  <a:gd name="connsiteY0" fmla="*/ 2935002 h 3304754"/>
                  <a:gd name="connsiteX1" fmla="*/ 1579411 w 4250373"/>
                  <a:gd name="connsiteY1" fmla="*/ 2985008 h 3304754"/>
                  <a:gd name="connsiteX2" fmla="*/ 1629417 w 4250373"/>
                  <a:gd name="connsiteY2" fmla="*/ 3035013 h 3304754"/>
                  <a:gd name="connsiteX3" fmla="*/ 2622323 w 4250373"/>
                  <a:gd name="connsiteY3" fmla="*/ 3035014 h 3304754"/>
                  <a:gd name="connsiteX4" fmla="*/ 2672329 w 4250373"/>
                  <a:gd name="connsiteY4" fmla="*/ 2985008 h 3304754"/>
                  <a:gd name="connsiteX5" fmla="*/ 2672330 w 4250373"/>
                  <a:gd name="connsiteY5" fmla="*/ 2985008 h 3304754"/>
                  <a:gd name="connsiteX6" fmla="*/ 2622324 w 4250373"/>
                  <a:gd name="connsiteY6" fmla="*/ 2935002 h 3304754"/>
                  <a:gd name="connsiteX7" fmla="*/ 1629417 w 4250373"/>
                  <a:gd name="connsiteY7" fmla="*/ 2935002 h 3304754"/>
                  <a:gd name="connsiteX8" fmla="*/ 3267642 w 4250373"/>
                  <a:gd name="connsiteY8" fmla="*/ 2017960 h 3304754"/>
                  <a:gd name="connsiteX9" fmla="*/ 3235256 w 4250373"/>
                  <a:gd name="connsiteY9" fmla="*/ 2050346 h 3304754"/>
                  <a:gd name="connsiteX10" fmla="*/ 3235256 w 4250373"/>
                  <a:gd name="connsiteY10" fmla="*/ 2202528 h 3304754"/>
                  <a:gd name="connsiteX11" fmla="*/ 3267642 w 4250373"/>
                  <a:gd name="connsiteY11" fmla="*/ 2234914 h 3304754"/>
                  <a:gd name="connsiteX12" fmla="*/ 3397182 w 4250373"/>
                  <a:gd name="connsiteY12" fmla="*/ 2234914 h 3304754"/>
                  <a:gd name="connsiteX13" fmla="*/ 3429568 w 4250373"/>
                  <a:gd name="connsiteY13" fmla="*/ 2202528 h 3304754"/>
                  <a:gd name="connsiteX14" fmla="*/ 3429568 w 4250373"/>
                  <a:gd name="connsiteY14" fmla="*/ 2050346 h 3304754"/>
                  <a:gd name="connsiteX15" fmla="*/ 3397182 w 4250373"/>
                  <a:gd name="connsiteY15" fmla="*/ 2017960 h 3304754"/>
                  <a:gd name="connsiteX16" fmla="*/ 3267642 w 4250373"/>
                  <a:gd name="connsiteY16" fmla="*/ 2017960 h 3304754"/>
                  <a:gd name="connsiteX17" fmla="*/ 2939029 w 4250373"/>
                  <a:gd name="connsiteY17" fmla="*/ 2017960 h 3304754"/>
                  <a:gd name="connsiteX18" fmla="*/ 2906643 w 4250373"/>
                  <a:gd name="connsiteY18" fmla="*/ 2050346 h 3304754"/>
                  <a:gd name="connsiteX19" fmla="*/ 2906643 w 4250373"/>
                  <a:gd name="connsiteY19" fmla="*/ 2202528 h 3304754"/>
                  <a:gd name="connsiteX20" fmla="*/ 2939029 w 4250373"/>
                  <a:gd name="connsiteY20" fmla="*/ 2234914 h 3304754"/>
                  <a:gd name="connsiteX21" fmla="*/ 3068569 w 4250373"/>
                  <a:gd name="connsiteY21" fmla="*/ 2234914 h 3304754"/>
                  <a:gd name="connsiteX22" fmla="*/ 3100955 w 4250373"/>
                  <a:gd name="connsiteY22" fmla="*/ 2202528 h 3304754"/>
                  <a:gd name="connsiteX23" fmla="*/ 3100955 w 4250373"/>
                  <a:gd name="connsiteY23" fmla="*/ 2050346 h 3304754"/>
                  <a:gd name="connsiteX24" fmla="*/ 3068569 w 4250373"/>
                  <a:gd name="connsiteY24" fmla="*/ 2017960 h 3304754"/>
                  <a:gd name="connsiteX25" fmla="*/ 2939029 w 4250373"/>
                  <a:gd name="connsiteY25" fmla="*/ 2017960 h 3304754"/>
                  <a:gd name="connsiteX26" fmla="*/ 2615179 w 4250373"/>
                  <a:gd name="connsiteY26" fmla="*/ 2017960 h 3304754"/>
                  <a:gd name="connsiteX27" fmla="*/ 2582793 w 4250373"/>
                  <a:gd name="connsiteY27" fmla="*/ 2050346 h 3304754"/>
                  <a:gd name="connsiteX28" fmla="*/ 2582793 w 4250373"/>
                  <a:gd name="connsiteY28" fmla="*/ 2202528 h 3304754"/>
                  <a:gd name="connsiteX29" fmla="*/ 2615179 w 4250373"/>
                  <a:gd name="connsiteY29" fmla="*/ 2234914 h 3304754"/>
                  <a:gd name="connsiteX30" fmla="*/ 2744719 w 4250373"/>
                  <a:gd name="connsiteY30" fmla="*/ 2234914 h 3304754"/>
                  <a:gd name="connsiteX31" fmla="*/ 2777105 w 4250373"/>
                  <a:gd name="connsiteY31" fmla="*/ 2202528 h 3304754"/>
                  <a:gd name="connsiteX32" fmla="*/ 2777105 w 4250373"/>
                  <a:gd name="connsiteY32" fmla="*/ 2050346 h 3304754"/>
                  <a:gd name="connsiteX33" fmla="*/ 2744719 w 4250373"/>
                  <a:gd name="connsiteY33" fmla="*/ 2017960 h 3304754"/>
                  <a:gd name="connsiteX34" fmla="*/ 2615179 w 4250373"/>
                  <a:gd name="connsiteY34" fmla="*/ 2017960 h 3304754"/>
                  <a:gd name="connsiteX35" fmla="*/ 2615179 w 4250373"/>
                  <a:gd name="connsiteY35" fmla="*/ 1707338 h 3304754"/>
                  <a:gd name="connsiteX36" fmla="*/ 2582793 w 4250373"/>
                  <a:gd name="connsiteY36" fmla="*/ 1739724 h 3304754"/>
                  <a:gd name="connsiteX37" fmla="*/ 2582793 w 4250373"/>
                  <a:gd name="connsiteY37" fmla="*/ 1891906 h 3304754"/>
                  <a:gd name="connsiteX38" fmla="*/ 2615179 w 4250373"/>
                  <a:gd name="connsiteY38" fmla="*/ 1924292 h 3304754"/>
                  <a:gd name="connsiteX39" fmla="*/ 2744719 w 4250373"/>
                  <a:gd name="connsiteY39" fmla="*/ 1924292 h 3304754"/>
                  <a:gd name="connsiteX40" fmla="*/ 2777105 w 4250373"/>
                  <a:gd name="connsiteY40" fmla="*/ 1891906 h 3304754"/>
                  <a:gd name="connsiteX41" fmla="*/ 2777105 w 4250373"/>
                  <a:gd name="connsiteY41" fmla="*/ 1739724 h 3304754"/>
                  <a:gd name="connsiteX42" fmla="*/ 2744719 w 4250373"/>
                  <a:gd name="connsiteY42" fmla="*/ 1707338 h 3304754"/>
                  <a:gd name="connsiteX43" fmla="*/ 2615179 w 4250373"/>
                  <a:gd name="connsiteY43" fmla="*/ 1707338 h 3304754"/>
                  <a:gd name="connsiteX44" fmla="*/ 3267642 w 4250373"/>
                  <a:gd name="connsiteY44" fmla="*/ 1707337 h 3304754"/>
                  <a:gd name="connsiteX45" fmla="*/ 3235256 w 4250373"/>
                  <a:gd name="connsiteY45" fmla="*/ 1739723 h 3304754"/>
                  <a:gd name="connsiteX46" fmla="*/ 3235256 w 4250373"/>
                  <a:gd name="connsiteY46" fmla="*/ 1891905 h 3304754"/>
                  <a:gd name="connsiteX47" fmla="*/ 3267642 w 4250373"/>
                  <a:gd name="connsiteY47" fmla="*/ 1924291 h 3304754"/>
                  <a:gd name="connsiteX48" fmla="*/ 3397182 w 4250373"/>
                  <a:gd name="connsiteY48" fmla="*/ 1924291 h 3304754"/>
                  <a:gd name="connsiteX49" fmla="*/ 3429568 w 4250373"/>
                  <a:gd name="connsiteY49" fmla="*/ 1891905 h 3304754"/>
                  <a:gd name="connsiteX50" fmla="*/ 3429568 w 4250373"/>
                  <a:gd name="connsiteY50" fmla="*/ 1739723 h 3304754"/>
                  <a:gd name="connsiteX51" fmla="*/ 3397182 w 4250373"/>
                  <a:gd name="connsiteY51" fmla="*/ 1707337 h 3304754"/>
                  <a:gd name="connsiteX52" fmla="*/ 3267642 w 4250373"/>
                  <a:gd name="connsiteY52" fmla="*/ 1707337 h 3304754"/>
                  <a:gd name="connsiteX53" fmla="*/ 2939029 w 4250373"/>
                  <a:gd name="connsiteY53" fmla="*/ 1707337 h 3304754"/>
                  <a:gd name="connsiteX54" fmla="*/ 2906643 w 4250373"/>
                  <a:gd name="connsiteY54" fmla="*/ 1739723 h 3304754"/>
                  <a:gd name="connsiteX55" fmla="*/ 2906643 w 4250373"/>
                  <a:gd name="connsiteY55" fmla="*/ 1891905 h 3304754"/>
                  <a:gd name="connsiteX56" fmla="*/ 2939029 w 4250373"/>
                  <a:gd name="connsiteY56" fmla="*/ 1924291 h 3304754"/>
                  <a:gd name="connsiteX57" fmla="*/ 3068569 w 4250373"/>
                  <a:gd name="connsiteY57" fmla="*/ 1924291 h 3304754"/>
                  <a:gd name="connsiteX58" fmla="*/ 3100955 w 4250373"/>
                  <a:gd name="connsiteY58" fmla="*/ 1891905 h 3304754"/>
                  <a:gd name="connsiteX59" fmla="*/ 3100955 w 4250373"/>
                  <a:gd name="connsiteY59" fmla="*/ 1739723 h 3304754"/>
                  <a:gd name="connsiteX60" fmla="*/ 3068569 w 4250373"/>
                  <a:gd name="connsiteY60" fmla="*/ 1707337 h 3304754"/>
                  <a:gd name="connsiteX61" fmla="*/ 2939029 w 4250373"/>
                  <a:gd name="connsiteY61" fmla="*/ 1707337 h 3304754"/>
                  <a:gd name="connsiteX62" fmla="*/ 3267642 w 4250373"/>
                  <a:gd name="connsiteY62" fmla="*/ 1396715 h 3304754"/>
                  <a:gd name="connsiteX63" fmla="*/ 3235256 w 4250373"/>
                  <a:gd name="connsiteY63" fmla="*/ 1429101 h 3304754"/>
                  <a:gd name="connsiteX64" fmla="*/ 3235256 w 4250373"/>
                  <a:gd name="connsiteY64" fmla="*/ 1581283 h 3304754"/>
                  <a:gd name="connsiteX65" fmla="*/ 3267642 w 4250373"/>
                  <a:gd name="connsiteY65" fmla="*/ 1613669 h 3304754"/>
                  <a:gd name="connsiteX66" fmla="*/ 3397182 w 4250373"/>
                  <a:gd name="connsiteY66" fmla="*/ 1613669 h 3304754"/>
                  <a:gd name="connsiteX67" fmla="*/ 3429568 w 4250373"/>
                  <a:gd name="connsiteY67" fmla="*/ 1581283 h 3304754"/>
                  <a:gd name="connsiteX68" fmla="*/ 3429568 w 4250373"/>
                  <a:gd name="connsiteY68" fmla="*/ 1429101 h 3304754"/>
                  <a:gd name="connsiteX69" fmla="*/ 3397182 w 4250373"/>
                  <a:gd name="connsiteY69" fmla="*/ 1396715 h 3304754"/>
                  <a:gd name="connsiteX70" fmla="*/ 3267642 w 4250373"/>
                  <a:gd name="connsiteY70" fmla="*/ 1396715 h 3304754"/>
                  <a:gd name="connsiteX71" fmla="*/ 2630648 w 4250373"/>
                  <a:gd name="connsiteY71" fmla="*/ 1396715 h 3304754"/>
                  <a:gd name="connsiteX72" fmla="*/ 2598262 w 4250373"/>
                  <a:gd name="connsiteY72" fmla="*/ 1429101 h 3304754"/>
                  <a:gd name="connsiteX73" fmla="*/ 2598262 w 4250373"/>
                  <a:gd name="connsiteY73" fmla="*/ 1581283 h 3304754"/>
                  <a:gd name="connsiteX74" fmla="*/ 2630648 w 4250373"/>
                  <a:gd name="connsiteY74" fmla="*/ 1613669 h 3304754"/>
                  <a:gd name="connsiteX75" fmla="*/ 2760188 w 4250373"/>
                  <a:gd name="connsiteY75" fmla="*/ 1613669 h 3304754"/>
                  <a:gd name="connsiteX76" fmla="*/ 2792574 w 4250373"/>
                  <a:gd name="connsiteY76" fmla="*/ 1581283 h 3304754"/>
                  <a:gd name="connsiteX77" fmla="*/ 2792574 w 4250373"/>
                  <a:gd name="connsiteY77" fmla="*/ 1429101 h 3304754"/>
                  <a:gd name="connsiteX78" fmla="*/ 2760188 w 4250373"/>
                  <a:gd name="connsiteY78" fmla="*/ 1396715 h 3304754"/>
                  <a:gd name="connsiteX79" fmla="*/ 2630648 w 4250373"/>
                  <a:gd name="connsiteY79" fmla="*/ 1396715 h 3304754"/>
                  <a:gd name="connsiteX80" fmla="*/ 2939029 w 4250373"/>
                  <a:gd name="connsiteY80" fmla="*/ 1396714 h 3304754"/>
                  <a:gd name="connsiteX81" fmla="*/ 2906643 w 4250373"/>
                  <a:gd name="connsiteY81" fmla="*/ 1429100 h 3304754"/>
                  <a:gd name="connsiteX82" fmla="*/ 2906643 w 4250373"/>
                  <a:gd name="connsiteY82" fmla="*/ 1581282 h 3304754"/>
                  <a:gd name="connsiteX83" fmla="*/ 2939029 w 4250373"/>
                  <a:gd name="connsiteY83" fmla="*/ 1613668 h 3304754"/>
                  <a:gd name="connsiteX84" fmla="*/ 3068569 w 4250373"/>
                  <a:gd name="connsiteY84" fmla="*/ 1613668 h 3304754"/>
                  <a:gd name="connsiteX85" fmla="*/ 3100955 w 4250373"/>
                  <a:gd name="connsiteY85" fmla="*/ 1581282 h 3304754"/>
                  <a:gd name="connsiteX86" fmla="*/ 3100955 w 4250373"/>
                  <a:gd name="connsiteY86" fmla="*/ 1429100 h 3304754"/>
                  <a:gd name="connsiteX87" fmla="*/ 3068569 w 4250373"/>
                  <a:gd name="connsiteY87" fmla="*/ 1396714 h 3304754"/>
                  <a:gd name="connsiteX88" fmla="*/ 2939029 w 4250373"/>
                  <a:gd name="connsiteY88" fmla="*/ 1396714 h 3304754"/>
                  <a:gd name="connsiteX89" fmla="*/ 858205 w 4250373"/>
                  <a:gd name="connsiteY89" fmla="*/ 1396714 h 3304754"/>
                  <a:gd name="connsiteX90" fmla="*/ 718502 w 4250373"/>
                  <a:gd name="connsiteY90" fmla="*/ 1536417 h 3304754"/>
                  <a:gd name="connsiteX91" fmla="*/ 718502 w 4250373"/>
                  <a:gd name="connsiteY91" fmla="*/ 2095211 h 3304754"/>
                  <a:gd name="connsiteX92" fmla="*/ 858205 w 4250373"/>
                  <a:gd name="connsiteY92" fmla="*/ 2234914 h 3304754"/>
                  <a:gd name="connsiteX93" fmla="*/ 2214720 w 4250373"/>
                  <a:gd name="connsiteY93" fmla="*/ 2234914 h 3304754"/>
                  <a:gd name="connsiteX94" fmla="*/ 2354423 w 4250373"/>
                  <a:gd name="connsiteY94" fmla="*/ 2095211 h 3304754"/>
                  <a:gd name="connsiteX95" fmla="*/ 2354423 w 4250373"/>
                  <a:gd name="connsiteY95" fmla="*/ 1536417 h 3304754"/>
                  <a:gd name="connsiteX96" fmla="*/ 2214720 w 4250373"/>
                  <a:gd name="connsiteY96" fmla="*/ 1396714 h 3304754"/>
                  <a:gd name="connsiteX97" fmla="*/ 858205 w 4250373"/>
                  <a:gd name="connsiteY97" fmla="*/ 1396714 h 3304754"/>
                  <a:gd name="connsiteX98" fmla="*/ 3252670 w 4250373"/>
                  <a:gd name="connsiteY98" fmla="*/ 453909 h 3304754"/>
                  <a:gd name="connsiteX99" fmla="*/ 2791662 w 4250373"/>
                  <a:gd name="connsiteY99" fmla="*/ 455044 h 3304754"/>
                  <a:gd name="connsiteX100" fmla="*/ 2777626 w 4250373"/>
                  <a:gd name="connsiteY100" fmla="*/ 504625 h 3304754"/>
                  <a:gd name="connsiteX101" fmla="*/ 2716779 w 4250373"/>
                  <a:gd name="connsiteY101" fmla="*/ 1155596 h 3304754"/>
                  <a:gd name="connsiteX102" fmla="*/ 3199247 w 4250373"/>
                  <a:gd name="connsiteY102" fmla="*/ 1161765 h 3304754"/>
                  <a:gd name="connsiteX103" fmla="*/ 3252670 w 4250373"/>
                  <a:gd name="connsiteY103" fmla="*/ 453909 h 3304754"/>
                  <a:gd name="connsiteX104" fmla="*/ 722896 w 4250373"/>
                  <a:gd name="connsiteY104" fmla="*/ 27358 h 3304754"/>
                  <a:gd name="connsiteX105" fmla="*/ 673508 w 4250373"/>
                  <a:gd name="connsiteY105" fmla="*/ 76746 h 3304754"/>
                  <a:gd name="connsiteX106" fmla="*/ 673508 w 4250373"/>
                  <a:gd name="connsiteY106" fmla="*/ 347201 h 3304754"/>
                  <a:gd name="connsiteX107" fmla="*/ 722896 w 4250373"/>
                  <a:gd name="connsiteY107" fmla="*/ 396589 h 3304754"/>
                  <a:gd name="connsiteX108" fmla="*/ 722896 w 4250373"/>
                  <a:gd name="connsiteY108" fmla="*/ 27358 h 3304754"/>
                  <a:gd name="connsiteX109" fmla="*/ 498883 w 4250373"/>
                  <a:gd name="connsiteY109" fmla="*/ 1 h 3304754"/>
                  <a:gd name="connsiteX110" fmla="*/ 1535838 w 4250373"/>
                  <a:gd name="connsiteY110" fmla="*/ 501364 h 3304754"/>
                  <a:gd name="connsiteX111" fmla="*/ 1535838 w 4250373"/>
                  <a:gd name="connsiteY111" fmla="*/ 977612 h 3304754"/>
                  <a:gd name="connsiteX112" fmla="*/ 2583508 w 4250373"/>
                  <a:gd name="connsiteY112" fmla="*/ 977612 h 3304754"/>
                  <a:gd name="connsiteX113" fmla="*/ 2623911 w 4250373"/>
                  <a:gd name="connsiteY113" fmla="*/ 398177 h 3304754"/>
                  <a:gd name="connsiteX114" fmla="*/ 2671536 w 4250373"/>
                  <a:gd name="connsiteY114" fmla="*/ 348964 h 3304754"/>
                  <a:gd name="connsiteX115" fmla="*/ 3339873 w 4250373"/>
                  <a:gd name="connsiteY115" fmla="*/ 341026 h 3304754"/>
                  <a:gd name="connsiteX116" fmla="*/ 3327420 w 4250373"/>
                  <a:gd name="connsiteY116" fmla="*/ 977612 h 3304754"/>
                  <a:gd name="connsiteX117" fmla="*/ 3504752 w 4250373"/>
                  <a:gd name="connsiteY117" fmla="*/ 977612 h 3304754"/>
                  <a:gd name="connsiteX118" fmla="*/ 3740691 w 4250373"/>
                  <a:gd name="connsiteY118" fmla="*/ 1213551 h 3304754"/>
                  <a:gd name="connsiteX119" fmla="*/ 3740691 w 4250373"/>
                  <a:gd name="connsiteY119" fmla="*/ 2277664 h 3304754"/>
                  <a:gd name="connsiteX120" fmla="*/ 4250373 w 4250373"/>
                  <a:gd name="connsiteY120" fmla="*/ 2785458 h 3304754"/>
                  <a:gd name="connsiteX121" fmla="*/ 4245831 w 4250373"/>
                  <a:gd name="connsiteY121" fmla="*/ 2785460 h 3304754"/>
                  <a:gd name="connsiteX122" fmla="*/ 4245831 w 4250373"/>
                  <a:gd name="connsiteY122" fmla="*/ 3205491 h 3304754"/>
                  <a:gd name="connsiteX123" fmla="*/ 4146568 w 4250373"/>
                  <a:gd name="connsiteY123" fmla="*/ 3304754 h 3304754"/>
                  <a:gd name="connsiteX124" fmla="*/ 102439 w 4250373"/>
                  <a:gd name="connsiteY124" fmla="*/ 3304754 h 3304754"/>
                  <a:gd name="connsiteX125" fmla="*/ 3176 w 4250373"/>
                  <a:gd name="connsiteY125" fmla="*/ 3205491 h 3304754"/>
                  <a:gd name="connsiteX126" fmla="*/ 3176 w 4250373"/>
                  <a:gd name="connsiteY126" fmla="*/ 2786727 h 3304754"/>
                  <a:gd name="connsiteX127" fmla="*/ 0 w 4250373"/>
                  <a:gd name="connsiteY127" fmla="*/ 2786728 h 3304754"/>
                  <a:gd name="connsiteX128" fmla="*/ 3176 w 4250373"/>
                  <a:gd name="connsiteY128" fmla="*/ 2783588 h 3304754"/>
                  <a:gd name="connsiteX129" fmla="*/ 3176 w 4250373"/>
                  <a:gd name="connsiteY129" fmla="*/ 2783553 h 3304754"/>
                  <a:gd name="connsiteX130" fmla="*/ 3211 w 4250373"/>
                  <a:gd name="connsiteY130" fmla="*/ 2783553 h 3304754"/>
                  <a:gd name="connsiteX131" fmla="*/ 511811 w 4250373"/>
                  <a:gd name="connsiteY131" fmla="*/ 2280633 h 3304754"/>
                  <a:gd name="connsiteX132" fmla="*/ 512859 w 4250373"/>
                  <a:gd name="connsiteY132" fmla="*/ 2280631 h 3304754"/>
                  <a:gd name="connsiteX133" fmla="*/ 512859 w 4250373"/>
                  <a:gd name="connsiteY133" fmla="*/ 1213551 h 3304754"/>
                  <a:gd name="connsiteX134" fmla="*/ 748798 w 4250373"/>
                  <a:gd name="connsiteY134" fmla="*/ 977612 h 3304754"/>
                  <a:gd name="connsiteX135" fmla="*/ 1131978 w 4250373"/>
                  <a:gd name="connsiteY135" fmla="*/ 977612 h 3304754"/>
                  <a:gd name="connsiteX136" fmla="*/ 1131978 w 4250373"/>
                  <a:gd name="connsiteY136" fmla="*/ 501364 h 3304754"/>
                  <a:gd name="connsiteX137" fmla="*/ 576301 w 4250373"/>
                  <a:gd name="connsiteY137" fmla="*/ 501364 h 3304754"/>
                  <a:gd name="connsiteX138" fmla="*/ 498883 w 4250373"/>
                  <a:gd name="connsiteY138" fmla="*/ 423946 h 3304754"/>
                  <a:gd name="connsiteX139" fmla="*/ 498883 w 4250373"/>
                  <a:gd name="connsiteY139" fmla="*/ 1 h 3304754"/>
                  <a:gd name="connsiteX0" fmla="*/ 1629417 w 4250373"/>
                  <a:gd name="connsiteY0" fmla="*/ 2907643 h 3277395"/>
                  <a:gd name="connsiteX1" fmla="*/ 1579411 w 4250373"/>
                  <a:gd name="connsiteY1" fmla="*/ 2957649 h 3277395"/>
                  <a:gd name="connsiteX2" fmla="*/ 1629417 w 4250373"/>
                  <a:gd name="connsiteY2" fmla="*/ 3007654 h 3277395"/>
                  <a:gd name="connsiteX3" fmla="*/ 2622323 w 4250373"/>
                  <a:gd name="connsiteY3" fmla="*/ 3007655 h 3277395"/>
                  <a:gd name="connsiteX4" fmla="*/ 2672329 w 4250373"/>
                  <a:gd name="connsiteY4" fmla="*/ 2957649 h 3277395"/>
                  <a:gd name="connsiteX5" fmla="*/ 2672330 w 4250373"/>
                  <a:gd name="connsiteY5" fmla="*/ 2957649 h 3277395"/>
                  <a:gd name="connsiteX6" fmla="*/ 2622324 w 4250373"/>
                  <a:gd name="connsiteY6" fmla="*/ 2907643 h 3277395"/>
                  <a:gd name="connsiteX7" fmla="*/ 1629417 w 4250373"/>
                  <a:gd name="connsiteY7" fmla="*/ 2907643 h 3277395"/>
                  <a:gd name="connsiteX8" fmla="*/ 3267642 w 4250373"/>
                  <a:gd name="connsiteY8" fmla="*/ 1990601 h 3277395"/>
                  <a:gd name="connsiteX9" fmla="*/ 3235256 w 4250373"/>
                  <a:gd name="connsiteY9" fmla="*/ 2022987 h 3277395"/>
                  <a:gd name="connsiteX10" fmla="*/ 3235256 w 4250373"/>
                  <a:gd name="connsiteY10" fmla="*/ 2175169 h 3277395"/>
                  <a:gd name="connsiteX11" fmla="*/ 3267642 w 4250373"/>
                  <a:gd name="connsiteY11" fmla="*/ 2207555 h 3277395"/>
                  <a:gd name="connsiteX12" fmla="*/ 3397182 w 4250373"/>
                  <a:gd name="connsiteY12" fmla="*/ 2207555 h 3277395"/>
                  <a:gd name="connsiteX13" fmla="*/ 3429568 w 4250373"/>
                  <a:gd name="connsiteY13" fmla="*/ 2175169 h 3277395"/>
                  <a:gd name="connsiteX14" fmla="*/ 3429568 w 4250373"/>
                  <a:gd name="connsiteY14" fmla="*/ 2022987 h 3277395"/>
                  <a:gd name="connsiteX15" fmla="*/ 3397182 w 4250373"/>
                  <a:gd name="connsiteY15" fmla="*/ 1990601 h 3277395"/>
                  <a:gd name="connsiteX16" fmla="*/ 3267642 w 4250373"/>
                  <a:gd name="connsiteY16" fmla="*/ 1990601 h 3277395"/>
                  <a:gd name="connsiteX17" fmla="*/ 2939029 w 4250373"/>
                  <a:gd name="connsiteY17" fmla="*/ 1990601 h 3277395"/>
                  <a:gd name="connsiteX18" fmla="*/ 2906643 w 4250373"/>
                  <a:gd name="connsiteY18" fmla="*/ 2022987 h 3277395"/>
                  <a:gd name="connsiteX19" fmla="*/ 2906643 w 4250373"/>
                  <a:gd name="connsiteY19" fmla="*/ 2175169 h 3277395"/>
                  <a:gd name="connsiteX20" fmla="*/ 2939029 w 4250373"/>
                  <a:gd name="connsiteY20" fmla="*/ 2207555 h 3277395"/>
                  <a:gd name="connsiteX21" fmla="*/ 3068569 w 4250373"/>
                  <a:gd name="connsiteY21" fmla="*/ 2207555 h 3277395"/>
                  <a:gd name="connsiteX22" fmla="*/ 3100955 w 4250373"/>
                  <a:gd name="connsiteY22" fmla="*/ 2175169 h 3277395"/>
                  <a:gd name="connsiteX23" fmla="*/ 3100955 w 4250373"/>
                  <a:gd name="connsiteY23" fmla="*/ 2022987 h 3277395"/>
                  <a:gd name="connsiteX24" fmla="*/ 3068569 w 4250373"/>
                  <a:gd name="connsiteY24" fmla="*/ 1990601 h 3277395"/>
                  <a:gd name="connsiteX25" fmla="*/ 2939029 w 4250373"/>
                  <a:gd name="connsiteY25" fmla="*/ 1990601 h 3277395"/>
                  <a:gd name="connsiteX26" fmla="*/ 2615179 w 4250373"/>
                  <a:gd name="connsiteY26" fmla="*/ 1990601 h 3277395"/>
                  <a:gd name="connsiteX27" fmla="*/ 2582793 w 4250373"/>
                  <a:gd name="connsiteY27" fmla="*/ 2022987 h 3277395"/>
                  <a:gd name="connsiteX28" fmla="*/ 2582793 w 4250373"/>
                  <a:gd name="connsiteY28" fmla="*/ 2175169 h 3277395"/>
                  <a:gd name="connsiteX29" fmla="*/ 2615179 w 4250373"/>
                  <a:gd name="connsiteY29" fmla="*/ 2207555 h 3277395"/>
                  <a:gd name="connsiteX30" fmla="*/ 2744719 w 4250373"/>
                  <a:gd name="connsiteY30" fmla="*/ 2207555 h 3277395"/>
                  <a:gd name="connsiteX31" fmla="*/ 2777105 w 4250373"/>
                  <a:gd name="connsiteY31" fmla="*/ 2175169 h 3277395"/>
                  <a:gd name="connsiteX32" fmla="*/ 2777105 w 4250373"/>
                  <a:gd name="connsiteY32" fmla="*/ 2022987 h 3277395"/>
                  <a:gd name="connsiteX33" fmla="*/ 2744719 w 4250373"/>
                  <a:gd name="connsiteY33" fmla="*/ 1990601 h 3277395"/>
                  <a:gd name="connsiteX34" fmla="*/ 2615179 w 4250373"/>
                  <a:gd name="connsiteY34" fmla="*/ 1990601 h 3277395"/>
                  <a:gd name="connsiteX35" fmla="*/ 2615179 w 4250373"/>
                  <a:gd name="connsiteY35" fmla="*/ 1679979 h 3277395"/>
                  <a:gd name="connsiteX36" fmla="*/ 2582793 w 4250373"/>
                  <a:gd name="connsiteY36" fmla="*/ 1712365 h 3277395"/>
                  <a:gd name="connsiteX37" fmla="*/ 2582793 w 4250373"/>
                  <a:gd name="connsiteY37" fmla="*/ 1864547 h 3277395"/>
                  <a:gd name="connsiteX38" fmla="*/ 2615179 w 4250373"/>
                  <a:gd name="connsiteY38" fmla="*/ 1896933 h 3277395"/>
                  <a:gd name="connsiteX39" fmla="*/ 2744719 w 4250373"/>
                  <a:gd name="connsiteY39" fmla="*/ 1896933 h 3277395"/>
                  <a:gd name="connsiteX40" fmla="*/ 2777105 w 4250373"/>
                  <a:gd name="connsiteY40" fmla="*/ 1864547 h 3277395"/>
                  <a:gd name="connsiteX41" fmla="*/ 2777105 w 4250373"/>
                  <a:gd name="connsiteY41" fmla="*/ 1712365 h 3277395"/>
                  <a:gd name="connsiteX42" fmla="*/ 2744719 w 4250373"/>
                  <a:gd name="connsiteY42" fmla="*/ 1679979 h 3277395"/>
                  <a:gd name="connsiteX43" fmla="*/ 2615179 w 4250373"/>
                  <a:gd name="connsiteY43" fmla="*/ 1679979 h 3277395"/>
                  <a:gd name="connsiteX44" fmla="*/ 3267642 w 4250373"/>
                  <a:gd name="connsiteY44" fmla="*/ 1679978 h 3277395"/>
                  <a:gd name="connsiteX45" fmla="*/ 3235256 w 4250373"/>
                  <a:gd name="connsiteY45" fmla="*/ 1712364 h 3277395"/>
                  <a:gd name="connsiteX46" fmla="*/ 3235256 w 4250373"/>
                  <a:gd name="connsiteY46" fmla="*/ 1864546 h 3277395"/>
                  <a:gd name="connsiteX47" fmla="*/ 3267642 w 4250373"/>
                  <a:gd name="connsiteY47" fmla="*/ 1896932 h 3277395"/>
                  <a:gd name="connsiteX48" fmla="*/ 3397182 w 4250373"/>
                  <a:gd name="connsiteY48" fmla="*/ 1896932 h 3277395"/>
                  <a:gd name="connsiteX49" fmla="*/ 3429568 w 4250373"/>
                  <a:gd name="connsiteY49" fmla="*/ 1864546 h 3277395"/>
                  <a:gd name="connsiteX50" fmla="*/ 3429568 w 4250373"/>
                  <a:gd name="connsiteY50" fmla="*/ 1712364 h 3277395"/>
                  <a:gd name="connsiteX51" fmla="*/ 3397182 w 4250373"/>
                  <a:gd name="connsiteY51" fmla="*/ 1679978 h 3277395"/>
                  <a:gd name="connsiteX52" fmla="*/ 3267642 w 4250373"/>
                  <a:gd name="connsiteY52" fmla="*/ 1679978 h 3277395"/>
                  <a:gd name="connsiteX53" fmla="*/ 2939029 w 4250373"/>
                  <a:gd name="connsiteY53" fmla="*/ 1679978 h 3277395"/>
                  <a:gd name="connsiteX54" fmla="*/ 2906643 w 4250373"/>
                  <a:gd name="connsiteY54" fmla="*/ 1712364 h 3277395"/>
                  <a:gd name="connsiteX55" fmla="*/ 2906643 w 4250373"/>
                  <a:gd name="connsiteY55" fmla="*/ 1864546 h 3277395"/>
                  <a:gd name="connsiteX56" fmla="*/ 2939029 w 4250373"/>
                  <a:gd name="connsiteY56" fmla="*/ 1896932 h 3277395"/>
                  <a:gd name="connsiteX57" fmla="*/ 3068569 w 4250373"/>
                  <a:gd name="connsiteY57" fmla="*/ 1896932 h 3277395"/>
                  <a:gd name="connsiteX58" fmla="*/ 3100955 w 4250373"/>
                  <a:gd name="connsiteY58" fmla="*/ 1864546 h 3277395"/>
                  <a:gd name="connsiteX59" fmla="*/ 3100955 w 4250373"/>
                  <a:gd name="connsiteY59" fmla="*/ 1712364 h 3277395"/>
                  <a:gd name="connsiteX60" fmla="*/ 3068569 w 4250373"/>
                  <a:gd name="connsiteY60" fmla="*/ 1679978 h 3277395"/>
                  <a:gd name="connsiteX61" fmla="*/ 2939029 w 4250373"/>
                  <a:gd name="connsiteY61" fmla="*/ 1679978 h 3277395"/>
                  <a:gd name="connsiteX62" fmla="*/ 3267642 w 4250373"/>
                  <a:gd name="connsiteY62" fmla="*/ 1369356 h 3277395"/>
                  <a:gd name="connsiteX63" fmla="*/ 3235256 w 4250373"/>
                  <a:gd name="connsiteY63" fmla="*/ 1401742 h 3277395"/>
                  <a:gd name="connsiteX64" fmla="*/ 3235256 w 4250373"/>
                  <a:gd name="connsiteY64" fmla="*/ 1553924 h 3277395"/>
                  <a:gd name="connsiteX65" fmla="*/ 3267642 w 4250373"/>
                  <a:gd name="connsiteY65" fmla="*/ 1586310 h 3277395"/>
                  <a:gd name="connsiteX66" fmla="*/ 3397182 w 4250373"/>
                  <a:gd name="connsiteY66" fmla="*/ 1586310 h 3277395"/>
                  <a:gd name="connsiteX67" fmla="*/ 3429568 w 4250373"/>
                  <a:gd name="connsiteY67" fmla="*/ 1553924 h 3277395"/>
                  <a:gd name="connsiteX68" fmla="*/ 3429568 w 4250373"/>
                  <a:gd name="connsiteY68" fmla="*/ 1401742 h 3277395"/>
                  <a:gd name="connsiteX69" fmla="*/ 3397182 w 4250373"/>
                  <a:gd name="connsiteY69" fmla="*/ 1369356 h 3277395"/>
                  <a:gd name="connsiteX70" fmla="*/ 3267642 w 4250373"/>
                  <a:gd name="connsiteY70" fmla="*/ 1369356 h 3277395"/>
                  <a:gd name="connsiteX71" fmla="*/ 2630648 w 4250373"/>
                  <a:gd name="connsiteY71" fmla="*/ 1369356 h 3277395"/>
                  <a:gd name="connsiteX72" fmla="*/ 2598262 w 4250373"/>
                  <a:gd name="connsiteY72" fmla="*/ 1401742 h 3277395"/>
                  <a:gd name="connsiteX73" fmla="*/ 2598262 w 4250373"/>
                  <a:gd name="connsiteY73" fmla="*/ 1553924 h 3277395"/>
                  <a:gd name="connsiteX74" fmla="*/ 2630648 w 4250373"/>
                  <a:gd name="connsiteY74" fmla="*/ 1586310 h 3277395"/>
                  <a:gd name="connsiteX75" fmla="*/ 2760188 w 4250373"/>
                  <a:gd name="connsiteY75" fmla="*/ 1586310 h 3277395"/>
                  <a:gd name="connsiteX76" fmla="*/ 2792574 w 4250373"/>
                  <a:gd name="connsiteY76" fmla="*/ 1553924 h 3277395"/>
                  <a:gd name="connsiteX77" fmla="*/ 2792574 w 4250373"/>
                  <a:gd name="connsiteY77" fmla="*/ 1401742 h 3277395"/>
                  <a:gd name="connsiteX78" fmla="*/ 2760188 w 4250373"/>
                  <a:gd name="connsiteY78" fmla="*/ 1369356 h 3277395"/>
                  <a:gd name="connsiteX79" fmla="*/ 2630648 w 4250373"/>
                  <a:gd name="connsiteY79" fmla="*/ 1369356 h 3277395"/>
                  <a:gd name="connsiteX80" fmla="*/ 2939029 w 4250373"/>
                  <a:gd name="connsiteY80" fmla="*/ 1369355 h 3277395"/>
                  <a:gd name="connsiteX81" fmla="*/ 2906643 w 4250373"/>
                  <a:gd name="connsiteY81" fmla="*/ 1401741 h 3277395"/>
                  <a:gd name="connsiteX82" fmla="*/ 2906643 w 4250373"/>
                  <a:gd name="connsiteY82" fmla="*/ 1553923 h 3277395"/>
                  <a:gd name="connsiteX83" fmla="*/ 2939029 w 4250373"/>
                  <a:gd name="connsiteY83" fmla="*/ 1586309 h 3277395"/>
                  <a:gd name="connsiteX84" fmla="*/ 3068569 w 4250373"/>
                  <a:gd name="connsiteY84" fmla="*/ 1586309 h 3277395"/>
                  <a:gd name="connsiteX85" fmla="*/ 3100955 w 4250373"/>
                  <a:gd name="connsiteY85" fmla="*/ 1553923 h 3277395"/>
                  <a:gd name="connsiteX86" fmla="*/ 3100955 w 4250373"/>
                  <a:gd name="connsiteY86" fmla="*/ 1401741 h 3277395"/>
                  <a:gd name="connsiteX87" fmla="*/ 3068569 w 4250373"/>
                  <a:gd name="connsiteY87" fmla="*/ 1369355 h 3277395"/>
                  <a:gd name="connsiteX88" fmla="*/ 2939029 w 4250373"/>
                  <a:gd name="connsiteY88" fmla="*/ 1369355 h 3277395"/>
                  <a:gd name="connsiteX89" fmla="*/ 858205 w 4250373"/>
                  <a:gd name="connsiteY89" fmla="*/ 1369355 h 3277395"/>
                  <a:gd name="connsiteX90" fmla="*/ 718502 w 4250373"/>
                  <a:gd name="connsiteY90" fmla="*/ 1509058 h 3277395"/>
                  <a:gd name="connsiteX91" fmla="*/ 718502 w 4250373"/>
                  <a:gd name="connsiteY91" fmla="*/ 2067852 h 3277395"/>
                  <a:gd name="connsiteX92" fmla="*/ 858205 w 4250373"/>
                  <a:gd name="connsiteY92" fmla="*/ 2207555 h 3277395"/>
                  <a:gd name="connsiteX93" fmla="*/ 2214720 w 4250373"/>
                  <a:gd name="connsiteY93" fmla="*/ 2207555 h 3277395"/>
                  <a:gd name="connsiteX94" fmla="*/ 2354423 w 4250373"/>
                  <a:gd name="connsiteY94" fmla="*/ 2067852 h 3277395"/>
                  <a:gd name="connsiteX95" fmla="*/ 2354423 w 4250373"/>
                  <a:gd name="connsiteY95" fmla="*/ 1509058 h 3277395"/>
                  <a:gd name="connsiteX96" fmla="*/ 2214720 w 4250373"/>
                  <a:gd name="connsiteY96" fmla="*/ 1369355 h 3277395"/>
                  <a:gd name="connsiteX97" fmla="*/ 858205 w 4250373"/>
                  <a:gd name="connsiteY97" fmla="*/ 1369355 h 3277395"/>
                  <a:gd name="connsiteX98" fmla="*/ 3252670 w 4250373"/>
                  <a:gd name="connsiteY98" fmla="*/ 426550 h 3277395"/>
                  <a:gd name="connsiteX99" fmla="*/ 2791662 w 4250373"/>
                  <a:gd name="connsiteY99" fmla="*/ 427685 h 3277395"/>
                  <a:gd name="connsiteX100" fmla="*/ 2777626 w 4250373"/>
                  <a:gd name="connsiteY100" fmla="*/ 477266 h 3277395"/>
                  <a:gd name="connsiteX101" fmla="*/ 2716779 w 4250373"/>
                  <a:gd name="connsiteY101" fmla="*/ 1128237 h 3277395"/>
                  <a:gd name="connsiteX102" fmla="*/ 3199247 w 4250373"/>
                  <a:gd name="connsiteY102" fmla="*/ 1134406 h 3277395"/>
                  <a:gd name="connsiteX103" fmla="*/ 3252670 w 4250373"/>
                  <a:gd name="connsiteY103" fmla="*/ 426550 h 3277395"/>
                  <a:gd name="connsiteX104" fmla="*/ 722896 w 4250373"/>
                  <a:gd name="connsiteY104" fmla="*/ -1 h 3277395"/>
                  <a:gd name="connsiteX105" fmla="*/ 673508 w 4250373"/>
                  <a:gd name="connsiteY105" fmla="*/ 49387 h 3277395"/>
                  <a:gd name="connsiteX106" fmla="*/ 673508 w 4250373"/>
                  <a:gd name="connsiteY106" fmla="*/ 319842 h 3277395"/>
                  <a:gd name="connsiteX107" fmla="*/ 722896 w 4250373"/>
                  <a:gd name="connsiteY107" fmla="*/ 369230 h 3277395"/>
                  <a:gd name="connsiteX108" fmla="*/ 722896 w 4250373"/>
                  <a:gd name="connsiteY108" fmla="*/ -1 h 3277395"/>
                  <a:gd name="connsiteX109" fmla="*/ 498883 w 4250373"/>
                  <a:gd name="connsiteY109" fmla="*/ 396587 h 3277395"/>
                  <a:gd name="connsiteX110" fmla="*/ 1535838 w 4250373"/>
                  <a:gd name="connsiteY110" fmla="*/ 474005 h 3277395"/>
                  <a:gd name="connsiteX111" fmla="*/ 1535838 w 4250373"/>
                  <a:gd name="connsiteY111" fmla="*/ 950253 h 3277395"/>
                  <a:gd name="connsiteX112" fmla="*/ 2583508 w 4250373"/>
                  <a:gd name="connsiteY112" fmla="*/ 950253 h 3277395"/>
                  <a:gd name="connsiteX113" fmla="*/ 2623911 w 4250373"/>
                  <a:gd name="connsiteY113" fmla="*/ 370818 h 3277395"/>
                  <a:gd name="connsiteX114" fmla="*/ 2671536 w 4250373"/>
                  <a:gd name="connsiteY114" fmla="*/ 321605 h 3277395"/>
                  <a:gd name="connsiteX115" fmla="*/ 3339873 w 4250373"/>
                  <a:gd name="connsiteY115" fmla="*/ 313667 h 3277395"/>
                  <a:gd name="connsiteX116" fmla="*/ 3327420 w 4250373"/>
                  <a:gd name="connsiteY116" fmla="*/ 950253 h 3277395"/>
                  <a:gd name="connsiteX117" fmla="*/ 3504752 w 4250373"/>
                  <a:gd name="connsiteY117" fmla="*/ 950253 h 3277395"/>
                  <a:gd name="connsiteX118" fmla="*/ 3740691 w 4250373"/>
                  <a:gd name="connsiteY118" fmla="*/ 1186192 h 3277395"/>
                  <a:gd name="connsiteX119" fmla="*/ 3740691 w 4250373"/>
                  <a:gd name="connsiteY119" fmla="*/ 2250305 h 3277395"/>
                  <a:gd name="connsiteX120" fmla="*/ 4250373 w 4250373"/>
                  <a:gd name="connsiteY120" fmla="*/ 2758099 h 3277395"/>
                  <a:gd name="connsiteX121" fmla="*/ 4245831 w 4250373"/>
                  <a:gd name="connsiteY121" fmla="*/ 2758101 h 3277395"/>
                  <a:gd name="connsiteX122" fmla="*/ 4245831 w 4250373"/>
                  <a:gd name="connsiteY122" fmla="*/ 3178132 h 3277395"/>
                  <a:gd name="connsiteX123" fmla="*/ 4146568 w 4250373"/>
                  <a:gd name="connsiteY123" fmla="*/ 3277395 h 3277395"/>
                  <a:gd name="connsiteX124" fmla="*/ 102439 w 4250373"/>
                  <a:gd name="connsiteY124" fmla="*/ 3277395 h 3277395"/>
                  <a:gd name="connsiteX125" fmla="*/ 3176 w 4250373"/>
                  <a:gd name="connsiteY125" fmla="*/ 3178132 h 3277395"/>
                  <a:gd name="connsiteX126" fmla="*/ 3176 w 4250373"/>
                  <a:gd name="connsiteY126" fmla="*/ 2759368 h 3277395"/>
                  <a:gd name="connsiteX127" fmla="*/ 0 w 4250373"/>
                  <a:gd name="connsiteY127" fmla="*/ 2759369 h 3277395"/>
                  <a:gd name="connsiteX128" fmla="*/ 3176 w 4250373"/>
                  <a:gd name="connsiteY128" fmla="*/ 2756229 h 3277395"/>
                  <a:gd name="connsiteX129" fmla="*/ 3176 w 4250373"/>
                  <a:gd name="connsiteY129" fmla="*/ 2756194 h 3277395"/>
                  <a:gd name="connsiteX130" fmla="*/ 3211 w 4250373"/>
                  <a:gd name="connsiteY130" fmla="*/ 2756194 h 3277395"/>
                  <a:gd name="connsiteX131" fmla="*/ 511811 w 4250373"/>
                  <a:gd name="connsiteY131" fmla="*/ 2253274 h 3277395"/>
                  <a:gd name="connsiteX132" fmla="*/ 512859 w 4250373"/>
                  <a:gd name="connsiteY132" fmla="*/ 2253272 h 3277395"/>
                  <a:gd name="connsiteX133" fmla="*/ 512859 w 4250373"/>
                  <a:gd name="connsiteY133" fmla="*/ 1186192 h 3277395"/>
                  <a:gd name="connsiteX134" fmla="*/ 748798 w 4250373"/>
                  <a:gd name="connsiteY134" fmla="*/ 950253 h 3277395"/>
                  <a:gd name="connsiteX135" fmla="*/ 1131978 w 4250373"/>
                  <a:gd name="connsiteY135" fmla="*/ 950253 h 3277395"/>
                  <a:gd name="connsiteX136" fmla="*/ 1131978 w 4250373"/>
                  <a:gd name="connsiteY136" fmla="*/ 474005 h 3277395"/>
                  <a:gd name="connsiteX137" fmla="*/ 576301 w 4250373"/>
                  <a:gd name="connsiteY137" fmla="*/ 474005 h 3277395"/>
                  <a:gd name="connsiteX138" fmla="*/ 498883 w 4250373"/>
                  <a:gd name="connsiteY138" fmla="*/ 396587 h 3277395"/>
                  <a:gd name="connsiteX0" fmla="*/ 1629417 w 4250373"/>
                  <a:gd name="connsiteY0" fmla="*/ 2907645 h 3277397"/>
                  <a:gd name="connsiteX1" fmla="*/ 1579411 w 4250373"/>
                  <a:gd name="connsiteY1" fmla="*/ 2957651 h 3277397"/>
                  <a:gd name="connsiteX2" fmla="*/ 1629417 w 4250373"/>
                  <a:gd name="connsiteY2" fmla="*/ 3007656 h 3277397"/>
                  <a:gd name="connsiteX3" fmla="*/ 2622323 w 4250373"/>
                  <a:gd name="connsiteY3" fmla="*/ 3007657 h 3277397"/>
                  <a:gd name="connsiteX4" fmla="*/ 2672329 w 4250373"/>
                  <a:gd name="connsiteY4" fmla="*/ 2957651 h 3277397"/>
                  <a:gd name="connsiteX5" fmla="*/ 2672330 w 4250373"/>
                  <a:gd name="connsiteY5" fmla="*/ 2957651 h 3277397"/>
                  <a:gd name="connsiteX6" fmla="*/ 2622324 w 4250373"/>
                  <a:gd name="connsiteY6" fmla="*/ 2907645 h 3277397"/>
                  <a:gd name="connsiteX7" fmla="*/ 1629417 w 4250373"/>
                  <a:gd name="connsiteY7" fmla="*/ 2907645 h 3277397"/>
                  <a:gd name="connsiteX8" fmla="*/ 3267642 w 4250373"/>
                  <a:gd name="connsiteY8" fmla="*/ 1990603 h 3277397"/>
                  <a:gd name="connsiteX9" fmla="*/ 3235256 w 4250373"/>
                  <a:gd name="connsiteY9" fmla="*/ 2022989 h 3277397"/>
                  <a:gd name="connsiteX10" fmla="*/ 3235256 w 4250373"/>
                  <a:gd name="connsiteY10" fmla="*/ 2175171 h 3277397"/>
                  <a:gd name="connsiteX11" fmla="*/ 3267642 w 4250373"/>
                  <a:gd name="connsiteY11" fmla="*/ 2207557 h 3277397"/>
                  <a:gd name="connsiteX12" fmla="*/ 3397182 w 4250373"/>
                  <a:gd name="connsiteY12" fmla="*/ 2207557 h 3277397"/>
                  <a:gd name="connsiteX13" fmla="*/ 3429568 w 4250373"/>
                  <a:gd name="connsiteY13" fmla="*/ 2175171 h 3277397"/>
                  <a:gd name="connsiteX14" fmla="*/ 3429568 w 4250373"/>
                  <a:gd name="connsiteY14" fmla="*/ 2022989 h 3277397"/>
                  <a:gd name="connsiteX15" fmla="*/ 3397182 w 4250373"/>
                  <a:gd name="connsiteY15" fmla="*/ 1990603 h 3277397"/>
                  <a:gd name="connsiteX16" fmla="*/ 3267642 w 4250373"/>
                  <a:gd name="connsiteY16" fmla="*/ 1990603 h 3277397"/>
                  <a:gd name="connsiteX17" fmla="*/ 2939029 w 4250373"/>
                  <a:gd name="connsiteY17" fmla="*/ 1990603 h 3277397"/>
                  <a:gd name="connsiteX18" fmla="*/ 2906643 w 4250373"/>
                  <a:gd name="connsiteY18" fmla="*/ 2022989 h 3277397"/>
                  <a:gd name="connsiteX19" fmla="*/ 2906643 w 4250373"/>
                  <a:gd name="connsiteY19" fmla="*/ 2175171 h 3277397"/>
                  <a:gd name="connsiteX20" fmla="*/ 2939029 w 4250373"/>
                  <a:gd name="connsiteY20" fmla="*/ 2207557 h 3277397"/>
                  <a:gd name="connsiteX21" fmla="*/ 3068569 w 4250373"/>
                  <a:gd name="connsiteY21" fmla="*/ 2207557 h 3277397"/>
                  <a:gd name="connsiteX22" fmla="*/ 3100955 w 4250373"/>
                  <a:gd name="connsiteY22" fmla="*/ 2175171 h 3277397"/>
                  <a:gd name="connsiteX23" fmla="*/ 3100955 w 4250373"/>
                  <a:gd name="connsiteY23" fmla="*/ 2022989 h 3277397"/>
                  <a:gd name="connsiteX24" fmla="*/ 3068569 w 4250373"/>
                  <a:gd name="connsiteY24" fmla="*/ 1990603 h 3277397"/>
                  <a:gd name="connsiteX25" fmla="*/ 2939029 w 4250373"/>
                  <a:gd name="connsiteY25" fmla="*/ 1990603 h 3277397"/>
                  <a:gd name="connsiteX26" fmla="*/ 2615179 w 4250373"/>
                  <a:gd name="connsiteY26" fmla="*/ 1990603 h 3277397"/>
                  <a:gd name="connsiteX27" fmla="*/ 2582793 w 4250373"/>
                  <a:gd name="connsiteY27" fmla="*/ 2022989 h 3277397"/>
                  <a:gd name="connsiteX28" fmla="*/ 2582793 w 4250373"/>
                  <a:gd name="connsiteY28" fmla="*/ 2175171 h 3277397"/>
                  <a:gd name="connsiteX29" fmla="*/ 2615179 w 4250373"/>
                  <a:gd name="connsiteY29" fmla="*/ 2207557 h 3277397"/>
                  <a:gd name="connsiteX30" fmla="*/ 2744719 w 4250373"/>
                  <a:gd name="connsiteY30" fmla="*/ 2207557 h 3277397"/>
                  <a:gd name="connsiteX31" fmla="*/ 2777105 w 4250373"/>
                  <a:gd name="connsiteY31" fmla="*/ 2175171 h 3277397"/>
                  <a:gd name="connsiteX32" fmla="*/ 2777105 w 4250373"/>
                  <a:gd name="connsiteY32" fmla="*/ 2022989 h 3277397"/>
                  <a:gd name="connsiteX33" fmla="*/ 2744719 w 4250373"/>
                  <a:gd name="connsiteY33" fmla="*/ 1990603 h 3277397"/>
                  <a:gd name="connsiteX34" fmla="*/ 2615179 w 4250373"/>
                  <a:gd name="connsiteY34" fmla="*/ 1990603 h 3277397"/>
                  <a:gd name="connsiteX35" fmla="*/ 2615179 w 4250373"/>
                  <a:gd name="connsiteY35" fmla="*/ 1679981 h 3277397"/>
                  <a:gd name="connsiteX36" fmla="*/ 2582793 w 4250373"/>
                  <a:gd name="connsiteY36" fmla="*/ 1712367 h 3277397"/>
                  <a:gd name="connsiteX37" fmla="*/ 2582793 w 4250373"/>
                  <a:gd name="connsiteY37" fmla="*/ 1864549 h 3277397"/>
                  <a:gd name="connsiteX38" fmla="*/ 2615179 w 4250373"/>
                  <a:gd name="connsiteY38" fmla="*/ 1896935 h 3277397"/>
                  <a:gd name="connsiteX39" fmla="*/ 2744719 w 4250373"/>
                  <a:gd name="connsiteY39" fmla="*/ 1896935 h 3277397"/>
                  <a:gd name="connsiteX40" fmla="*/ 2777105 w 4250373"/>
                  <a:gd name="connsiteY40" fmla="*/ 1864549 h 3277397"/>
                  <a:gd name="connsiteX41" fmla="*/ 2777105 w 4250373"/>
                  <a:gd name="connsiteY41" fmla="*/ 1712367 h 3277397"/>
                  <a:gd name="connsiteX42" fmla="*/ 2744719 w 4250373"/>
                  <a:gd name="connsiteY42" fmla="*/ 1679981 h 3277397"/>
                  <a:gd name="connsiteX43" fmla="*/ 2615179 w 4250373"/>
                  <a:gd name="connsiteY43" fmla="*/ 1679981 h 3277397"/>
                  <a:gd name="connsiteX44" fmla="*/ 3267642 w 4250373"/>
                  <a:gd name="connsiteY44" fmla="*/ 1679980 h 3277397"/>
                  <a:gd name="connsiteX45" fmla="*/ 3235256 w 4250373"/>
                  <a:gd name="connsiteY45" fmla="*/ 1712366 h 3277397"/>
                  <a:gd name="connsiteX46" fmla="*/ 3235256 w 4250373"/>
                  <a:gd name="connsiteY46" fmla="*/ 1864548 h 3277397"/>
                  <a:gd name="connsiteX47" fmla="*/ 3267642 w 4250373"/>
                  <a:gd name="connsiteY47" fmla="*/ 1896934 h 3277397"/>
                  <a:gd name="connsiteX48" fmla="*/ 3397182 w 4250373"/>
                  <a:gd name="connsiteY48" fmla="*/ 1896934 h 3277397"/>
                  <a:gd name="connsiteX49" fmla="*/ 3429568 w 4250373"/>
                  <a:gd name="connsiteY49" fmla="*/ 1864548 h 3277397"/>
                  <a:gd name="connsiteX50" fmla="*/ 3429568 w 4250373"/>
                  <a:gd name="connsiteY50" fmla="*/ 1712366 h 3277397"/>
                  <a:gd name="connsiteX51" fmla="*/ 3397182 w 4250373"/>
                  <a:gd name="connsiteY51" fmla="*/ 1679980 h 3277397"/>
                  <a:gd name="connsiteX52" fmla="*/ 3267642 w 4250373"/>
                  <a:gd name="connsiteY52" fmla="*/ 1679980 h 3277397"/>
                  <a:gd name="connsiteX53" fmla="*/ 2939029 w 4250373"/>
                  <a:gd name="connsiteY53" fmla="*/ 1679980 h 3277397"/>
                  <a:gd name="connsiteX54" fmla="*/ 2906643 w 4250373"/>
                  <a:gd name="connsiteY54" fmla="*/ 1712366 h 3277397"/>
                  <a:gd name="connsiteX55" fmla="*/ 2906643 w 4250373"/>
                  <a:gd name="connsiteY55" fmla="*/ 1864548 h 3277397"/>
                  <a:gd name="connsiteX56" fmla="*/ 2939029 w 4250373"/>
                  <a:gd name="connsiteY56" fmla="*/ 1896934 h 3277397"/>
                  <a:gd name="connsiteX57" fmla="*/ 3068569 w 4250373"/>
                  <a:gd name="connsiteY57" fmla="*/ 1896934 h 3277397"/>
                  <a:gd name="connsiteX58" fmla="*/ 3100955 w 4250373"/>
                  <a:gd name="connsiteY58" fmla="*/ 1864548 h 3277397"/>
                  <a:gd name="connsiteX59" fmla="*/ 3100955 w 4250373"/>
                  <a:gd name="connsiteY59" fmla="*/ 1712366 h 3277397"/>
                  <a:gd name="connsiteX60" fmla="*/ 3068569 w 4250373"/>
                  <a:gd name="connsiteY60" fmla="*/ 1679980 h 3277397"/>
                  <a:gd name="connsiteX61" fmla="*/ 2939029 w 4250373"/>
                  <a:gd name="connsiteY61" fmla="*/ 1679980 h 3277397"/>
                  <a:gd name="connsiteX62" fmla="*/ 3267642 w 4250373"/>
                  <a:gd name="connsiteY62" fmla="*/ 1369358 h 3277397"/>
                  <a:gd name="connsiteX63" fmla="*/ 3235256 w 4250373"/>
                  <a:gd name="connsiteY63" fmla="*/ 1401744 h 3277397"/>
                  <a:gd name="connsiteX64" fmla="*/ 3235256 w 4250373"/>
                  <a:gd name="connsiteY64" fmla="*/ 1553926 h 3277397"/>
                  <a:gd name="connsiteX65" fmla="*/ 3267642 w 4250373"/>
                  <a:gd name="connsiteY65" fmla="*/ 1586312 h 3277397"/>
                  <a:gd name="connsiteX66" fmla="*/ 3397182 w 4250373"/>
                  <a:gd name="connsiteY66" fmla="*/ 1586312 h 3277397"/>
                  <a:gd name="connsiteX67" fmla="*/ 3429568 w 4250373"/>
                  <a:gd name="connsiteY67" fmla="*/ 1553926 h 3277397"/>
                  <a:gd name="connsiteX68" fmla="*/ 3429568 w 4250373"/>
                  <a:gd name="connsiteY68" fmla="*/ 1401744 h 3277397"/>
                  <a:gd name="connsiteX69" fmla="*/ 3397182 w 4250373"/>
                  <a:gd name="connsiteY69" fmla="*/ 1369358 h 3277397"/>
                  <a:gd name="connsiteX70" fmla="*/ 3267642 w 4250373"/>
                  <a:gd name="connsiteY70" fmla="*/ 1369358 h 3277397"/>
                  <a:gd name="connsiteX71" fmla="*/ 2630648 w 4250373"/>
                  <a:gd name="connsiteY71" fmla="*/ 1369358 h 3277397"/>
                  <a:gd name="connsiteX72" fmla="*/ 2598262 w 4250373"/>
                  <a:gd name="connsiteY72" fmla="*/ 1401744 h 3277397"/>
                  <a:gd name="connsiteX73" fmla="*/ 2598262 w 4250373"/>
                  <a:gd name="connsiteY73" fmla="*/ 1553926 h 3277397"/>
                  <a:gd name="connsiteX74" fmla="*/ 2630648 w 4250373"/>
                  <a:gd name="connsiteY74" fmla="*/ 1586312 h 3277397"/>
                  <a:gd name="connsiteX75" fmla="*/ 2760188 w 4250373"/>
                  <a:gd name="connsiteY75" fmla="*/ 1586312 h 3277397"/>
                  <a:gd name="connsiteX76" fmla="*/ 2792574 w 4250373"/>
                  <a:gd name="connsiteY76" fmla="*/ 1553926 h 3277397"/>
                  <a:gd name="connsiteX77" fmla="*/ 2792574 w 4250373"/>
                  <a:gd name="connsiteY77" fmla="*/ 1401744 h 3277397"/>
                  <a:gd name="connsiteX78" fmla="*/ 2760188 w 4250373"/>
                  <a:gd name="connsiteY78" fmla="*/ 1369358 h 3277397"/>
                  <a:gd name="connsiteX79" fmla="*/ 2630648 w 4250373"/>
                  <a:gd name="connsiteY79" fmla="*/ 1369358 h 3277397"/>
                  <a:gd name="connsiteX80" fmla="*/ 2939029 w 4250373"/>
                  <a:gd name="connsiteY80" fmla="*/ 1369357 h 3277397"/>
                  <a:gd name="connsiteX81" fmla="*/ 2906643 w 4250373"/>
                  <a:gd name="connsiteY81" fmla="*/ 1401743 h 3277397"/>
                  <a:gd name="connsiteX82" fmla="*/ 2906643 w 4250373"/>
                  <a:gd name="connsiteY82" fmla="*/ 1553925 h 3277397"/>
                  <a:gd name="connsiteX83" fmla="*/ 2939029 w 4250373"/>
                  <a:gd name="connsiteY83" fmla="*/ 1586311 h 3277397"/>
                  <a:gd name="connsiteX84" fmla="*/ 3068569 w 4250373"/>
                  <a:gd name="connsiteY84" fmla="*/ 1586311 h 3277397"/>
                  <a:gd name="connsiteX85" fmla="*/ 3100955 w 4250373"/>
                  <a:gd name="connsiteY85" fmla="*/ 1553925 h 3277397"/>
                  <a:gd name="connsiteX86" fmla="*/ 3100955 w 4250373"/>
                  <a:gd name="connsiteY86" fmla="*/ 1401743 h 3277397"/>
                  <a:gd name="connsiteX87" fmla="*/ 3068569 w 4250373"/>
                  <a:gd name="connsiteY87" fmla="*/ 1369357 h 3277397"/>
                  <a:gd name="connsiteX88" fmla="*/ 2939029 w 4250373"/>
                  <a:gd name="connsiteY88" fmla="*/ 1369357 h 3277397"/>
                  <a:gd name="connsiteX89" fmla="*/ 858205 w 4250373"/>
                  <a:gd name="connsiteY89" fmla="*/ 1369357 h 3277397"/>
                  <a:gd name="connsiteX90" fmla="*/ 718502 w 4250373"/>
                  <a:gd name="connsiteY90" fmla="*/ 1509060 h 3277397"/>
                  <a:gd name="connsiteX91" fmla="*/ 718502 w 4250373"/>
                  <a:gd name="connsiteY91" fmla="*/ 2067854 h 3277397"/>
                  <a:gd name="connsiteX92" fmla="*/ 858205 w 4250373"/>
                  <a:gd name="connsiteY92" fmla="*/ 2207557 h 3277397"/>
                  <a:gd name="connsiteX93" fmla="*/ 2214720 w 4250373"/>
                  <a:gd name="connsiteY93" fmla="*/ 2207557 h 3277397"/>
                  <a:gd name="connsiteX94" fmla="*/ 2354423 w 4250373"/>
                  <a:gd name="connsiteY94" fmla="*/ 2067854 h 3277397"/>
                  <a:gd name="connsiteX95" fmla="*/ 2354423 w 4250373"/>
                  <a:gd name="connsiteY95" fmla="*/ 1509060 h 3277397"/>
                  <a:gd name="connsiteX96" fmla="*/ 2214720 w 4250373"/>
                  <a:gd name="connsiteY96" fmla="*/ 1369357 h 3277397"/>
                  <a:gd name="connsiteX97" fmla="*/ 858205 w 4250373"/>
                  <a:gd name="connsiteY97" fmla="*/ 1369357 h 3277397"/>
                  <a:gd name="connsiteX98" fmla="*/ 3252670 w 4250373"/>
                  <a:gd name="connsiteY98" fmla="*/ 426552 h 3277397"/>
                  <a:gd name="connsiteX99" fmla="*/ 2791662 w 4250373"/>
                  <a:gd name="connsiteY99" fmla="*/ 427687 h 3277397"/>
                  <a:gd name="connsiteX100" fmla="*/ 2777626 w 4250373"/>
                  <a:gd name="connsiteY100" fmla="*/ 477268 h 3277397"/>
                  <a:gd name="connsiteX101" fmla="*/ 2716779 w 4250373"/>
                  <a:gd name="connsiteY101" fmla="*/ 1128239 h 3277397"/>
                  <a:gd name="connsiteX102" fmla="*/ 3199247 w 4250373"/>
                  <a:gd name="connsiteY102" fmla="*/ 1134408 h 3277397"/>
                  <a:gd name="connsiteX103" fmla="*/ 3252670 w 4250373"/>
                  <a:gd name="connsiteY103" fmla="*/ 426552 h 3277397"/>
                  <a:gd name="connsiteX104" fmla="*/ 722896 w 4250373"/>
                  <a:gd name="connsiteY104" fmla="*/ 1 h 3277397"/>
                  <a:gd name="connsiteX105" fmla="*/ 673508 w 4250373"/>
                  <a:gd name="connsiteY105" fmla="*/ 49389 h 3277397"/>
                  <a:gd name="connsiteX106" fmla="*/ 673508 w 4250373"/>
                  <a:gd name="connsiteY106" fmla="*/ 319844 h 3277397"/>
                  <a:gd name="connsiteX107" fmla="*/ 722896 w 4250373"/>
                  <a:gd name="connsiteY107" fmla="*/ 369232 h 3277397"/>
                  <a:gd name="connsiteX108" fmla="*/ 722896 w 4250373"/>
                  <a:gd name="connsiteY108" fmla="*/ 1 h 3277397"/>
                  <a:gd name="connsiteX109" fmla="*/ 576301 w 4250373"/>
                  <a:gd name="connsiteY109" fmla="*/ 474007 h 3277397"/>
                  <a:gd name="connsiteX110" fmla="*/ 1535838 w 4250373"/>
                  <a:gd name="connsiteY110" fmla="*/ 474007 h 3277397"/>
                  <a:gd name="connsiteX111" fmla="*/ 1535838 w 4250373"/>
                  <a:gd name="connsiteY111" fmla="*/ 950255 h 3277397"/>
                  <a:gd name="connsiteX112" fmla="*/ 2583508 w 4250373"/>
                  <a:gd name="connsiteY112" fmla="*/ 950255 h 3277397"/>
                  <a:gd name="connsiteX113" fmla="*/ 2623911 w 4250373"/>
                  <a:gd name="connsiteY113" fmla="*/ 370820 h 3277397"/>
                  <a:gd name="connsiteX114" fmla="*/ 2671536 w 4250373"/>
                  <a:gd name="connsiteY114" fmla="*/ 321607 h 3277397"/>
                  <a:gd name="connsiteX115" fmla="*/ 3339873 w 4250373"/>
                  <a:gd name="connsiteY115" fmla="*/ 313669 h 3277397"/>
                  <a:gd name="connsiteX116" fmla="*/ 3327420 w 4250373"/>
                  <a:gd name="connsiteY116" fmla="*/ 950255 h 3277397"/>
                  <a:gd name="connsiteX117" fmla="*/ 3504752 w 4250373"/>
                  <a:gd name="connsiteY117" fmla="*/ 950255 h 3277397"/>
                  <a:gd name="connsiteX118" fmla="*/ 3740691 w 4250373"/>
                  <a:gd name="connsiteY118" fmla="*/ 1186194 h 3277397"/>
                  <a:gd name="connsiteX119" fmla="*/ 3740691 w 4250373"/>
                  <a:gd name="connsiteY119" fmla="*/ 2250307 h 3277397"/>
                  <a:gd name="connsiteX120" fmla="*/ 4250373 w 4250373"/>
                  <a:gd name="connsiteY120" fmla="*/ 2758101 h 3277397"/>
                  <a:gd name="connsiteX121" fmla="*/ 4245831 w 4250373"/>
                  <a:gd name="connsiteY121" fmla="*/ 2758103 h 3277397"/>
                  <a:gd name="connsiteX122" fmla="*/ 4245831 w 4250373"/>
                  <a:gd name="connsiteY122" fmla="*/ 3178134 h 3277397"/>
                  <a:gd name="connsiteX123" fmla="*/ 4146568 w 4250373"/>
                  <a:gd name="connsiteY123" fmla="*/ 3277397 h 3277397"/>
                  <a:gd name="connsiteX124" fmla="*/ 102439 w 4250373"/>
                  <a:gd name="connsiteY124" fmla="*/ 3277397 h 3277397"/>
                  <a:gd name="connsiteX125" fmla="*/ 3176 w 4250373"/>
                  <a:gd name="connsiteY125" fmla="*/ 3178134 h 3277397"/>
                  <a:gd name="connsiteX126" fmla="*/ 3176 w 4250373"/>
                  <a:gd name="connsiteY126" fmla="*/ 2759370 h 3277397"/>
                  <a:gd name="connsiteX127" fmla="*/ 0 w 4250373"/>
                  <a:gd name="connsiteY127" fmla="*/ 2759371 h 3277397"/>
                  <a:gd name="connsiteX128" fmla="*/ 3176 w 4250373"/>
                  <a:gd name="connsiteY128" fmla="*/ 2756231 h 3277397"/>
                  <a:gd name="connsiteX129" fmla="*/ 3176 w 4250373"/>
                  <a:gd name="connsiteY129" fmla="*/ 2756196 h 3277397"/>
                  <a:gd name="connsiteX130" fmla="*/ 3211 w 4250373"/>
                  <a:gd name="connsiteY130" fmla="*/ 2756196 h 3277397"/>
                  <a:gd name="connsiteX131" fmla="*/ 511811 w 4250373"/>
                  <a:gd name="connsiteY131" fmla="*/ 2253276 h 3277397"/>
                  <a:gd name="connsiteX132" fmla="*/ 512859 w 4250373"/>
                  <a:gd name="connsiteY132" fmla="*/ 2253274 h 3277397"/>
                  <a:gd name="connsiteX133" fmla="*/ 512859 w 4250373"/>
                  <a:gd name="connsiteY133" fmla="*/ 1186194 h 3277397"/>
                  <a:gd name="connsiteX134" fmla="*/ 748798 w 4250373"/>
                  <a:gd name="connsiteY134" fmla="*/ 950255 h 3277397"/>
                  <a:gd name="connsiteX135" fmla="*/ 1131978 w 4250373"/>
                  <a:gd name="connsiteY135" fmla="*/ 950255 h 3277397"/>
                  <a:gd name="connsiteX136" fmla="*/ 1131978 w 4250373"/>
                  <a:gd name="connsiteY136" fmla="*/ 474007 h 3277397"/>
                  <a:gd name="connsiteX137" fmla="*/ 576301 w 4250373"/>
                  <a:gd name="connsiteY137" fmla="*/ 474007 h 3277397"/>
                  <a:gd name="connsiteX0" fmla="*/ 1629417 w 4250373"/>
                  <a:gd name="connsiteY0" fmla="*/ 2907643 h 3277395"/>
                  <a:gd name="connsiteX1" fmla="*/ 1579411 w 4250373"/>
                  <a:gd name="connsiteY1" fmla="*/ 2957649 h 3277395"/>
                  <a:gd name="connsiteX2" fmla="*/ 1629417 w 4250373"/>
                  <a:gd name="connsiteY2" fmla="*/ 3007654 h 3277395"/>
                  <a:gd name="connsiteX3" fmla="*/ 2622323 w 4250373"/>
                  <a:gd name="connsiteY3" fmla="*/ 3007655 h 3277395"/>
                  <a:gd name="connsiteX4" fmla="*/ 2672329 w 4250373"/>
                  <a:gd name="connsiteY4" fmla="*/ 2957649 h 3277395"/>
                  <a:gd name="connsiteX5" fmla="*/ 2672330 w 4250373"/>
                  <a:gd name="connsiteY5" fmla="*/ 2957649 h 3277395"/>
                  <a:gd name="connsiteX6" fmla="*/ 2622324 w 4250373"/>
                  <a:gd name="connsiteY6" fmla="*/ 2907643 h 3277395"/>
                  <a:gd name="connsiteX7" fmla="*/ 1629417 w 4250373"/>
                  <a:gd name="connsiteY7" fmla="*/ 2907643 h 3277395"/>
                  <a:gd name="connsiteX8" fmla="*/ 3267642 w 4250373"/>
                  <a:gd name="connsiteY8" fmla="*/ 1990601 h 3277395"/>
                  <a:gd name="connsiteX9" fmla="*/ 3235256 w 4250373"/>
                  <a:gd name="connsiteY9" fmla="*/ 2022987 h 3277395"/>
                  <a:gd name="connsiteX10" fmla="*/ 3235256 w 4250373"/>
                  <a:gd name="connsiteY10" fmla="*/ 2175169 h 3277395"/>
                  <a:gd name="connsiteX11" fmla="*/ 3267642 w 4250373"/>
                  <a:gd name="connsiteY11" fmla="*/ 2207555 h 3277395"/>
                  <a:gd name="connsiteX12" fmla="*/ 3397182 w 4250373"/>
                  <a:gd name="connsiteY12" fmla="*/ 2207555 h 3277395"/>
                  <a:gd name="connsiteX13" fmla="*/ 3429568 w 4250373"/>
                  <a:gd name="connsiteY13" fmla="*/ 2175169 h 3277395"/>
                  <a:gd name="connsiteX14" fmla="*/ 3429568 w 4250373"/>
                  <a:gd name="connsiteY14" fmla="*/ 2022987 h 3277395"/>
                  <a:gd name="connsiteX15" fmla="*/ 3397182 w 4250373"/>
                  <a:gd name="connsiteY15" fmla="*/ 1990601 h 3277395"/>
                  <a:gd name="connsiteX16" fmla="*/ 3267642 w 4250373"/>
                  <a:gd name="connsiteY16" fmla="*/ 1990601 h 3277395"/>
                  <a:gd name="connsiteX17" fmla="*/ 2939029 w 4250373"/>
                  <a:gd name="connsiteY17" fmla="*/ 1990601 h 3277395"/>
                  <a:gd name="connsiteX18" fmla="*/ 2906643 w 4250373"/>
                  <a:gd name="connsiteY18" fmla="*/ 2022987 h 3277395"/>
                  <a:gd name="connsiteX19" fmla="*/ 2906643 w 4250373"/>
                  <a:gd name="connsiteY19" fmla="*/ 2175169 h 3277395"/>
                  <a:gd name="connsiteX20" fmla="*/ 2939029 w 4250373"/>
                  <a:gd name="connsiteY20" fmla="*/ 2207555 h 3277395"/>
                  <a:gd name="connsiteX21" fmla="*/ 3068569 w 4250373"/>
                  <a:gd name="connsiteY21" fmla="*/ 2207555 h 3277395"/>
                  <a:gd name="connsiteX22" fmla="*/ 3100955 w 4250373"/>
                  <a:gd name="connsiteY22" fmla="*/ 2175169 h 3277395"/>
                  <a:gd name="connsiteX23" fmla="*/ 3100955 w 4250373"/>
                  <a:gd name="connsiteY23" fmla="*/ 2022987 h 3277395"/>
                  <a:gd name="connsiteX24" fmla="*/ 3068569 w 4250373"/>
                  <a:gd name="connsiteY24" fmla="*/ 1990601 h 3277395"/>
                  <a:gd name="connsiteX25" fmla="*/ 2939029 w 4250373"/>
                  <a:gd name="connsiteY25" fmla="*/ 1990601 h 3277395"/>
                  <a:gd name="connsiteX26" fmla="*/ 2615179 w 4250373"/>
                  <a:gd name="connsiteY26" fmla="*/ 1990601 h 3277395"/>
                  <a:gd name="connsiteX27" fmla="*/ 2582793 w 4250373"/>
                  <a:gd name="connsiteY27" fmla="*/ 2022987 h 3277395"/>
                  <a:gd name="connsiteX28" fmla="*/ 2582793 w 4250373"/>
                  <a:gd name="connsiteY28" fmla="*/ 2175169 h 3277395"/>
                  <a:gd name="connsiteX29" fmla="*/ 2615179 w 4250373"/>
                  <a:gd name="connsiteY29" fmla="*/ 2207555 h 3277395"/>
                  <a:gd name="connsiteX30" fmla="*/ 2744719 w 4250373"/>
                  <a:gd name="connsiteY30" fmla="*/ 2207555 h 3277395"/>
                  <a:gd name="connsiteX31" fmla="*/ 2777105 w 4250373"/>
                  <a:gd name="connsiteY31" fmla="*/ 2175169 h 3277395"/>
                  <a:gd name="connsiteX32" fmla="*/ 2777105 w 4250373"/>
                  <a:gd name="connsiteY32" fmla="*/ 2022987 h 3277395"/>
                  <a:gd name="connsiteX33" fmla="*/ 2744719 w 4250373"/>
                  <a:gd name="connsiteY33" fmla="*/ 1990601 h 3277395"/>
                  <a:gd name="connsiteX34" fmla="*/ 2615179 w 4250373"/>
                  <a:gd name="connsiteY34" fmla="*/ 1990601 h 3277395"/>
                  <a:gd name="connsiteX35" fmla="*/ 2615179 w 4250373"/>
                  <a:gd name="connsiteY35" fmla="*/ 1679979 h 3277395"/>
                  <a:gd name="connsiteX36" fmla="*/ 2582793 w 4250373"/>
                  <a:gd name="connsiteY36" fmla="*/ 1712365 h 3277395"/>
                  <a:gd name="connsiteX37" fmla="*/ 2582793 w 4250373"/>
                  <a:gd name="connsiteY37" fmla="*/ 1864547 h 3277395"/>
                  <a:gd name="connsiteX38" fmla="*/ 2615179 w 4250373"/>
                  <a:gd name="connsiteY38" fmla="*/ 1896933 h 3277395"/>
                  <a:gd name="connsiteX39" fmla="*/ 2744719 w 4250373"/>
                  <a:gd name="connsiteY39" fmla="*/ 1896933 h 3277395"/>
                  <a:gd name="connsiteX40" fmla="*/ 2777105 w 4250373"/>
                  <a:gd name="connsiteY40" fmla="*/ 1864547 h 3277395"/>
                  <a:gd name="connsiteX41" fmla="*/ 2777105 w 4250373"/>
                  <a:gd name="connsiteY41" fmla="*/ 1712365 h 3277395"/>
                  <a:gd name="connsiteX42" fmla="*/ 2744719 w 4250373"/>
                  <a:gd name="connsiteY42" fmla="*/ 1679979 h 3277395"/>
                  <a:gd name="connsiteX43" fmla="*/ 2615179 w 4250373"/>
                  <a:gd name="connsiteY43" fmla="*/ 1679979 h 3277395"/>
                  <a:gd name="connsiteX44" fmla="*/ 3267642 w 4250373"/>
                  <a:gd name="connsiteY44" fmla="*/ 1679978 h 3277395"/>
                  <a:gd name="connsiteX45" fmla="*/ 3235256 w 4250373"/>
                  <a:gd name="connsiteY45" fmla="*/ 1712364 h 3277395"/>
                  <a:gd name="connsiteX46" fmla="*/ 3235256 w 4250373"/>
                  <a:gd name="connsiteY46" fmla="*/ 1864546 h 3277395"/>
                  <a:gd name="connsiteX47" fmla="*/ 3267642 w 4250373"/>
                  <a:gd name="connsiteY47" fmla="*/ 1896932 h 3277395"/>
                  <a:gd name="connsiteX48" fmla="*/ 3397182 w 4250373"/>
                  <a:gd name="connsiteY48" fmla="*/ 1896932 h 3277395"/>
                  <a:gd name="connsiteX49" fmla="*/ 3429568 w 4250373"/>
                  <a:gd name="connsiteY49" fmla="*/ 1864546 h 3277395"/>
                  <a:gd name="connsiteX50" fmla="*/ 3429568 w 4250373"/>
                  <a:gd name="connsiteY50" fmla="*/ 1712364 h 3277395"/>
                  <a:gd name="connsiteX51" fmla="*/ 3397182 w 4250373"/>
                  <a:gd name="connsiteY51" fmla="*/ 1679978 h 3277395"/>
                  <a:gd name="connsiteX52" fmla="*/ 3267642 w 4250373"/>
                  <a:gd name="connsiteY52" fmla="*/ 1679978 h 3277395"/>
                  <a:gd name="connsiteX53" fmla="*/ 2939029 w 4250373"/>
                  <a:gd name="connsiteY53" fmla="*/ 1679978 h 3277395"/>
                  <a:gd name="connsiteX54" fmla="*/ 2906643 w 4250373"/>
                  <a:gd name="connsiteY54" fmla="*/ 1712364 h 3277395"/>
                  <a:gd name="connsiteX55" fmla="*/ 2906643 w 4250373"/>
                  <a:gd name="connsiteY55" fmla="*/ 1864546 h 3277395"/>
                  <a:gd name="connsiteX56" fmla="*/ 2939029 w 4250373"/>
                  <a:gd name="connsiteY56" fmla="*/ 1896932 h 3277395"/>
                  <a:gd name="connsiteX57" fmla="*/ 3068569 w 4250373"/>
                  <a:gd name="connsiteY57" fmla="*/ 1896932 h 3277395"/>
                  <a:gd name="connsiteX58" fmla="*/ 3100955 w 4250373"/>
                  <a:gd name="connsiteY58" fmla="*/ 1864546 h 3277395"/>
                  <a:gd name="connsiteX59" fmla="*/ 3100955 w 4250373"/>
                  <a:gd name="connsiteY59" fmla="*/ 1712364 h 3277395"/>
                  <a:gd name="connsiteX60" fmla="*/ 3068569 w 4250373"/>
                  <a:gd name="connsiteY60" fmla="*/ 1679978 h 3277395"/>
                  <a:gd name="connsiteX61" fmla="*/ 2939029 w 4250373"/>
                  <a:gd name="connsiteY61" fmla="*/ 1679978 h 3277395"/>
                  <a:gd name="connsiteX62" fmla="*/ 3267642 w 4250373"/>
                  <a:gd name="connsiteY62" fmla="*/ 1369356 h 3277395"/>
                  <a:gd name="connsiteX63" fmla="*/ 3235256 w 4250373"/>
                  <a:gd name="connsiteY63" fmla="*/ 1401742 h 3277395"/>
                  <a:gd name="connsiteX64" fmla="*/ 3235256 w 4250373"/>
                  <a:gd name="connsiteY64" fmla="*/ 1553924 h 3277395"/>
                  <a:gd name="connsiteX65" fmla="*/ 3267642 w 4250373"/>
                  <a:gd name="connsiteY65" fmla="*/ 1586310 h 3277395"/>
                  <a:gd name="connsiteX66" fmla="*/ 3397182 w 4250373"/>
                  <a:gd name="connsiteY66" fmla="*/ 1586310 h 3277395"/>
                  <a:gd name="connsiteX67" fmla="*/ 3429568 w 4250373"/>
                  <a:gd name="connsiteY67" fmla="*/ 1553924 h 3277395"/>
                  <a:gd name="connsiteX68" fmla="*/ 3429568 w 4250373"/>
                  <a:gd name="connsiteY68" fmla="*/ 1401742 h 3277395"/>
                  <a:gd name="connsiteX69" fmla="*/ 3397182 w 4250373"/>
                  <a:gd name="connsiteY69" fmla="*/ 1369356 h 3277395"/>
                  <a:gd name="connsiteX70" fmla="*/ 3267642 w 4250373"/>
                  <a:gd name="connsiteY70" fmla="*/ 1369356 h 3277395"/>
                  <a:gd name="connsiteX71" fmla="*/ 2630648 w 4250373"/>
                  <a:gd name="connsiteY71" fmla="*/ 1369356 h 3277395"/>
                  <a:gd name="connsiteX72" fmla="*/ 2598262 w 4250373"/>
                  <a:gd name="connsiteY72" fmla="*/ 1401742 h 3277395"/>
                  <a:gd name="connsiteX73" fmla="*/ 2598262 w 4250373"/>
                  <a:gd name="connsiteY73" fmla="*/ 1553924 h 3277395"/>
                  <a:gd name="connsiteX74" fmla="*/ 2630648 w 4250373"/>
                  <a:gd name="connsiteY74" fmla="*/ 1586310 h 3277395"/>
                  <a:gd name="connsiteX75" fmla="*/ 2760188 w 4250373"/>
                  <a:gd name="connsiteY75" fmla="*/ 1586310 h 3277395"/>
                  <a:gd name="connsiteX76" fmla="*/ 2792574 w 4250373"/>
                  <a:gd name="connsiteY76" fmla="*/ 1553924 h 3277395"/>
                  <a:gd name="connsiteX77" fmla="*/ 2792574 w 4250373"/>
                  <a:gd name="connsiteY77" fmla="*/ 1401742 h 3277395"/>
                  <a:gd name="connsiteX78" fmla="*/ 2760188 w 4250373"/>
                  <a:gd name="connsiteY78" fmla="*/ 1369356 h 3277395"/>
                  <a:gd name="connsiteX79" fmla="*/ 2630648 w 4250373"/>
                  <a:gd name="connsiteY79" fmla="*/ 1369356 h 3277395"/>
                  <a:gd name="connsiteX80" fmla="*/ 2939029 w 4250373"/>
                  <a:gd name="connsiteY80" fmla="*/ 1369355 h 3277395"/>
                  <a:gd name="connsiteX81" fmla="*/ 2906643 w 4250373"/>
                  <a:gd name="connsiteY81" fmla="*/ 1401741 h 3277395"/>
                  <a:gd name="connsiteX82" fmla="*/ 2906643 w 4250373"/>
                  <a:gd name="connsiteY82" fmla="*/ 1553923 h 3277395"/>
                  <a:gd name="connsiteX83" fmla="*/ 2939029 w 4250373"/>
                  <a:gd name="connsiteY83" fmla="*/ 1586309 h 3277395"/>
                  <a:gd name="connsiteX84" fmla="*/ 3068569 w 4250373"/>
                  <a:gd name="connsiteY84" fmla="*/ 1586309 h 3277395"/>
                  <a:gd name="connsiteX85" fmla="*/ 3100955 w 4250373"/>
                  <a:gd name="connsiteY85" fmla="*/ 1553923 h 3277395"/>
                  <a:gd name="connsiteX86" fmla="*/ 3100955 w 4250373"/>
                  <a:gd name="connsiteY86" fmla="*/ 1401741 h 3277395"/>
                  <a:gd name="connsiteX87" fmla="*/ 3068569 w 4250373"/>
                  <a:gd name="connsiteY87" fmla="*/ 1369355 h 3277395"/>
                  <a:gd name="connsiteX88" fmla="*/ 2939029 w 4250373"/>
                  <a:gd name="connsiteY88" fmla="*/ 1369355 h 3277395"/>
                  <a:gd name="connsiteX89" fmla="*/ 858205 w 4250373"/>
                  <a:gd name="connsiteY89" fmla="*/ 1369355 h 3277395"/>
                  <a:gd name="connsiteX90" fmla="*/ 718502 w 4250373"/>
                  <a:gd name="connsiteY90" fmla="*/ 1509058 h 3277395"/>
                  <a:gd name="connsiteX91" fmla="*/ 718502 w 4250373"/>
                  <a:gd name="connsiteY91" fmla="*/ 2067852 h 3277395"/>
                  <a:gd name="connsiteX92" fmla="*/ 858205 w 4250373"/>
                  <a:gd name="connsiteY92" fmla="*/ 2207555 h 3277395"/>
                  <a:gd name="connsiteX93" fmla="*/ 2214720 w 4250373"/>
                  <a:gd name="connsiteY93" fmla="*/ 2207555 h 3277395"/>
                  <a:gd name="connsiteX94" fmla="*/ 2354423 w 4250373"/>
                  <a:gd name="connsiteY94" fmla="*/ 2067852 h 3277395"/>
                  <a:gd name="connsiteX95" fmla="*/ 2354423 w 4250373"/>
                  <a:gd name="connsiteY95" fmla="*/ 1509058 h 3277395"/>
                  <a:gd name="connsiteX96" fmla="*/ 2214720 w 4250373"/>
                  <a:gd name="connsiteY96" fmla="*/ 1369355 h 3277395"/>
                  <a:gd name="connsiteX97" fmla="*/ 858205 w 4250373"/>
                  <a:gd name="connsiteY97" fmla="*/ 1369355 h 3277395"/>
                  <a:gd name="connsiteX98" fmla="*/ 3252670 w 4250373"/>
                  <a:gd name="connsiteY98" fmla="*/ 426550 h 3277395"/>
                  <a:gd name="connsiteX99" fmla="*/ 2791662 w 4250373"/>
                  <a:gd name="connsiteY99" fmla="*/ 427685 h 3277395"/>
                  <a:gd name="connsiteX100" fmla="*/ 2777626 w 4250373"/>
                  <a:gd name="connsiteY100" fmla="*/ 477266 h 3277395"/>
                  <a:gd name="connsiteX101" fmla="*/ 2716779 w 4250373"/>
                  <a:gd name="connsiteY101" fmla="*/ 1128237 h 3277395"/>
                  <a:gd name="connsiteX102" fmla="*/ 3199247 w 4250373"/>
                  <a:gd name="connsiteY102" fmla="*/ 1134406 h 3277395"/>
                  <a:gd name="connsiteX103" fmla="*/ 3252670 w 4250373"/>
                  <a:gd name="connsiteY103" fmla="*/ 426550 h 3277395"/>
                  <a:gd name="connsiteX104" fmla="*/ 722896 w 4250373"/>
                  <a:gd name="connsiteY104" fmla="*/ -1 h 3277395"/>
                  <a:gd name="connsiteX105" fmla="*/ 673508 w 4250373"/>
                  <a:gd name="connsiteY105" fmla="*/ 49387 h 3277395"/>
                  <a:gd name="connsiteX106" fmla="*/ 673508 w 4250373"/>
                  <a:gd name="connsiteY106" fmla="*/ 319842 h 3277395"/>
                  <a:gd name="connsiteX107" fmla="*/ 722896 w 4250373"/>
                  <a:gd name="connsiteY107" fmla="*/ 369230 h 3277395"/>
                  <a:gd name="connsiteX108" fmla="*/ 722896 w 4250373"/>
                  <a:gd name="connsiteY108" fmla="*/ -1 h 3277395"/>
                  <a:gd name="connsiteX109" fmla="*/ 1131978 w 4250373"/>
                  <a:gd name="connsiteY109" fmla="*/ 474005 h 3277395"/>
                  <a:gd name="connsiteX110" fmla="*/ 1535838 w 4250373"/>
                  <a:gd name="connsiteY110" fmla="*/ 474005 h 3277395"/>
                  <a:gd name="connsiteX111" fmla="*/ 1535838 w 4250373"/>
                  <a:gd name="connsiteY111" fmla="*/ 950253 h 3277395"/>
                  <a:gd name="connsiteX112" fmla="*/ 2583508 w 4250373"/>
                  <a:gd name="connsiteY112" fmla="*/ 950253 h 3277395"/>
                  <a:gd name="connsiteX113" fmla="*/ 2623911 w 4250373"/>
                  <a:gd name="connsiteY113" fmla="*/ 370818 h 3277395"/>
                  <a:gd name="connsiteX114" fmla="*/ 2671536 w 4250373"/>
                  <a:gd name="connsiteY114" fmla="*/ 321605 h 3277395"/>
                  <a:gd name="connsiteX115" fmla="*/ 3339873 w 4250373"/>
                  <a:gd name="connsiteY115" fmla="*/ 313667 h 3277395"/>
                  <a:gd name="connsiteX116" fmla="*/ 3327420 w 4250373"/>
                  <a:gd name="connsiteY116" fmla="*/ 950253 h 3277395"/>
                  <a:gd name="connsiteX117" fmla="*/ 3504752 w 4250373"/>
                  <a:gd name="connsiteY117" fmla="*/ 950253 h 3277395"/>
                  <a:gd name="connsiteX118" fmla="*/ 3740691 w 4250373"/>
                  <a:gd name="connsiteY118" fmla="*/ 1186192 h 3277395"/>
                  <a:gd name="connsiteX119" fmla="*/ 3740691 w 4250373"/>
                  <a:gd name="connsiteY119" fmla="*/ 2250305 h 3277395"/>
                  <a:gd name="connsiteX120" fmla="*/ 4250373 w 4250373"/>
                  <a:gd name="connsiteY120" fmla="*/ 2758099 h 3277395"/>
                  <a:gd name="connsiteX121" fmla="*/ 4245831 w 4250373"/>
                  <a:gd name="connsiteY121" fmla="*/ 2758101 h 3277395"/>
                  <a:gd name="connsiteX122" fmla="*/ 4245831 w 4250373"/>
                  <a:gd name="connsiteY122" fmla="*/ 3178132 h 3277395"/>
                  <a:gd name="connsiteX123" fmla="*/ 4146568 w 4250373"/>
                  <a:gd name="connsiteY123" fmla="*/ 3277395 h 3277395"/>
                  <a:gd name="connsiteX124" fmla="*/ 102439 w 4250373"/>
                  <a:gd name="connsiteY124" fmla="*/ 3277395 h 3277395"/>
                  <a:gd name="connsiteX125" fmla="*/ 3176 w 4250373"/>
                  <a:gd name="connsiteY125" fmla="*/ 3178132 h 3277395"/>
                  <a:gd name="connsiteX126" fmla="*/ 3176 w 4250373"/>
                  <a:gd name="connsiteY126" fmla="*/ 2759368 h 3277395"/>
                  <a:gd name="connsiteX127" fmla="*/ 0 w 4250373"/>
                  <a:gd name="connsiteY127" fmla="*/ 2759369 h 3277395"/>
                  <a:gd name="connsiteX128" fmla="*/ 3176 w 4250373"/>
                  <a:gd name="connsiteY128" fmla="*/ 2756229 h 3277395"/>
                  <a:gd name="connsiteX129" fmla="*/ 3176 w 4250373"/>
                  <a:gd name="connsiteY129" fmla="*/ 2756194 h 3277395"/>
                  <a:gd name="connsiteX130" fmla="*/ 3211 w 4250373"/>
                  <a:gd name="connsiteY130" fmla="*/ 2756194 h 3277395"/>
                  <a:gd name="connsiteX131" fmla="*/ 511811 w 4250373"/>
                  <a:gd name="connsiteY131" fmla="*/ 2253274 h 3277395"/>
                  <a:gd name="connsiteX132" fmla="*/ 512859 w 4250373"/>
                  <a:gd name="connsiteY132" fmla="*/ 2253272 h 3277395"/>
                  <a:gd name="connsiteX133" fmla="*/ 512859 w 4250373"/>
                  <a:gd name="connsiteY133" fmla="*/ 1186192 h 3277395"/>
                  <a:gd name="connsiteX134" fmla="*/ 748798 w 4250373"/>
                  <a:gd name="connsiteY134" fmla="*/ 950253 h 3277395"/>
                  <a:gd name="connsiteX135" fmla="*/ 1131978 w 4250373"/>
                  <a:gd name="connsiteY135" fmla="*/ 950253 h 3277395"/>
                  <a:gd name="connsiteX136" fmla="*/ 1131978 w 4250373"/>
                  <a:gd name="connsiteY136" fmla="*/ 474005 h 3277395"/>
                  <a:gd name="connsiteX0" fmla="*/ 1629417 w 4250373"/>
                  <a:gd name="connsiteY0" fmla="*/ 2907645 h 3277397"/>
                  <a:gd name="connsiteX1" fmla="*/ 1579411 w 4250373"/>
                  <a:gd name="connsiteY1" fmla="*/ 2957651 h 3277397"/>
                  <a:gd name="connsiteX2" fmla="*/ 1629417 w 4250373"/>
                  <a:gd name="connsiteY2" fmla="*/ 3007656 h 3277397"/>
                  <a:gd name="connsiteX3" fmla="*/ 2622323 w 4250373"/>
                  <a:gd name="connsiteY3" fmla="*/ 3007657 h 3277397"/>
                  <a:gd name="connsiteX4" fmla="*/ 2672329 w 4250373"/>
                  <a:gd name="connsiteY4" fmla="*/ 2957651 h 3277397"/>
                  <a:gd name="connsiteX5" fmla="*/ 2672330 w 4250373"/>
                  <a:gd name="connsiteY5" fmla="*/ 2957651 h 3277397"/>
                  <a:gd name="connsiteX6" fmla="*/ 2622324 w 4250373"/>
                  <a:gd name="connsiteY6" fmla="*/ 2907645 h 3277397"/>
                  <a:gd name="connsiteX7" fmla="*/ 1629417 w 4250373"/>
                  <a:gd name="connsiteY7" fmla="*/ 2907645 h 3277397"/>
                  <a:gd name="connsiteX8" fmla="*/ 3267642 w 4250373"/>
                  <a:gd name="connsiteY8" fmla="*/ 1990603 h 3277397"/>
                  <a:gd name="connsiteX9" fmla="*/ 3235256 w 4250373"/>
                  <a:gd name="connsiteY9" fmla="*/ 2022989 h 3277397"/>
                  <a:gd name="connsiteX10" fmla="*/ 3235256 w 4250373"/>
                  <a:gd name="connsiteY10" fmla="*/ 2175171 h 3277397"/>
                  <a:gd name="connsiteX11" fmla="*/ 3267642 w 4250373"/>
                  <a:gd name="connsiteY11" fmla="*/ 2207557 h 3277397"/>
                  <a:gd name="connsiteX12" fmla="*/ 3397182 w 4250373"/>
                  <a:gd name="connsiteY12" fmla="*/ 2207557 h 3277397"/>
                  <a:gd name="connsiteX13" fmla="*/ 3429568 w 4250373"/>
                  <a:gd name="connsiteY13" fmla="*/ 2175171 h 3277397"/>
                  <a:gd name="connsiteX14" fmla="*/ 3429568 w 4250373"/>
                  <a:gd name="connsiteY14" fmla="*/ 2022989 h 3277397"/>
                  <a:gd name="connsiteX15" fmla="*/ 3397182 w 4250373"/>
                  <a:gd name="connsiteY15" fmla="*/ 1990603 h 3277397"/>
                  <a:gd name="connsiteX16" fmla="*/ 3267642 w 4250373"/>
                  <a:gd name="connsiteY16" fmla="*/ 1990603 h 3277397"/>
                  <a:gd name="connsiteX17" fmla="*/ 2939029 w 4250373"/>
                  <a:gd name="connsiteY17" fmla="*/ 1990603 h 3277397"/>
                  <a:gd name="connsiteX18" fmla="*/ 2906643 w 4250373"/>
                  <a:gd name="connsiteY18" fmla="*/ 2022989 h 3277397"/>
                  <a:gd name="connsiteX19" fmla="*/ 2906643 w 4250373"/>
                  <a:gd name="connsiteY19" fmla="*/ 2175171 h 3277397"/>
                  <a:gd name="connsiteX20" fmla="*/ 2939029 w 4250373"/>
                  <a:gd name="connsiteY20" fmla="*/ 2207557 h 3277397"/>
                  <a:gd name="connsiteX21" fmla="*/ 3068569 w 4250373"/>
                  <a:gd name="connsiteY21" fmla="*/ 2207557 h 3277397"/>
                  <a:gd name="connsiteX22" fmla="*/ 3100955 w 4250373"/>
                  <a:gd name="connsiteY22" fmla="*/ 2175171 h 3277397"/>
                  <a:gd name="connsiteX23" fmla="*/ 3100955 w 4250373"/>
                  <a:gd name="connsiteY23" fmla="*/ 2022989 h 3277397"/>
                  <a:gd name="connsiteX24" fmla="*/ 3068569 w 4250373"/>
                  <a:gd name="connsiteY24" fmla="*/ 1990603 h 3277397"/>
                  <a:gd name="connsiteX25" fmla="*/ 2939029 w 4250373"/>
                  <a:gd name="connsiteY25" fmla="*/ 1990603 h 3277397"/>
                  <a:gd name="connsiteX26" fmla="*/ 2615179 w 4250373"/>
                  <a:gd name="connsiteY26" fmla="*/ 1990603 h 3277397"/>
                  <a:gd name="connsiteX27" fmla="*/ 2582793 w 4250373"/>
                  <a:gd name="connsiteY27" fmla="*/ 2022989 h 3277397"/>
                  <a:gd name="connsiteX28" fmla="*/ 2582793 w 4250373"/>
                  <a:gd name="connsiteY28" fmla="*/ 2175171 h 3277397"/>
                  <a:gd name="connsiteX29" fmla="*/ 2615179 w 4250373"/>
                  <a:gd name="connsiteY29" fmla="*/ 2207557 h 3277397"/>
                  <a:gd name="connsiteX30" fmla="*/ 2744719 w 4250373"/>
                  <a:gd name="connsiteY30" fmla="*/ 2207557 h 3277397"/>
                  <a:gd name="connsiteX31" fmla="*/ 2777105 w 4250373"/>
                  <a:gd name="connsiteY31" fmla="*/ 2175171 h 3277397"/>
                  <a:gd name="connsiteX32" fmla="*/ 2777105 w 4250373"/>
                  <a:gd name="connsiteY32" fmla="*/ 2022989 h 3277397"/>
                  <a:gd name="connsiteX33" fmla="*/ 2744719 w 4250373"/>
                  <a:gd name="connsiteY33" fmla="*/ 1990603 h 3277397"/>
                  <a:gd name="connsiteX34" fmla="*/ 2615179 w 4250373"/>
                  <a:gd name="connsiteY34" fmla="*/ 1990603 h 3277397"/>
                  <a:gd name="connsiteX35" fmla="*/ 2615179 w 4250373"/>
                  <a:gd name="connsiteY35" fmla="*/ 1679981 h 3277397"/>
                  <a:gd name="connsiteX36" fmla="*/ 2582793 w 4250373"/>
                  <a:gd name="connsiteY36" fmla="*/ 1712367 h 3277397"/>
                  <a:gd name="connsiteX37" fmla="*/ 2582793 w 4250373"/>
                  <a:gd name="connsiteY37" fmla="*/ 1864549 h 3277397"/>
                  <a:gd name="connsiteX38" fmla="*/ 2615179 w 4250373"/>
                  <a:gd name="connsiteY38" fmla="*/ 1896935 h 3277397"/>
                  <a:gd name="connsiteX39" fmla="*/ 2744719 w 4250373"/>
                  <a:gd name="connsiteY39" fmla="*/ 1896935 h 3277397"/>
                  <a:gd name="connsiteX40" fmla="*/ 2777105 w 4250373"/>
                  <a:gd name="connsiteY40" fmla="*/ 1864549 h 3277397"/>
                  <a:gd name="connsiteX41" fmla="*/ 2777105 w 4250373"/>
                  <a:gd name="connsiteY41" fmla="*/ 1712367 h 3277397"/>
                  <a:gd name="connsiteX42" fmla="*/ 2744719 w 4250373"/>
                  <a:gd name="connsiteY42" fmla="*/ 1679981 h 3277397"/>
                  <a:gd name="connsiteX43" fmla="*/ 2615179 w 4250373"/>
                  <a:gd name="connsiteY43" fmla="*/ 1679981 h 3277397"/>
                  <a:gd name="connsiteX44" fmla="*/ 3267642 w 4250373"/>
                  <a:gd name="connsiteY44" fmla="*/ 1679980 h 3277397"/>
                  <a:gd name="connsiteX45" fmla="*/ 3235256 w 4250373"/>
                  <a:gd name="connsiteY45" fmla="*/ 1712366 h 3277397"/>
                  <a:gd name="connsiteX46" fmla="*/ 3235256 w 4250373"/>
                  <a:gd name="connsiteY46" fmla="*/ 1864548 h 3277397"/>
                  <a:gd name="connsiteX47" fmla="*/ 3267642 w 4250373"/>
                  <a:gd name="connsiteY47" fmla="*/ 1896934 h 3277397"/>
                  <a:gd name="connsiteX48" fmla="*/ 3397182 w 4250373"/>
                  <a:gd name="connsiteY48" fmla="*/ 1896934 h 3277397"/>
                  <a:gd name="connsiteX49" fmla="*/ 3429568 w 4250373"/>
                  <a:gd name="connsiteY49" fmla="*/ 1864548 h 3277397"/>
                  <a:gd name="connsiteX50" fmla="*/ 3429568 w 4250373"/>
                  <a:gd name="connsiteY50" fmla="*/ 1712366 h 3277397"/>
                  <a:gd name="connsiteX51" fmla="*/ 3397182 w 4250373"/>
                  <a:gd name="connsiteY51" fmla="*/ 1679980 h 3277397"/>
                  <a:gd name="connsiteX52" fmla="*/ 3267642 w 4250373"/>
                  <a:gd name="connsiteY52" fmla="*/ 1679980 h 3277397"/>
                  <a:gd name="connsiteX53" fmla="*/ 2939029 w 4250373"/>
                  <a:gd name="connsiteY53" fmla="*/ 1679980 h 3277397"/>
                  <a:gd name="connsiteX54" fmla="*/ 2906643 w 4250373"/>
                  <a:gd name="connsiteY54" fmla="*/ 1712366 h 3277397"/>
                  <a:gd name="connsiteX55" fmla="*/ 2906643 w 4250373"/>
                  <a:gd name="connsiteY55" fmla="*/ 1864548 h 3277397"/>
                  <a:gd name="connsiteX56" fmla="*/ 2939029 w 4250373"/>
                  <a:gd name="connsiteY56" fmla="*/ 1896934 h 3277397"/>
                  <a:gd name="connsiteX57" fmla="*/ 3068569 w 4250373"/>
                  <a:gd name="connsiteY57" fmla="*/ 1896934 h 3277397"/>
                  <a:gd name="connsiteX58" fmla="*/ 3100955 w 4250373"/>
                  <a:gd name="connsiteY58" fmla="*/ 1864548 h 3277397"/>
                  <a:gd name="connsiteX59" fmla="*/ 3100955 w 4250373"/>
                  <a:gd name="connsiteY59" fmla="*/ 1712366 h 3277397"/>
                  <a:gd name="connsiteX60" fmla="*/ 3068569 w 4250373"/>
                  <a:gd name="connsiteY60" fmla="*/ 1679980 h 3277397"/>
                  <a:gd name="connsiteX61" fmla="*/ 2939029 w 4250373"/>
                  <a:gd name="connsiteY61" fmla="*/ 1679980 h 3277397"/>
                  <a:gd name="connsiteX62" fmla="*/ 3267642 w 4250373"/>
                  <a:gd name="connsiteY62" fmla="*/ 1369358 h 3277397"/>
                  <a:gd name="connsiteX63" fmla="*/ 3235256 w 4250373"/>
                  <a:gd name="connsiteY63" fmla="*/ 1401744 h 3277397"/>
                  <a:gd name="connsiteX64" fmla="*/ 3235256 w 4250373"/>
                  <a:gd name="connsiteY64" fmla="*/ 1553926 h 3277397"/>
                  <a:gd name="connsiteX65" fmla="*/ 3267642 w 4250373"/>
                  <a:gd name="connsiteY65" fmla="*/ 1586312 h 3277397"/>
                  <a:gd name="connsiteX66" fmla="*/ 3397182 w 4250373"/>
                  <a:gd name="connsiteY66" fmla="*/ 1586312 h 3277397"/>
                  <a:gd name="connsiteX67" fmla="*/ 3429568 w 4250373"/>
                  <a:gd name="connsiteY67" fmla="*/ 1553926 h 3277397"/>
                  <a:gd name="connsiteX68" fmla="*/ 3429568 w 4250373"/>
                  <a:gd name="connsiteY68" fmla="*/ 1401744 h 3277397"/>
                  <a:gd name="connsiteX69" fmla="*/ 3397182 w 4250373"/>
                  <a:gd name="connsiteY69" fmla="*/ 1369358 h 3277397"/>
                  <a:gd name="connsiteX70" fmla="*/ 3267642 w 4250373"/>
                  <a:gd name="connsiteY70" fmla="*/ 1369358 h 3277397"/>
                  <a:gd name="connsiteX71" fmla="*/ 2630648 w 4250373"/>
                  <a:gd name="connsiteY71" fmla="*/ 1369358 h 3277397"/>
                  <a:gd name="connsiteX72" fmla="*/ 2598262 w 4250373"/>
                  <a:gd name="connsiteY72" fmla="*/ 1401744 h 3277397"/>
                  <a:gd name="connsiteX73" fmla="*/ 2598262 w 4250373"/>
                  <a:gd name="connsiteY73" fmla="*/ 1553926 h 3277397"/>
                  <a:gd name="connsiteX74" fmla="*/ 2630648 w 4250373"/>
                  <a:gd name="connsiteY74" fmla="*/ 1586312 h 3277397"/>
                  <a:gd name="connsiteX75" fmla="*/ 2760188 w 4250373"/>
                  <a:gd name="connsiteY75" fmla="*/ 1586312 h 3277397"/>
                  <a:gd name="connsiteX76" fmla="*/ 2792574 w 4250373"/>
                  <a:gd name="connsiteY76" fmla="*/ 1553926 h 3277397"/>
                  <a:gd name="connsiteX77" fmla="*/ 2792574 w 4250373"/>
                  <a:gd name="connsiteY77" fmla="*/ 1401744 h 3277397"/>
                  <a:gd name="connsiteX78" fmla="*/ 2760188 w 4250373"/>
                  <a:gd name="connsiteY78" fmla="*/ 1369358 h 3277397"/>
                  <a:gd name="connsiteX79" fmla="*/ 2630648 w 4250373"/>
                  <a:gd name="connsiteY79" fmla="*/ 1369358 h 3277397"/>
                  <a:gd name="connsiteX80" fmla="*/ 2939029 w 4250373"/>
                  <a:gd name="connsiteY80" fmla="*/ 1369357 h 3277397"/>
                  <a:gd name="connsiteX81" fmla="*/ 2906643 w 4250373"/>
                  <a:gd name="connsiteY81" fmla="*/ 1401743 h 3277397"/>
                  <a:gd name="connsiteX82" fmla="*/ 2906643 w 4250373"/>
                  <a:gd name="connsiteY82" fmla="*/ 1553925 h 3277397"/>
                  <a:gd name="connsiteX83" fmla="*/ 2939029 w 4250373"/>
                  <a:gd name="connsiteY83" fmla="*/ 1586311 h 3277397"/>
                  <a:gd name="connsiteX84" fmla="*/ 3068569 w 4250373"/>
                  <a:gd name="connsiteY84" fmla="*/ 1586311 h 3277397"/>
                  <a:gd name="connsiteX85" fmla="*/ 3100955 w 4250373"/>
                  <a:gd name="connsiteY85" fmla="*/ 1553925 h 3277397"/>
                  <a:gd name="connsiteX86" fmla="*/ 3100955 w 4250373"/>
                  <a:gd name="connsiteY86" fmla="*/ 1401743 h 3277397"/>
                  <a:gd name="connsiteX87" fmla="*/ 3068569 w 4250373"/>
                  <a:gd name="connsiteY87" fmla="*/ 1369357 h 3277397"/>
                  <a:gd name="connsiteX88" fmla="*/ 2939029 w 4250373"/>
                  <a:gd name="connsiteY88" fmla="*/ 1369357 h 3277397"/>
                  <a:gd name="connsiteX89" fmla="*/ 858205 w 4250373"/>
                  <a:gd name="connsiteY89" fmla="*/ 1369357 h 3277397"/>
                  <a:gd name="connsiteX90" fmla="*/ 718502 w 4250373"/>
                  <a:gd name="connsiteY90" fmla="*/ 1509060 h 3277397"/>
                  <a:gd name="connsiteX91" fmla="*/ 718502 w 4250373"/>
                  <a:gd name="connsiteY91" fmla="*/ 2067854 h 3277397"/>
                  <a:gd name="connsiteX92" fmla="*/ 858205 w 4250373"/>
                  <a:gd name="connsiteY92" fmla="*/ 2207557 h 3277397"/>
                  <a:gd name="connsiteX93" fmla="*/ 2214720 w 4250373"/>
                  <a:gd name="connsiteY93" fmla="*/ 2207557 h 3277397"/>
                  <a:gd name="connsiteX94" fmla="*/ 2354423 w 4250373"/>
                  <a:gd name="connsiteY94" fmla="*/ 2067854 h 3277397"/>
                  <a:gd name="connsiteX95" fmla="*/ 2354423 w 4250373"/>
                  <a:gd name="connsiteY95" fmla="*/ 1509060 h 3277397"/>
                  <a:gd name="connsiteX96" fmla="*/ 2214720 w 4250373"/>
                  <a:gd name="connsiteY96" fmla="*/ 1369357 h 3277397"/>
                  <a:gd name="connsiteX97" fmla="*/ 858205 w 4250373"/>
                  <a:gd name="connsiteY97" fmla="*/ 1369357 h 3277397"/>
                  <a:gd name="connsiteX98" fmla="*/ 3252670 w 4250373"/>
                  <a:gd name="connsiteY98" fmla="*/ 426552 h 3277397"/>
                  <a:gd name="connsiteX99" fmla="*/ 2791662 w 4250373"/>
                  <a:gd name="connsiteY99" fmla="*/ 427687 h 3277397"/>
                  <a:gd name="connsiteX100" fmla="*/ 2777626 w 4250373"/>
                  <a:gd name="connsiteY100" fmla="*/ 477268 h 3277397"/>
                  <a:gd name="connsiteX101" fmla="*/ 2716779 w 4250373"/>
                  <a:gd name="connsiteY101" fmla="*/ 1128239 h 3277397"/>
                  <a:gd name="connsiteX102" fmla="*/ 3199247 w 4250373"/>
                  <a:gd name="connsiteY102" fmla="*/ 1134408 h 3277397"/>
                  <a:gd name="connsiteX103" fmla="*/ 3252670 w 4250373"/>
                  <a:gd name="connsiteY103" fmla="*/ 426552 h 3277397"/>
                  <a:gd name="connsiteX104" fmla="*/ 722896 w 4250373"/>
                  <a:gd name="connsiteY104" fmla="*/ 1 h 3277397"/>
                  <a:gd name="connsiteX105" fmla="*/ 673508 w 4250373"/>
                  <a:gd name="connsiteY105" fmla="*/ 49389 h 3277397"/>
                  <a:gd name="connsiteX106" fmla="*/ 673508 w 4250373"/>
                  <a:gd name="connsiteY106" fmla="*/ 319844 h 3277397"/>
                  <a:gd name="connsiteX107" fmla="*/ 722896 w 4250373"/>
                  <a:gd name="connsiteY107" fmla="*/ 369232 h 3277397"/>
                  <a:gd name="connsiteX108" fmla="*/ 722896 w 4250373"/>
                  <a:gd name="connsiteY108" fmla="*/ 1 h 3277397"/>
                  <a:gd name="connsiteX109" fmla="*/ 1131978 w 4250373"/>
                  <a:gd name="connsiteY109" fmla="*/ 950255 h 3277397"/>
                  <a:gd name="connsiteX110" fmla="*/ 1535838 w 4250373"/>
                  <a:gd name="connsiteY110" fmla="*/ 474007 h 3277397"/>
                  <a:gd name="connsiteX111" fmla="*/ 1535838 w 4250373"/>
                  <a:gd name="connsiteY111" fmla="*/ 950255 h 3277397"/>
                  <a:gd name="connsiteX112" fmla="*/ 2583508 w 4250373"/>
                  <a:gd name="connsiteY112" fmla="*/ 950255 h 3277397"/>
                  <a:gd name="connsiteX113" fmla="*/ 2623911 w 4250373"/>
                  <a:gd name="connsiteY113" fmla="*/ 370820 h 3277397"/>
                  <a:gd name="connsiteX114" fmla="*/ 2671536 w 4250373"/>
                  <a:gd name="connsiteY114" fmla="*/ 321607 h 3277397"/>
                  <a:gd name="connsiteX115" fmla="*/ 3339873 w 4250373"/>
                  <a:gd name="connsiteY115" fmla="*/ 313669 h 3277397"/>
                  <a:gd name="connsiteX116" fmla="*/ 3327420 w 4250373"/>
                  <a:gd name="connsiteY116" fmla="*/ 950255 h 3277397"/>
                  <a:gd name="connsiteX117" fmla="*/ 3504752 w 4250373"/>
                  <a:gd name="connsiteY117" fmla="*/ 950255 h 3277397"/>
                  <a:gd name="connsiteX118" fmla="*/ 3740691 w 4250373"/>
                  <a:gd name="connsiteY118" fmla="*/ 1186194 h 3277397"/>
                  <a:gd name="connsiteX119" fmla="*/ 3740691 w 4250373"/>
                  <a:gd name="connsiteY119" fmla="*/ 2250307 h 3277397"/>
                  <a:gd name="connsiteX120" fmla="*/ 4250373 w 4250373"/>
                  <a:gd name="connsiteY120" fmla="*/ 2758101 h 3277397"/>
                  <a:gd name="connsiteX121" fmla="*/ 4245831 w 4250373"/>
                  <a:gd name="connsiteY121" fmla="*/ 2758103 h 3277397"/>
                  <a:gd name="connsiteX122" fmla="*/ 4245831 w 4250373"/>
                  <a:gd name="connsiteY122" fmla="*/ 3178134 h 3277397"/>
                  <a:gd name="connsiteX123" fmla="*/ 4146568 w 4250373"/>
                  <a:gd name="connsiteY123" fmla="*/ 3277397 h 3277397"/>
                  <a:gd name="connsiteX124" fmla="*/ 102439 w 4250373"/>
                  <a:gd name="connsiteY124" fmla="*/ 3277397 h 3277397"/>
                  <a:gd name="connsiteX125" fmla="*/ 3176 w 4250373"/>
                  <a:gd name="connsiteY125" fmla="*/ 3178134 h 3277397"/>
                  <a:gd name="connsiteX126" fmla="*/ 3176 w 4250373"/>
                  <a:gd name="connsiteY126" fmla="*/ 2759370 h 3277397"/>
                  <a:gd name="connsiteX127" fmla="*/ 0 w 4250373"/>
                  <a:gd name="connsiteY127" fmla="*/ 2759371 h 3277397"/>
                  <a:gd name="connsiteX128" fmla="*/ 3176 w 4250373"/>
                  <a:gd name="connsiteY128" fmla="*/ 2756231 h 3277397"/>
                  <a:gd name="connsiteX129" fmla="*/ 3176 w 4250373"/>
                  <a:gd name="connsiteY129" fmla="*/ 2756196 h 3277397"/>
                  <a:gd name="connsiteX130" fmla="*/ 3211 w 4250373"/>
                  <a:gd name="connsiteY130" fmla="*/ 2756196 h 3277397"/>
                  <a:gd name="connsiteX131" fmla="*/ 511811 w 4250373"/>
                  <a:gd name="connsiteY131" fmla="*/ 2253276 h 3277397"/>
                  <a:gd name="connsiteX132" fmla="*/ 512859 w 4250373"/>
                  <a:gd name="connsiteY132" fmla="*/ 2253274 h 3277397"/>
                  <a:gd name="connsiteX133" fmla="*/ 512859 w 4250373"/>
                  <a:gd name="connsiteY133" fmla="*/ 1186194 h 3277397"/>
                  <a:gd name="connsiteX134" fmla="*/ 748798 w 4250373"/>
                  <a:gd name="connsiteY134" fmla="*/ 950255 h 3277397"/>
                  <a:gd name="connsiteX135" fmla="*/ 1131978 w 4250373"/>
                  <a:gd name="connsiteY135" fmla="*/ 950255 h 3277397"/>
                  <a:gd name="connsiteX0" fmla="*/ 1629417 w 4250373"/>
                  <a:gd name="connsiteY0" fmla="*/ 2907643 h 3277395"/>
                  <a:gd name="connsiteX1" fmla="*/ 1579411 w 4250373"/>
                  <a:gd name="connsiteY1" fmla="*/ 2957649 h 3277395"/>
                  <a:gd name="connsiteX2" fmla="*/ 1629417 w 4250373"/>
                  <a:gd name="connsiteY2" fmla="*/ 3007654 h 3277395"/>
                  <a:gd name="connsiteX3" fmla="*/ 2622323 w 4250373"/>
                  <a:gd name="connsiteY3" fmla="*/ 3007655 h 3277395"/>
                  <a:gd name="connsiteX4" fmla="*/ 2672329 w 4250373"/>
                  <a:gd name="connsiteY4" fmla="*/ 2957649 h 3277395"/>
                  <a:gd name="connsiteX5" fmla="*/ 2672330 w 4250373"/>
                  <a:gd name="connsiteY5" fmla="*/ 2957649 h 3277395"/>
                  <a:gd name="connsiteX6" fmla="*/ 2622324 w 4250373"/>
                  <a:gd name="connsiteY6" fmla="*/ 2907643 h 3277395"/>
                  <a:gd name="connsiteX7" fmla="*/ 1629417 w 4250373"/>
                  <a:gd name="connsiteY7" fmla="*/ 2907643 h 3277395"/>
                  <a:gd name="connsiteX8" fmla="*/ 3267642 w 4250373"/>
                  <a:gd name="connsiteY8" fmla="*/ 1990601 h 3277395"/>
                  <a:gd name="connsiteX9" fmla="*/ 3235256 w 4250373"/>
                  <a:gd name="connsiteY9" fmla="*/ 2022987 h 3277395"/>
                  <a:gd name="connsiteX10" fmla="*/ 3235256 w 4250373"/>
                  <a:gd name="connsiteY10" fmla="*/ 2175169 h 3277395"/>
                  <a:gd name="connsiteX11" fmla="*/ 3267642 w 4250373"/>
                  <a:gd name="connsiteY11" fmla="*/ 2207555 h 3277395"/>
                  <a:gd name="connsiteX12" fmla="*/ 3397182 w 4250373"/>
                  <a:gd name="connsiteY12" fmla="*/ 2207555 h 3277395"/>
                  <a:gd name="connsiteX13" fmla="*/ 3429568 w 4250373"/>
                  <a:gd name="connsiteY13" fmla="*/ 2175169 h 3277395"/>
                  <a:gd name="connsiteX14" fmla="*/ 3429568 w 4250373"/>
                  <a:gd name="connsiteY14" fmla="*/ 2022987 h 3277395"/>
                  <a:gd name="connsiteX15" fmla="*/ 3397182 w 4250373"/>
                  <a:gd name="connsiteY15" fmla="*/ 1990601 h 3277395"/>
                  <a:gd name="connsiteX16" fmla="*/ 3267642 w 4250373"/>
                  <a:gd name="connsiteY16" fmla="*/ 1990601 h 3277395"/>
                  <a:gd name="connsiteX17" fmla="*/ 2939029 w 4250373"/>
                  <a:gd name="connsiteY17" fmla="*/ 1990601 h 3277395"/>
                  <a:gd name="connsiteX18" fmla="*/ 2906643 w 4250373"/>
                  <a:gd name="connsiteY18" fmla="*/ 2022987 h 3277395"/>
                  <a:gd name="connsiteX19" fmla="*/ 2906643 w 4250373"/>
                  <a:gd name="connsiteY19" fmla="*/ 2175169 h 3277395"/>
                  <a:gd name="connsiteX20" fmla="*/ 2939029 w 4250373"/>
                  <a:gd name="connsiteY20" fmla="*/ 2207555 h 3277395"/>
                  <a:gd name="connsiteX21" fmla="*/ 3068569 w 4250373"/>
                  <a:gd name="connsiteY21" fmla="*/ 2207555 h 3277395"/>
                  <a:gd name="connsiteX22" fmla="*/ 3100955 w 4250373"/>
                  <a:gd name="connsiteY22" fmla="*/ 2175169 h 3277395"/>
                  <a:gd name="connsiteX23" fmla="*/ 3100955 w 4250373"/>
                  <a:gd name="connsiteY23" fmla="*/ 2022987 h 3277395"/>
                  <a:gd name="connsiteX24" fmla="*/ 3068569 w 4250373"/>
                  <a:gd name="connsiteY24" fmla="*/ 1990601 h 3277395"/>
                  <a:gd name="connsiteX25" fmla="*/ 2939029 w 4250373"/>
                  <a:gd name="connsiteY25" fmla="*/ 1990601 h 3277395"/>
                  <a:gd name="connsiteX26" fmla="*/ 2615179 w 4250373"/>
                  <a:gd name="connsiteY26" fmla="*/ 1990601 h 3277395"/>
                  <a:gd name="connsiteX27" fmla="*/ 2582793 w 4250373"/>
                  <a:gd name="connsiteY27" fmla="*/ 2022987 h 3277395"/>
                  <a:gd name="connsiteX28" fmla="*/ 2582793 w 4250373"/>
                  <a:gd name="connsiteY28" fmla="*/ 2175169 h 3277395"/>
                  <a:gd name="connsiteX29" fmla="*/ 2615179 w 4250373"/>
                  <a:gd name="connsiteY29" fmla="*/ 2207555 h 3277395"/>
                  <a:gd name="connsiteX30" fmla="*/ 2744719 w 4250373"/>
                  <a:gd name="connsiteY30" fmla="*/ 2207555 h 3277395"/>
                  <a:gd name="connsiteX31" fmla="*/ 2777105 w 4250373"/>
                  <a:gd name="connsiteY31" fmla="*/ 2175169 h 3277395"/>
                  <a:gd name="connsiteX32" fmla="*/ 2777105 w 4250373"/>
                  <a:gd name="connsiteY32" fmla="*/ 2022987 h 3277395"/>
                  <a:gd name="connsiteX33" fmla="*/ 2744719 w 4250373"/>
                  <a:gd name="connsiteY33" fmla="*/ 1990601 h 3277395"/>
                  <a:gd name="connsiteX34" fmla="*/ 2615179 w 4250373"/>
                  <a:gd name="connsiteY34" fmla="*/ 1990601 h 3277395"/>
                  <a:gd name="connsiteX35" fmla="*/ 2615179 w 4250373"/>
                  <a:gd name="connsiteY35" fmla="*/ 1679979 h 3277395"/>
                  <a:gd name="connsiteX36" fmla="*/ 2582793 w 4250373"/>
                  <a:gd name="connsiteY36" fmla="*/ 1712365 h 3277395"/>
                  <a:gd name="connsiteX37" fmla="*/ 2582793 w 4250373"/>
                  <a:gd name="connsiteY37" fmla="*/ 1864547 h 3277395"/>
                  <a:gd name="connsiteX38" fmla="*/ 2615179 w 4250373"/>
                  <a:gd name="connsiteY38" fmla="*/ 1896933 h 3277395"/>
                  <a:gd name="connsiteX39" fmla="*/ 2744719 w 4250373"/>
                  <a:gd name="connsiteY39" fmla="*/ 1896933 h 3277395"/>
                  <a:gd name="connsiteX40" fmla="*/ 2777105 w 4250373"/>
                  <a:gd name="connsiteY40" fmla="*/ 1864547 h 3277395"/>
                  <a:gd name="connsiteX41" fmla="*/ 2777105 w 4250373"/>
                  <a:gd name="connsiteY41" fmla="*/ 1712365 h 3277395"/>
                  <a:gd name="connsiteX42" fmla="*/ 2744719 w 4250373"/>
                  <a:gd name="connsiteY42" fmla="*/ 1679979 h 3277395"/>
                  <a:gd name="connsiteX43" fmla="*/ 2615179 w 4250373"/>
                  <a:gd name="connsiteY43" fmla="*/ 1679979 h 3277395"/>
                  <a:gd name="connsiteX44" fmla="*/ 3267642 w 4250373"/>
                  <a:gd name="connsiteY44" fmla="*/ 1679978 h 3277395"/>
                  <a:gd name="connsiteX45" fmla="*/ 3235256 w 4250373"/>
                  <a:gd name="connsiteY45" fmla="*/ 1712364 h 3277395"/>
                  <a:gd name="connsiteX46" fmla="*/ 3235256 w 4250373"/>
                  <a:gd name="connsiteY46" fmla="*/ 1864546 h 3277395"/>
                  <a:gd name="connsiteX47" fmla="*/ 3267642 w 4250373"/>
                  <a:gd name="connsiteY47" fmla="*/ 1896932 h 3277395"/>
                  <a:gd name="connsiteX48" fmla="*/ 3397182 w 4250373"/>
                  <a:gd name="connsiteY48" fmla="*/ 1896932 h 3277395"/>
                  <a:gd name="connsiteX49" fmla="*/ 3429568 w 4250373"/>
                  <a:gd name="connsiteY49" fmla="*/ 1864546 h 3277395"/>
                  <a:gd name="connsiteX50" fmla="*/ 3429568 w 4250373"/>
                  <a:gd name="connsiteY50" fmla="*/ 1712364 h 3277395"/>
                  <a:gd name="connsiteX51" fmla="*/ 3397182 w 4250373"/>
                  <a:gd name="connsiteY51" fmla="*/ 1679978 h 3277395"/>
                  <a:gd name="connsiteX52" fmla="*/ 3267642 w 4250373"/>
                  <a:gd name="connsiteY52" fmla="*/ 1679978 h 3277395"/>
                  <a:gd name="connsiteX53" fmla="*/ 2939029 w 4250373"/>
                  <a:gd name="connsiteY53" fmla="*/ 1679978 h 3277395"/>
                  <a:gd name="connsiteX54" fmla="*/ 2906643 w 4250373"/>
                  <a:gd name="connsiteY54" fmla="*/ 1712364 h 3277395"/>
                  <a:gd name="connsiteX55" fmla="*/ 2906643 w 4250373"/>
                  <a:gd name="connsiteY55" fmla="*/ 1864546 h 3277395"/>
                  <a:gd name="connsiteX56" fmla="*/ 2939029 w 4250373"/>
                  <a:gd name="connsiteY56" fmla="*/ 1896932 h 3277395"/>
                  <a:gd name="connsiteX57" fmla="*/ 3068569 w 4250373"/>
                  <a:gd name="connsiteY57" fmla="*/ 1896932 h 3277395"/>
                  <a:gd name="connsiteX58" fmla="*/ 3100955 w 4250373"/>
                  <a:gd name="connsiteY58" fmla="*/ 1864546 h 3277395"/>
                  <a:gd name="connsiteX59" fmla="*/ 3100955 w 4250373"/>
                  <a:gd name="connsiteY59" fmla="*/ 1712364 h 3277395"/>
                  <a:gd name="connsiteX60" fmla="*/ 3068569 w 4250373"/>
                  <a:gd name="connsiteY60" fmla="*/ 1679978 h 3277395"/>
                  <a:gd name="connsiteX61" fmla="*/ 2939029 w 4250373"/>
                  <a:gd name="connsiteY61" fmla="*/ 1679978 h 3277395"/>
                  <a:gd name="connsiteX62" fmla="*/ 3267642 w 4250373"/>
                  <a:gd name="connsiteY62" fmla="*/ 1369356 h 3277395"/>
                  <a:gd name="connsiteX63" fmla="*/ 3235256 w 4250373"/>
                  <a:gd name="connsiteY63" fmla="*/ 1401742 h 3277395"/>
                  <a:gd name="connsiteX64" fmla="*/ 3235256 w 4250373"/>
                  <a:gd name="connsiteY64" fmla="*/ 1553924 h 3277395"/>
                  <a:gd name="connsiteX65" fmla="*/ 3267642 w 4250373"/>
                  <a:gd name="connsiteY65" fmla="*/ 1586310 h 3277395"/>
                  <a:gd name="connsiteX66" fmla="*/ 3397182 w 4250373"/>
                  <a:gd name="connsiteY66" fmla="*/ 1586310 h 3277395"/>
                  <a:gd name="connsiteX67" fmla="*/ 3429568 w 4250373"/>
                  <a:gd name="connsiteY67" fmla="*/ 1553924 h 3277395"/>
                  <a:gd name="connsiteX68" fmla="*/ 3429568 w 4250373"/>
                  <a:gd name="connsiteY68" fmla="*/ 1401742 h 3277395"/>
                  <a:gd name="connsiteX69" fmla="*/ 3397182 w 4250373"/>
                  <a:gd name="connsiteY69" fmla="*/ 1369356 h 3277395"/>
                  <a:gd name="connsiteX70" fmla="*/ 3267642 w 4250373"/>
                  <a:gd name="connsiteY70" fmla="*/ 1369356 h 3277395"/>
                  <a:gd name="connsiteX71" fmla="*/ 2630648 w 4250373"/>
                  <a:gd name="connsiteY71" fmla="*/ 1369356 h 3277395"/>
                  <a:gd name="connsiteX72" fmla="*/ 2598262 w 4250373"/>
                  <a:gd name="connsiteY72" fmla="*/ 1401742 h 3277395"/>
                  <a:gd name="connsiteX73" fmla="*/ 2598262 w 4250373"/>
                  <a:gd name="connsiteY73" fmla="*/ 1553924 h 3277395"/>
                  <a:gd name="connsiteX74" fmla="*/ 2630648 w 4250373"/>
                  <a:gd name="connsiteY74" fmla="*/ 1586310 h 3277395"/>
                  <a:gd name="connsiteX75" fmla="*/ 2760188 w 4250373"/>
                  <a:gd name="connsiteY75" fmla="*/ 1586310 h 3277395"/>
                  <a:gd name="connsiteX76" fmla="*/ 2792574 w 4250373"/>
                  <a:gd name="connsiteY76" fmla="*/ 1553924 h 3277395"/>
                  <a:gd name="connsiteX77" fmla="*/ 2792574 w 4250373"/>
                  <a:gd name="connsiteY77" fmla="*/ 1401742 h 3277395"/>
                  <a:gd name="connsiteX78" fmla="*/ 2760188 w 4250373"/>
                  <a:gd name="connsiteY78" fmla="*/ 1369356 h 3277395"/>
                  <a:gd name="connsiteX79" fmla="*/ 2630648 w 4250373"/>
                  <a:gd name="connsiteY79" fmla="*/ 1369356 h 3277395"/>
                  <a:gd name="connsiteX80" fmla="*/ 2939029 w 4250373"/>
                  <a:gd name="connsiteY80" fmla="*/ 1369355 h 3277395"/>
                  <a:gd name="connsiteX81" fmla="*/ 2906643 w 4250373"/>
                  <a:gd name="connsiteY81" fmla="*/ 1401741 h 3277395"/>
                  <a:gd name="connsiteX82" fmla="*/ 2906643 w 4250373"/>
                  <a:gd name="connsiteY82" fmla="*/ 1553923 h 3277395"/>
                  <a:gd name="connsiteX83" fmla="*/ 2939029 w 4250373"/>
                  <a:gd name="connsiteY83" fmla="*/ 1586309 h 3277395"/>
                  <a:gd name="connsiteX84" fmla="*/ 3068569 w 4250373"/>
                  <a:gd name="connsiteY84" fmla="*/ 1586309 h 3277395"/>
                  <a:gd name="connsiteX85" fmla="*/ 3100955 w 4250373"/>
                  <a:gd name="connsiteY85" fmla="*/ 1553923 h 3277395"/>
                  <a:gd name="connsiteX86" fmla="*/ 3100955 w 4250373"/>
                  <a:gd name="connsiteY86" fmla="*/ 1401741 h 3277395"/>
                  <a:gd name="connsiteX87" fmla="*/ 3068569 w 4250373"/>
                  <a:gd name="connsiteY87" fmla="*/ 1369355 h 3277395"/>
                  <a:gd name="connsiteX88" fmla="*/ 2939029 w 4250373"/>
                  <a:gd name="connsiteY88" fmla="*/ 1369355 h 3277395"/>
                  <a:gd name="connsiteX89" fmla="*/ 858205 w 4250373"/>
                  <a:gd name="connsiteY89" fmla="*/ 1369355 h 3277395"/>
                  <a:gd name="connsiteX90" fmla="*/ 718502 w 4250373"/>
                  <a:gd name="connsiteY90" fmla="*/ 1509058 h 3277395"/>
                  <a:gd name="connsiteX91" fmla="*/ 718502 w 4250373"/>
                  <a:gd name="connsiteY91" fmla="*/ 2067852 h 3277395"/>
                  <a:gd name="connsiteX92" fmla="*/ 858205 w 4250373"/>
                  <a:gd name="connsiteY92" fmla="*/ 2207555 h 3277395"/>
                  <a:gd name="connsiteX93" fmla="*/ 2214720 w 4250373"/>
                  <a:gd name="connsiteY93" fmla="*/ 2207555 h 3277395"/>
                  <a:gd name="connsiteX94" fmla="*/ 2354423 w 4250373"/>
                  <a:gd name="connsiteY94" fmla="*/ 2067852 h 3277395"/>
                  <a:gd name="connsiteX95" fmla="*/ 2354423 w 4250373"/>
                  <a:gd name="connsiteY95" fmla="*/ 1509058 h 3277395"/>
                  <a:gd name="connsiteX96" fmla="*/ 2214720 w 4250373"/>
                  <a:gd name="connsiteY96" fmla="*/ 1369355 h 3277395"/>
                  <a:gd name="connsiteX97" fmla="*/ 858205 w 4250373"/>
                  <a:gd name="connsiteY97" fmla="*/ 1369355 h 3277395"/>
                  <a:gd name="connsiteX98" fmla="*/ 3252670 w 4250373"/>
                  <a:gd name="connsiteY98" fmla="*/ 426550 h 3277395"/>
                  <a:gd name="connsiteX99" fmla="*/ 2791662 w 4250373"/>
                  <a:gd name="connsiteY99" fmla="*/ 427685 h 3277395"/>
                  <a:gd name="connsiteX100" fmla="*/ 2777626 w 4250373"/>
                  <a:gd name="connsiteY100" fmla="*/ 477266 h 3277395"/>
                  <a:gd name="connsiteX101" fmla="*/ 2716779 w 4250373"/>
                  <a:gd name="connsiteY101" fmla="*/ 1128237 h 3277395"/>
                  <a:gd name="connsiteX102" fmla="*/ 3199247 w 4250373"/>
                  <a:gd name="connsiteY102" fmla="*/ 1134406 h 3277395"/>
                  <a:gd name="connsiteX103" fmla="*/ 3252670 w 4250373"/>
                  <a:gd name="connsiteY103" fmla="*/ 426550 h 3277395"/>
                  <a:gd name="connsiteX104" fmla="*/ 722896 w 4250373"/>
                  <a:gd name="connsiteY104" fmla="*/ -1 h 3277395"/>
                  <a:gd name="connsiteX105" fmla="*/ 673508 w 4250373"/>
                  <a:gd name="connsiteY105" fmla="*/ 49387 h 3277395"/>
                  <a:gd name="connsiteX106" fmla="*/ 673508 w 4250373"/>
                  <a:gd name="connsiteY106" fmla="*/ 319842 h 3277395"/>
                  <a:gd name="connsiteX107" fmla="*/ 722896 w 4250373"/>
                  <a:gd name="connsiteY107" fmla="*/ -1 h 3277395"/>
                  <a:gd name="connsiteX108" fmla="*/ 1131978 w 4250373"/>
                  <a:gd name="connsiteY108" fmla="*/ 950253 h 3277395"/>
                  <a:gd name="connsiteX109" fmla="*/ 1535838 w 4250373"/>
                  <a:gd name="connsiteY109" fmla="*/ 474005 h 3277395"/>
                  <a:gd name="connsiteX110" fmla="*/ 1535838 w 4250373"/>
                  <a:gd name="connsiteY110" fmla="*/ 950253 h 3277395"/>
                  <a:gd name="connsiteX111" fmla="*/ 2583508 w 4250373"/>
                  <a:gd name="connsiteY111" fmla="*/ 950253 h 3277395"/>
                  <a:gd name="connsiteX112" fmla="*/ 2623911 w 4250373"/>
                  <a:gd name="connsiteY112" fmla="*/ 370818 h 3277395"/>
                  <a:gd name="connsiteX113" fmla="*/ 2671536 w 4250373"/>
                  <a:gd name="connsiteY113" fmla="*/ 321605 h 3277395"/>
                  <a:gd name="connsiteX114" fmla="*/ 3339873 w 4250373"/>
                  <a:gd name="connsiteY114" fmla="*/ 313667 h 3277395"/>
                  <a:gd name="connsiteX115" fmla="*/ 3327420 w 4250373"/>
                  <a:gd name="connsiteY115" fmla="*/ 950253 h 3277395"/>
                  <a:gd name="connsiteX116" fmla="*/ 3504752 w 4250373"/>
                  <a:gd name="connsiteY116" fmla="*/ 950253 h 3277395"/>
                  <a:gd name="connsiteX117" fmla="*/ 3740691 w 4250373"/>
                  <a:gd name="connsiteY117" fmla="*/ 1186192 h 3277395"/>
                  <a:gd name="connsiteX118" fmla="*/ 3740691 w 4250373"/>
                  <a:gd name="connsiteY118" fmla="*/ 2250305 h 3277395"/>
                  <a:gd name="connsiteX119" fmla="*/ 4250373 w 4250373"/>
                  <a:gd name="connsiteY119" fmla="*/ 2758099 h 3277395"/>
                  <a:gd name="connsiteX120" fmla="*/ 4245831 w 4250373"/>
                  <a:gd name="connsiteY120" fmla="*/ 2758101 h 3277395"/>
                  <a:gd name="connsiteX121" fmla="*/ 4245831 w 4250373"/>
                  <a:gd name="connsiteY121" fmla="*/ 3178132 h 3277395"/>
                  <a:gd name="connsiteX122" fmla="*/ 4146568 w 4250373"/>
                  <a:gd name="connsiteY122" fmla="*/ 3277395 h 3277395"/>
                  <a:gd name="connsiteX123" fmla="*/ 102439 w 4250373"/>
                  <a:gd name="connsiteY123" fmla="*/ 3277395 h 3277395"/>
                  <a:gd name="connsiteX124" fmla="*/ 3176 w 4250373"/>
                  <a:gd name="connsiteY124" fmla="*/ 3178132 h 3277395"/>
                  <a:gd name="connsiteX125" fmla="*/ 3176 w 4250373"/>
                  <a:gd name="connsiteY125" fmla="*/ 2759368 h 3277395"/>
                  <a:gd name="connsiteX126" fmla="*/ 0 w 4250373"/>
                  <a:gd name="connsiteY126" fmla="*/ 2759369 h 3277395"/>
                  <a:gd name="connsiteX127" fmla="*/ 3176 w 4250373"/>
                  <a:gd name="connsiteY127" fmla="*/ 2756229 h 3277395"/>
                  <a:gd name="connsiteX128" fmla="*/ 3176 w 4250373"/>
                  <a:gd name="connsiteY128" fmla="*/ 2756194 h 3277395"/>
                  <a:gd name="connsiteX129" fmla="*/ 3211 w 4250373"/>
                  <a:gd name="connsiteY129" fmla="*/ 2756194 h 3277395"/>
                  <a:gd name="connsiteX130" fmla="*/ 511811 w 4250373"/>
                  <a:gd name="connsiteY130" fmla="*/ 2253274 h 3277395"/>
                  <a:gd name="connsiteX131" fmla="*/ 512859 w 4250373"/>
                  <a:gd name="connsiteY131" fmla="*/ 2253272 h 3277395"/>
                  <a:gd name="connsiteX132" fmla="*/ 512859 w 4250373"/>
                  <a:gd name="connsiteY132" fmla="*/ 1186192 h 3277395"/>
                  <a:gd name="connsiteX133" fmla="*/ 748798 w 4250373"/>
                  <a:gd name="connsiteY133" fmla="*/ 950253 h 3277395"/>
                  <a:gd name="connsiteX134" fmla="*/ 1131978 w 4250373"/>
                  <a:gd name="connsiteY134" fmla="*/ 950253 h 3277395"/>
                  <a:gd name="connsiteX0" fmla="*/ 1629417 w 4250373"/>
                  <a:gd name="connsiteY0" fmla="*/ 2907645 h 3277397"/>
                  <a:gd name="connsiteX1" fmla="*/ 1579411 w 4250373"/>
                  <a:gd name="connsiteY1" fmla="*/ 2957651 h 3277397"/>
                  <a:gd name="connsiteX2" fmla="*/ 1629417 w 4250373"/>
                  <a:gd name="connsiteY2" fmla="*/ 3007656 h 3277397"/>
                  <a:gd name="connsiteX3" fmla="*/ 2622323 w 4250373"/>
                  <a:gd name="connsiteY3" fmla="*/ 3007657 h 3277397"/>
                  <a:gd name="connsiteX4" fmla="*/ 2672329 w 4250373"/>
                  <a:gd name="connsiteY4" fmla="*/ 2957651 h 3277397"/>
                  <a:gd name="connsiteX5" fmla="*/ 2672330 w 4250373"/>
                  <a:gd name="connsiteY5" fmla="*/ 2957651 h 3277397"/>
                  <a:gd name="connsiteX6" fmla="*/ 2622324 w 4250373"/>
                  <a:gd name="connsiteY6" fmla="*/ 2907645 h 3277397"/>
                  <a:gd name="connsiteX7" fmla="*/ 1629417 w 4250373"/>
                  <a:gd name="connsiteY7" fmla="*/ 2907645 h 3277397"/>
                  <a:gd name="connsiteX8" fmla="*/ 3267642 w 4250373"/>
                  <a:gd name="connsiteY8" fmla="*/ 1990603 h 3277397"/>
                  <a:gd name="connsiteX9" fmla="*/ 3235256 w 4250373"/>
                  <a:gd name="connsiteY9" fmla="*/ 2022989 h 3277397"/>
                  <a:gd name="connsiteX10" fmla="*/ 3235256 w 4250373"/>
                  <a:gd name="connsiteY10" fmla="*/ 2175171 h 3277397"/>
                  <a:gd name="connsiteX11" fmla="*/ 3267642 w 4250373"/>
                  <a:gd name="connsiteY11" fmla="*/ 2207557 h 3277397"/>
                  <a:gd name="connsiteX12" fmla="*/ 3397182 w 4250373"/>
                  <a:gd name="connsiteY12" fmla="*/ 2207557 h 3277397"/>
                  <a:gd name="connsiteX13" fmla="*/ 3429568 w 4250373"/>
                  <a:gd name="connsiteY13" fmla="*/ 2175171 h 3277397"/>
                  <a:gd name="connsiteX14" fmla="*/ 3429568 w 4250373"/>
                  <a:gd name="connsiteY14" fmla="*/ 2022989 h 3277397"/>
                  <a:gd name="connsiteX15" fmla="*/ 3397182 w 4250373"/>
                  <a:gd name="connsiteY15" fmla="*/ 1990603 h 3277397"/>
                  <a:gd name="connsiteX16" fmla="*/ 3267642 w 4250373"/>
                  <a:gd name="connsiteY16" fmla="*/ 1990603 h 3277397"/>
                  <a:gd name="connsiteX17" fmla="*/ 2939029 w 4250373"/>
                  <a:gd name="connsiteY17" fmla="*/ 1990603 h 3277397"/>
                  <a:gd name="connsiteX18" fmla="*/ 2906643 w 4250373"/>
                  <a:gd name="connsiteY18" fmla="*/ 2022989 h 3277397"/>
                  <a:gd name="connsiteX19" fmla="*/ 2906643 w 4250373"/>
                  <a:gd name="connsiteY19" fmla="*/ 2175171 h 3277397"/>
                  <a:gd name="connsiteX20" fmla="*/ 2939029 w 4250373"/>
                  <a:gd name="connsiteY20" fmla="*/ 2207557 h 3277397"/>
                  <a:gd name="connsiteX21" fmla="*/ 3068569 w 4250373"/>
                  <a:gd name="connsiteY21" fmla="*/ 2207557 h 3277397"/>
                  <a:gd name="connsiteX22" fmla="*/ 3100955 w 4250373"/>
                  <a:gd name="connsiteY22" fmla="*/ 2175171 h 3277397"/>
                  <a:gd name="connsiteX23" fmla="*/ 3100955 w 4250373"/>
                  <a:gd name="connsiteY23" fmla="*/ 2022989 h 3277397"/>
                  <a:gd name="connsiteX24" fmla="*/ 3068569 w 4250373"/>
                  <a:gd name="connsiteY24" fmla="*/ 1990603 h 3277397"/>
                  <a:gd name="connsiteX25" fmla="*/ 2939029 w 4250373"/>
                  <a:gd name="connsiteY25" fmla="*/ 1990603 h 3277397"/>
                  <a:gd name="connsiteX26" fmla="*/ 2615179 w 4250373"/>
                  <a:gd name="connsiteY26" fmla="*/ 1990603 h 3277397"/>
                  <a:gd name="connsiteX27" fmla="*/ 2582793 w 4250373"/>
                  <a:gd name="connsiteY27" fmla="*/ 2022989 h 3277397"/>
                  <a:gd name="connsiteX28" fmla="*/ 2582793 w 4250373"/>
                  <a:gd name="connsiteY28" fmla="*/ 2175171 h 3277397"/>
                  <a:gd name="connsiteX29" fmla="*/ 2615179 w 4250373"/>
                  <a:gd name="connsiteY29" fmla="*/ 2207557 h 3277397"/>
                  <a:gd name="connsiteX30" fmla="*/ 2744719 w 4250373"/>
                  <a:gd name="connsiteY30" fmla="*/ 2207557 h 3277397"/>
                  <a:gd name="connsiteX31" fmla="*/ 2777105 w 4250373"/>
                  <a:gd name="connsiteY31" fmla="*/ 2175171 h 3277397"/>
                  <a:gd name="connsiteX32" fmla="*/ 2777105 w 4250373"/>
                  <a:gd name="connsiteY32" fmla="*/ 2022989 h 3277397"/>
                  <a:gd name="connsiteX33" fmla="*/ 2744719 w 4250373"/>
                  <a:gd name="connsiteY33" fmla="*/ 1990603 h 3277397"/>
                  <a:gd name="connsiteX34" fmla="*/ 2615179 w 4250373"/>
                  <a:gd name="connsiteY34" fmla="*/ 1990603 h 3277397"/>
                  <a:gd name="connsiteX35" fmla="*/ 2615179 w 4250373"/>
                  <a:gd name="connsiteY35" fmla="*/ 1679981 h 3277397"/>
                  <a:gd name="connsiteX36" fmla="*/ 2582793 w 4250373"/>
                  <a:gd name="connsiteY36" fmla="*/ 1712367 h 3277397"/>
                  <a:gd name="connsiteX37" fmla="*/ 2582793 w 4250373"/>
                  <a:gd name="connsiteY37" fmla="*/ 1864549 h 3277397"/>
                  <a:gd name="connsiteX38" fmla="*/ 2615179 w 4250373"/>
                  <a:gd name="connsiteY38" fmla="*/ 1896935 h 3277397"/>
                  <a:gd name="connsiteX39" fmla="*/ 2744719 w 4250373"/>
                  <a:gd name="connsiteY39" fmla="*/ 1896935 h 3277397"/>
                  <a:gd name="connsiteX40" fmla="*/ 2777105 w 4250373"/>
                  <a:gd name="connsiteY40" fmla="*/ 1864549 h 3277397"/>
                  <a:gd name="connsiteX41" fmla="*/ 2777105 w 4250373"/>
                  <a:gd name="connsiteY41" fmla="*/ 1712367 h 3277397"/>
                  <a:gd name="connsiteX42" fmla="*/ 2744719 w 4250373"/>
                  <a:gd name="connsiteY42" fmla="*/ 1679981 h 3277397"/>
                  <a:gd name="connsiteX43" fmla="*/ 2615179 w 4250373"/>
                  <a:gd name="connsiteY43" fmla="*/ 1679981 h 3277397"/>
                  <a:gd name="connsiteX44" fmla="*/ 3267642 w 4250373"/>
                  <a:gd name="connsiteY44" fmla="*/ 1679980 h 3277397"/>
                  <a:gd name="connsiteX45" fmla="*/ 3235256 w 4250373"/>
                  <a:gd name="connsiteY45" fmla="*/ 1712366 h 3277397"/>
                  <a:gd name="connsiteX46" fmla="*/ 3235256 w 4250373"/>
                  <a:gd name="connsiteY46" fmla="*/ 1864548 h 3277397"/>
                  <a:gd name="connsiteX47" fmla="*/ 3267642 w 4250373"/>
                  <a:gd name="connsiteY47" fmla="*/ 1896934 h 3277397"/>
                  <a:gd name="connsiteX48" fmla="*/ 3397182 w 4250373"/>
                  <a:gd name="connsiteY48" fmla="*/ 1896934 h 3277397"/>
                  <a:gd name="connsiteX49" fmla="*/ 3429568 w 4250373"/>
                  <a:gd name="connsiteY49" fmla="*/ 1864548 h 3277397"/>
                  <a:gd name="connsiteX50" fmla="*/ 3429568 w 4250373"/>
                  <a:gd name="connsiteY50" fmla="*/ 1712366 h 3277397"/>
                  <a:gd name="connsiteX51" fmla="*/ 3397182 w 4250373"/>
                  <a:gd name="connsiteY51" fmla="*/ 1679980 h 3277397"/>
                  <a:gd name="connsiteX52" fmla="*/ 3267642 w 4250373"/>
                  <a:gd name="connsiteY52" fmla="*/ 1679980 h 3277397"/>
                  <a:gd name="connsiteX53" fmla="*/ 2939029 w 4250373"/>
                  <a:gd name="connsiteY53" fmla="*/ 1679980 h 3277397"/>
                  <a:gd name="connsiteX54" fmla="*/ 2906643 w 4250373"/>
                  <a:gd name="connsiteY54" fmla="*/ 1712366 h 3277397"/>
                  <a:gd name="connsiteX55" fmla="*/ 2906643 w 4250373"/>
                  <a:gd name="connsiteY55" fmla="*/ 1864548 h 3277397"/>
                  <a:gd name="connsiteX56" fmla="*/ 2939029 w 4250373"/>
                  <a:gd name="connsiteY56" fmla="*/ 1896934 h 3277397"/>
                  <a:gd name="connsiteX57" fmla="*/ 3068569 w 4250373"/>
                  <a:gd name="connsiteY57" fmla="*/ 1896934 h 3277397"/>
                  <a:gd name="connsiteX58" fmla="*/ 3100955 w 4250373"/>
                  <a:gd name="connsiteY58" fmla="*/ 1864548 h 3277397"/>
                  <a:gd name="connsiteX59" fmla="*/ 3100955 w 4250373"/>
                  <a:gd name="connsiteY59" fmla="*/ 1712366 h 3277397"/>
                  <a:gd name="connsiteX60" fmla="*/ 3068569 w 4250373"/>
                  <a:gd name="connsiteY60" fmla="*/ 1679980 h 3277397"/>
                  <a:gd name="connsiteX61" fmla="*/ 2939029 w 4250373"/>
                  <a:gd name="connsiteY61" fmla="*/ 1679980 h 3277397"/>
                  <a:gd name="connsiteX62" fmla="*/ 3267642 w 4250373"/>
                  <a:gd name="connsiteY62" fmla="*/ 1369358 h 3277397"/>
                  <a:gd name="connsiteX63" fmla="*/ 3235256 w 4250373"/>
                  <a:gd name="connsiteY63" fmla="*/ 1401744 h 3277397"/>
                  <a:gd name="connsiteX64" fmla="*/ 3235256 w 4250373"/>
                  <a:gd name="connsiteY64" fmla="*/ 1553926 h 3277397"/>
                  <a:gd name="connsiteX65" fmla="*/ 3267642 w 4250373"/>
                  <a:gd name="connsiteY65" fmla="*/ 1586312 h 3277397"/>
                  <a:gd name="connsiteX66" fmla="*/ 3397182 w 4250373"/>
                  <a:gd name="connsiteY66" fmla="*/ 1586312 h 3277397"/>
                  <a:gd name="connsiteX67" fmla="*/ 3429568 w 4250373"/>
                  <a:gd name="connsiteY67" fmla="*/ 1553926 h 3277397"/>
                  <a:gd name="connsiteX68" fmla="*/ 3429568 w 4250373"/>
                  <a:gd name="connsiteY68" fmla="*/ 1401744 h 3277397"/>
                  <a:gd name="connsiteX69" fmla="*/ 3397182 w 4250373"/>
                  <a:gd name="connsiteY69" fmla="*/ 1369358 h 3277397"/>
                  <a:gd name="connsiteX70" fmla="*/ 3267642 w 4250373"/>
                  <a:gd name="connsiteY70" fmla="*/ 1369358 h 3277397"/>
                  <a:gd name="connsiteX71" fmla="*/ 2630648 w 4250373"/>
                  <a:gd name="connsiteY71" fmla="*/ 1369358 h 3277397"/>
                  <a:gd name="connsiteX72" fmla="*/ 2598262 w 4250373"/>
                  <a:gd name="connsiteY72" fmla="*/ 1401744 h 3277397"/>
                  <a:gd name="connsiteX73" fmla="*/ 2598262 w 4250373"/>
                  <a:gd name="connsiteY73" fmla="*/ 1553926 h 3277397"/>
                  <a:gd name="connsiteX74" fmla="*/ 2630648 w 4250373"/>
                  <a:gd name="connsiteY74" fmla="*/ 1586312 h 3277397"/>
                  <a:gd name="connsiteX75" fmla="*/ 2760188 w 4250373"/>
                  <a:gd name="connsiteY75" fmla="*/ 1586312 h 3277397"/>
                  <a:gd name="connsiteX76" fmla="*/ 2792574 w 4250373"/>
                  <a:gd name="connsiteY76" fmla="*/ 1553926 h 3277397"/>
                  <a:gd name="connsiteX77" fmla="*/ 2792574 w 4250373"/>
                  <a:gd name="connsiteY77" fmla="*/ 1401744 h 3277397"/>
                  <a:gd name="connsiteX78" fmla="*/ 2760188 w 4250373"/>
                  <a:gd name="connsiteY78" fmla="*/ 1369358 h 3277397"/>
                  <a:gd name="connsiteX79" fmla="*/ 2630648 w 4250373"/>
                  <a:gd name="connsiteY79" fmla="*/ 1369358 h 3277397"/>
                  <a:gd name="connsiteX80" fmla="*/ 2939029 w 4250373"/>
                  <a:gd name="connsiteY80" fmla="*/ 1369357 h 3277397"/>
                  <a:gd name="connsiteX81" fmla="*/ 2906643 w 4250373"/>
                  <a:gd name="connsiteY81" fmla="*/ 1401743 h 3277397"/>
                  <a:gd name="connsiteX82" fmla="*/ 2906643 w 4250373"/>
                  <a:gd name="connsiteY82" fmla="*/ 1553925 h 3277397"/>
                  <a:gd name="connsiteX83" fmla="*/ 2939029 w 4250373"/>
                  <a:gd name="connsiteY83" fmla="*/ 1586311 h 3277397"/>
                  <a:gd name="connsiteX84" fmla="*/ 3068569 w 4250373"/>
                  <a:gd name="connsiteY84" fmla="*/ 1586311 h 3277397"/>
                  <a:gd name="connsiteX85" fmla="*/ 3100955 w 4250373"/>
                  <a:gd name="connsiteY85" fmla="*/ 1553925 h 3277397"/>
                  <a:gd name="connsiteX86" fmla="*/ 3100955 w 4250373"/>
                  <a:gd name="connsiteY86" fmla="*/ 1401743 h 3277397"/>
                  <a:gd name="connsiteX87" fmla="*/ 3068569 w 4250373"/>
                  <a:gd name="connsiteY87" fmla="*/ 1369357 h 3277397"/>
                  <a:gd name="connsiteX88" fmla="*/ 2939029 w 4250373"/>
                  <a:gd name="connsiteY88" fmla="*/ 1369357 h 3277397"/>
                  <a:gd name="connsiteX89" fmla="*/ 858205 w 4250373"/>
                  <a:gd name="connsiteY89" fmla="*/ 1369357 h 3277397"/>
                  <a:gd name="connsiteX90" fmla="*/ 718502 w 4250373"/>
                  <a:gd name="connsiteY90" fmla="*/ 1509060 h 3277397"/>
                  <a:gd name="connsiteX91" fmla="*/ 718502 w 4250373"/>
                  <a:gd name="connsiteY91" fmla="*/ 2067854 h 3277397"/>
                  <a:gd name="connsiteX92" fmla="*/ 858205 w 4250373"/>
                  <a:gd name="connsiteY92" fmla="*/ 2207557 h 3277397"/>
                  <a:gd name="connsiteX93" fmla="*/ 2214720 w 4250373"/>
                  <a:gd name="connsiteY93" fmla="*/ 2207557 h 3277397"/>
                  <a:gd name="connsiteX94" fmla="*/ 2354423 w 4250373"/>
                  <a:gd name="connsiteY94" fmla="*/ 2067854 h 3277397"/>
                  <a:gd name="connsiteX95" fmla="*/ 2354423 w 4250373"/>
                  <a:gd name="connsiteY95" fmla="*/ 1509060 h 3277397"/>
                  <a:gd name="connsiteX96" fmla="*/ 2214720 w 4250373"/>
                  <a:gd name="connsiteY96" fmla="*/ 1369357 h 3277397"/>
                  <a:gd name="connsiteX97" fmla="*/ 858205 w 4250373"/>
                  <a:gd name="connsiteY97" fmla="*/ 1369357 h 3277397"/>
                  <a:gd name="connsiteX98" fmla="*/ 3252670 w 4250373"/>
                  <a:gd name="connsiteY98" fmla="*/ 426552 h 3277397"/>
                  <a:gd name="connsiteX99" fmla="*/ 2791662 w 4250373"/>
                  <a:gd name="connsiteY99" fmla="*/ 427687 h 3277397"/>
                  <a:gd name="connsiteX100" fmla="*/ 2777626 w 4250373"/>
                  <a:gd name="connsiteY100" fmla="*/ 477268 h 3277397"/>
                  <a:gd name="connsiteX101" fmla="*/ 2716779 w 4250373"/>
                  <a:gd name="connsiteY101" fmla="*/ 1128239 h 3277397"/>
                  <a:gd name="connsiteX102" fmla="*/ 3199247 w 4250373"/>
                  <a:gd name="connsiteY102" fmla="*/ 1134408 h 3277397"/>
                  <a:gd name="connsiteX103" fmla="*/ 3252670 w 4250373"/>
                  <a:gd name="connsiteY103" fmla="*/ 426552 h 3277397"/>
                  <a:gd name="connsiteX104" fmla="*/ 722896 w 4250373"/>
                  <a:gd name="connsiteY104" fmla="*/ 1 h 3277397"/>
                  <a:gd name="connsiteX105" fmla="*/ 673508 w 4250373"/>
                  <a:gd name="connsiteY105" fmla="*/ 49389 h 3277397"/>
                  <a:gd name="connsiteX106" fmla="*/ 722896 w 4250373"/>
                  <a:gd name="connsiteY106" fmla="*/ 1 h 3277397"/>
                  <a:gd name="connsiteX107" fmla="*/ 1131978 w 4250373"/>
                  <a:gd name="connsiteY107" fmla="*/ 950255 h 3277397"/>
                  <a:gd name="connsiteX108" fmla="*/ 1535838 w 4250373"/>
                  <a:gd name="connsiteY108" fmla="*/ 474007 h 3277397"/>
                  <a:gd name="connsiteX109" fmla="*/ 1535838 w 4250373"/>
                  <a:gd name="connsiteY109" fmla="*/ 950255 h 3277397"/>
                  <a:gd name="connsiteX110" fmla="*/ 2583508 w 4250373"/>
                  <a:gd name="connsiteY110" fmla="*/ 950255 h 3277397"/>
                  <a:gd name="connsiteX111" fmla="*/ 2623911 w 4250373"/>
                  <a:gd name="connsiteY111" fmla="*/ 370820 h 3277397"/>
                  <a:gd name="connsiteX112" fmla="*/ 2671536 w 4250373"/>
                  <a:gd name="connsiteY112" fmla="*/ 321607 h 3277397"/>
                  <a:gd name="connsiteX113" fmla="*/ 3339873 w 4250373"/>
                  <a:gd name="connsiteY113" fmla="*/ 313669 h 3277397"/>
                  <a:gd name="connsiteX114" fmla="*/ 3327420 w 4250373"/>
                  <a:gd name="connsiteY114" fmla="*/ 950255 h 3277397"/>
                  <a:gd name="connsiteX115" fmla="*/ 3504752 w 4250373"/>
                  <a:gd name="connsiteY115" fmla="*/ 950255 h 3277397"/>
                  <a:gd name="connsiteX116" fmla="*/ 3740691 w 4250373"/>
                  <a:gd name="connsiteY116" fmla="*/ 1186194 h 3277397"/>
                  <a:gd name="connsiteX117" fmla="*/ 3740691 w 4250373"/>
                  <a:gd name="connsiteY117" fmla="*/ 2250307 h 3277397"/>
                  <a:gd name="connsiteX118" fmla="*/ 4250373 w 4250373"/>
                  <a:gd name="connsiteY118" fmla="*/ 2758101 h 3277397"/>
                  <a:gd name="connsiteX119" fmla="*/ 4245831 w 4250373"/>
                  <a:gd name="connsiteY119" fmla="*/ 2758103 h 3277397"/>
                  <a:gd name="connsiteX120" fmla="*/ 4245831 w 4250373"/>
                  <a:gd name="connsiteY120" fmla="*/ 3178134 h 3277397"/>
                  <a:gd name="connsiteX121" fmla="*/ 4146568 w 4250373"/>
                  <a:gd name="connsiteY121" fmla="*/ 3277397 h 3277397"/>
                  <a:gd name="connsiteX122" fmla="*/ 102439 w 4250373"/>
                  <a:gd name="connsiteY122" fmla="*/ 3277397 h 3277397"/>
                  <a:gd name="connsiteX123" fmla="*/ 3176 w 4250373"/>
                  <a:gd name="connsiteY123" fmla="*/ 3178134 h 3277397"/>
                  <a:gd name="connsiteX124" fmla="*/ 3176 w 4250373"/>
                  <a:gd name="connsiteY124" fmla="*/ 2759370 h 3277397"/>
                  <a:gd name="connsiteX125" fmla="*/ 0 w 4250373"/>
                  <a:gd name="connsiteY125" fmla="*/ 2759371 h 3277397"/>
                  <a:gd name="connsiteX126" fmla="*/ 3176 w 4250373"/>
                  <a:gd name="connsiteY126" fmla="*/ 2756231 h 3277397"/>
                  <a:gd name="connsiteX127" fmla="*/ 3176 w 4250373"/>
                  <a:gd name="connsiteY127" fmla="*/ 2756196 h 3277397"/>
                  <a:gd name="connsiteX128" fmla="*/ 3211 w 4250373"/>
                  <a:gd name="connsiteY128" fmla="*/ 2756196 h 3277397"/>
                  <a:gd name="connsiteX129" fmla="*/ 511811 w 4250373"/>
                  <a:gd name="connsiteY129" fmla="*/ 2253276 h 3277397"/>
                  <a:gd name="connsiteX130" fmla="*/ 512859 w 4250373"/>
                  <a:gd name="connsiteY130" fmla="*/ 2253274 h 3277397"/>
                  <a:gd name="connsiteX131" fmla="*/ 512859 w 4250373"/>
                  <a:gd name="connsiteY131" fmla="*/ 1186194 h 3277397"/>
                  <a:gd name="connsiteX132" fmla="*/ 748798 w 4250373"/>
                  <a:gd name="connsiteY132" fmla="*/ 950255 h 3277397"/>
                  <a:gd name="connsiteX133" fmla="*/ 1131978 w 4250373"/>
                  <a:gd name="connsiteY133" fmla="*/ 950255 h 3277397"/>
                  <a:gd name="connsiteX0" fmla="*/ 1629417 w 4250373"/>
                  <a:gd name="connsiteY0" fmla="*/ 2593977 h 2963729"/>
                  <a:gd name="connsiteX1" fmla="*/ 1579411 w 4250373"/>
                  <a:gd name="connsiteY1" fmla="*/ 2643983 h 2963729"/>
                  <a:gd name="connsiteX2" fmla="*/ 1629417 w 4250373"/>
                  <a:gd name="connsiteY2" fmla="*/ 2693988 h 2963729"/>
                  <a:gd name="connsiteX3" fmla="*/ 2622323 w 4250373"/>
                  <a:gd name="connsiteY3" fmla="*/ 2693989 h 2963729"/>
                  <a:gd name="connsiteX4" fmla="*/ 2672329 w 4250373"/>
                  <a:gd name="connsiteY4" fmla="*/ 2643983 h 2963729"/>
                  <a:gd name="connsiteX5" fmla="*/ 2672330 w 4250373"/>
                  <a:gd name="connsiteY5" fmla="*/ 2643983 h 2963729"/>
                  <a:gd name="connsiteX6" fmla="*/ 2622324 w 4250373"/>
                  <a:gd name="connsiteY6" fmla="*/ 2593977 h 2963729"/>
                  <a:gd name="connsiteX7" fmla="*/ 1629417 w 4250373"/>
                  <a:gd name="connsiteY7" fmla="*/ 2593977 h 2963729"/>
                  <a:gd name="connsiteX8" fmla="*/ 3267642 w 4250373"/>
                  <a:gd name="connsiteY8" fmla="*/ 1676935 h 2963729"/>
                  <a:gd name="connsiteX9" fmla="*/ 3235256 w 4250373"/>
                  <a:gd name="connsiteY9" fmla="*/ 1709321 h 2963729"/>
                  <a:gd name="connsiteX10" fmla="*/ 3235256 w 4250373"/>
                  <a:gd name="connsiteY10" fmla="*/ 1861503 h 2963729"/>
                  <a:gd name="connsiteX11" fmla="*/ 3267642 w 4250373"/>
                  <a:gd name="connsiteY11" fmla="*/ 1893889 h 2963729"/>
                  <a:gd name="connsiteX12" fmla="*/ 3397182 w 4250373"/>
                  <a:gd name="connsiteY12" fmla="*/ 1893889 h 2963729"/>
                  <a:gd name="connsiteX13" fmla="*/ 3429568 w 4250373"/>
                  <a:gd name="connsiteY13" fmla="*/ 1861503 h 2963729"/>
                  <a:gd name="connsiteX14" fmla="*/ 3429568 w 4250373"/>
                  <a:gd name="connsiteY14" fmla="*/ 1709321 h 2963729"/>
                  <a:gd name="connsiteX15" fmla="*/ 3397182 w 4250373"/>
                  <a:gd name="connsiteY15" fmla="*/ 1676935 h 2963729"/>
                  <a:gd name="connsiteX16" fmla="*/ 3267642 w 4250373"/>
                  <a:gd name="connsiteY16" fmla="*/ 1676935 h 2963729"/>
                  <a:gd name="connsiteX17" fmla="*/ 2939029 w 4250373"/>
                  <a:gd name="connsiteY17" fmla="*/ 1676935 h 2963729"/>
                  <a:gd name="connsiteX18" fmla="*/ 2906643 w 4250373"/>
                  <a:gd name="connsiteY18" fmla="*/ 1709321 h 2963729"/>
                  <a:gd name="connsiteX19" fmla="*/ 2906643 w 4250373"/>
                  <a:gd name="connsiteY19" fmla="*/ 1861503 h 2963729"/>
                  <a:gd name="connsiteX20" fmla="*/ 2939029 w 4250373"/>
                  <a:gd name="connsiteY20" fmla="*/ 1893889 h 2963729"/>
                  <a:gd name="connsiteX21" fmla="*/ 3068569 w 4250373"/>
                  <a:gd name="connsiteY21" fmla="*/ 1893889 h 2963729"/>
                  <a:gd name="connsiteX22" fmla="*/ 3100955 w 4250373"/>
                  <a:gd name="connsiteY22" fmla="*/ 1861503 h 2963729"/>
                  <a:gd name="connsiteX23" fmla="*/ 3100955 w 4250373"/>
                  <a:gd name="connsiteY23" fmla="*/ 1709321 h 2963729"/>
                  <a:gd name="connsiteX24" fmla="*/ 3068569 w 4250373"/>
                  <a:gd name="connsiteY24" fmla="*/ 1676935 h 2963729"/>
                  <a:gd name="connsiteX25" fmla="*/ 2939029 w 4250373"/>
                  <a:gd name="connsiteY25" fmla="*/ 1676935 h 2963729"/>
                  <a:gd name="connsiteX26" fmla="*/ 2615179 w 4250373"/>
                  <a:gd name="connsiteY26" fmla="*/ 1676935 h 2963729"/>
                  <a:gd name="connsiteX27" fmla="*/ 2582793 w 4250373"/>
                  <a:gd name="connsiteY27" fmla="*/ 1709321 h 2963729"/>
                  <a:gd name="connsiteX28" fmla="*/ 2582793 w 4250373"/>
                  <a:gd name="connsiteY28" fmla="*/ 1861503 h 2963729"/>
                  <a:gd name="connsiteX29" fmla="*/ 2615179 w 4250373"/>
                  <a:gd name="connsiteY29" fmla="*/ 1893889 h 2963729"/>
                  <a:gd name="connsiteX30" fmla="*/ 2744719 w 4250373"/>
                  <a:gd name="connsiteY30" fmla="*/ 1893889 h 2963729"/>
                  <a:gd name="connsiteX31" fmla="*/ 2777105 w 4250373"/>
                  <a:gd name="connsiteY31" fmla="*/ 1861503 h 2963729"/>
                  <a:gd name="connsiteX32" fmla="*/ 2777105 w 4250373"/>
                  <a:gd name="connsiteY32" fmla="*/ 1709321 h 2963729"/>
                  <a:gd name="connsiteX33" fmla="*/ 2744719 w 4250373"/>
                  <a:gd name="connsiteY33" fmla="*/ 1676935 h 2963729"/>
                  <a:gd name="connsiteX34" fmla="*/ 2615179 w 4250373"/>
                  <a:gd name="connsiteY34" fmla="*/ 1676935 h 2963729"/>
                  <a:gd name="connsiteX35" fmla="*/ 2615179 w 4250373"/>
                  <a:gd name="connsiteY35" fmla="*/ 1366313 h 2963729"/>
                  <a:gd name="connsiteX36" fmla="*/ 2582793 w 4250373"/>
                  <a:gd name="connsiteY36" fmla="*/ 1398699 h 2963729"/>
                  <a:gd name="connsiteX37" fmla="*/ 2582793 w 4250373"/>
                  <a:gd name="connsiteY37" fmla="*/ 1550881 h 2963729"/>
                  <a:gd name="connsiteX38" fmla="*/ 2615179 w 4250373"/>
                  <a:gd name="connsiteY38" fmla="*/ 1583267 h 2963729"/>
                  <a:gd name="connsiteX39" fmla="*/ 2744719 w 4250373"/>
                  <a:gd name="connsiteY39" fmla="*/ 1583267 h 2963729"/>
                  <a:gd name="connsiteX40" fmla="*/ 2777105 w 4250373"/>
                  <a:gd name="connsiteY40" fmla="*/ 1550881 h 2963729"/>
                  <a:gd name="connsiteX41" fmla="*/ 2777105 w 4250373"/>
                  <a:gd name="connsiteY41" fmla="*/ 1398699 h 2963729"/>
                  <a:gd name="connsiteX42" fmla="*/ 2744719 w 4250373"/>
                  <a:gd name="connsiteY42" fmla="*/ 1366313 h 2963729"/>
                  <a:gd name="connsiteX43" fmla="*/ 2615179 w 4250373"/>
                  <a:gd name="connsiteY43" fmla="*/ 1366313 h 2963729"/>
                  <a:gd name="connsiteX44" fmla="*/ 3267642 w 4250373"/>
                  <a:gd name="connsiteY44" fmla="*/ 1366312 h 2963729"/>
                  <a:gd name="connsiteX45" fmla="*/ 3235256 w 4250373"/>
                  <a:gd name="connsiteY45" fmla="*/ 1398698 h 2963729"/>
                  <a:gd name="connsiteX46" fmla="*/ 3235256 w 4250373"/>
                  <a:gd name="connsiteY46" fmla="*/ 1550880 h 2963729"/>
                  <a:gd name="connsiteX47" fmla="*/ 3267642 w 4250373"/>
                  <a:gd name="connsiteY47" fmla="*/ 1583266 h 2963729"/>
                  <a:gd name="connsiteX48" fmla="*/ 3397182 w 4250373"/>
                  <a:gd name="connsiteY48" fmla="*/ 1583266 h 2963729"/>
                  <a:gd name="connsiteX49" fmla="*/ 3429568 w 4250373"/>
                  <a:gd name="connsiteY49" fmla="*/ 1550880 h 2963729"/>
                  <a:gd name="connsiteX50" fmla="*/ 3429568 w 4250373"/>
                  <a:gd name="connsiteY50" fmla="*/ 1398698 h 2963729"/>
                  <a:gd name="connsiteX51" fmla="*/ 3397182 w 4250373"/>
                  <a:gd name="connsiteY51" fmla="*/ 1366312 h 2963729"/>
                  <a:gd name="connsiteX52" fmla="*/ 3267642 w 4250373"/>
                  <a:gd name="connsiteY52" fmla="*/ 1366312 h 2963729"/>
                  <a:gd name="connsiteX53" fmla="*/ 2939029 w 4250373"/>
                  <a:gd name="connsiteY53" fmla="*/ 1366312 h 2963729"/>
                  <a:gd name="connsiteX54" fmla="*/ 2906643 w 4250373"/>
                  <a:gd name="connsiteY54" fmla="*/ 1398698 h 2963729"/>
                  <a:gd name="connsiteX55" fmla="*/ 2906643 w 4250373"/>
                  <a:gd name="connsiteY55" fmla="*/ 1550880 h 2963729"/>
                  <a:gd name="connsiteX56" fmla="*/ 2939029 w 4250373"/>
                  <a:gd name="connsiteY56" fmla="*/ 1583266 h 2963729"/>
                  <a:gd name="connsiteX57" fmla="*/ 3068569 w 4250373"/>
                  <a:gd name="connsiteY57" fmla="*/ 1583266 h 2963729"/>
                  <a:gd name="connsiteX58" fmla="*/ 3100955 w 4250373"/>
                  <a:gd name="connsiteY58" fmla="*/ 1550880 h 2963729"/>
                  <a:gd name="connsiteX59" fmla="*/ 3100955 w 4250373"/>
                  <a:gd name="connsiteY59" fmla="*/ 1398698 h 2963729"/>
                  <a:gd name="connsiteX60" fmla="*/ 3068569 w 4250373"/>
                  <a:gd name="connsiteY60" fmla="*/ 1366312 h 2963729"/>
                  <a:gd name="connsiteX61" fmla="*/ 2939029 w 4250373"/>
                  <a:gd name="connsiteY61" fmla="*/ 1366312 h 2963729"/>
                  <a:gd name="connsiteX62" fmla="*/ 3267642 w 4250373"/>
                  <a:gd name="connsiteY62" fmla="*/ 1055690 h 2963729"/>
                  <a:gd name="connsiteX63" fmla="*/ 3235256 w 4250373"/>
                  <a:gd name="connsiteY63" fmla="*/ 1088076 h 2963729"/>
                  <a:gd name="connsiteX64" fmla="*/ 3235256 w 4250373"/>
                  <a:gd name="connsiteY64" fmla="*/ 1240258 h 2963729"/>
                  <a:gd name="connsiteX65" fmla="*/ 3267642 w 4250373"/>
                  <a:gd name="connsiteY65" fmla="*/ 1272644 h 2963729"/>
                  <a:gd name="connsiteX66" fmla="*/ 3397182 w 4250373"/>
                  <a:gd name="connsiteY66" fmla="*/ 1272644 h 2963729"/>
                  <a:gd name="connsiteX67" fmla="*/ 3429568 w 4250373"/>
                  <a:gd name="connsiteY67" fmla="*/ 1240258 h 2963729"/>
                  <a:gd name="connsiteX68" fmla="*/ 3429568 w 4250373"/>
                  <a:gd name="connsiteY68" fmla="*/ 1088076 h 2963729"/>
                  <a:gd name="connsiteX69" fmla="*/ 3397182 w 4250373"/>
                  <a:gd name="connsiteY69" fmla="*/ 1055690 h 2963729"/>
                  <a:gd name="connsiteX70" fmla="*/ 3267642 w 4250373"/>
                  <a:gd name="connsiteY70" fmla="*/ 1055690 h 2963729"/>
                  <a:gd name="connsiteX71" fmla="*/ 2630648 w 4250373"/>
                  <a:gd name="connsiteY71" fmla="*/ 1055690 h 2963729"/>
                  <a:gd name="connsiteX72" fmla="*/ 2598262 w 4250373"/>
                  <a:gd name="connsiteY72" fmla="*/ 1088076 h 2963729"/>
                  <a:gd name="connsiteX73" fmla="*/ 2598262 w 4250373"/>
                  <a:gd name="connsiteY73" fmla="*/ 1240258 h 2963729"/>
                  <a:gd name="connsiteX74" fmla="*/ 2630648 w 4250373"/>
                  <a:gd name="connsiteY74" fmla="*/ 1272644 h 2963729"/>
                  <a:gd name="connsiteX75" fmla="*/ 2760188 w 4250373"/>
                  <a:gd name="connsiteY75" fmla="*/ 1272644 h 2963729"/>
                  <a:gd name="connsiteX76" fmla="*/ 2792574 w 4250373"/>
                  <a:gd name="connsiteY76" fmla="*/ 1240258 h 2963729"/>
                  <a:gd name="connsiteX77" fmla="*/ 2792574 w 4250373"/>
                  <a:gd name="connsiteY77" fmla="*/ 1088076 h 2963729"/>
                  <a:gd name="connsiteX78" fmla="*/ 2760188 w 4250373"/>
                  <a:gd name="connsiteY78" fmla="*/ 1055690 h 2963729"/>
                  <a:gd name="connsiteX79" fmla="*/ 2630648 w 4250373"/>
                  <a:gd name="connsiteY79" fmla="*/ 1055690 h 2963729"/>
                  <a:gd name="connsiteX80" fmla="*/ 2939029 w 4250373"/>
                  <a:gd name="connsiteY80" fmla="*/ 1055689 h 2963729"/>
                  <a:gd name="connsiteX81" fmla="*/ 2906643 w 4250373"/>
                  <a:gd name="connsiteY81" fmla="*/ 1088075 h 2963729"/>
                  <a:gd name="connsiteX82" fmla="*/ 2906643 w 4250373"/>
                  <a:gd name="connsiteY82" fmla="*/ 1240257 h 2963729"/>
                  <a:gd name="connsiteX83" fmla="*/ 2939029 w 4250373"/>
                  <a:gd name="connsiteY83" fmla="*/ 1272643 h 2963729"/>
                  <a:gd name="connsiteX84" fmla="*/ 3068569 w 4250373"/>
                  <a:gd name="connsiteY84" fmla="*/ 1272643 h 2963729"/>
                  <a:gd name="connsiteX85" fmla="*/ 3100955 w 4250373"/>
                  <a:gd name="connsiteY85" fmla="*/ 1240257 h 2963729"/>
                  <a:gd name="connsiteX86" fmla="*/ 3100955 w 4250373"/>
                  <a:gd name="connsiteY86" fmla="*/ 1088075 h 2963729"/>
                  <a:gd name="connsiteX87" fmla="*/ 3068569 w 4250373"/>
                  <a:gd name="connsiteY87" fmla="*/ 1055689 h 2963729"/>
                  <a:gd name="connsiteX88" fmla="*/ 2939029 w 4250373"/>
                  <a:gd name="connsiteY88" fmla="*/ 1055689 h 2963729"/>
                  <a:gd name="connsiteX89" fmla="*/ 858205 w 4250373"/>
                  <a:gd name="connsiteY89" fmla="*/ 1055689 h 2963729"/>
                  <a:gd name="connsiteX90" fmla="*/ 718502 w 4250373"/>
                  <a:gd name="connsiteY90" fmla="*/ 1195392 h 2963729"/>
                  <a:gd name="connsiteX91" fmla="*/ 718502 w 4250373"/>
                  <a:gd name="connsiteY91" fmla="*/ 1754186 h 2963729"/>
                  <a:gd name="connsiteX92" fmla="*/ 858205 w 4250373"/>
                  <a:gd name="connsiteY92" fmla="*/ 1893889 h 2963729"/>
                  <a:gd name="connsiteX93" fmla="*/ 2214720 w 4250373"/>
                  <a:gd name="connsiteY93" fmla="*/ 1893889 h 2963729"/>
                  <a:gd name="connsiteX94" fmla="*/ 2354423 w 4250373"/>
                  <a:gd name="connsiteY94" fmla="*/ 1754186 h 2963729"/>
                  <a:gd name="connsiteX95" fmla="*/ 2354423 w 4250373"/>
                  <a:gd name="connsiteY95" fmla="*/ 1195392 h 2963729"/>
                  <a:gd name="connsiteX96" fmla="*/ 2214720 w 4250373"/>
                  <a:gd name="connsiteY96" fmla="*/ 1055689 h 2963729"/>
                  <a:gd name="connsiteX97" fmla="*/ 858205 w 4250373"/>
                  <a:gd name="connsiteY97" fmla="*/ 1055689 h 2963729"/>
                  <a:gd name="connsiteX98" fmla="*/ 3252670 w 4250373"/>
                  <a:gd name="connsiteY98" fmla="*/ 112884 h 2963729"/>
                  <a:gd name="connsiteX99" fmla="*/ 2791662 w 4250373"/>
                  <a:gd name="connsiteY99" fmla="*/ 114019 h 2963729"/>
                  <a:gd name="connsiteX100" fmla="*/ 2777626 w 4250373"/>
                  <a:gd name="connsiteY100" fmla="*/ 163600 h 2963729"/>
                  <a:gd name="connsiteX101" fmla="*/ 2716779 w 4250373"/>
                  <a:gd name="connsiteY101" fmla="*/ 814571 h 2963729"/>
                  <a:gd name="connsiteX102" fmla="*/ 3199247 w 4250373"/>
                  <a:gd name="connsiteY102" fmla="*/ 820740 h 2963729"/>
                  <a:gd name="connsiteX103" fmla="*/ 3252670 w 4250373"/>
                  <a:gd name="connsiteY103" fmla="*/ 112884 h 2963729"/>
                  <a:gd name="connsiteX104" fmla="*/ 1131978 w 4250373"/>
                  <a:gd name="connsiteY104" fmla="*/ 636587 h 2963729"/>
                  <a:gd name="connsiteX105" fmla="*/ 1535838 w 4250373"/>
                  <a:gd name="connsiteY105" fmla="*/ 160339 h 2963729"/>
                  <a:gd name="connsiteX106" fmla="*/ 1535838 w 4250373"/>
                  <a:gd name="connsiteY106" fmla="*/ 636587 h 2963729"/>
                  <a:gd name="connsiteX107" fmla="*/ 2583508 w 4250373"/>
                  <a:gd name="connsiteY107" fmla="*/ 636587 h 2963729"/>
                  <a:gd name="connsiteX108" fmla="*/ 2623911 w 4250373"/>
                  <a:gd name="connsiteY108" fmla="*/ 57152 h 2963729"/>
                  <a:gd name="connsiteX109" fmla="*/ 2671536 w 4250373"/>
                  <a:gd name="connsiteY109" fmla="*/ 7939 h 2963729"/>
                  <a:gd name="connsiteX110" fmla="*/ 3339873 w 4250373"/>
                  <a:gd name="connsiteY110" fmla="*/ 1 h 2963729"/>
                  <a:gd name="connsiteX111" fmla="*/ 3327420 w 4250373"/>
                  <a:gd name="connsiteY111" fmla="*/ 636587 h 2963729"/>
                  <a:gd name="connsiteX112" fmla="*/ 3504752 w 4250373"/>
                  <a:gd name="connsiteY112" fmla="*/ 636587 h 2963729"/>
                  <a:gd name="connsiteX113" fmla="*/ 3740691 w 4250373"/>
                  <a:gd name="connsiteY113" fmla="*/ 872526 h 2963729"/>
                  <a:gd name="connsiteX114" fmla="*/ 3740691 w 4250373"/>
                  <a:gd name="connsiteY114" fmla="*/ 1936639 h 2963729"/>
                  <a:gd name="connsiteX115" fmla="*/ 4250373 w 4250373"/>
                  <a:gd name="connsiteY115" fmla="*/ 2444433 h 2963729"/>
                  <a:gd name="connsiteX116" fmla="*/ 4245831 w 4250373"/>
                  <a:gd name="connsiteY116" fmla="*/ 2444435 h 2963729"/>
                  <a:gd name="connsiteX117" fmla="*/ 4245831 w 4250373"/>
                  <a:gd name="connsiteY117" fmla="*/ 2864466 h 2963729"/>
                  <a:gd name="connsiteX118" fmla="*/ 4146568 w 4250373"/>
                  <a:gd name="connsiteY118" fmla="*/ 2963729 h 2963729"/>
                  <a:gd name="connsiteX119" fmla="*/ 102439 w 4250373"/>
                  <a:gd name="connsiteY119" fmla="*/ 2963729 h 2963729"/>
                  <a:gd name="connsiteX120" fmla="*/ 3176 w 4250373"/>
                  <a:gd name="connsiteY120" fmla="*/ 2864466 h 2963729"/>
                  <a:gd name="connsiteX121" fmla="*/ 3176 w 4250373"/>
                  <a:gd name="connsiteY121" fmla="*/ 2445702 h 2963729"/>
                  <a:gd name="connsiteX122" fmla="*/ 0 w 4250373"/>
                  <a:gd name="connsiteY122" fmla="*/ 2445703 h 2963729"/>
                  <a:gd name="connsiteX123" fmla="*/ 3176 w 4250373"/>
                  <a:gd name="connsiteY123" fmla="*/ 2442563 h 2963729"/>
                  <a:gd name="connsiteX124" fmla="*/ 3176 w 4250373"/>
                  <a:gd name="connsiteY124" fmla="*/ 2442528 h 2963729"/>
                  <a:gd name="connsiteX125" fmla="*/ 3211 w 4250373"/>
                  <a:gd name="connsiteY125" fmla="*/ 2442528 h 2963729"/>
                  <a:gd name="connsiteX126" fmla="*/ 511811 w 4250373"/>
                  <a:gd name="connsiteY126" fmla="*/ 1939608 h 2963729"/>
                  <a:gd name="connsiteX127" fmla="*/ 512859 w 4250373"/>
                  <a:gd name="connsiteY127" fmla="*/ 1939606 h 2963729"/>
                  <a:gd name="connsiteX128" fmla="*/ 512859 w 4250373"/>
                  <a:gd name="connsiteY128" fmla="*/ 872526 h 2963729"/>
                  <a:gd name="connsiteX129" fmla="*/ 748798 w 4250373"/>
                  <a:gd name="connsiteY129" fmla="*/ 636587 h 2963729"/>
                  <a:gd name="connsiteX130" fmla="*/ 1131978 w 4250373"/>
                  <a:gd name="connsiteY130" fmla="*/ 636587 h 2963729"/>
                  <a:gd name="connsiteX0" fmla="*/ 1629417 w 4250373"/>
                  <a:gd name="connsiteY0" fmla="*/ 2593975 h 2963727"/>
                  <a:gd name="connsiteX1" fmla="*/ 1579411 w 4250373"/>
                  <a:gd name="connsiteY1" fmla="*/ 2643981 h 2963727"/>
                  <a:gd name="connsiteX2" fmla="*/ 1629417 w 4250373"/>
                  <a:gd name="connsiteY2" fmla="*/ 2693986 h 2963727"/>
                  <a:gd name="connsiteX3" fmla="*/ 2622323 w 4250373"/>
                  <a:gd name="connsiteY3" fmla="*/ 2693987 h 2963727"/>
                  <a:gd name="connsiteX4" fmla="*/ 2672329 w 4250373"/>
                  <a:gd name="connsiteY4" fmla="*/ 2643981 h 2963727"/>
                  <a:gd name="connsiteX5" fmla="*/ 2672330 w 4250373"/>
                  <a:gd name="connsiteY5" fmla="*/ 2643981 h 2963727"/>
                  <a:gd name="connsiteX6" fmla="*/ 2622324 w 4250373"/>
                  <a:gd name="connsiteY6" fmla="*/ 2593975 h 2963727"/>
                  <a:gd name="connsiteX7" fmla="*/ 1629417 w 4250373"/>
                  <a:gd name="connsiteY7" fmla="*/ 2593975 h 2963727"/>
                  <a:gd name="connsiteX8" fmla="*/ 3267642 w 4250373"/>
                  <a:gd name="connsiteY8" fmla="*/ 1676933 h 2963727"/>
                  <a:gd name="connsiteX9" fmla="*/ 3235256 w 4250373"/>
                  <a:gd name="connsiteY9" fmla="*/ 1709319 h 2963727"/>
                  <a:gd name="connsiteX10" fmla="*/ 3235256 w 4250373"/>
                  <a:gd name="connsiteY10" fmla="*/ 1861501 h 2963727"/>
                  <a:gd name="connsiteX11" fmla="*/ 3267642 w 4250373"/>
                  <a:gd name="connsiteY11" fmla="*/ 1893887 h 2963727"/>
                  <a:gd name="connsiteX12" fmla="*/ 3397182 w 4250373"/>
                  <a:gd name="connsiteY12" fmla="*/ 1893887 h 2963727"/>
                  <a:gd name="connsiteX13" fmla="*/ 3429568 w 4250373"/>
                  <a:gd name="connsiteY13" fmla="*/ 1861501 h 2963727"/>
                  <a:gd name="connsiteX14" fmla="*/ 3429568 w 4250373"/>
                  <a:gd name="connsiteY14" fmla="*/ 1709319 h 2963727"/>
                  <a:gd name="connsiteX15" fmla="*/ 3397182 w 4250373"/>
                  <a:gd name="connsiteY15" fmla="*/ 1676933 h 2963727"/>
                  <a:gd name="connsiteX16" fmla="*/ 3267642 w 4250373"/>
                  <a:gd name="connsiteY16" fmla="*/ 1676933 h 2963727"/>
                  <a:gd name="connsiteX17" fmla="*/ 2939029 w 4250373"/>
                  <a:gd name="connsiteY17" fmla="*/ 1676933 h 2963727"/>
                  <a:gd name="connsiteX18" fmla="*/ 2906643 w 4250373"/>
                  <a:gd name="connsiteY18" fmla="*/ 1709319 h 2963727"/>
                  <a:gd name="connsiteX19" fmla="*/ 2906643 w 4250373"/>
                  <a:gd name="connsiteY19" fmla="*/ 1861501 h 2963727"/>
                  <a:gd name="connsiteX20" fmla="*/ 2939029 w 4250373"/>
                  <a:gd name="connsiteY20" fmla="*/ 1893887 h 2963727"/>
                  <a:gd name="connsiteX21" fmla="*/ 3068569 w 4250373"/>
                  <a:gd name="connsiteY21" fmla="*/ 1893887 h 2963727"/>
                  <a:gd name="connsiteX22" fmla="*/ 3100955 w 4250373"/>
                  <a:gd name="connsiteY22" fmla="*/ 1861501 h 2963727"/>
                  <a:gd name="connsiteX23" fmla="*/ 3100955 w 4250373"/>
                  <a:gd name="connsiteY23" fmla="*/ 1709319 h 2963727"/>
                  <a:gd name="connsiteX24" fmla="*/ 3068569 w 4250373"/>
                  <a:gd name="connsiteY24" fmla="*/ 1676933 h 2963727"/>
                  <a:gd name="connsiteX25" fmla="*/ 2939029 w 4250373"/>
                  <a:gd name="connsiteY25" fmla="*/ 1676933 h 2963727"/>
                  <a:gd name="connsiteX26" fmla="*/ 2615179 w 4250373"/>
                  <a:gd name="connsiteY26" fmla="*/ 1676933 h 2963727"/>
                  <a:gd name="connsiteX27" fmla="*/ 2582793 w 4250373"/>
                  <a:gd name="connsiteY27" fmla="*/ 1709319 h 2963727"/>
                  <a:gd name="connsiteX28" fmla="*/ 2582793 w 4250373"/>
                  <a:gd name="connsiteY28" fmla="*/ 1861501 h 2963727"/>
                  <a:gd name="connsiteX29" fmla="*/ 2615179 w 4250373"/>
                  <a:gd name="connsiteY29" fmla="*/ 1893887 h 2963727"/>
                  <a:gd name="connsiteX30" fmla="*/ 2744719 w 4250373"/>
                  <a:gd name="connsiteY30" fmla="*/ 1893887 h 2963727"/>
                  <a:gd name="connsiteX31" fmla="*/ 2777105 w 4250373"/>
                  <a:gd name="connsiteY31" fmla="*/ 1861501 h 2963727"/>
                  <a:gd name="connsiteX32" fmla="*/ 2777105 w 4250373"/>
                  <a:gd name="connsiteY32" fmla="*/ 1709319 h 2963727"/>
                  <a:gd name="connsiteX33" fmla="*/ 2744719 w 4250373"/>
                  <a:gd name="connsiteY33" fmla="*/ 1676933 h 2963727"/>
                  <a:gd name="connsiteX34" fmla="*/ 2615179 w 4250373"/>
                  <a:gd name="connsiteY34" fmla="*/ 1676933 h 2963727"/>
                  <a:gd name="connsiteX35" fmla="*/ 2615179 w 4250373"/>
                  <a:gd name="connsiteY35" fmla="*/ 1366311 h 2963727"/>
                  <a:gd name="connsiteX36" fmla="*/ 2582793 w 4250373"/>
                  <a:gd name="connsiteY36" fmla="*/ 1398697 h 2963727"/>
                  <a:gd name="connsiteX37" fmla="*/ 2582793 w 4250373"/>
                  <a:gd name="connsiteY37" fmla="*/ 1550879 h 2963727"/>
                  <a:gd name="connsiteX38" fmla="*/ 2615179 w 4250373"/>
                  <a:gd name="connsiteY38" fmla="*/ 1583265 h 2963727"/>
                  <a:gd name="connsiteX39" fmla="*/ 2744719 w 4250373"/>
                  <a:gd name="connsiteY39" fmla="*/ 1583265 h 2963727"/>
                  <a:gd name="connsiteX40" fmla="*/ 2777105 w 4250373"/>
                  <a:gd name="connsiteY40" fmla="*/ 1550879 h 2963727"/>
                  <a:gd name="connsiteX41" fmla="*/ 2777105 w 4250373"/>
                  <a:gd name="connsiteY41" fmla="*/ 1398697 h 2963727"/>
                  <a:gd name="connsiteX42" fmla="*/ 2744719 w 4250373"/>
                  <a:gd name="connsiteY42" fmla="*/ 1366311 h 2963727"/>
                  <a:gd name="connsiteX43" fmla="*/ 2615179 w 4250373"/>
                  <a:gd name="connsiteY43" fmla="*/ 1366311 h 2963727"/>
                  <a:gd name="connsiteX44" fmla="*/ 3267642 w 4250373"/>
                  <a:gd name="connsiteY44" fmla="*/ 1366310 h 2963727"/>
                  <a:gd name="connsiteX45" fmla="*/ 3235256 w 4250373"/>
                  <a:gd name="connsiteY45" fmla="*/ 1398696 h 2963727"/>
                  <a:gd name="connsiteX46" fmla="*/ 3235256 w 4250373"/>
                  <a:gd name="connsiteY46" fmla="*/ 1550878 h 2963727"/>
                  <a:gd name="connsiteX47" fmla="*/ 3267642 w 4250373"/>
                  <a:gd name="connsiteY47" fmla="*/ 1583264 h 2963727"/>
                  <a:gd name="connsiteX48" fmla="*/ 3397182 w 4250373"/>
                  <a:gd name="connsiteY48" fmla="*/ 1583264 h 2963727"/>
                  <a:gd name="connsiteX49" fmla="*/ 3429568 w 4250373"/>
                  <a:gd name="connsiteY49" fmla="*/ 1550878 h 2963727"/>
                  <a:gd name="connsiteX50" fmla="*/ 3429568 w 4250373"/>
                  <a:gd name="connsiteY50" fmla="*/ 1398696 h 2963727"/>
                  <a:gd name="connsiteX51" fmla="*/ 3397182 w 4250373"/>
                  <a:gd name="connsiteY51" fmla="*/ 1366310 h 2963727"/>
                  <a:gd name="connsiteX52" fmla="*/ 3267642 w 4250373"/>
                  <a:gd name="connsiteY52" fmla="*/ 1366310 h 2963727"/>
                  <a:gd name="connsiteX53" fmla="*/ 2939029 w 4250373"/>
                  <a:gd name="connsiteY53" fmla="*/ 1366310 h 2963727"/>
                  <a:gd name="connsiteX54" fmla="*/ 2906643 w 4250373"/>
                  <a:gd name="connsiteY54" fmla="*/ 1398696 h 2963727"/>
                  <a:gd name="connsiteX55" fmla="*/ 2906643 w 4250373"/>
                  <a:gd name="connsiteY55" fmla="*/ 1550878 h 2963727"/>
                  <a:gd name="connsiteX56" fmla="*/ 2939029 w 4250373"/>
                  <a:gd name="connsiteY56" fmla="*/ 1583264 h 2963727"/>
                  <a:gd name="connsiteX57" fmla="*/ 3068569 w 4250373"/>
                  <a:gd name="connsiteY57" fmla="*/ 1583264 h 2963727"/>
                  <a:gd name="connsiteX58" fmla="*/ 3100955 w 4250373"/>
                  <a:gd name="connsiteY58" fmla="*/ 1550878 h 2963727"/>
                  <a:gd name="connsiteX59" fmla="*/ 3100955 w 4250373"/>
                  <a:gd name="connsiteY59" fmla="*/ 1398696 h 2963727"/>
                  <a:gd name="connsiteX60" fmla="*/ 3068569 w 4250373"/>
                  <a:gd name="connsiteY60" fmla="*/ 1366310 h 2963727"/>
                  <a:gd name="connsiteX61" fmla="*/ 2939029 w 4250373"/>
                  <a:gd name="connsiteY61" fmla="*/ 1366310 h 2963727"/>
                  <a:gd name="connsiteX62" fmla="*/ 3267642 w 4250373"/>
                  <a:gd name="connsiteY62" fmla="*/ 1055688 h 2963727"/>
                  <a:gd name="connsiteX63" fmla="*/ 3235256 w 4250373"/>
                  <a:gd name="connsiteY63" fmla="*/ 1088074 h 2963727"/>
                  <a:gd name="connsiteX64" fmla="*/ 3235256 w 4250373"/>
                  <a:gd name="connsiteY64" fmla="*/ 1240256 h 2963727"/>
                  <a:gd name="connsiteX65" fmla="*/ 3267642 w 4250373"/>
                  <a:gd name="connsiteY65" fmla="*/ 1272642 h 2963727"/>
                  <a:gd name="connsiteX66" fmla="*/ 3397182 w 4250373"/>
                  <a:gd name="connsiteY66" fmla="*/ 1272642 h 2963727"/>
                  <a:gd name="connsiteX67" fmla="*/ 3429568 w 4250373"/>
                  <a:gd name="connsiteY67" fmla="*/ 1240256 h 2963727"/>
                  <a:gd name="connsiteX68" fmla="*/ 3429568 w 4250373"/>
                  <a:gd name="connsiteY68" fmla="*/ 1088074 h 2963727"/>
                  <a:gd name="connsiteX69" fmla="*/ 3397182 w 4250373"/>
                  <a:gd name="connsiteY69" fmla="*/ 1055688 h 2963727"/>
                  <a:gd name="connsiteX70" fmla="*/ 3267642 w 4250373"/>
                  <a:gd name="connsiteY70" fmla="*/ 1055688 h 2963727"/>
                  <a:gd name="connsiteX71" fmla="*/ 2630648 w 4250373"/>
                  <a:gd name="connsiteY71" fmla="*/ 1055688 h 2963727"/>
                  <a:gd name="connsiteX72" fmla="*/ 2598262 w 4250373"/>
                  <a:gd name="connsiteY72" fmla="*/ 1088074 h 2963727"/>
                  <a:gd name="connsiteX73" fmla="*/ 2598262 w 4250373"/>
                  <a:gd name="connsiteY73" fmla="*/ 1240256 h 2963727"/>
                  <a:gd name="connsiteX74" fmla="*/ 2630648 w 4250373"/>
                  <a:gd name="connsiteY74" fmla="*/ 1272642 h 2963727"/>
                  <a:gd name="connsiteX75" fmla="*/ 2760188 w 4250373"/>
                  <a:gd name="connsiteY75" fmla="*/ 1272642 h 2963727"/>
                  <a:gd name="connsiteX76" fmla="*/ 2792574 w 4250373"/>
                  <a:gd name="connsiteY76" fmla="*/ 1240256 h 2963727"/>
                  <a:gd name="connsiteX77" fmla="*/ 2792574 w 4250373"/>
                  <a:gd name="connsiteY77" fmla="*/ 1088074 h 2963727"/>
                  <a:gd name="connsiteX78" fmla="*/ 2760188 w 4250373"/>
                  <a:gd name="connsiteY78" fmla="*/ 1055688 h 2963727"/>
                  <a:gd name="connsiteX79" fmla="*/ 2630648 w 4250373"/>
                  <a:gd name="connsiteY79" fmla="*/ 1055688 h 2963727"/>
                  <a:gd name="connsiteX80" fmla="*/ 2939029 w 4250373"/>
                  <a:gd name="connsiteY80" fmla="*/ 1055687 h 2963727"/>
                  <a:gd name="connsiteX81" fmla="*/ 2906643 w 4250373"/>
                  <a:gd name="connsiteY81" fmla="*/ 1088073 h 2963727"/>
                  <a:gd name="connsiteX82" fmla="*/ 2906643 w 4250373"/>
                  <a:gd name="connsiteY82" fmla="*/ 1240255 h 2963727"/>
                  <a:gd name="connsiteX83" fmla="*/ 2939029 w 4250373"/>
                  <a:gd name="connsiteY83" fmla="*/ 1272641 h 2963727"/>
                  <a:gd name="connsiteX84" fmla="*/ 3068569 w 4250373"/>
                  <a:gd name="connsiteY84" fmla="*/ 1272641 h 2963727"/>
                  <a:gd name="connsiteX85" fmla="*/ 3100955 w 4250373"/>
                  <a:gd name="connsiteY85" fmla="*/ 1240255 h 2963727"/>
                  <a:gd name="connsiteX86" fmla="*/ 3100955 w 4250373"/>
                  <a:gd name="connsiteY86" fmla="*/ 1088073 h 2963727"/>
                  <a:gd name="connsiteX87" fmla="*/ 3068569 w 4250373"/>
                  <a:gd name="connsiteY87" fmla="*/ 1055687 h 2963727"/>
                  <a:gd name="connsiteX88" fmla="*/ 2939029 w 4250373"/>
                  <a:gd name="connsiteY88" fmla="*/ 1055687 h 2963727"/>
                  <a:gd name="connsiteX89" fmla="*/ 858205 w 4250373"/>
                  <a:gd name="connsiteY89" fmla="*/ 1055687 h 2963727"/>
                  <a:gd name="connsiteX90" fmla="*/ 718502 w 4250373"/>
                  <a:gd name="connsiteY90" fmla="*/ 1195390 h 2963727"/>
                  <a:gd name="connsiteX91" fmla="*/ 718502 w 4250373"/>
                  <a:gd name="connsiteY91" fmla="*/ 1754184 h 2963727"/>
                  <a:gd name="connsiteX92" fmla="*/ 858205 w 4250373"/>
                  <a:gd name="connsiteY92" fmla="*/ 1893887 h 2963727"/>
                  <a:gd name="connsiteX93" fmla="*/ 2214720 w 4250373"/>
                  <a:gd name="connsiteY93" fmla="*/ 1893887 h 2963727"/>
                  <a:gd name="connsiteX94" fmla="*/ 2354423 w 4250373"/>
                  <a:gd name="connsiteY94" fmla="*/ 1754184 h 2963727"/>
                  <a:gd name="connsiteX95" fmla="*/ 2354423 w 4250373"/>
                  <a:gd name="connsiteY95" fmla="*/ 1195390 h 2963727"/>
                  <a:gd name="connsiteX96" fmla="*/ 2214720 w 4250373"/>
                  <a:gd name="connsiteY96" fmla="*/ 1055687 h 2963727"/>
                  <a:gd name="connsiteX97" fmla="*/ 858205 w 4250373"/>
                  <a:gd name="connsiteY97" fmla="*/ 1055687 h 2963727"/>
                  <a:gd name="connsiteX98" fmla="*/ 3252670 w 4250373"/>
                  <a:gd name="connsiteY98" fmla="*/ 112882 h 2963727"/>
                  <a:gd name="connsiteX99" fmla="*/ 2791662 w 4250373"/>
                  <a:gd name="connsiteY99" fmla="*/ 114017 h 2963727"/>
                  <a:gd name="connsiteX100" fmla="*/ 2777626 w 4250373"/>
                  <a:gd name="connsiteY100" fmla="*/ 163598 h 2963727"/>
                  <a:gd name="connsiteX101" fmla="*/ 2716779 w 4250373"/>
                  <a:gd name="connsiteY101" fmla="*/ 814569 h 2963727"/>
                  <a:gd name="connsiteX102" fmla="*/ 3199247 w 4250373"/>
                  <a:gd name="connsiteY102" fmla="*/ 820738 h 2963727"/>
                  <a:gd name="connsiteX103" fmla="*/ 3252670 w 4250373"/>
                  <a:gd name="connsiteY103" fmla="*/ 112882 h 2963727"/>
                  <a:gd name="connsiteX104" fmla="*/ 1131978 w 4250373"/>
                  <a:gd name="connsiteY104" fmla="*/ 636585 h 2963727"/>
                  <a:gd name="connsiteX105" fmla="*/ 1535838 w 4250373"/>
                  <a:gd name="connsiteY105" fmla="*/ 636585 h 2963727"/>
                  <a:gd name="connsiteX106" fmla="*/ 2583508 w 4250373"/>
                  <a:gd name="connsiteY106" fmla="*/ 636585 h 2963727"/>
                  <a:gd name="connsiteX107" fmla="*/ 2623911 w 4250373"/>
                  <a:gd name="connsiteY107" fmla="*/ 57150 h 2963727"/>
                  <a:gd name="connsiteX108" fmla="*/ 2671536 w 4250373"/>
                  <a:gd name="connsiteY108" fmla="*/ 7937 h 2963727"/>
                  <a:gd name="connsiteX109" fmla="*/ 3339873 w 4250373"/>
                  <a:gd name="connsiteY109" fmla="*/ -1 h 2963727"/>
                  <a:gd name="connsiteX110" fmla="*/ 3327420 w 4250373"/>
                  <a:gd name="connsiteY110" fmla="*/ 636585 h 2963727"/>
                  <a:gd name="connsiteX111" fmla="*/ 3504752 w 4250373"/>
                  <a:gd name="connsiteY111" fmla="*/ 636585 h 2963727"/>
                  <a:gd name="connsiteX112" fmla="*/ 3740691 w 4250373"/>
                  <a:gd name="connsiteY112" fmla="*/ 872524 h 2963727"/>
                  <a:gd name="connsiteX113" fmla="*/ 3740691 w 4250373"/>
                  <a:gd name="connsiteY113" fmla="*/ 1936637 h 2963727"/>
                  <a:gd name="connsiteX114" fmla="*/ 4250373 w 4250373"/>
                  <a:gd name="connsiteY114" fmla="*/ 2444431 h 2963727"/>
                  <a:gd name="connsiteX115" fmla="*/ 4245831 w 4250373"/>
                  <a:gd name="connsiteY115" fmla="*/ 2444433 h 2963727"/>
                  <a:gd name="connsiteX116" fmla="*/ 4245831 w 4250373"/>
                  <a:gd name="connsiteY116" fmla="*/ 2864464 h 2963727"/>
                  <a:gd name="connsiteX117" fmla="*/ 4146568 w 4250373"/>
                  <a:gd name="connsiteY117" fmla="*/ 2963727 h 2963727"/>
                  <a:gd name="connsiteX118" fmla="*/ 102439 w 4250373"/>
                  <a:gd name="connsiteY118" fmla="*/ 2963727 h 2963727"/>
                  <a:gd name="connsiteX119" fmla="*/ 3176 w 4250373"/>
                  <a:gd name="connsiteY119" fmla="*/ 2864464 h 2963727"/>
                  <a:gd name="connsiteX120" fmla="*/ 3176 w 4250373"/>
                  <a:gd name="connsiteY120" fmla="*/ 2445700 h 2963727"/>
                  <a:gd name="connsiteX121" fmla="*/ 0 w 4250373"/>
                  <a:gd name="connsiteY121" fmla="*/ 2445701 h 2963727"/>
                  <a:gd name="connsiteX122" fmla="*/ 3176 w 4250373"/>
                  <a:gd name="connsiteY122" fmla="*/ 2442561 h 2963727"/>
                  <a:gd name="connsiteX123" fmla="*/ 3176 w 4250373"/>
                  <a:gd name="connsiteY123" fmla="*/ 2442526 h 2963727"/>
                  <a:gd name="connsiteX124" fmla="*/ 3211 w 4250373"/>
                  <a:gd name="connsiteY124" fmla="*/ 2442526 h 2963727"/>
                  <a:gd name="connsiteX125" fmla="*/ 511811 w 4250373"/>
                  <a:gd name="connsiteY125" fmla="*/ 1939606 h 2963727"/>
                  <a:gd name="connsiteX126" fmla="*/ 512859 w 4250373"/>
                  <a:gd name="connsiteY126" fmla="*/ 1939604 h 2963727"/>
                  <a:gd name="connsiteX127" fmla="*/ 512859 w 4250373"/>
                  <a:gd name="connsiteY127" fmla="*/ 872524 h 2963727"/>
                  <a:gd name="connsiteX128" fmla="*/ 748798 w 4250373"/>
                  <a:gd name="connsiteY128" fmla="*/ 636585 h 2963727"/>
                  <a:gd name="connsiteX129" fmla="*/ 1131978 w 4250373"/>
                  <a:gd name="connsiteY129" fmla="*/ 636585 h 296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250373" h="2963727">
                    <a:moveTo>
                      <a:pt x="1629417" y="2593975"/>
                    </a:moveTo>
                    <a:cubicBezTo>
                      <a:pt x="1601799" y="2593975"/>
                      <a:pt x="1579412" y="2616363"/>
                      <a:pt x="1579411" y="2643981"/>
                    </a:cubicBezTo>
                    <a:cubicBezTo>
                      <a:pt x="1579412" y="2671599"/>
                      <a:pt x="1601799" y="2693986"/>
                      <a:pt x="1629417" y="2693986"/>
                    </a:cubicBezTo>
                    <a:lnTo>
                      <a:pt x="2622323" y="2693987"/>
                    </a:lnTo>
                    <a:cubicBezTo>
                      <a:pt x="2649941" y="2693987"/>
                      <a:pt x="2672329" y="2671599"/>
                      <a:pt x="2672329" y="2643981"/>
                    </a:cubicBezTo>
                    <a:lnTo>
                      <a:pt x="2672330" y="2643981"/>
                    </a:lnTo>
                    <a:cubicBezTo>
                      <a:pt x="2672330" y="2616363"/>
                      <a:pt x="2649942" y="2593975"/>
                      <a:pt x="2622324" y="2593975"/>
                    </a:cubicBezTo>
                    <a:lnTo>
                      <a:pt x="1629417" y="2593975"/>
                    </a:lnTo>
                    <a:close/>
                    <a:moveTo>
                      <a:pt x="3267642" y="1676933"/>
                    </a:moveTo>
                    <a:cubicBezTo>
                      <a:pt x="3249756" y="1676933"/>
                      <a:pt x="3235256" y="1691433"/>
                      <a:pt x="3235256" y="1709319"/>
                    </a:cubicBezTo>
                    <a:lnTo>
                      <a:pt x="3235256" y="1861501"/>
                    </a:lnTo>
                    <a:cubicBezTo>
                      <a:pt x="3235256" y="1879387"/>
                      <a:pt x="3249756" y="1893887"/>
                      <a:pt x="3267642" y="1893887"/>
                    </a:cubicBezTo>
                    <a:lnTo>
                      <a:pt x="3397182" y="1893887"/>
                    </a:lnTo>
                    <a:cubicBezTo>
                      <a:pt x="3415068" y="1893887"/>
                      <a:pt x="3429568" y="1879387"/>
                      <a:pt x="3429568" y="1861501"/>
                    </a:cubicBezTo>
                    <a:lnTo>
                      <a:pt x="3429568" y="1709319"/>
                    </a:lnTo>
                    <a:cubicBezTo>
                      <a:pt x="3429568" y="1691433"/>
                      <a:pt x="3415068" y="1676933"/>
                      <a:pt x="3397182" y="1676933"/>
                    </a:cubicBezTo>
                    <a:lnTo>
                      <a:pt x="3267642" y="1676933"/>
                    </a:lnTo>
                    <a:close/>
                    <a:moveTo>
                      <a:pt x="2939029" y="1676933"/>
                    </a:moveTo>
                    <a:cubicBezTo>
                      <a:pt x="2921143" y="1676933"/>
                      <a:pt x="2906643" y="1691433"/>
                      <a:pt x="2906643" y="1709319"/>
                    </a:cubicBezTo>
                    <a:lnTo>
                      <a:pt x="2906643" y="1861501"/>
                    </a:lnTo>
                    <a:cubicBezTo>
                      <a:pt x="2906643" y="1879387"/>
                      <a:pt x="2921143" y="1893887"/>
                      <a:pt x="2939029" y="1893887"/>
                    </a:cubicBezTo>
                    <a:lnTo>
                      <a:pt x="3068569" y="1893887"/>
                    </a:lnTo>
                    <a:cubicBezTo>
                      <a:pt x="3086455" y="1893887"/>
                      <a:pt x="3100955" y="1879387"/>
                      <a:pt x="3100955" y="1861501"/>
                    </a:cubicBezTo>
                    <a:lnTo>
                      <a:pt x="3100955" y="1709319"/>
                    </a:lnTo>
                    <a:cubicBezTo>
                      <a:pt x="3100955" y="1691433"/>
                      <a:pt x="3086455" y="1676933"/>
                      <a:pt x="3068569" y="1676933"/>
                    </a:cubicBezTo>
                    <a:lnTo>
                      <a:pt x="2939029" y="1676933"/>
                    </a:lnTo>
                    <a:close/>
                    <a:moveTo>
                      <a:pt x="2615179" y="1676933"/>
                    </a:moveTo>
                    <a:cubicBezTo>
                      <a:pt x="2597293" y="1676933"/>
                      <a:pt x="2582793" y="1691433"/>
                      <a:pt x="2582793" y="1709319"/>
                    </a:cubicBezTo>
                    <a:lnTo>
                      <a:pt x="2582793" y="1861501"/>
                    </a:lnTo>
                    <a:cubicBezTo>
                      <a:pt x="2582793" y="1879387"/>
                      <a:pt x="2597293" y="1893887"/>
                      <a:pt x="2615179" y="1893887"/>
                    </a:cubicBezTo>
                    <a:lnTo>
                      <a:pt x="2744719" y="1893887"/>
                    </a:lnTo>
                    <a:cubicBezTo>
                      <a:pt x="2762605" y="1893887"/>
                      <a:pt x="2777105" y="1879387"/>
                      <a:pt x="2777105" y="1861501"/>
                    </a:cubicBezTo>
                    <a:lnTo>
                      <a:pt x="2777105" y="1709319"/>
                    </a:lnTo>
                    <a:cubicBezTo>
                      <a:pt x="2777105" y="1691433"/>
                      <a:pt x="2762605" y="1676933"/>
                      <a:pt x="2744719" y="1676933"/>
                    </a:cubicBezTo>
                    <a:lnTo>
                      <a:pt x="2615179" y="1676933"/>
                    </a:lnTo>
                    <a:close/>
                    <a:moveTo>
                      <a:pt x="2615179" y="1366311"/>
                    </a:moveTo>
                    <a:cubicBezTo>
                      <a:pt x="2597293" y="1366311"/>
                      <a:pt x="2582793" y="1380811"/>
                      <a:pt x="2582793" y="1398697"/>
                    </a:cubicBezTo>
                    <a:lnTo>
                      <a:pt x="2582793" y="1550879"/>
                    </a:lnTo>
                    <a:cubicBezTo>
                      <a:pt x="2582793" y="1568765"/>
                      <a:pt x="2597293" y="1583265"/>
                      <a:pt x="2615179" y="1583265"/>
                    </a:cubicBezTo>
                    <a:lnTo>
                      <a:pt x="2744719" y="1583265"/>
                    </a:lnTo>
                    <a:cubicBezTo>
                      <a:pt x="2762605" y="1583265"/>
                      <a:pt x="2777105" y="1568765"/>
                      <a:pt x="2777105" y="1550879"/>
                    </a:cubicBezTo>
                    <a:lnTo>
                      <a:pt x="2777105" y="1398697"/>
                    </a:lnTo>
                    <a:cubicBezTo>
                      <a:pt x="2777105" y="1380811"/>
                      <a:pt x="2762605" y="1366311"/>
                      <a:pt x="2744719" y="1366311"/>
                    </a:cubicBezTo>
                    <a:lnTo>
                      <a:pt x="2615179" y="1366311"/>
                    </a:lnTo>
                    <a:close/>
                    <a:moveTo>
                      <a:pt x="3267642" y="1366310"/>
                    </a:moveTo>
                    <a:cubicBezTo>
                      <a:pt x="3249756" y="1366310"/>
                      <a:pt x="3235256" y="1380810"/>
                      <a:pt x="3235256" y="1398696"/>
                    </a:cubicBezTo>
                    <a:lnTo>
                      <a:pt x="3235256" y="1550878"/>
                    </a:lnTo>
                    <a:cubicBezTo>
                      <a:pt x="3235256" y="1568764"/>
                      <a:pt x="3249756" y="1583264"/>
                      <a:pt x="3267642" y="1583264"/>
                    </a:cubicBezTo>
                    <a:lnTo>
                      <a:pt x="3397182" y="1583264"/>
                    </a:lnTo>
                    <a:cubicBezTo>
                      <a:pt x="3415068" y="1583264"/>
                      <a:pt x="3429568" y="1568764"/>
                      <a:pt x="3429568" y="1550878"/>
                    </a:cubicBezTo>
                    <a:lnTo>
                      <a:pt x="3429568" y="1398696"/>
                    </a:lnTo>
                    <a:cubicBezTo>
                      <a:pt x="3429568" y="1380810"/>
                      <a:pt x="3415068" y="1366310"/>
                      <a:pt x="3397182" y="1366310"/>
                    </a:cubicBezTo>
                    <a:lnTo>
                      <a:pt x="3267642" y="1366310"/>
                    </a:lnTo>
                    <a:close/>
                    <a:moveTo>
                      <a:pt x="2939029" y="1366310"/>
                    </a:moveTo>
                    <a:cubicBezTo>
                      <a:pt x="2921143" y="1366310"/>
                      <a:pt x="2906643" y="1380810"/>
                      <a:pt x="2906643" y="1398696"/>
                    </a:cubicBezTo>
                    <a:lnTo>
                      <a:pt x="2906643" y="1550878"/>
                    </a:lnTo>
                    <a:cubicBezTo>
                      <a:pt x="2906643" y="1568764"/>
                      <a:pt x="2921143" y="1583264"/>
                      <a:pt x="2939029" y="1583264"/>
                    </a:cubicBezTo>
                    <a:lnTo>
                      <a:pt x="3068569" y="1583264"/>
                    </a:lnTo>
                    <a:cubicBezTo>
                      <a:pt x="3086455" y="1583264"/>
                      <a:pt x="3100955" y="1568764"/>
                      <a:pt x="3100955" y="1550878"/>
                    </a:cubicBezTo>
                    <a:lnTo>
                      <a:pt x="3100955" y="1398696"/>
                    </a:lnTo>
                    <a:cubicBezTo>
                      <a:pt x="3100955" y="1380810"/>
                      <a:pt x="3086455" y="1366310"/>
                      <a:pt x="3068569" y="1366310"/>
                    </a:cubicBezTo>
                    <a:lnTo>
                      <a:pt x="2939029" y="1366310"/>
                    </a:lnTo>
                    <a:close/>
                    <a:moveTo>
                      <a:pt x="3267642" y="1055688"/>
                    </a:moveTo>
                    <a:cubicBezTo>
                      <a:pt x="3249756" y="1055688"/>
                      <a:pt x="3235256" y="1070188"/>
                      <a:pt x="3235256" y="1088074"/>
                    </a:cubicBezTo>
                    <a:lnTo>
                      <a:pt x="3235256" y="1240256"/>
                    </a:lnTo>
                    <a:cubicBezTo>
                      <a:pt x="3235256" y="1258142"/>
                      <a:pt x="3249756" y="1272642"/>
                      <a:pt x="3267642" y="1272642"/>
                    </a:cubicBezTo>
                    <a:lnTo>
                      <a:pt x="3397182" y="1272642"/>
                    </a:lnTo>
                    <a:cubicBezTo>
                      <a:pt x="3415068" y="1272642"/>
                      <a:pt x="3429568" y="1258142"/>
                      <a:pt x="3429568" y="1240256"/>
                    </a:cubicBezTo>
                    <a:lnTo>
                      <a:pt x="3429568" y="1088074"/>
                    </a:lnTo>
                    <a:cubicBezTo>
                      <a:pt x="3429568" y="1070188"/>
                      <a:pt x="3415068" y="1055688"/>
                      <a:pt x="3397182" y="1055688"/>
                    </a:cubicBezTo>
                    <a:lnTo>
                      <a:pt x="3267642" y="1055688"/>
                    </a:lnTo>
                    <a:close/>
                    <a:moveTo>
                      <a:pt x="2630648" y="1055688"/>
                    </a:moveTo>
                    <a:cubicBezTo>
                      <a:pt x="2612762" y="1055688"/>
                      <a:pt x="2598262" y="1070188"/>
                      <a:pt x="2598262" y="1088074"/>
                    </a:cubicBezTo>
                    <a:lnTo>
                      <a:pt x="2598262" y="1240256"/>
                    </a:lnTo>
                    <a:cubicBezTo>
                      <a:pt x="2598262" y="1258142"/>
                      <a:pt x="2612762" y="1272642"/>
                      <a:pt x="2630648" y="1272642"/>
                    </a:cubicBezTo>
                    <a:lnTo>
                      <a:pt x="2760188" y="1272642"/>
                    </a:lnTo>
                    <a:cubicBezTo>
                      <a:pt x="2778074" y="1272642"/>
                      <a:pt x="2792574" y="1258142"/>
                      <a:pt x="2792574" y="1240256"/>
                    </a:cubicBezTo>
                    <a:lnTo>
                      <a:pt x="2792574" y="1088074"/>
                    </a:lnTo>
                    <a:cubicBezTo>
                      <a:pt x="2792574" y="1070188"/>
                      <a:pt x="2778074" y="1055688"/>
                      <a:pt x="2760188" y="1055688"/>
                    </a:cubicBezTo>
                    <a:lnTo>
                      <a:pt x="2630648" y="1055688"/>
                    </a:lnTo>
                    <a:close/>
                    <a:moveTo>
                      <a:pt x="2939029" y="1055687"/>
                    </a:moveTo>
                    <a:cubicBezTo>
                      <a:pt x="2921143" y="1055687"/>
                      <a:pt x="2906643" y="1070187"/>
                      <a:pt x="2906643" y="1088073"/>
                    </a:cubicBezTo>
                    <a:lnTo>
                      <a:pt x="2906643" y="1240255"/>
                    </a:lnTo>
                    <a:cubicBezTo>
                      <a:pt x="2906643" y="1258141"/>
                      <a:pt x="2921143" y="1272641"/>
                      <a:pt x="2939029" y="1272641"/>
                    </a:cubicBezTo>
                    <a:lnTo>
                      <a:pt x="3068569" y="1272641"/>
                    </a:lnTo>
                    <a:cubicBezTo>
                      <a:pt x="3086455" y="1272641"/>
                      <a:pt x="3100955" y="1258141"/>
                      <a:pt x="3100955" y="1240255"/>
                    </a:cubicBezTo>
                    <a:lnTo>
                      <a:pt x="3100955" y="1088073"/>
                    </a:lnTo>
                    <a:cubicBezTo>
                      <a:pt x="3100955" y="1070187"/>
                      <a:pt x="3086455" y="1055687"/>
                      <a:pt x="3068569" y="1055687"/>
                    </a:cubicBezTo>
                    <a:lnTo>
                      <a:pt x="2939029" y="1055687"/>
                    </a:lnTo>
                    <a:close/>
                    <a:moveTo>
                      <a:pt x="858205" y="1055687"/>
                    </a:moveTo>
                    <a:cubicBezTo>
                      <a:pt x="781049" y="1055687"/>
                      <a:pt x="718502" y="1118234"/>
                      <a:pt x="718502" y="1195390"/>
                    </a:cubicBezTo>
                    <a:lnTo>
                      <a:pt x="718502" y="1754184"/>
                    </a:lnTo>
                    <a:cubicBezTo>
                      <a:pt x="718502" y="1831340"/>
                      <a:pt x="781049" y="1893887"/>
                      <a:pt x="858205" y="1893887"/>
                    </a:cubicBezTo>
                    <a:lnTo>
                      <a:pt x="2214720" y="1893887"/>
                    </a:lnTo>
                    <a:cubicBezTo>
                      <a:pt x="2291876" y="1893887"/>
                      <a:pt x="2354423" y="1831340"/>
                      <a:pt x="2354423" y="1754184"/>
                    </a:cubicBezTo>
                    <a:lnTo>
                      <a:pt x="2354423" y="1195390"/>
                    </a:lnTo>
                    <a:cubicBezTo>
                      <a:pt x="2354423" y="1118234"/>
                      <a:pt x="2291876" y="1055687"/>
                      <a:pt x="2214720" y="1055687"/>
                    </a:cubicBezTo>
                    <a:lnTo>
                      <a:pt x="858205" y="1055687"/>
                    </a:lnTo>
                    <a:close/>
                    <a:moveTo>
                      <a:pt x="3252670" y="112882"/>
                    </a:moveTo>
                    <a:lnTo>
                      <a:pt x="2791662" y="114017"/>
                    </a:lnTo>
                    <a:cubicBezTo>
                      <a:pt x="2776208" y="121253"/>
                      <a:pt x="2767714" y="129010"/>
                      <a:pt x="2777626" y="163598"/>
                    </a:cubicBezTo>
                    <a:cubicBezTo>
                      <a:pt x="2832794" y="375912"/>
                      <a:pt x="2631505" y="641828"/>
                      <a:pt x="2716779" y="814569"/>
                    </a:cubicBezTo>
                    <a:lnTo>
                      <a:pt x="3199247" y="820738"/>
                    </a:lnTo>
                    <a:cubicBezTo>
                      <a:pt x="3176593" y="506288"/>
                      <a:pt x="3363213" y="293963"/>
                      <a:pt x="3252670" y="112882"/>
                    </a:cubicBezTo>
                    <a:close/>
                    <a:moveTo>
                      <a:pt x="1131978" y="636585"/>
                    </a:moveTo>
                    <a:lnTo>
                      <a:pt x="1535838" y="636585"/>
                    </a:lnTo>
                    <a:lnTo>
                      <a:pt x="2583508" y="636585"/>
                    </a:lnTo>
                    <a:cubicBezTo>
                      <a:pt x="2644625" y="401611"/>
                      <a:pt x="2711359" y="281299"/>
                      <a:pt x="2623911" y="57150"/>
                    </a:cubicBezTo>
                    <a:cubicBezTo>
                      <a:pt x="2627086" y="28045"/>
                      <a:pt x="2646929" y="15610"/>
                      <a:pt x="2671536" y="7937"/>
                    </a:cubicBezTo>
                    <a:lnTo>
                      <a:pt x="3339873" y="-1"/>
                    </a:lnTo>
                    <a:cubicBezTo>
                      <a:pt x="3409342" y="164198"/>
                      <a:pt x="3445837" y="254597"/>
                      <a:pt x="3327420" y="636585"/>
                    </a:cubicBezTo>
                    <a:lnTo>
                      <a:pt x="3504752" y="636585"/>
                    </a:lnTo>
                    <a:cubicBezTo>
                      <a:pt x="3635058" y="636585"/>
                      <a:pt x="3740691" y="742218"/>
                      <a:pt x="3740691" y="872524"/>
                    </a:cubicBezTo>
                    <a:lnTo>
                      <a:pt x="3740691" y="1936637"/>
                    </a:lnTo>
                    <a:lnTo>
                      <a:pt x="4250373" y="2444431"/>
                    </a:lnTo>
                    <a:lnTo>
                      <a:pt x="4245831" y="2444433"/>
                    </a:lnTo>
                    <a:lnTo>
                      <a:pt x="4245831" y="2864464"/>
                    </a:lnTo>
                    <a:cubicBezTo>
                      <a:pt x="4245831" y="2919285"/>
                      <a:pt x="4201389" y="2963727"/>
                      <a:pt x="4146568" y="2963727"/>
                    </a:cubicBezTo>
                    <a:lnTo>
                      <a:pt x="102439" y="2963727"/>
                    </a:lnTo>
                    <a:cubicBezTo>
                      <a:pt x="47618" y="2963727"/>
                      <a:pt x="3176" y="2919285"/>
                      <a:pt x="3176" y="2864464"/>
                    </a:cubicBezTo>
                    <a:lnTo>
                      <a:pt x="3176" y="2445700"/>
                    </a:lnTo>
                    <a:lnTo>
                      <a:pt x="0" y="2445701"/>
                    </a:lnTo>
                    <a:lnTo>
                      <a:pt x="3176" y="2442561"/>
                    </a:lnTo>
                    <a:lnTo>
                      <a:pt x="3176" y="2442526"/>
                    </a:lnTo>
                    <a:lnTo>
                      <a:pt x="3211" y="2442526"/>
                    </a:lnTo>
                    <a:lnTo>
                      <a:pt x="511811" y="1939606"/>
                    </a:lnTo>
                    <a:lnTo>
                      <a:pt x="512859" y="1939604"/>
                    </a:lnTo>
                    <a:lnTo>
                      <a:pt x="512859" y="872524"/>
                    </a:lnTo>
                    <a:cubicBezTo>
                      <a:pt x="512859" y="742218"/>
                      <a:pt x="618492" y="636585"/>
                      <a:pt x="748798" y="636585"/>
                    </a:cubicBezTo>
                    <a:lnTo>
                      <a:pt x="1131978" y="636585"/>
                    </a:lnTo>
                    <a:close/>
                  </a:path>
                </a:pathLst>
              </a:custGeom>
              <a:solidFill>
                <a:srgbClr val="7F7F7F"/>
              </a:solidFill>
              <a:ln>
                <a:noFill/>
              </a:ln>
              <a:ex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defTabSz="913967">
                  <a:defRPr/>
                </a:pPr>
                <a:endParaRPr lang="en-US" sz="1899" kern="0">
                  <a:solidFill>
                    <a:srgbClr val="000000"/>
                  </a:solidFill>
                </a:endParaRPr>
              </a:p>
            </p:txBody>
          </p:sp>
          <p:grpSp>
            <p:nvGrpSpPr>
              <p:cNvPr id="109" name="Group 108"/>
              <p:cNvGrpSpPr/>
              <p:nvPr/>
            </p:nvGrpSpPr>
            <p:grpSpPr>
              <a:xfrm>
                <a:off x="1486491" y="2275103"/>
                <a:ext cx="378357" cy="537282"/>
                <a:chOff x="10126590" y="4213025"/>
                <a:chExt cx="484346" cy="601910"/>
              </a:xfrm>
              <a:solidFill>
                <a:srgbClr val="7F7F7F"/>
              </a:solidFill>
            </p:grpSpPr>
            <p:grpSp>
              <p:nvGrpSpPr>
                <p:cNvPr id="153" name="Group 152"/>
                <p:cNvGrpSpPr>
                  <a:grpSpLocks noChangeAspect="1"/>
                </p:cNvGrpSpPr>
                <p:nvPr/>
              </p:nvGrpSpPr>
              <p:grpSpPr>
                <a:xfrm>
                  <a:off x="10126590" y="4284481"/>
                  <a:ext cx="484346" cy="530454"/>
                  <a:chOff x="223285" y="2346312"/>
                  <a:chExt cx="448468" cy="530454"/>
                </a:xfrm>
                <a:grpFill/>
              </p:grpSpPr>
              <p:sp>
                <p:nvSpPr>
                  <p:cNvPr id="169" name="Freeform 11"/>
                  <p:cNvSpPr>
                    <a:spLocks/>
                  </p:cNvSpPr>
                  <p:nvPr/>
                </p:nvSpPr>
                <p:spPr bwMode="auto">
                  <a:xfrm>
                    <a:off x="223285" y="2437817"/>
                    <a:ext cx="314654" cy="438949"/>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grpFill/>
                  <a:ln>
                    <a:noFill/>
                  </a:ln>
                  <a:extLst/>
                </p:spPr>
                <p:txBody>
                  <a:bodyPr vert="horz" wrap="square" lIns="91392" tIns="45696" rIns="91392" bIns="45696" numCol="1" anchor="t" anchorCtr="0" compatLnSpc="1">
                    <a:prstTxWarp prst="textNoShape">
                      <a:avLst/>
                    </a:prstTxWarp>
                  </a:bodyPr>
                  <a:lstStyle/>
                  <a:p>
                    <a:pPr defTabSz="913852">
                      <a:defRPr/>
                    </a:pPr>
                    <a:endParaRPr lang="en-US" sz="1798" kern="0">
                      <a:solidFill>
                        <a:srgbClr val="000000"/>
                      </a:solidFill>
                    </a:endParaRPr>
                  </a:p>
                </p:txBody>
              </p:sp>
              <p:sp>
                <p:nvSpPr>
                  <p:cNvPr id="170" name="Freeform 12"/>
                  <p:cNvSpPr>
                    <a:spLocks/>
                  </p:cNvSpPr>
                  <p:nvPr/>
                </p:nvSpPr>
                <p:spPr bwMode="auto">
                  <a:xfrm>
                    <a:off x="370360" y="2346312"/>
                    <a:ext cx="96446" cy="107417"/>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grpFill/>
                  <a:ln>
                    <a:noFill/>
                  </a:ln>
                  <a:extLst/>
                </p:spPr>
                <p:txBody>
                  <a:bodyPr vert="horz" wrap="square" lIns="91392" tIns="45696" rIns="91392" bIns="45696" numCol="1" anchor="t" anchorCtr="0" compatLnSpc="1">
                    <a:prstTxWarp prst="textNoShape">
                      <a:avLst/>
                    </a:prstTxWarp>
                  </a:bodyPr>
                  <a:lstStyle/>
                  <a:p>
                    <a:pPr defTabSz="913852">
                      <a:defRPr/>
                    </a:pPr>
                    <a:endParaRPr lang="en-US" sz="1798" kern="0">
                      <a:solidFill>
                        <a:srgbClr val="000000"/>
                      </a:solidFill>
                    </a:endParaRPr>
                  </a:p>
                </p:txBody>
              </p:sp>
              <p:sp>
                <p:nvSpPr>
                  <p:cNvPr id="171" name="Freeform 13"/>
                  <p:cNvSpPr>
                    <a:spLocks/>
                  </p:cNvSpPr>
                  <p:nvPr/>
                </p:nvSpPr>
                <p:spPr bwMode="auto">
                  <a:xfrm>
                    <a:off x="481273" y="2616843"/>
                    <a:ext cx="85596" cy="25197"/>
                  </a:xfrm>
                  <a:custGeom>
                    <a:avLst/>
                    <a:gdLst>
                      <a:gd name="T0" fmla="*/ 124 w 142"/>
                      <a:gd name="T1" fmla="*/ 0 h 38"/>
                      <a:gd name="T2" fmla="*/ 18 w 142"/>
                      <a:gd name="T3" fmla="*/ 0 h 38"/>
                      <a:gd name="T4" fmla="*/ 18 w 142"/>
                      <a:gd name="T5" fmla="*/ 0 h 38"/>
                      <a:gd name="T6" fmla="*/ 10 w 142"/>
                      <a:gd name="T7" fmla="*/ 2 h 38"/>
                      <a:gd name="T8" fmla="*/ 4 w 142"/>
                      <a:gd name="T9" fmla="*/ 6 h 38"/>
                      <a:gd name="T10" fmla="*/ 0 w 142"/>
                      <a:gd name="T11" fmla="*/ 12 h 38"/>
                      <a:gd name="T12" fmla="*/ 0 w 142"/>
                      <a:gd name="T13" fmla="*/ 20 h 38"/>
                      <a:gd name="T14" fmla="*/ 0 w 142"/>
                      <a:gd name="T15" fmla="*/ 20 h 38"/>
                      <a:gd name="T16" fmla="*/ 0 w 142"/>
                      <a:gd name="T17" fmla="*/ 26 h 38"/>
                      <a:gd name="T18" fmla="*/ 4 w 142"/>
                      <a:gd name="T19" fmla="*/ 32 h 38"/>
                      <a:gd name="T20" fmla="*/ 10 w 142"/>
                      <a:gd name="T21" fmla="*/ 36 h 38"/>
                      <a:gd name="T22" fmla="*/ 18 w 142"/>
                      <a:gd name="T23" fmla="*/ 38 h 38"/>
                      <a:gd name="T24" fmla="*/ 124 w 142"/>
                      <a:gd name="T25" fmla="*/ 38 h 38"/>
                      <a:gd name="T26" fmla="*/ 124 w 142"/>
                      <a:gd name="T27" fmla="*/ 38 h 38"/>
                      <a:gd name="T28" fmla="*/ 132 w 142"/>
                      <a:gd name="T29" fmla="*/ 36 h 38"/>
                      <a:gd name="T30" fmla="*/ 138 w 142"/>
                      <a:gd name="T31" fmla="*/ 32 h 38"/>
                      <a:gd name="T32" fmla="*/ 142 w 142"/>
                      <a:gd name="T33" fmla="*/ 26 h 38"/>
                      <a:gd name="T34" fmla="*/ 142 w 142"/>
                      <a:gd name="T35" fmla="*/ 20 h 38"/>
                      <a:gd name="T36" fmla="*/ 142 w 142"/>
                      <a:gd name="T37" fmla="*/ 20 h 38"/>
                      <a:gd name="T38" fmla="*/ 142 w 142"/>
                      <a:gd name="T39" fmla="*/ 12 h 38"/>
                      <a:gd name="T40" fmla="*/ 138 w 142"/>
                      <a:gd name="T41" fmla="*/ 6 h 38"/>
                      <a:gd name="T42" fmla="*/ 132 w 142"/>
                      <a:gd name="T43" fmla="*/ 2 h 38"/>
                      <a:gd name="T44" fmla="*/ 124 w 142"/>
                      <a:gd name="T45" fmla="*/ 0 h 38"/>
                      <a:gd name="T46" fmla="*/ 124 w 14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38">
                        <a:moveTo>
                          <a:pt x="124" y="0"/>
                        </a:moveTo>
                        <a:lnTo>
                          <a:pt x="18" y="0"/>
                        </a:lnTo>
                        <a:lnTo>
                          <a:pt x="18" y="0"/>
                        </a:lnTo>
                        <a:lnTo>
                          <a:pt x="10" y="2"/>
                        </a:lnTo>
                        <a:lnTo>
                          <a:pt x="4" y="6"/>
                        </a:lnTo>
                        <a:lnTo>
                          <a:pt x="0" y="12"/>
                        </a:lnTo>
                        <a:lnTo>
                          <a:pt x="0" y="20"/>
                        </a:lnTo>
                        <a:lnTo>
                          <a:pt x="0" y="20"/>
                        </a:lnTo>
                        <a:lnTo>
                          <a:pt x="0" y="26"/>
                        </a:lnTo>
                        <a:lnTo>
                          <a:pt x="4" y="32"/>
                        </a:lnTo>
                        <a:lnTo>
                          <a:pt x="10" y="36"/>
                        </a:lnTo>
                        <a:lnTo>
                          <a:pt x="18" y="38"/>
                        </a:lnTo>
                        <a:lnTo>
                          <a:pt x="124" y="38"/>
                        </a:lnTo>
                        <a:lnTo>
                          <a:pt x="124" y="38"/>
                        </a:lnTo>
                        <a:lnTo>
                          <a:pt x="132" y="36"/>
                        </a:lnTo>
                        <a:lnTo>
                          <a:pt x="138" y="32"/>
                        </a:lnTo>
                        <a:lnTo>
                          <a:pt x="142" y="26"/>
                        </a:lnTo>
                        <a:lnTo>
                          <a:pt x="142" y="20"/>
                        </a:lnTo>
                        <a:lnTo>
                          <a:pt x="142" y="20"/>
                        </a:lnTo>
                        <a:lnTo>
                          <a:pt x="142" y="12"/>
                        </a:lnTo>
                        <a:lnTo>
                          <a:pt x="138" y="6"/>
                        </a:lnTo>
                        <a:lnTo>
                          <a:pt x="132" y="2"/>
                        </a:lnTo>
                        <a:lnTo>
                          <a:pt x="124" y="0"/>
                        </a:lnTo>
                        <a:lnTo>
                          <a:pt x="124" y="0"/>
                        </a:lnTo>
                        <a:close/>
                      </a:path>
                    </a:pathLst>
                  </a:custGeom>
                  <a:grpFill/>
                  <a:ln>
                    <a:noFill/>
                  </a:ln>
                  <a:extLst/>
                </p:spPr>
                <p:txBody>
                  <a:bodyPr vert="horz" wrap="square" lIns="91392" tIns="45696" rIns="91392" bIns="45696" numCol="1" anchor="t" anchorCtr="0" compatLnSpc="1">
                    <a:prstTxWarp prst="textNoShape">
                      <a:avLst/>
                    </a:prstTxWarp>
                  </a:bodyPr>
                  <a:lstStyle/>
                  <a:p>
                    <a:pPr defTabSz="913852">
                      <a:defRPr/>
                    </a:pPr>
                    <a:endParaRPr lang="en-US" sz="1798" kern="0">
                      <a:solidFill>
                        <a:srgbClr val="000000"/>
                      </a:solidFill>
                    </a:endParaRPr>
                  </a:p>
                </p:txBody>
              </p:sp>
              <p:sp>
                <p:nvSpPr>
                  <p:cNvPr id="172" name="Freeform 14"/>
                  <p:cNvSpPr>
                    <a:spLocks/>
                  </p:cNvSpPr>
                  <p:nvPr/>
                </p:nvSpPr>
                <p:spPr bwMode="auto">
                  <a:xfrm>
                    <a:off x="568074" y="2392727"/>
                    <a:ext cx="103679" cy="249313"/>
                  </a:xfrm>
                  <a:custGeom>
                    <a:avLst/>
                    <a:gdLst>
                      <a:gd name="T0" fmla="*/ 96 w 172"/>
                      <a:gd name="T1" fmla="*/ 224 h 376"/>
                      <a:gd name="T2" fmla="*/ 96 w 172"/>
                      <a:gd name="T3" fmla="*/ 224 h 376"/>
                      <a:gd name="T4" fmla="*/ 94 w 172"/>
                      <a:gd name="T5" fmla="*/ 220 h 376"/>
                      <a:gd name="T6" fmla="*/ 88 w 172"/>
                      <a:gd name="T7" fmla="*/ 218 h 376"/>
                      <a:gd name="T8" fmla="*/ 172 w 172"/>
                      <a:gd name="T9" fmla="*/ 22 h 376"/>
                      <a:gd name="T10" fmla="*/ 122 w 172"/>
                      <a:gd name="T11" fmla="*/ 0 h 376"/>
                      <a:gd name="T12" fmla="*/ 0 w 172"/>
                      <a:gd name="T13" fmla="*/ 282 h 376"/>
                      <a:gd name="T14" fmla="*/ 52 w 172"/>
                      <a:gd name="T15" fmla="*/ 304 h 376"/>
                      <a:gd name="T16" fmla="*/ 72 w 172"/>
                      <a:gd name="T17" fmla="*/ 258 h 376"/>
                      <a:gd name="T18" fmla="*/ 110 w 172"/>
                      <a:gd name="T19" fmla="*/ 338 h 376"/>
                      <a:gd name="T20" fmla="*/ 54 w 172"/>
                      <a:gd name="T21" fmla="*/ 338 h 376"/>
                      <a:gd name="T22" fmla="*/ 54 w 172"/>
                      <a:gd name="T23" fmla="*/ 338 h 376"/>
                      <a:gd name="T24" fmla="*/ 46 w 172"/>
                      <a:gd name="T25" fmla="*/ 340 h 376"/>
                      <a:gd name="T26" fmla="*/ 40 w 172"/>
                      <a:gd name="T27" fmla="*/ 344 h 376"/>
                      <a:gd name="T28" fmla="*/ 38 w 172"/>
                      <a:gd name="T29" fmla="*/ 350 h 376"/>
                      <a:gd name="T30" fmla="*/ 36 w 172"/>
                      <a:gd name="T31" fmla="*/ 358 h 376"/>
                      <a:gd name="T32" fmla="*/ 36 w 172"/>
                      <a:gd name="T33" fmla="*/ 358 h 376"/>
                      <a:gd name="T34" fmla="*/ 38 w 172"/>
                      <a:gd name="T35" fmla="*/ 364 h 376"/>
                      <a:gd name="T36" fmla="*/ 40 w 172"/>
                      <a:gd name="T37" fmla="*/ 370 h 376"/>
                      <a:gd name="T38" fmla="*/ 46 w 172"/>
                      <a:gd name="T39" fmla="*/ 374 h 376"/>
                      <a:gd name="T40" fmla="*/ 54 w 172"/>
                      <a:gd name="T41" fmla="*/ 376 h 376"/>
                      <a:gd name="T42" fmla="*/ 140 w 172"/>
                      <a:gd name="T43" fmla="*/ 376 h 376"/>
                      <a:gd name="T44" fmla="*/ 140 w 172"/>
                      <a:gd name="T45" fmla="*/ 376 h 376"/>
                      <a:gd name="T46" fmla="*/ 148 w 172"/>
                      <a:gd name="T47" fmla="*/ 374 h 376"/>
                      <a:gd name="T48" fmla="*/ 156 w 172"/>
                      <a:gd name="T49" fmla="*/ 368 h 376"/>
                      <a:gd name="T50" fmla="*/ 156 w 172"/>
                      <a:gd name="T51" fmla="*/ 368 h 376"/>
                      <a:gd name="T52" fmla="*/ 158 w 172"/>
                      <a:gd name="T53" fmla="*/ 358 h 376"/>
                      <a:gd name="T54" fmla="*/ 156 w 172"/>
                      <a:gd name="T55" fmla="*/ 350 h 376"/>
                      <a:gd name="T56" fmla="*/ 96 w 172"/>
                      <a:gd name="T57" fmla="*/ 2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376">
                        <a:moveTo>
                          <a:pt x="96" y="224"/>
                        </a:moveTo>
                        <a:lnTo>
                          <a:pt x="96" y="224"/>
                        </a:lnTo>
                        <a:lnTo>
                          <a:pt x="94" y="220"/>
                        </a:lnTo>
                        <a:lnTo>
                          <a:pt x="88" y="218"/>
                        </a:lnTo>
                        <a:lnTo>
                          <a:pt x="172" y="22"/>
                        </a:lnTo>
                        <a:lnTo>
                          <a:pt x="122" y="0"/>
                        </a:lnTo>
                        <a:lnTo>
                          <a:pt x="0" y="282"/>
                        </a:lnTo>
                        <a:lnTo>
                          <a:pt x="52" y="304"/>
                        </a:lnTo>
                        <a:lnTo>
                          <a:pt x="72" y="258"/>
                        </a:lnTo>
                        <a:lnTo>
                          <a:pt x="110" y="338"/>
                        </a:lnTo>
                        <a:lnTo>
                          <a:pt x="54" y="338"/>
                        </a:lnTo>
                        <a:lnTo>
                          <a:pt x="54" y="338"/>
                        </a:lnTo>
                        <a:lnTo>
                          <a:pt x="46" y="340"/>
                        </a:lnTo>
                        <a:lnTo>
                          <a:pt x="40" y="344"/>
                        </a:lnTo>
                        <a:lnTo>
                          <a:pt x="38" y="350"/>
                        </a:lnTo>
                        <a:lnTo>
                          <a:pt x="36" y="358"/>
                        </a:lnTo>
                        <a:lnTo>
                          <a:pt x="36" y="358"/>
                        </a:lnTo>
                        <a:lnTo>
                          <a:pt x="38" y="364"/>
                        </a:lnTo>
                        <a:lnTo>
                          <a:pt x="40" y="370"/>
                        </a:lnTo>
                        <a:lnTo>
                          <a:pt x="46" y="374"/>
                        </a:lnTo>
                        <a:lnTo>
                          <a:pt x="54" y="376"/>
                        </a:lnTo>
                        <a:lnTo>
                          <a:pt x="140" y="376"/>
                        </a:lnTo>
                        <a:lnTo>
                          <a:pt x="140" y="376"/>
                        </a:lnTo>
                        <a:lnTo>
                          <a:pt x="148" y="374"/>
                        </a:lnTo>
                        <a:lnTo>
                          <a:pt x="156" y="368"/>
                        </a:lnTo>
                        <a:lnTo>
                          <a:pt x="156" y="368"/>
                        </a:lnTo>
                        <a:lnTo>
                          <a:pt x="158" y="358"/>
                        </a:lnTo>
                        <a:lnTo>
                          <a:pt x="156" y="350"/>
                        </a:lnTo>
                        <a:lnTo>
                          <a:pt x="96" y="224"/>
                        </a:lnTo>
                        <a:close/>
                      </a:path>
                    </a:pathLst>
                  </a:custGeom>
                  <a:grpFill/>
                  <a:ln>
                    <a:noFill/>
                  </a:ln>
                  <a:extLst/>
                </p:spPr>
                <p:txBody>
                  <a:bodyPr vert="horz" wrap="square" lIns="91392" tIns="45696" rIns="91392" bIns="45696" numCol="1" anchor="t" anchorCtr="0" compatLnSpc="1">
                    <a:prstTxWarp prst="textNoShape">
                      <a:avLst/>
                    </a:prstTxWarp>
                  </a:bodyPr>
                  <a:lstStyle/>
                  <a:p>
                    <a:pPr defTabSz="913852">
                      <a:defRPr/>
                    </a:pPr>
                    <a:endParaRPr lang="en-US" sz="1798" kern="0">
                      <a:solidFill>
                        <a:srgbClr val="000000"/>
                      </a:solidFill>
                    </a:endParaRPr>
                  </a:p>
                </p:txBody>
              </p:sp>
              <p:sp>
                <p:nvSpPr>
                  <p:cNvPr id="173" name="Rectangle 172"/>
                  <p:cNvSpPr/>
                  <p:nvPr/>
                </p:nvSpPr>
                <p:spPr bwMode="auto">
                  <a:xfrm>
                    <a:off x="446928" y="2662225"/>
                    <a:ext cx="221285" cy="17071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798" kern="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154" name="Group 153"/>
                <p:cNvGrpSpPr/>
                <p:nvPr/>
              </p:nvGrpSpPr>
              <p:grpSpPr>
                <a:xfrm rot="13971796">
                  <a:off x="10451149" y="4189402"/>
                  <a:ext cx="98573" cy="145820"/>
                  <a:chOff x="2687372" y="3149601"/>
                  <a:chExt cx="81465" cy="132564"/>
                </a:xfrm>
                <a:grpFill/>
              </p:grpSpPr>
              <p:sp>
                <p:nvSpPr>
                  <p:cNvPr id="15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6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6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6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6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6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sp>
          <p:nvSpPr>
            <p:cNvPr id="110" name="TextBox 109"/>
            <p:cNvSpPr txBox="1"/>
            <p:nvPr/>
          </p:nvSpPr>
          <p:spPr>
            <a:xfrm>
              <a:off x="295792" y="2323990"/>
              <a:ext cx="1594664" cy="553998"/>
            </a:xfrm>
            <a:prstGeom prst="rect">
              <a:avLst/>
            </a:prstGeom>
            <a:solidFill>
              <a:schemeClr val="bg1">
                <a:alpha val="0"/>
              </a:schemeClr>
            </a:solidFill>
          </p:spPr>
          <p:txBody>
            <a:bodyPr vert="horz" wrap="square" lIns="0" tIns="0" rIns="0" bIns="0" rtlCol="0" anchor="t">
              <a:sp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Access data and interact with building from anywhere</a:t>
              </a:r>
            </a:p>
          </p:txBody>
        </p:sp>
      </p:grpSp>
      <p:grpSp>
        <p:nvGrpSpPr>
          <p:cNvPr id="7" name="Group 6"/>
          <p:cNvGrpSpPr/>
          <p:nvPr/>
        </p:nvGrpSpPr>
        <p:grpSpPr>
          <a:xfrm>
            <a:off x="112892" y="3321169"/>
            <a:ext cx="1644430" cy="1588601"/>
            <a:chOff x="2643880" y="2852347"/>
            <a:chExt cx="1644430" cy="1588601"/>
          </a:xfrm>
        </p:grpSpPr>
        <p:sp>
          <p:nvSpPr>
            <p:cNvPr id="99" name="Rectangle 98"/>
            <p:cNvSpPr/>
            <p:nvPr/>
          </p:nvSpPr>
          <p:spPr>
            <a:xfrm>
              <a:off x="2901377" y="3794617"/>
              <a:ext cx="1208400" cy="646331"/>
            </a:xfrm>
            <a:prstGeom prst="rect">
              <a:avLst/>
            </a:prstGeom>
            <a:noFill/>
            <a:ln w="6350" cap="flat" cmpd="sng" algn="ctr">
              <a:noFill/>
              <a:prstDash val="solid"/>
            </a:ln>
            <a:effectLst/>
          </p:spPr>
          <p:txBody>
            <a:bodyPr wrap="square" lIns="0" tIns="0" rIns="0" bIns="0" rtlCol="0" anchor="ctr">
              <a:spAutoFit/>
            </a:bodyPr>
            <a:lstStyle/>
            <a:p>
              <a:pPr marL="0" lvl="1" algn="ctr" defTabSz="1088105" fontAlgn="base">
                <a:spcBef>
                  <a:spcPts val="200"/>
                </a:spcBef>
                <a:buClr>
                  <a:srgbClr val="FFFF99"/>
                </a:buClr>
                <a:buSzPct val="90000"/>
                <a:defRPr/>
              </a:pPr>
              <a:r>
                <a:rPr lang="en-US" sz="1400" kern="0" dirty="0">
                  <a:solidFill>
                    <a:srgbClr val="505050"/>
                  </a:solidFill>
                  <a:latin typeface="Segoe UI Semibold" panose="020B0702040204020203" pitchFamily="34" charset="0"/>
                  <a:ea typeface="Segoe UI" pitchFamily="34" charset="0"/>
                  <a:cs typeface="Segoe UI Semibold" panose="020B0702040204020203" pitchFamily="34" charset="0"/>
                </a:rPr>
                <a:t>360 Degree View of Building(s)</a:t>
              </a:r>
            </a:p>
          </p:txBody>
        </p:sp>
        <p:grpSp>
          <p:nvGrpSpPr>
            <p:cNvPr id="11" name="Group 10"/>
            <p:cNvGrpSpPr/>
            <p:nvPr/>
          </p:nvGrpSpPr>
          <p:grpSpPr>
            <a:xfrm>
              <a:off x="2643880" y="2852347"/>
              <a:ext cx="1644430" cy="955174"/>
              <a:chOff x="6698437" y="3301583"/>
              <a:chExt cx="2062575" cy="1228981"/>
            </a:xfrm>
          </p:grpSpPr>
          <p:grpSp>
            <p:nvGrpSpPr>
              <p:cNvPr id="15" name="Group 14"/>
              <p:cNvGrpSpPr/>
              <p:nvPr/>
            </p:nvGrpSpPr>
            <p:grpSpPr>
              <a:xfrm>
                <a:off x="6698437" y="3301583"/>
                <a:ext cx="2062575" cy="1228981"/>
                <a:chOff x="5068032" y="2031184"/>
                <a:chExt cx="2062575" cy="1228981"/>
              </a:xfrm>
            </p:grpSpPr>
            <p:sp>
              <p:nvSpPr>
                <p:cNvPr id="229" name="Freeform 228"/>
                <p:cNvSpPr>
                  <a:spLocks noChangeAspect="1"/>
                </p:cNvSpPr>
                <p:nvPr/>
              </p:nvSpPr>
              <p:spPr bwMode="auto">
                <a:xfrm>
                  <a:off x="5525547" y="2031814"/>
                  <a:ext cx="1159335" cy="1143828"/>
                </a:xfrm>
                <a:custGeom>
                  <a:avLst/>
                  <a:gdLst/>
                  <a:ahLst/>
                  <a:cxnLst/>
                  <a:rect l="l" t="t" r="r" b="b"/>
                  <a:pathLst>
                    <a:path w="4302474" h="4244921">
                      <a:moveTo>
                        <a:pt x="662474" y="3031306"/>
                      </a:moveTo>
                      <a:lnTo>
                        <a:pt x="1339698" y="3086511"/>
                      </a:lnTo>
                      <a:lnTo>
                        <a:pt x="1189316" y="3212867"/>
                      </a:lnTo>
                      <a:cubicBezTo>
                        <a:pt x="1361738" y="3339494"/>
                        <a:pt x="1899676" y="3610086"/>
                        <a:pt x="2421111" y="3521876"/>
                      </a:cubicBezTo>
                      <a:lnTo>
                        <a:pt x="2206882" y="3794685"/>
                      </a:lnTo>
                      <a:lnTo>
                        <a:pt x="2512604" y="4104137"/>
                      </a:lnTo>
                      <a:cubicBezTo>
                        <a:pt x="1778146" y="4225364"/>
                        <a:pt x="1188060" y="3987486"/>
                        <a:pt x="709988" y="3532493"/>
                      </a:cubicBezTo>
                      <a:lnTo>
                        <a:pt x="551662" y="3684753"/>
                      </a:lnTo>
                      <a:close/>
                      <a:moveTo>
                        <a:pt x="3525512" y="2472932"/>
                      </a:moveTo>
                      <a:lnTo>
                        <a:pt x="3736350" y="2855417"/>
                      </a:lnTo>
                      <a:lnTo>
                        <a:pt x="4067130" y="2735505"/>
                      </a:lnTo>
                      <a:cubicBezTo>
                        <a:pt x="3910343" y="3276383"/>
                        <a:pt x="3434822" y="3814468"/>
                        <a:pt x="2761327" y="4046261"/>
                      </a:cubicBezTo>
                      <a:lnTo>
                        <a:pt x="2775115" y="4244921"/>
                      </a:lnTo>
                      <a:lnTo>
                        <a:pt x="2336714" y="3800527"/>
                      </a:lnTo>
                      <a:lnTo>
                        <a:pt x="2699735" y="3292318"/>
                      </a:lnTo>
                      <a:lnTo>
                        <a:pt x="2716265" y="3448052"/>
                      </a:lnTo>
                      <a:cubicBezTo>
                        <a:pt x="2913217" y="3364543"/>
                        <a:pt x="3450254" y="3000009"/>
                        <a:pt x="3525512" y="2472932"/>
                      </a:cubicBezTo>
                      <a:close/>
                      <a:moveTo>
                        <a:pt x="647776" y="1318635"/>
                      </a:moveTo>
                      <a:lnTo>
                        <a:pt x="912024" y="1889568"/>
                      </a:lnTo>
                      <a:lnTo>
                        <a:pt x="724354" y="1824308"/>
                      </a:lnTo>
                      <a:cubicBezTo>
                        <a:pt x="680520" y="2033694"/>
                        <a:pt x="670035" y="2536527"/>
                        <a:pt x="988263" y="2969836"/>
                      </a:cubicBezTo>
                      <a:lnTo>
                        <a:pt x="578667" y="2940790"/>
                      </a:lnTo>
                      <a:lnTo>
                        <a:pt x="519757" y="3323386"/>
                      </a:lnTo>
                      <a:cubicBezTo>
                        <a:pt x="142529" y="2837302"/>
                        <a:pt x="74113" y="2104852"/>
                        <a:pt x="196686" y="1642899"/>
                      </a:cubicBezTo>
                      <a:lnTo>
                        <a:pt x="0" y="1594841"/>
                      </a:lnTo>
                      <a:close/>
                      <a:moveTo>
                        <a:pt x="3620260" y="730478"/>
                      </a:moveTo>
                      <a:cubicBezTo>
                        <a:pt x="4033733" y="1098029"/>
                        <a:pt x="4275138" y="1844086"/>
                        <a:pt x="4120540" y="2491437"/>
                      </a:cubicBezTo>
                      <a:lnTo>
                        <a:pt x="4302474" y="2563960"/>
                      </a:lnTo>
                      <a:lnTo>
                        <a:pt x="3798677" y="2749109"/>
                      </a:lnTo>
                      <a:lnTo>
                        <a:pt x="3472387" y="2208919"/>
                      </a:lnTo>
                      <a:lnTo>
                        <a:pt x="3585155" y="2254985"/>
                      </a:lnTo>
                      <a:cubicBezTo>
                        <a:pt x="3611001" y="1852129"/>
                        <a:pt x="3432844" y="1328610"/>
                        <a:pt x="3114005" y="1104075"/>
                      </a:cubicBezTo>
                      <a:lnTo>
                        <a:pt x="3585698" y="1050994"/>
                      </a:lnTo>
                      <a:close/>
                      <a:moveTo>
                        <a:pt x="1892533" y="133349"/>
                      </a:moveTo>
                      <a:cubicBezTo>
                        <a:pt x="2384988" y="60439"/>
                        <a:pt x="2955319" y="178992"/>
                        <a:pt x="3438386" y="560947"/>
                      </a:cubicBezTo>
                      <a:lnTo>
                        <a:pt x="3550393" y="467694"/>
                      </a:lnTo>
                      <a:lnTo>
                        <a:pt x="3502246" y="970368"/>
                      </a:lnTo>
                      <a:cubicBezTo>
                        <a:pt x="3271583" y="1000546"/>
                        <a:pt x="3040920" y="1015483"/>
                        <a:pt x="2810256" y="1038041"/>
                      </a:cubicBezTo>
                      <a:lnTo>
                        <a:pt x="2933313" y="934789"/>
                      </a:lnTo>
                      <a:cubicBezTo>
                        <a:pt x="2656424" y="758977"/>
                        <a:pt x="2363689" y="669355"/>
                        <a:pt x="1969181" y="705095"/>
                      </a:cubicBezTo>
                      <a:lnTo>
                        <a:pt x="2154737" y="335131"/>
                      </a:lnTo>
                      <a:close/>
                      <a:moveTo>
                        <a:pt x="1460851" y="0"/>
                      </a:moveTo>
                      <a:cubicBezTo>
                        <a:pt x="1609533" y="83809"/>
                        <a:pt x="1867446" y="214583"/>
                        <a:pt x="2054478" y="354019"/>
                      </a:cubicBezTo>
                      <a:lnTo>
                        <a:pt x="1741070" y="954311"/>
                      </a:lnTo>
                      <a:lnTo>
                        <a:pt x="1656922" y="757789"/>
                      </a:lnTo>
                      <a:cubicBezTo>
                        <a:pt x="1340856" y="892862"/>
                        <a:pt x="931601" y="1317770"/>
                        <a:pt x="856671" y="1587702"/>
                      </a:cubicBezTo>
                      <a:lnTo>
                        <a:pt x="694928" y="1212887"/>
                      </a:lnTo>
                      <a:lnTo>
                        <a:pt x="269556" y="1396576"/>
                      </a:lnTo>
                      <a:cubicBezTo>
                        <a:pt x="520909" y="684763"/>
                        <a:pt x="1206237" y="294700"/>
                        <a:pt x="1528653" y="200296"/>
                      </a:cubicBezTo>
                      <a:close/>
                    </a:path>
                  </a:pathLst>
                </a:cu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defRPr/>
                  </a:pPr>
                  <a:endParaRPr lang="en-US" sz="1800" kern="0">
                    <a:solidFill>
                      <a:srgbClr val="505050"/>
                    </a:solidFill>
                    <a:latin typeface="Arial" charset="0"/>
                  </a:endParaRPr>
                </a:p>
              </p:txBody>
            </p:sp>
            <p:pic>
              <p:nvPicPr>
                <p:cNvPr id="231" name="Picture 33" descr="C:\Users\sakuu\Documents\Ballmer WPC\AI\Home.png"/>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black">
                <a:xfrm>
                  <a:off x="6665784" y="2034523"/>
                  <a:ext cx="344298" cy="294263"/>
                </a:xfrm>
                <a:prstGeom prst="rect">
                  <a:avLst/>
                </a:prstGeom>
                <a:noFill/>
                <a:extLst/>
              </p:spPr>
            </p:pic>
            <p:pic>
              <p:nvPicPr>
                <p:cNvPr id="234" name="Picture 2" descr="\\MAGNUM\Projects\Microsoft\Cloud Power FY12\Design\ICONS_PNG\Devices.png"/>
                <p:cNvPicPr>
                  <a:picLocks noChangeAspect="1" noChangeArrowheads="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5068032" y="2031184"/>
                  <a:ext cx="411480" cy="411480"/>
                </a:xfrm>
                <a:prstGeom prst="rect">
                  <a:avLst/>
                </a:prstGeom>
                <a:noFill/>
                <a:ln>
                  <a:noFill/>
                </a:ln>
              </p:spPr>
            </p:pic>
            <p:sp>
              <p:nvSpPr>
                <p:cNvPr id="235" name="Freeform 18"/>
                <p:cNvSpPr>
                  <a:spLocks noChangeAspect="1" noEditPoints="1"/>
                </p:cNvSpPr>
                <p:nvPr/>
              </p:nvSpPr>
              <p:spPr bwMode="black">
                <a:xfrm>
                  <a:off x="5231995" y="2894405"/>
                  <a:ext cx="299805" cy="3657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defRPr/>
                  </a:pPr>
                  <a:endParaRPr lang="en-US" sz="1600" kern="0">
                    <a:solidFill>
                      <a:srgbClr val="505050"/>
                    </a:solidFill>
                  </a:endParaRPr>
                </a:p>
              </p:txBody>
            </p:sp>
            <p:pic>
              <p:nvPicPr>
                <p:cNvPr id="236" name="Picture 3" descr="\\MAGNUM\Projects\Microsoft\Cloud Power FY12\Design\Icons\PNGs\Scalable_Elastic_4.png"/>
                <p:cNvPicPr>
                  <a:picLocks noChangeAspect="1" noChangeArrowheads="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678218" y="2701441"/>
                  <a:ext cx="452389" cy="452389"/>
                </a:xfrm>
                <a:prstGeom prst="rect">
                  <a:avLst/>
                </a:prstGeom>
                <a:noFill/>
              </p:spPr>
            </p:pic>
          </p:grpSp>
          <p:grpSp>
            <p:nvGrpSpPr>
              <p:cNvPr id="104" name="Group 103"/>
              <p:cNvGrpSpPr/>
              <p:nvPr/>
            </p:nvGrpSpPr>
            <p:grpSpPr>
              <a:xfrm>
                <a:off x="7641913" y="3613210"/>
                <a:ext cx="276969" cy="509505"/>
                <a:chOff x="960181" y="1614870"/>
                <a:chExt cx="474304" cy="915070"/>
              </a:xfrm>
            </p:grpSpPr>
            <p:sp>
              <p:nvSpPr>
                <p:cNvPr id="129" name="Freeform 36"/>
                <p:cNvSpPr>
                  <a:spLocks/>
                </p:cNvSpPr>
                <p:nvPr/>
              </p:nvSpPr>
              <p:spPr bwMode="black">
                <a:xfrm>
                  <a:off x="960181" y="1784365"/>
                  <a:ext cx="334031" cy="745575"/>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sp>
              <p:nvSpPr>
                <p:cNvPr id="131" name="Freeform 37"/>
                <p:cNvSpPr>
                  <a:spLocks/>
                </p:cNvSpPr>
                <p:nvPr/>
              </p:nvSpPr>
              <p:spPr bwMode="black">
                <a:xfrm>
                  <a:off x="1254855" y="2088043"/>
                  <a:ext cx="65596" cy="59525"/>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sp>
              <p:nvSpPr>
                <p:cNvPr id="136" name="Oval 38"/>
                <p:cNvSpPr>
                  <a:spLocks noChangeArrowheads="1"/>
                </p:cNvSpPr>
                <p:nvPr/>
              </p:nvSpPr>
              <p:spPr bwMode="black">
                <a:xfrm>
                  <a:off x="1065133" y="1614870"/>
                  <a:ext cx="149355" cy="151334"/>
                </a:xfrm>
                <a:prstGeom prst="ellipse">
                  <a:avLst/>
                </a:pr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sp>
              <p:nvSpPr>
                <p:cNvPr id="137" name="Freeform 39"/>
                <p:cNvSpPr>
                  <a:spLocks/>
                </p:cNvSpPr>
                <p:nvPr/>
              </p:nvSpPr>
              <p:spPr bwMode="black">
                <a:xfrm>
                  <a:off x="1116600" y="1815641"/>
                  <a:ext cx="317885" cy="282491"/>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grpSp>
        </p:grpSp>
      </p:grpSp>
      <p:cxnSp>
        <p:nvCxnSpPr>
          <p:cNvPr id="263" name="Straight Arrow Connector 262"/>
          <p:cNvCxnSpPr/>
          <p:nvPr/>
        </p:nvCxnSpPr>
        <p:spPr>
          <a:xfrm flipV="1">
            <a:off x="746214" y="2519242"/>
            <a:ext cx="192700" cy="7300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1" name="Straight Arrow Connector 270"/>
          <p:cNvCxnSpPr/>
          <p:nvPr/>
        </p:nvCxnSpPr>
        <p:spPr>
          <a:xfrm>
            <a:off x="2971291" y="1690306"/>
            <a:ext cx="15092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4" name="TextBox 273"/>
          <p:cNvSpPr txBox="1"/>
          <p:nvPr/>
        </p:nvSpPr>
        <p:spPr>
          <a:xfrm>
            <a:off x="3122213" y="1273057"/>
            <a:ext cx="1384915" cy="299330"/>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ommunication with occupants</a:t>
            </a:r>
          </a:p>
        </p:txBody>
      </p:sp>
      <p:sp>
        <p:nvSpPr>
          <p:cNvPr id="275" name="TextBox 274"/>
          <p:cNvSpPr txBox="1"/>
          <p:nvPr/>
        </p:nvSpPr>
        <p:spPr>
          <a:xfrm rot="1204025">
            <a:off x="7897848" y="2626599"/>
            <a:ext cx="1526958" cy="299330"/>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Information &amp; Requests</a:t>
            </a:r>
          </a:p>
        </p:txBody>
      </p:sp>
      <p:cxnSp>
        <p:nvCxnSpPr>
          <p:cNvPr id="277" name="Straight Arrow Connector 276"/>
          <p:cNvCxnSpPr/>
          <p:nvPr/>
        </p:nvCxnSpPr>
        <p:spPr>
          <a:xfrm flipV="1">
            <a:off x="3071964" y="1861483"/>
            <a:ext cx="1489261" cy="76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p:cNvCxnSpPr/>
          <p:nvPr/>
        </p:nvCxnSpPr>
        <p:spPr>
          <a:xfrm rot="1196819">
            <a:off x="7970315" y="2414260"/>
            <a:ext cx="138202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1" name="TextBox 280"/>
          <p:cNvSpPr txBox="1"/>
          <p:nvPr/>
        </p:nvSpPr>
        <p:spPr>
          <a:xfrm rot="1196819">
            <a:off x="7974805" y="2059154"/>
            <a:ext cx="1268209" cy="299330"/>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Alerts</a:t>
            </a:r>
          </a:p>
        </p:txBody>
      </p:sp>
      <p:sp>
        <p:nvSpPr>
          <p:cNvPr id="282" name="TextBox 281"/>
          <p:cNvSpPr txBox="1"/>
          <p:nvPr/>
        </p:nvSpPr>
        <p:spPr>
          <a:xfrm>
            <a:off x="3033506" y="1993487"/>
            <a:ext cx="1473692" cy="299330"/>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ollaborative maintenance planning &amp; delivery</a:t>
            </a:r>
          </a:p>
        </p:txBody>
      </p:sp>
      <p:cxnSp>
        <p:nvCxnSpPr>
          <p:cNvPr id="283" name="Straight Arrow Connector 282"/>
          <p:cNvCxnSpPr/>
          <p:nvPr/>
        </p:nvCxnSpPr>
        <p:spPr>
          <a:xfrm rot="1196819" flipH="1">
            <a:off x="8122397" y="2556303"/>
            <a:ext cx="1197425" cy="28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38" name="Group 137"/>
          <p:cNvGrpSpPr/>
          <p:nvPr/>
        </p:nvGrpSpPr>
        <p:grpSpPr>
          <a:xfrm>
            <a:off x="510922" y="4337224"/>
            <a:ext cx="4282940" cy="2399649"/>
            <a:chOff x="5388169" y="4317676"/>
            <a:chExt cx="4282940" cy="2399649"/>
          </a:xfrm>
        </p:grpSpPr>
        <p:sp>
          <p:nvSpPr>
            <p:cNvPr id="139" name="Oval 209"/>
            <p:cNvSpPr/>
            <p:nvPr/>
          </p:nvSpPr>
          <p:spPr bwMode="auto">
            <a:xfrm>
              <a:off x="5388169" y="4317676"/>
              <a:ext cx="4282940" cy="2399649"/>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850864">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grpSp>
          <p:nvGrpSpPr>
            <p:cNvPr id="140" name="Group 139"/>
            <p:cNvGrpSpPr/>
            <p:nvPr/>
          </p:nvGrpSpPr>
          <p:grpSpPr>
            <a:xfrm>
              <a:off x="5504524" y="5803130"/>
              <a:ext cx="965696" cy="580539"/>
              <a:chOff x="5443447" y="4894807"/>
              <a:chExt cx="965696" cy="580539"/>
            </a:xfrm>
          </p:grpSpPr>
          <p:pic>
            <p:nvPicPr>
              <p:cNvPr id="225" name="Picture 224"/>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36661" y="4894807"/>
                <a:ext cx="379268" cy="379268"/>
              </a:xfrm>
              <a:prstGeom prst="rect">
                <a:avLst/>
              </a:prstGeom>
            </p:spPr>
          </p:pic>
          <p:sp>
            <p:nvSpPr>
              <p:cNvPr id="226" name="TextBox 225"/>
              <p:cNvSpPr txBox="1"/>
              <p:nvPr/>
            </p:nvSpPr>
            <p:spPr>
              <a:xfrm>
                <a:off x="5443447" y="5221763"/>
                <a:ext cx="965696" cy="253583"/>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torage</a:t>
                </a:r>
              </a:p>
            </p:txBody>
          </p:sp>
        </p:grpSp>
        <p:grpSp>
          <p:nvGrpSpPr>
            <p:cNvPr id="143" name="Group 142"/>
            <p:cNvGrpSpPr/>
            <p:nvPr/>
          </p:nvGrpSpPr>
          <p:grpSpPr>
            <a:xfrm>
              <a:off x="7112221" y="5953267"/>
              <a:ext cx="1020867" cy="660110"/>
              <a:chOff x="6896622" y="4121051"/>
              <a:chExt cx="1020867" cy="660110"/>
            </a:xfrm>
          </p:grpSpPr>
          <p:sp>
            <p:nvSpPr>
              <p:cNvPr id="183" name="TextBox 182"/>
              <p:cNvSpPr txBox="1"/>
              <p:nvPr/>
            </p:nvSpPr>
            <p:spPr>
              <a:xfrm>
                <a:off x="6896622" y="4534940"/>
                <a:ext cx="1020867"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QL DB</a:t>
                </a:r>
              </a:p>
            </p:txBody>
          </p:sp>
          <p:pic>
            <p:nvPicPr>
              <p:cNvPr id="201" name="Picture 200"/>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7216722" y="4121051"/>
                <a:ext cx="380667" cy="380667"/>
              </a:xfrm>
              <a:prstGeom prst="rect">
                <a:avLst/>
              </a:prstGeom>
            </p:spPr>
          </p:pic>
        </p:grpSp>
        <p:grpSp>
          <p:nvGrpSpPr>
            <p:cNvPr id="144" name="Group 143"/>
            <p:cNvGrpSpPr/>
            <p:nvPr/>
          </p:nvGrpSpPr>
          <p:grpSpPr>
            <a:xfrm>
              <a:off x="6764423" y="5313039"/>
              <a:ext cx="837621" cy="580578"/>
              <a:chOff x="6577080" y="4861865"/>
              <a:chExt cx="837621" cy="580578"/>
            </a:xfrm>
          </p:grpSpPr>
          <p:sp>
            <p:nvSpPr>
              <p:cNvPr id="181" name="TextBox 180"/>
              <p:cNvSpPr txBox="1"/>
              <p:nvPr/>
            </p:nvSpPr>
            <p:spPr>
              <a:xfrm>
                <a:off x="6577080" y="5196222"/>
                <a:ext cx="837621"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Files</a:t>
                </a:r>
              </a:p>
            </p:txBody>
          </p:sp>
          <p:pic>
            <p:nvPicPr>
              <p:cNvPr id="182" name="Picture 181"/>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806328" y="4861865"/>
                <a:ext cx="379125" cy="379125"/>
              </a:xfrm>
              <a:prstGeom prst="rect">
                <a:avLst/>
              </a:prstGeom>
            </p:spPr>
          </p:pic>
        </p:grpSp>
        <p:grpSp>
          <p:nvGrpSpPr>
            <p:cNvPr id="145" name="Group 144"/>
            <p:cNvGrpSpPr/>
            <p:nvPr/>
          </p:nvGrpSpPr>
          <p:grpSpPr>
            <a:xfrm>
              <a:off x="6443764" y="5956602"/>
              <a:ext cx="681060" cy="613211"/>
              <a:chOff x="6920654" y="5464441"/>
              <a:chExt cx="681060" cy="613211"/>
            </a:xfrm>
          </p:grpSpPr>
          <p:pic>
            <p:nvPicPr>
              <p:cNvPr id="179" name="Picture 178"/>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054408" y="5464441"/>
                <a:ext cx="413553" cy="413553"/>
              </a:xfrm>
              <a:prstGeom prst="rect">
                <a:avLst/>
              </a:prstGeom>
            </p:spPr>
          </p:pic>
          <p:sp>
            <p:nvSpPr>
              <p:cNvPr id="180" name="TextBox 179"/>
              <p:cNvSpPr txBox="1"/>
              <p:nvPr/>
            </p:nvSpPr>
            <p:spPr>
              <a:xfrm>
                <a:off x="6920654" y="5831431"/>
                <a:ext cx="681060" cy="246221"/>
              </a:xfrm>
              <a:prstGeom prst="rect">
                <a:avLst/>
              </a:prstGeom>
            </p:spPr>
            <p:txBody>
              <a:bodyPr vert="horz" wrap="square" lIns="45720" tIns="45720" rIns="45720" bIns="4572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err="1">
                    <a:solidFill>
                      <a:prstClr val="white"/>
                    </a:solidFill>
                  </a:rPr>
                  <a:t>HDInsight</a:t>
                </a:r>
                <a:endParaRPr lang="en-US" sz="1000" kern="0" dirty="0">
                  <a:solidFill>
                    <a:prstClr val="white"/>
                  </a:solidFill>
                </a:endParaRPr>
              </a:p>
            </p:txBody>
          </p:sp>
        </p:grpSp>
        <p:sp>
          <p:nvSpPr>
            <p:cNvPr id="149" name="Text Placeholder 5"/>
            <p:cNvSpPr txBox="1">
              <a:spLocks/>
            </p:cNvSpPr>
            <p:nvPr/>
          </p:nvSpPr>
          <p:spPr>
            <a:xfrm>
              <a:off x="6795463" y="4411807"/>
              <a:ext cx="1766289" cy="694017"/>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defRPr/>
              </a:pPr>
              <a:r>
                <a:rPr lang="en-US" b="1" dirty="0">
                  <a:solidFill>
                    <a:prstClr val="white"/>
                  </a:solidFill>
                </a:rPr>
                <a:t>Cortana</a:t>
              </a:r>
              <a:br>
                <a:rPr lang="en-US" b="1" dirty="0">
                  <a:solidFill>
                    <a:prstClr val="white"/>
                  </a:solidFill>
                </a:rPr>
              </a:br>
              <a:r>
                <a:rPr lang="en-US" b="1" dirty="0">
                  <a:solidFill>
                    <a:prstClr val="white"/>
                  </a:solidFill>
                </a:rPr>
                <a:t>Analytics</a:t>
              </a:r>
            </a:p>
          </p:txBody>
        </p:sp>
        <p:grpSp>
          <p:nvGrpSpPr>
            <p:cNvPr id="150" name="Group 149"/>
            <p:cNvGrpSpPr/>
            <p:nvPr/>
          </p:nvGrpSpPr>
          <p:grpSpPr>
            <a:xfrm>
              <a:off x="7846474" y="5394104"/>
              <a:ext cx="1001236" cy="765406"/>
              <a:chOff x="10381995" y="5363022"/>
              <a:chExt cx="1001236" cy="765406"/>
            </a:xfrm>
          </p:grpSpPr>
          <p:pic>
            <p:nvPicPr>
              <p:cNvPr id="177" name="Picture 176"/>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10703105" y="5363022"/>
                <a:ext cx="359016" cy="359016"/>
              </a:xfrm>
              <a:prstGeom prst="rect">
                <a:avLst/>
              </a:prstGeom>
            </p:spPr>
          </p:pic>
          <p:sp>
            <p:nvSpPr>
              <p:cNvPr id="178" name="TextBox 177"/>
              <p:cNvSpPr txBox="1"/>
              <p:nvPr/>
            </p:nvSpPr>
            <p:spPr>
              <a:xfrm>
                <a:off x="10381995" y="5728318"/>
                <a:ext cx="1001236" cy="400110"/>
              </a:xfrm>
              <a:prstGeom prst="rect">
                <a:avLst/>
              </a:prstGeom>
            </p:spPr>
            <p:txBody>
              <a:bodyPr vert="horz" wrap="none" lIns="45720" tIns="45720" rIns="45720" bIns="45720" rtlCol="0" anchor="ctr">
                <a:sp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a:solidFill>
                      <a:prstClr val="white"/>
                    </a:solidFill>
                  </a:rPr>
                  <a:t>Azure Machine </a:t>
                </a:r>
                <a:br>
                  <a:rPr lang="en-US" sz="1000" kern="0" dirty="0">
                    <a:solidFill>
                      <a:prstClr val="white"/>
                    </a:solidFill>
                  </a:rPr>
                </a:br>
                <a:r>
                  <a:rPr lang="en-US" sz="1000" kern="0" dirty="0">
                    <a:solidFill>
                      <a:prstClr val="white"/>
                    </a:solidFill>
                  </a:rPr>
                  <a:t>Learning</a:t>
                </a:r>
              </a:p>
            </p:txBody>
          </p:sp>
        </p:grpSp>
        <p:grpSp>
          <p:nvGrpSpPr>
            <p:cNvPr id="152" name="Group 151"/>
            <p:cNvGrpSpPr/>
            <p:nvPr/>
          </p:nvGrpSpPr>
          <p:grpSpPr>
            <a:xfrm>
              <a:off x="8903503" y="5947766"/>
              <a:ext cx="480901" cy="601769"/>
              <a:chOff x="4062348" y="228228"/>
              <a:chExt cx="480901" cy="601769"/>
            </a:xfrm>
          </p:grpSpPr>
          <p:sp>
            <p:nvSpPr>
              <p:cNvPr id="175" name="TextBox 174"/>
              <p:cNvSpPr txBox="1"/>
              <p:nvPr/>
            </p:nvSpPr>
            <p:spPr>
              <a:xfrm>
                <a:off x="4062348" y="676109"/>
                <a:ext cx="480901" cy="153888"/>
              </a:xfrm>
              <a:prstGeom prst="rect">
                <a:avLst/>
              </a:prstGeom>
            </p:spPr>
            <p:txBody>
              <a:bodyPr vert="horz" wrap="none" lIns="0" tIns="0" rIns="0" bIns="0" rtlCol="0" anchor="ctr">
                <a:spAutoFit/>
              </a:bodyPr>
              <a:lstStyle/>
              <a:p>
                <a:pPr algn="ctr" defTabSz="1088105">
                  <a:defRPr/>
                </a:pPr>
                <a:r>
                  <a:rPr lang="en-US" sz="1000" kern="0" dirty="0" err="1">
                    <a:solidFill>
                      <a:prstClr val="white"/>
                    </a:solidFill>
                    <a:latin typeface="Segoe UI Semibold" panose="020B0702040204020203" pitchFamily="34" charset="0"/>
                    <a:ea typeface="Segoe UI" pitchFamily="34" charset="0"/>
                    <a:cs typeface="Segoe UI Semibold" panose="020B0702040204020203" pitchFamily="34" charset="0"/>
                  </a:rPr>
                  <a:t>PowerBI</a:t>
                </a:r>
                <a:endPar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endParaRPr>
              </a:p>
            </p:txBody>
          </p:sp>
          <p:pic>
            <p:nvPicPr>
              <p:cNvPr id="176" name="Picture 175"/>
              <p:cNvPicPr>
                <a:picLocks noChangeAspect="1"/>
              </p:cNvPicPr>
              <p:nvPr/>
            </p:nvPicPr>
            <p:blipFill rotWithShape="1">
              <a:blip r:embed="rId11" cstate="print">
                <a:extLst>
                  <a:ext uri="{28A0092B-C50C-407E-A947-70E740481C1C}">
                    <a14:useLocalDpi xmlns:a14="http://schemas.microsoft.com/office/drawing/2010/main" val="0"/>
                  </a:ext>
                </a:extLst>
              </a:blip>
              <a:srcRect t="-1" r="-9452" b="-4026"/>
              <a:stretch/>
            </p:blipFill>
            <p:spPr>
              <a:xfrm>
                <a:off x="4109805" y="228228"/>
                <a:ext cx="423810" cy="411287"/>
              </a:xfrm>
              <a:prstGeom prst="rect">
                <a:avLst/>
              </a:prstGeom>
            </p:spPr>
          </p:pic>
        </p:grpSp>
        <p:grpSp>
          <p:nvGrpSpPr>
            <p:cNvPr id="156" name="Group 155"/>
            <p:cNvGrpSpPr/>
            <p:nvPr/>
          </p:nvGrpSpPr>
          <p:grpSpPr>
            <a:xfrm>
              <a:off x="5984954" y="5086508"/>
              <a:ext cx="737381" cy="573661"/>
              <a:chOff x="6069364" y="3999345"/>
              <a:chExt cx="737381" cy="573661"/>
            </a:xfrm>
          </p:grpSpPr>
          <p:pic>
            <p:nvPicPr>
              <p:cNvPr id="157" name="Picture 156"/>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30476" y="3999345"/>
                <a:ext cx="401119" cy="401119"/>
              </a:xfrm>
              <a:prstGeom prst="rect">
                <a:avLst/>
              </a:prstGeom>
            </p:spPr>
          </p:pic>
          <p:sp>
            <p:nvSpPr>
              <p:cNvPr id="174" name="TextBox 173"/>
              <p:cNvSpPr txBox="1"/>
              <p:nvPr/>
            </p:nvSpPr>
            <p:spPr>
              <a:xfrm>
                <a:off x="6069364" y="4419118"/>
                <a:ext cx="737381" cy="153888"/>
              </a:xfrm>
              <a:prstGeom prst="rect">
                <a:avLst/>
              </a:prstGeom>
            </p:spPr>
            <p:txBody>
              <a:bodyPr vert="horz" wrap="none" lIns="0" tIns="0" rIns="0" bIns="0" rtlCol="0" anchor="ctr">
                <a:spAutoFit/>
              </a:bodyPr>
              <a:lstStyle/>
              <a:p>
                <a:pPr algn="ctr" defTabSz="1088105">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ata Factory</a:t>
                </a:r>
              </a:p>
            </p:txBody>
          </p:sp>
        </p:grpSp>
      </p:grpSp>
      <p:grpSp>
        <p:nvGrpSpPr>
          <p:cNvPr id="10" name="Group 9"/>
          <p:cNvGrpSpPr/>
          <p:nvPr/>
        </p:nvGrpSpPr>
        <p:grpSpPr>
          <a:xfrm>
            <a:off x="7989315" y="4467051"/>
            <a:ext cx="3853786" cy="2099855"/>
            <a:chOff x="334662" y="4484486"/>
            <a:chExt cx="3853786" cy="2099855"/>
          </a:xfrm>
        </p:grpSpPr>
        <p:sp>
          <p:nvSpPr>
            <p:cNvPr id="230" name="Oval 209"/>
            <p:cNvSpPr/>
            <p:nvPr/>
          </p:nvSpPr>
          <p:spPr bwMode="auto">
            <a:xfrm>
              <a:off x="334662" y="4484486"/>
              <a:ext cx="3853786" cy="2099855"/>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850864">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grpSp>
          <p:nvGrpSpPr>
            <p:cNvPr id="245" name="Group 244"/>
            <p:cNvGrpSpPr/>
            <p:nvPr/>
          </p:nvGrpSpPr>
          <p:grpSpPr>
            <a:xfrm>
              <a:off x="2458718" y="5289899"/>
              <a:ext cx="965696" cy="580539"/>
              <a:chOff x="5443447" y="4894807"/>
              <a:chExt cx="965696" cy="580539"/>
            </a:xfrm>
          </p:grpSpPr>
          <p:pic>
            <p:nvPicPr>
              <p:cNvPr id="273" name="Picture 272"/>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736661" y="4894807"/>
                <a:ext cx="379268" cy="379268"/>
              </a:xfrm>
              <a:prstGeom prst="rect">
                <a:avLst/>
              </a:prstGeom>
            </p:spPr>
          </p:pic>
          <p:sp>
            <p:nvSpPr>
              <p:cNvPr id="276" name="TextBox 275"/>
              <p:cNvSpPr txBox="1"/>
              <p:nvPr/>
            </p:nvSpPr>
            <p:spPr>
              <a:xfrm>
                <a:off x="5443447" y="5221763"/>
                <a:ext cx="965696" cy="253583"/>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torage</a:t>
                </a:r>
              </a:p>
            </p:txBody>
          </p:sp>
        </p:grpSp>
        <p:grpSp>
          <p:nvGrpSpPr>
            <p:cNvPr id="246" name="Group 245"/>
            <p:cNvGrpSpPr/>
            <p:nvPr/>
          </p:nvGrpSpPr>
          <p:grpSpPr>
            <a:xfrm>
              <a:off x="3095226" y="5690148"/>
              <a:ext cx="1020867" cy="660110"/>
              <a:chOff x="6896622" y="4121051"/>
              <a:chExt cx="1020867" cy="660110"/>
            </a:xfrm>
          </p:grpSpPr>
          <p:sp>
            <p:nvSpPr>
              <p:cNvPr id="270" name="TextBox 269"/>
              <p:cNvSpPr txBox="1"/>
              <p:nvPr/>
            </p:nvSpPr>
            <p:spPr>
              <a:xfrm>
                <a:off x="6896622" y="4534940"/>
                <a:ext cx="1020867"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QL DB</a:t>
                </a:r>
              </a:p>
            </p:txBody>
          </p:sp>
          <p:pic>
            <p:nvPicPr>
              <p:cNvPr id="272" name="Picture 27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7216722" y="4121051"/>
                <a:ext cx="380667" cy="380667"/>
              </a:xfrm>
              <a:prstGeom prst="rect">
                <a:avLst/>
              </a:prstGeom>
            </p:spPr>
          </p:pic>
        </p:grpSp>
        <p:grpSp>
          <p:nvGrpSpPr>
            <p:cNvPr id="247" name="Group 246"/>
            <p:cNvGrpSpPr/>
            <p:nvPr/>
          </p:nvGrpSpPr>
          <p:grpSpPr>
            <a:xfrm>
              <a:off x="2075761" y="5905514"/>
              <a:ext cx="837621" cy="580578"/>
              <a:chOff x="6577080" y="4861865"/>
              <a:chExt cx="837621" cy="580578"/>
            </a:xfrm>
          </p:grpSpPr>
          <p:sp>
            <p:nvSpPr>
              <p:cNvPr id="268" name="TextBox 267"/>
              <p:cNvSpPr txBox="1"/>
              <p:nvPr/>
            </p:nvSpPr>
            <p:spPr>
              <a:xfrm>
                <a:off x="6577080" y="5196222"/>
                <a:ext cx="837621"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Files</a:t>
                </a:r>
              </a:p>
            </p:txBody>
          </p:sp>
          <p:pic>
            <p:nvPicPr>
              <p:cNvPr id="269" name="Picture 268"/>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806328" y="4861865"/>
                <a:ext cx="379125" cy="379125"/>
              </a:xfrm>
              <a:prstGeom prst="rect">
                <a:avLst/>
              </a:prstGeom>
            </p:spPr>
          </p:pic>
        </p:grpSp>
        <p:grpSp>
          <p:nvGrpSpPr>
            <p:cNvPr id="248" name="Group 247"/>
            <p:cNvGrpSpPr/>
            <p:nvPr/>
          </p:nvGrpSpPr>
          <p:grpSpPr>
            <a:xfrm>
              <a:off x="1073442" y="5748753"/>
              <a:ext cx="760737" cy="764184"/>
              <a:chOff x="6069689" y="5399290"/>
              <a:chExt cx="760737" cy="764184"/>
            </a:xfrm>
          </p:grpSpPr>
          <p:sp>
            <p:nvSpPr>
              <p:cNvPr id="265" name="TextBox 264"/>
              <p:cNvSpPr txBox="1"/>
              <p:nvPr/>
            </p:nvSpPr>
            <p:spPr>
              <a:xfrm>
                <a:off x="6069689" y="5763364"/>
                <a:ext cx="760737" cy="400110"/>
              </a:xfrm>
              <a:prstGeom prst="rect">
                <a:avLst/>
              </a:prstGeom>
            </p:spPr>
            <p:txBody>
              <a:bodyPr vert="horz" wrap="square" lIns="45720" tIns="45720" rIns="45720" bIns="4572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a:solidFill>
                      <a:prstClr val="white"/>
                    </a:solidFill>
                  </a:rPr>
                  <a:t>Stream</a:t>
                </a:r>
                <a:br>
                  <a:rPr lang="en-US" sz="1000" kern="0" dirty="0">
                    <a:solidFill>
                      <a:prstClr val="white"/>
                    </a:solidFill>
                  </a:rPr>
                </a:br>
                <a:r>
                  <a:rPr lang="en-US" sz="1000" kern="0" dirty="0">
                    <a:solidFill>
                      <a:prstClr val="white"/>
                    </a:solidFill>
                  </a:rPr>
                  <a:t>Analytics</a:t>
                </a:r>
              </a:p>
            </p:txBody>
          </p:sp>
          <p:pic>
            <p:nvPicPr>
              <p:cNvPr id="266" name="Picture 265"/>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6196549" y="5399290"/>
                <a:ext cx="507016" cy="507016"/>
              </a:xfrm>
              <a:prstGeom prst="rect">
                <a:avLst/>
              </a:prstGeom>
            </p:spPr>
          </p:pic>
        </p:grpSp>
        <p:grpSp>
          <p:nvGrpSpPr>
            <p:cNvPr id="249" name="Group 248"/>
            <p:cNvGrpSpPr/>
            <p:nvPr/>
          </p:nvGrpSpPr>
          <p:grpSpPr>
            <a:xfrm>
              <a:off x="577199" y="5580843"/>
              <a:ext cx="553278" cy="778414"/>
              <a:chOff x="4775557" y="5260774"/>
              <a:chExt cx="553278" cy="778414"/>
            </a:xfrm>
          </p:grpSpPr>
          <p:pic>
            <p:nvPicPr>
              <p:cNvPr id="255" name="Picture 254"/>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857298" y="5260774"/>
                <a:ext cx="389797" cy="389797"/>
              </a:xfrm>
              <a:prstGeom prst="rect">
                <a:avLst/>
              </a:prstGeom>
            </p:spPr>
          </p:pic>
          <p:sp>
            <p:nvSpPr>
              <p:cNvPr id="264" name="TextBox 263"/>
              <p:cNvSpPr txBox="1"/>
              <p:nvPr/>
            </p:nvSpPr>
            <p:spPr>
              <a:xfrm>
                <a:off x="4775557" y="5639078"/>
                <a:ext cx="553278" cy="400110"/>
              </a:xfrm>
              <a:prstGeom prst="rect">
                <a:avLst/>
              </a:prstGeom>
            </p:spPr>
            <p:txBody>
              <a:bodyPr vert="horz" wrap="square" lIns="45720" tIns="45720" rIns="45720" bIns="4572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a:solidFill>
                      <a:prstClr val="white"/>
                    </a:solidFill>
                  </a:rPr>
                  <a:t>Event</a:t>
                </a:r>
                <a:br>
                  <a:rPr lang="en-US" sz="1000" kern="0" dirty="0">
                    <a:solidFill>
                      <a:prstClr val="white"/>
                    </a:solidFill>
                  </a:rPr>
                </a:br>
                <a:r>
                  <a:rPr lang="en-US" sz="1000" kern="0" dirty="0">
                    <a:solidFill>
                      <a:prstClr val="white"/>
                    </a:solidFill>
                  </a:rPr>
                  <a:t>Hubs</a:t>
                </a:r>
              </a:p>
            </p:txBody>
          </p:sp>
        </p:grpSp>
        <p:sp>
          <p:nvSpPr>
            <p:cNvPr id="250" name="Text Placeholder 5"/>
            <p:cNvSpPr txBox="1">
              <a:spLocks/>
            </p:cNvSpPr>
            <p:nvPr/>
          </p:nvSpPr>
          <p:spPr>
            <a:xfrm>
              <a:off x="1523490" y="4697920"/>
              <a:ext cx="1918000" cy="694017"/>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defRPr/>
              </a:pPr>
              <a:r>
                <a:rPr lang="en-US" b="1" dirty="0" err="1">
                  <a:solidFill>
                    <a:prstClr val="white"/>
                  </a:solidFill>
                </a:rPr>
                <a:t>IoT</a:t>
              </a:r>
              <a:r>
                <a:rPr lang="en-US" b="1" dirty="0">
                  <a:solidFill>
                    <a:prstClr val="white"/>
                  </a:solidFill>
                </a:rPr>
                <a:t> Suite</a:t>
              </a:r>
            </a:p>
          </p:txBody>
        </p:sp>
        <p:grpSp>
          <p:nvGrpSpPr>
            <p:cNvPr id="252" name="Group 251"/>
            <p:cNvGrpSpPr/>
            <p:nvPr/>
          </p:nvGrpSpPr>
          <p:grpSpPr>
            <a:xfrm>
              <a:off x="1692970" y="5235360"/>
              <a:ext cx="634148" cy="598106"/>
              <a:chOff x="8915378" y="5385005"/>
              <a:chExt cx="634148" cy="598106"/>
            </a:xfrm>
          </p:grpSpPr>
          <p:pic>
            <p:nvPicPr>
              <p:cNvPr id="253" name="Picture 252"/>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9026089" y="5385005"/>
                <a:ext cx="413553" cy="413553"/>
              </a:xfrm>
              <a:prstGeom prst="rect">
                <a:avLst/>
              </a:prstGeom>
            </p:spPr>
          </p:pic>
          <p:sp>
            <p:nvSpPr>
              <p:cNvPr id="254" name="TextBox 253"/>
              <p:cNvSpPr txBox="1"/>
              <p:nvPr/>
            </p:nvSpPr>
            <p:spPr>
              <a:xfrm>
                <a:off x="8915378" y="5736890"/>
                <a:ext cx="634148" cy="246221"/>
              </a:xfrm>
              <a:prstGeom prst="rect">
                <a:avLst/>
              </a:prstGeom>
            </p:spPr>
            <p:txBody>
              <a:bodyPr vert="horz" wrap="none" lIns="45720" tIns="45720" rIns="45720" bIns="45720" rtlCol="0" anchor="ctr">
                <a:sp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err="1">
                    <a:solidFill>
                      <a:prstClr val="white"/>
                    </a:solidFill>
                  </a:rPr>
                  <a:t>HDStorm</a:t>
                </a:r>
                <a:endParaRPr lang="en-US" sz="1000" kern="0" dirty="0">
                  <a:solidFill>
                    <a:prstClr val="white"/>
                  </a:solidFill>
                </a:endParaRPr>
              </a:p>
            </p:txBody>
          </p:sp>
        </p:grpSp>
      </p:grpSp>
      <p:cxnSp>
        <p:nvCxnSpPr>
          <p:cNvPr id="228" name="Straight Arrow Connector 227"/>
          <p:cNvCxnSpPr/>
          <p:nvPr/>
        </p:nvCxnSpPr>
        <p:spPr>
          <a:xfrm>
            <a:off x="7868902" y="4500383"/>
            <a:ext cx="1161103" cy="4184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4014884" y="4790854"/>
            <a:ext cx="1124720" cy="622798"/>
            <a:chOff x="3629050" y="4280559"/>
            <a:chExt cx="1124720" cy="622798"/>
          </a:xfrm>
        </p:grpSpPr>
        <p:cxnSp>
          <p:nvCxnSpPr>
            <p:cNvPr id="22" name="Straight Arrow Connector 21"/>
            <p:cNvCxnSpPr/>
            <p:nvPr/>
          </p:nvCxnSpPr>
          <p:spPr>
            <a:xfrm flipH="1">
              <a:off x="3741929" y="4280559"/>
              <a:ext cx="948815" cy="6227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9" name="TextBox 328"/>
            <p:cNvSpPr txBox="1"/>
            <p:nvPr/>
          </p:nvSpPr>
          <p:spPr>
            <a:xfrm rot="19644547">
              <a:off x="3629050" y="4321705"/>
              <a:ext cx="1124720" cy="262844"/>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Historical Data</a:t>
              </a:r>
            </a:p>
          </p:txBody>
        </p:sp>
      </p:grpSp>
      <p:sp>
        <p:nvSpPr>
          <p:cNvPr id="330" name="TextBox 329"/>
          <p:cNvSpPr txBox="1"/>
          <p:nvPr/>
        </p:nvSpPr>
        <p:spPr>
          <a:xfrm rot="1175696">
            <a:off x="7854245" y="4484759"/>
            <a:ext cx="1229665" cy="234685"/>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Real-time Data</a:t>
            </a:r>
          </a:p>
        </p:txBody>
      </p:sp>
      <p:sp>
        <p:nvSpPr>
          <p:cNvPr id="331" name="TextBox 330"/>
          <p:cNvSpPr txBox="1"/>
          <p:nvPr/>
        </p:nvSpPr>
        <p:spPr>
          <a:xfrm rot="17037543">
            <a:off x="314163" y="2798868"/>
            <a:ext cx="826918" cy="199234"/>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360 View</a:t>
            </a:r>
          </a:p>
        </p:txBody>
      </p:sp>
      <p:cxnSp>
        <p:nvCxnSpPr>
          <p:cNvPr id="332" name="Straight Arrow Connector 331"/>
          <p:cNvCxnSpPr/>
          <p:nvPr/>
        </p:nvCxnSpPr>
        <p:spPr>
          <a:xfrm flipV="1">
            <a:off x="2109750" y="3455164"/>
            <a:ext cx="270230" cy="11063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3" name="TextBox 332"/>
          <p:cNvSpPr txBox="1"/>
          <p:nvPr/>
        </p:nvSpPr>
        <p:spPr>
          <a:xfrm rot="17047769">
            <a:off x="1507717" y="3892066"/>
            <a:ext cx="1232179" cy="269475"/>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Insights &amp; Alerts</a:t>
            </a:r>
          </a:p>
        </p:txBody>
      </p:sp>
      <p:grpSp>
        <p:nvGrpSpPr>
          <p:cNvPr id="355" name="Group 354"/>
          <p:cNvGrpSpPr/>
          <p:nvPr/>
        </p:nvGrpSpPr>
        <p:grpSpPr>
          <a:xfrm>
            <a:off x="7650367" y="189602"/>
            <a:ext cx="1552207" cy="1461627"/>
            <a:chOff x="3730114" y="4767439"/>
            <a:chExt cx="1955801" cy="1792728"/>
          </a:xfrm>
        </p:grpSpPr>
        <p:grpSp>
          <p:nvGrpSpPr>
            <p:cNvPr id="356" name="Group 355"/>
            <p:cNvGrpSpPr/>
            <p:nvPr/>
          </p:nvGrpSpPr>
          <p:grpSpPr>
            <a:xfrm>
              <a:off x="3730114" y="4767439"/>
              <a:ext cx="1955801" cy="1538559"/>
              <a:chOff x="3467100" y="2017870"/>
              <a:chExt cx="1955801" cy="1538559"/>
            </a:xfrm>
          </p:grpSpPr>
          <p:sp>
            <p:nvSpPr>
              <p:cNvPr id="358" name="Rounded Rectangle 60"/>
              <p:cNvSpPr>
                <a:spLocks noChangeArrowheads="1"/>
              </p:cNvSpPr>
              <p:nvPr/>
            </p:nvSpPr>
            <p:spPr bwMode="auto">
              <a:xfrm>
                <a:off x="3467100" y="2017870"/>
                <a:ext cx="1955801" cy="153855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endParaRPr lang="en-US" sz="1200" kern="0" dirty="0">
                  <a:solidFill>
                    <a:srgbClr val="505050"/>
                  </a:solidFill>
                </a:endParaRPr>
              </a:p>
            </p:txBody>
          </p:sp>
          <p:pic>
            <p:nvPicPr>
              <p:cNvPr id="359" name="Picture 358"/>
              <p:cNvPicPr>
                <a:picLocks noChangeAspect="1"/>
              </p:cNvPicPr>
              <p:nvPr/>
            </p:nvPicPr>
            <p:blipFill>
              <a:blip r:embed="rId15" cstate="screen">
                <a:lum bright="-40000" contrast="-40000"/>
                <a:extLst>
                  <a:ext uri="{28A0092B-C50C-407E-A947-70E740481C1C}">
                    <a14:useLocalDpi xmlns:a14="http://schemas.microsoft.com/office/drawing/2010/main"/>
                  </a:ext>
                </a:extLst>
              </a:blip>
              <a:stretch>
                <a:fillRect/>
              </a:stretch>
            </p:blipFill>
            <p:spPr bwMode="auto">
              <a:xfrm>
                <a:off x="4923723" y="2692706"/>
                <a:ext cx="376166" cy="335748"/>
              </a:xfrm>
              <a:prstGeom prst="rect">
                <a:avLst/>
              </a:prstGeom>
              <a:noFill/>
              <a:ln>
                <a:noFill/>
              </a:ln>
            </p:spPr>
          </p:pic>
          <p:sp>
            <p:nvSpPr>
              <p:cNvPr id="360" name="Freeform 14"/>
              <p:cNvSpPr>
                <a:spLocks noEditPoints="1"/>
              </p:cNvSpPr>
              <p:nvPr/>
            </p:nvSpPr>
            <p:spPr bwMode="black">
              <a:xfrm>
                <a:off x="4696500" y="2297546"/>
                <a:ext cx="187261" cy="1993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lumMod val="50000"/>
                </a:schemeClr>
              </a:solidFill>
              <a:ln w="10795" cap="flat" cmpd="sng" algn="ctr">
                <a:noFill/>
                <a:prstDash val="solid"/>
                <a:headEnd type="none" w="med" len="med"/>
                <a:tailEnd type="none" w="med" len="med"/>
              </a:ln>
              <a:effectLst/>
            </p:spPr>
            <p:txBody>
              <a:bodyPr lIns="109707" tIns="54854" rIns="109707" bIns="54854" anchor="ctr"/>
              <a:lstStyle/>
              <a:p>
                <a:pPr defTabSz="987406">
                  <a:defRPr/>
                </a:pPr>
                <a:endParaRPr lang="en-US" sz="2399" kern="0" dirty="0">
                  <a:solidFill>
                    <a:srgbClr val="505050"/>
                  </a:solidFill>
                  <a:latin typeface="Segoe Light" pitchFamily="34" charset="0"/>
                </a:endParaRPr>
              </a:p>
            </p:txBody>
          </p:sp>
          <p:pic>
            <p:nvPicPr>
              <p:cNvPr id="361" name="Picture 360"/>
              <p:cNvPicPr>
                <a:picLocks noChangeAspect="1"/>
              </p:cNvPicPr>
              <p:nvPr/>
            </p:nvPicPr>
            <p:blipFill>
              <a:blip r:embed="rId1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4977252" y="2462284"/>
                <a:ext cx="157603" cy="181015"/>
              </a:xfrm>
              <a:prstGeom prst="rect">
                <a:avLst/>
              </a:prstGeom>
            </p:spPr>
          </p:pic>
          <p:sp>
            <p:nvSpPr>
              <p:cNvPr id="362" name="Freeform 13"/>
              <p:cNvSpPr>
                <a:spLocks noEditPoints="1"/>
              </p:cNvSpPr>
              <p:nvPr/>
            </p:nvSpPr>
            <p:spPr bwMode="black">
              <a:xfrm>
                <a:off x="3646568" y="2632177"/>
                <a:ext cx="273843" cy="233566"/>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lumMod val="50000"/>
                </a:schemeClr>
              </a:solidFill>
              <a:ln w="10795" cap="flat" cmpd="sng" algn="ctr">
                <a:noFill/>
                <a:prstDash val="solid"/>
                <a:headEnd type="none" w="med" len="med"/>
                <a:tailEnd type="none" w="med" len="med"/>
              </a:ln>
              <a:effectLst/>
            </p:spPr>
            <p:txBody>
              <a:bodyPr lIns="82302" tIns="41151" rIns="82302" bIns="41151" anchor="ctr"/>
              <a:lstStyle/>
              <a:p>
                <a:pPr defTabSz="740740">
                  <a:defRPr/>
                </a:pPr>
                <a:endParaRPr lang="en-US" sz="1800" kern="0" dirty="0">
                  <a:solidFill>
                    <a:srgbClr val="505050"/>
                  </a:solidFill>
                  <a:latin typeface="Segoe Light" pitchFamily="34" charset="0"/>
                </a:endParaRPr>
              </a:p>
            </p:txBody>
          </p:sp>
          <p:sp>
            <p:nvSpPr>
              <p:cNvPr id="363" name="Freeform 362"/>
              <p:cNvSpPr>
                <a:spLocks/>
              </p:cNvSpPr>
              <p:nvPr/>
            </p:nvSpPr>
            <p:spPr bwMode="black">
              <a:xfrm>
                <a:off x="4152839" y="2924872"/>
                <a:ext cx="199340" cy="199336"/>
              </a:xfrm>
              <a:custGeom>
                <a:avLst/>
                <a:gdLst>
                  <a:gd name="connsiteX0" fmla="*/ 276253 w 393142"/>
                  <a:gd name="connsiteY0" fmla="*/ 48406 h 393039"/>
                  <a:gd name="connsiteX1" fmla="*/ 213366 w 393142"/>
                  <a:gd name="connsiteY1" fmla="*/ 111283 h 393039"/>
                  <a:gd name="connsiteX2" fmla="*/ 213366 w 393142"/>
                  <a:gd name="connsiteY2" fmla="*/ 143229 h 393039"/>
                  <a:gd name="connsiteX3" fmla="*/ 168230 w 393142"/>
                  <a:gd name="connsiteY3" fmla="*/ 143229 h 393039"/>
                  <a:gd name="connsiteX4" fmla="*/ 168230 w 393142"/>
                  <a:gd name="connsiteY4" fmla="*/ 196725 h 393039"/>
                  <a:gd name="connsiteX5" fmla="*/ 213366 w 393142"/>
                  <a:gd name="connsiteY5" fmla="*/ 196725 h 393039"/>
                  <a:gd name="connsiteX6" fmla="*/ 213366 w 393142"/>
                  <a:gd name="connsiteY6" fmla="*/ 361270 h 393039"/>
                  <a:gd name="connsiteX7" fmla="*/ 283606 w 393142"/>
                  <a:gd name="connsiteY7" fmla="*/ 361270 h 393039"/>
                  <a:gd name="connsiteX8" fmla="*/ 283606 w 393142"/>
                  <a:gd name="connsiteY8" fmla="*/ 196725 h 393039"/>
                  <a:gd name="connsiteX9" fmla="*/ 333560 w 393142"/>
                  <a:gd name="connsiteY9" fmla="*/ 196725 h 393039"/>
                  <a:gd name="connsiteX10" fmla="*/ 333560 w 393142"/>
                  <a:gd name="connsiteY10" fmla="*/ 143229 h 393039"/>
                  <a:gd name="connsiteX11" fmla="*/ 283606 w 393142"/>
                  <a:gd name="connsiteY11" fmla="*/ 143229 h 393039"/>
                  <a:gd name="connsiteX12" fmla="*/ 283606 w 393142"/>
                  <a:gd name="connsiteY12" fmla="*/ 125481 h 393039"/>
                  <a:gd name="connsiteX13" fmla="*/ 307189 w 393142"/>
                  <a:gd name="connsiteY13" fmla="*/ 101902 h 393039"/>
                  <a:gd name="connsiteX14" fmla="*/ 333560 w 393142"/>
                  <a:gd name="connsiteY14" fmla="*/ 101902 h 393039"/>
                  <a:gd name="connsiteX15" fmla="*/ 333560 w 393142"/>
                  <a:gd name="connsiteY15" fmla="*/ 48406 h 393039"/>
                  <a:gd name="connsiteX16" fmla="*/ 276253 w 393142"/>
                  <a:gd name="connsiteY16" fmla="*/ 48406 h 393039"/>
                  <a:gd name="connsiteX17" fmla="*/ 70512 w 393142"/>
                  <a:gd name="connsiteY17" fmla="*/ 0 h 393039"/>
                  <a:gd name="connsiteX18" fmla="*/ 322630 w 393142"/>
                  <a:gd name="connsiteY18" fmla="*/ 0 h 393039"/>
                  <a:gd name="connsiteX19" fmla="*/ 393142 w 393142"/>
                  <a:gd name="connsiteY19" fmla="*/ 70494 h 393039"/>
                  <a:gd name="connsiteX20" fmla="*/ 393142 w 393142"/>
                  <a:gd name="connsiteY20" fmla="*/ 322546 h 393039"/>
                  <a:gd name="connsiteX21" fmla="*/ 322630 w 393142"/>
                  <a:gd name="connsiteY21" fmla="*/ 393039 h 393039"/>
                  <a:gd name="connsiteX22" fmla="*/ 70512 w 393142"/>
                  <a:gd name="connsiteY22" fmla="*/ 393039 h 393039"/>
                  <a:gd name="connsiteX23" fmla="*/ 0 w 393142"/>
                  <a:gd name="connsiteY23" fmla="*/ 322546 h 393039"/>
                  <a:gd name="connsiteX24" fmla="*/ 0 w 393142"/>
                  <a:gd name="connsiteY24" fmla="*/ 70494 h 393039"/>
                  <a:gd name="connsiteX25" fmla="*/ 70512 w 393142"/>
                  <a:gd name="connsiteY25" fmla="*/ 0 h 39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142" h="393039">
                    <a:moveTo>
                      <a:pt x="276253" y="48406"/>
                    </a:moveTo>
                    <a:cubicBezTo>
                      <a:pt x="241513" y="48406"/>
                      <a:pt x="213366" y="76549"/>
                      <a:pt x="213366" y="111283"/>
                    </a:cubicBezTo>
                    <a:cubicBezTo>
                      <a:pt x="213366" y="143229"/>
                      <a:pt x="213366" y="143229"/>
                      <a:pt x="213366" y="143229"/>
                    </a:cubicBezTo>
                    <a:cubicBezTo>
                      <a:pt x="168230" y="143229"/>
                      <a:pt x="168230" y="143229"/>
                      <a:pt x="168230" y="143229"/>
                    </a:cubicBezTo>
                    <a:cubicBezTo>
                      <a:pt x="168230" y="196725"/>
                      <a:pt x="168230" y="196725"/>
                      <a:pt x="168230" y="196725"/>
                    </a:cubicBezTo>
                    <a:cubicBezTo>
                      <a:pt x="213366" y="196725"/>
                      <a:pt x="213366" y="196725"/>
                      <a:pt x="213366" y="196725"/>
                    </a:cubicBezTo>
                    <a:cubicBezTo>
                      <a:pt x="213366" y="361270"/>
                      <a:pt x="213366" y="361270"/>
                      <a:pt x="213366" y="361270"/>
                    </a:cubicBezTo>
                    <a:cubicBezTo>
                      <a:pt x="283606" y="361270"/>
                      <a:pt x="283606" y="361270"/>
                      <a:pt x="283606" y="361270"/>
                    </a:cubicBezTo>
                    <a:cubicBezTo>
                      <a:pt x="283606" y="196725"/>
                      <a:pt x="283606" y="196725"/>
                      <a:pt x="283606" y="196725"/>
                    </a:cubicBezTo>
                    <a:cubicBezTo>
                      <a:pt x="333560" y="196725"/>
                      <a:pt x="333560" y="196725"/>
                      <a:pt x="333560" y="196725"/>
                    </a:cubicBezTo>
                    <a:cubicBezTo>
                      <a:pt x="333560" y="143229"/>
                      <a:pt x="333560" y="143229"/>
                      <a:pt x="333560" y="143229"/>
                    </a:cubicBezTo>
                    <a:cubicBezTo>
                      <a:pt x="283606" y="143229"/>
                      <a:pt x="283606" y="143229"/>
                      <a:pt x="283606" y="143229"/>
                    </a:cubicBezTo>
                    <a:cubicBezTo>
                      <a:pt x="283606" y="125481"/>
                      <a:pt x="283606" y="125481"/>
                      <a:pt x="283606" y="125481"/>
                    </a:cubicBezTo>
                    <a:cubicBezTo>
                      <a:pt x="283606" y="112297"/>
                      <a:pt x="294003" y="101902"/>
                      <a:pt x="307189" y="101902"/>
                    </a:cubicBezTo>
                    <a:cubicBezTo>
                      <a:pt x="333560" y="101902"/>
                      <a:pt x="333560" y="101902"/>
                      <a:pt x="333560" y="101902"/>
                    </a:cubicBezTo>
                    <a:cubicBezTo>
                      <a:pt x="333560" y="48406"/>
                      <a:pt x="333560" y="48406"/>
                      <a:pt x="333560" y="48406"/>
                    </a:cubicBezTo>
                    <a:cubicBezTo>
                      <a:pt x="276253" y="48406"/>
                      <a:pt x="276253" y="48406"/>
                      <a:pt x="276253" y="48406"/>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sz="1800" kern="0" dirty="0">
                  <a:solidFill>
                    <a:srgbClr val="505050"/>
                  </a:solidFill>
                  <a:latin typeface="Segoe Light" pitchFamily="34" charset="0"/>
                </a:endParaRPr>
              </a:p>
            </p:txBody>
          </p:sp>
          <p:sp>
            <p:nvSpPr>
              <p:cNvPr id="364" name="Freeform 363"/>
              <p:cNvSpPr>
                <a:spLocks/>
              </p:cNvSpPr>
              <p:nvPr/>
            </p:nvSpPr>
            <p:spPr bwMode="black">
              <a:xfrm>
                <a:off x="4559485" y="3225823"/>
                <a:ext cx="195314" cy="195308"/>
              </a:xfrm>
              <a:custGeom>
                <a:avLst/>
                <a:gdLst/>
                <a:ahLst/>
                <a:cxnLst/>
                <a:rect l="l" t="t" r="r" b="b"/>
                <a:pathLst>
                  <a:path w="393142" h="393039">
                    <a:moveTo>
                      <a:pt x="81679" y="184317"/>
                    </a:moveTo>
                    <a:lnTo>
                      <a:pt x="81679" y="344009"/>
                    </a:lnTo>
                    <a:lnTo>
                      <a:pt x="138295" y="344009"/>
                    </a:lnTo>
                    <a:lnTo>
                      <a:pt x="138295" y="184317"/>
                    </a:lnTo>
                    <a:close/>
                    <a:moveTo>
                      <a:pt x="285263" y="180875"/>
                    </a:moveTo>
                    <a:cubicBezTo>
                      <a:pt x="271861" y="180875"/>
                      <a:pt x="260692" y="183399"/>
                      <a:pt x="251758" y="188447"/>
                    </a:cubicBezTo>
                    <a:cubicBezTo>
                      <a:pt x="246259" y="191544"/>
                      <a:pt x="240245" y="196879"/>
                      <a:pt x="233717" y="204450"/>
                    </a:cubicBezTo>
                    <a:lnTo>
                      <a:pt x="233717" y="184317"/>
                    </a:lnTo>
                    <a:lnTo>
                      <a:pt x="177101" y="184317"/>
                    </a:lnTo>
                    <a:lnTo>
                      <a:pt x="177101" y="344009"/>
                    </a:lnTo>
                    <a:lnTo>
                      <a:pt x="233717" y="344009"/>
                    </a:lnTo>
                    <a:lnTo>
                      <a:pt x="233717" y="258484"/>
                    </a:lnTo>
                    <a:cubicBezTo>
                      <a:pt x="233717" y="247299"/>
                      <a:pt x="236339" y="239081"/>
                      <a:pt x="241584" y="233831"/>
                    </a:cubicBezTo>
                    <a:cubicBezTo>
                      <a:pt x="247399" y="228010"/>
                      <a:pt x="254582" y="225100"/>
                      <a:pt x="263132" y="225100"/>
                    </a:cubicBezTo>
                    <a:cubicBezTo>
                      <a:pt x="272480" y="225100"/>
                      <a:pt x="279491" y="228480"/>
                      <a:pt x="284166" y="235240"/>
                    </a:cubicBezTo>
                    <a:cubicBezTo>
                      <a:pt x="287359" y="239821"/>
                      <a:pt x="288955" y="249157"/>
                      <a:pt x="288955" y="263246"/>
                    </a:cubicBezTo>
                    <a:lnTo>
                      <a:pt x="288955" y="344009"/>
                    </a:lnTo>
                    <a:lnTo>
                      <a:pt x="345570" y="344009"/>
                    </a:lnTo>
                    <a:lnTo>
                      <a:pt x="345570" y="242308"/>
                    </a:lnTo>
                    <a:cubicBezTo>
                      <a:pt x="345570" y="221200"/>
                      <a:pt x="339443" y="205368"/>
                      <a:pt x="327187" y="194814"/>
                    </a:cubicBezTo>
                    <a:cubicBezTo>
                      <a:pt x="316419" y="185521"/>
                      <a:pt x="302445" y="180875"/>
                      <a:pt x="285263" y="180875"/>
                    </a:cubicBezTo>
                    <a:close/>
                    <a:moveTo>
                      <a:pt x="109987" y="91392"/>
                    </a:moveTo>
                    <a:cubicBezTo>
                      <a:pt x="101177" y="91392"/>
                      <a:pt x="93711" y="94452"/>
                      <a:pt x="87591" y="100573"/>
                    </a:cubicBezTo>
                    <a:cubicBezTo>
                      <a:pt x="81470" y="106693"/>
                      <a:pt x="78410" y="114159"/>
                      <a:pt x="78410" y="122969"/>
                    </a:cubicBezTo>
                    <a:cubicBezTo>
                      <a:pt x="78410" y="131779"/>
                      <a:pt x="81470" y="139274"/>
                      <a:pt x="87591" y="145451"/>
                    </a:cubicBezTo>
                    <a:cubicBezTo>
                      <a:pt x="93711" y="151629"/>
                      <a:pt x="101177" y="154718"/>
                      <a:pt x="109987" y="154718"/>
                    </a:cubicBezTo>
                    <a:cubicBezTo>
                      <a:pt x="118912" y="154718"/>
                      <a:pt x="126435" y="151658"/>
                      <a:pt x="132555" y="145537"/>
                    </a:cubicBezTo>
                    <a:cubicBezTo>
                      <a:pt x="138676" y="139417"/>
                      <a:pt x="141736" y="131894"/>
                      <a:pt x="141736" y="122969"/>
                    </a:cubicBezTo>
                    <a:cubicBezTo>
                      <a:pt x="141736" y="114159"/>
                      <a:pt x="138647" y="106693"/>
                      <a:pt x="132469" y="100573"/>
                    </a:cubicBezTo>
                    <a:cubicBezTo>
                      <a:pt x="126291" y="94452"/>
                      <a:pt x="118797" y="91392"/>
                      <a:pt x="109987" y="91392"/>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sz="1800" kern="0" dirty="0">
                  <a:solidFill>
                    <a:srgbClr val="505050"/>
                  </a:solidFill>
                  <a:latin typeface="Segoe Light" pitchFamily="34" charset="0"/>
                </a:endParaRPr>
              </a:p>
            </p:txBody>
          </p:sp>
          <p:sp>
            <p:nvSpPr>
              <p:cNvPr id="365" name="Trapezoid 86"/>
              <p:cNvSpPr/>
              <p:nvPr/>
            </p:nvSpPr>
            <p:spPr>
              <a:xfrm rot="16200000">
                <a:off x="3926391" y="2322063"/>
                <a:ext cx="214998" cy="224675"/>
              </a:xfrm>
              <a:custGeom>
                <a:avLst/>
                <a:gdLst/>
                <a:ahLst/>
                <a:cxnLst/>
                <a:rect l="l" t="t" r="r" b="b"/>
                <a:pathLst>
                  <a:path w="2026419" h="2117634">
                    <a:moveTo>
                      <a:pt x="683394" y="1357221"/>
                    </a:moveTo>
                    <a:cubicBezTo>
                      <a:pt x="683394" y="1472952"/>
                      <a:pt x="589575" y="1566771"/>
                      <a:pt x="473844" y="1566771"/>
                    </a:cubicBezTo>
                    <a:cubicBezTo>
                      <a:pt x="358113" y="1566771"/>
                      <a:pt x="264294" y="1472952"/>
                      <a:pt x="264294" y="1357221"/>
                    </a:cubicBezTo>
                    <a:cubicBezTo>
                      <a:pt x="264294" y="1241490"/>
                      <a:pt x="358113" y="1147671"/>
                      <a:pt x="473844" y="1147671"/>
                    </a:cubicBezTo>
                    <a:cubicBezTo>
                      <a:pt x="589575" y="1147671"/>
                      <a:pt x="683394" y="1241490"/>
                      <a:pt x="683394" y="1357221"/>
                    </a:cubicBezTo>
                    <a:close/>
                    <a:moveTo>
                      <a:pt x="794521" y="1772403"/>
                    </a:moveTo>
                    <a:cubicBezTo>
                      <a:pt x="775533" y="1803019"/>
                      <a:pt x="763564" y="1838106"/>
                      <a:pt x="760480" y="1875663"/>
                    </a:cubicBezTo>
                    <a:cubicBezTo>
                      <a:pt x="654054" y="1822066"/>
                      <a:pt x="568072" y="1734443"/>
                      <a:pt x="516913" y="1626725"/>
                    </a:cubicBezTo>
                    <a:cubicBezTo>
                      <a:pt x="554560" y="1621730"/>
                      <a:pt x="589522" y="1608175"/>
                      <a:pt x="619969" y="1588089"/>
                    </a:cubicBezTo>
                    <a:cubicBezTo>
                      <a:pt x="656986" y="1666600"/>
                      <a:pt x="718716" y="1730458"/>
                      <a:pt x="794521" y="1772403"/>
                    </a:cubicBezTo>
                    <a:close/>
                    <a:moveTo>
                      <a:pt x="1240606" y="1908084"/>
                    </a:moveTo>
                    <a:cubicBezTo>
                      <a:pt x="1240606" y="2023815"/>
                      <a:pt x="1146787" y="2117634"/>
                      <a:pt x="1031056" y="2117634"/>
                    </a:cubicBezTo>
                    <a:cubicBezTo>
                      <a:pt x="915325" y="2117634"/>
                      <a:pt x="821506" y="2023815"/>
                      <a:pt x="821506" y="1908084"/>
                    </a:cubicBezTo>
                    <a:cubicBezTo>
                      <a:pt x="821506" y="1792353"/>
                      <a:pt x="915325" y="1698534"/>
                      <a:pt x="1031056" y="1698534"/>
                    </a:cubicBezTo>
                    <a:cubicBezTo>
                      <a:pt x="1146787" y="1698534"/>
                      <a:pt x="1240606" y="1792353"/>
                      <a:pt x="1240606" y="1908084"/>
                    </a:cubicBezTo>
                    <a:close/>
                    <a:moveTo>
                      <a:pt x="1373359" y="613050"/>
                    </a:moveTo>
                    <a:cubicBezTo>
                      <a:pt x="1373781" y="592439"/>
                      <a:pt x="1371525" y="580084"/>
                      <a:pt x="1366588" y="548121"/>
                    </a:cubicBezTo>
                    <a:cubicBezTo>
                      <a:pt x="1346003" y="461219"/>
                      <a:pt x="1278868" y="410011"/>
                      <a:pt x="1201868" y="402221"/>
                    </a:cubicBezTo>
                    <a:cubicBezTo>
                      <a:pt x="931351" y="360536"/>
                      <a:pt x="985455" y="670197"/>
                      <a:pt x="854062" y="652331"/>
                    </a:cubicBezTo>
                    <a:cubicBezTo>
                      <a:pt x="735550" y="625534"/>
                      <a:pt x="783213" y="491547"/>
                      <a:pt x="823146" y="420087"/>
                    </a:cubicBezTo>
                    <a:lnTo>
                      <a:pt x="695617" y="393290"/>
                    </a:lnTo>
                    <a:cubicBezTo>
                      <a:pt x="669255" y="453845"/>
                      <a:pt x="655521" y="504886"/>
                      <a:pt x="653658" y="548121"/>
                    </a:cubicBezTo>
                    <a:cubicBezTo>
                      <a:pt x="652750" y="592572"/>
                      <a:pt x="651843" y="592994"/>
                      <a:pt x="658078" y="637445"/>
                    </a:cubicBezTo>
                    <a:cubicBezTo>
                      <a:pt x="684114" y="745767"/>
                      <a:pt x="788926" y="772909"/>
                      <a:pt x="827010" y="783341"/>
                    </a:cubicBezTo>
                    <a:cubicBezTo>
                      <a:pt x="1076916" y="832967"/>
                      <a:pt x="1075626" y="531247"/>
                      <a:pt x="1182546" y="530254"/>
                    </a:cubicBezTo>
                    <a:cubicBezTo>
                      <a:pt x="1299767" y="545140"/>
                      <a:pt x="1246955" y="694015"/>
                      <a:pt x="1209598" y="735701"/>
                    </a:cubicBezTo>
                    <a:lnTo>
                      <a:pt x="1340990" y="762499"/>
                    </a:lnTo>
                    <a:cubicBezTo>
                      <a:pt x="1359764" y="717009"/>
                      <a:pt x="1370090" y="675238"/>
                      <a:pt x="1372044" y="637445"/>
                    </a:cubicBezTo>
                    <a:cubicBezTo>
                      <a:pt x="1372780" y="627708"/>
                      <a:pt x="1373218" y="619921"/>
                      <a:pt x="1373359" y="613050"/>
                    </a:cubicBezTo>
                    <a:close/>
                    <a:moveTo>
                      <a:pt x="1512939" y="1619251"/>
                    </a:moveTo>
                    <a:cubicBezTo>
                      <a:pt x="1467757" y="1718695"/>
                      <a:pt x="1392941" y="1801540"/>
                      <a:pt x="1299780" y="1857295"/>
                    </a:cubicBezTo>
                    <a:cubicBezTo>
                      <a:pt x="1293356" y="1820868"/>
                      <a:pt x="1279346" y="1787051"/>
                      <a:pt x="1259468" y="1757439"/>
                    </a:cubicBezTo>
                    <a:cubicBezTo>
                      <a:pt x="1328714" y="1711331"/>
                      <a:pt x="1384214" y="1646253"/>
                      <a:pt x="1415932" y="1568433"/>
                    </a:cubicBezTo>
                    <a:cubicBezTo>
                      <a:pt x="1443458" y="1592539"/>
                      <a:pt x="1476496" y="1610117"/>
                      <a:pt x="1512939" y="1619251"/>
                    </a:cubicBezTo>
                    <a:close/>
                    <a:moveTo>
                      <a:pt x="1797819" y="1357221"/>
                    </a:moveTo>
                    <a:cubicBezTo>
                      <a:pt x="1797819" y="1472952"/>
                      <a:pt x="1704000" y="1566771"/>
                      <a:pt x="1588269" y="1566771"/>
                    </a:cubicBezTo>
                    <a:cubicBezTo>
                      <a:pt x="1472538" y="1566771"/>
                      <a:pt x="1378719" y="1472952"/>
                      <a:pt x="1378719" y="1357221"/>
                    </a:cubicBezTo>
                    <a:cubicBezTo>
                      <a:pt x="1378719" y="1241490"/>
                      <a:pt x="1472538" y="1147671"/>
                      <a:pt x="1588269" y="1147671"/>
                    </a:cubicBezTo>
                    <a:cubicBezTo>
                      <a:pt x="1704000" y="1147671"/>
                      <a:pt x="1797819" y="1241490"/>
                      <a:pt x="1797819" y="1357221"/>
                    </a:cubicBezTo>
                    <a:close/>
                    <a:moveTo>
                      <a:pt x="2026419" y="1204820"/>
                    </a:moveTo>
                    <a:lnTo>
                      <a:pt x="1815729" y="1204820"/>
                    </a:lnTo>
                    <a:cubicBezTo>
                      <a:pt x="1766640" y="1131561"/>
                      <a:pt x="1683081" y="1083377"/>
                      <a:pt x="1588269" y="1083377"/>
                    </a:cubicBezTo>
                    <a:cubicBezTo>
                      <a:pt x="1493456" y="1083377"/>
                      <a:pt x="1409898" y="1131561"/>
                      <a:pt x="1360808" y="1204820"/>
                    </a:cubicBezTo>
                    <a:lnTo>
                      <a:pt x="701304" y="1204820"/>
                    </a:lnTo>
                    <a:cubicBezTo>
                      <a:pt x="652215" y="1131561"/>
                      <a:pt x="568656" y="1083377"/>
                      <a:pt x="473844" y="1083377"/>
                    </a:cubicBezTo>
                    <a:cubicBezTo>
                      <a:pt x="379031" y="1083377"/>
                      <a:pt x="295473" y="1131561"/>
                      <a:pt x="246383" y="1204820"/>
                    </a:cubicBezTo>
                    <a:lnTo>
                      <a:pt x="0" y="1204820"/>
                    </a:lnTo>
                    <a:lnTo>
                      <a:pt x="199603" y="0"/>
                    </a:lnTo>
                    <a:lnTo>
                      <a:pt x="1826816"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defRPr/>
                </a:pPr>
                <a:endParaRPr lang="en-US" dirty="0">
                  <a:solidFill>
                    <a:srgbClr val="505050"/>
                  </a:solidFill>
                </a:endParaRPr>
              </a:p>
            </p:txBody>
          </p:sp>
          <p:sp>
            <p:nvSpPr>
              <p:cNvPr id="366" name="Freeform 365"/>
              <p:cNvSpPr/>
              <p:nvPr/>
            </p:nvSpPr>
            <p:spPr>
              <a:xfrm>
                <a:off x="4739777" y="2702651"/>
                <a:ext cx="212360" cy="205921"/>
              </a:xfrm>
              <a:custGeom>
                <a:avLst/>
                <a:gdLst>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1358 w 4062047"/>
                  <a:gd name="connsiteY5" fmla="*/ 1576817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1358 w 4062047"/>
                  <a:gd name="connsiteY9" fmla="*/ 1576817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3739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3739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62047" h="3938955">
                    <a:moveTo>
                      <a:pt x="2292410" y="2109292"/>
                    </a:moveTo>
                    <a:cubicBezTo>
                      <a:pt x="2268687" y="2107678"/>
                      <a:pt x="2249265" y="2109514"/>
                      <a:pt x="2235381" y="2115515"/>
                    </a:cubicBezTo>
                    <a:cubicBezTo>
                      <a:pt x="2217974" y="2189262"/>
                      <a:pt x="2613445" y="2474616"/>
                      <a:pt x="2889776" y="2637325"/>
                    </a:cubicBezTo>
                    <a:cubicBezTo>
                      <a:pt x="2978370" y="2687082"/>
                      <a:pt x="3175001" y="2558447"/>
                      <a:pt x="2998691" y="2403914"/>
                    </a:cubicBezTo>
                    <a:cubicBezTo>
                      <a:pt x="2835268" y="2300874"/>
                      <a:pt x="2458468" y="2120587"/>
                      <a:pt x="2292410" y="2109292"/>
                    </a:cubicBezTo>
                    <a:close/>
                    <a:moveTo>
                      <a:pt x="3206785" y="1603188"/>
                    </a:moveTo>
                    <a:cubicBezTo>
                      <a:pt x="3072434" y="1591741"/>
                      <a:pt x="2414941" y="1693084"/>
                      <a:pt x="2420651" y="1739087"/>
                    </a:cubicBezTo>
                    <a:cubicBezTo>
                      <a:pt x="2441093" y="1812050"/>
                      <a:pt x="2920489" y="1870481"/>
                      <a:pt x="3241046" y="1879207"/>
                    </a:cubicBezTo>
                    <a:cubicBezTo>
                      <a:pt x="3377656" y="1864033"/>
                      <a:pt x="3431985" y="1611977"/>
                      <a:pt x="3206785" y="1603188"/>
                    </a:cubicBezTo>
                    <a:close/>
                    <a:moveTo>
                      <a:pt x="2950677" y="857698"/>
                    </a:moveTo>
                    <a:cubicBezTo>
                      <a:pt x="2927159" y="860050"/>
                      <a:pt x="2900469" y="866759"/>
                      <a:pt x="2870505" y="878864"/>
                    </a:cubicBezTo>
                    <a:cubicBezTo>
                      <a:pt x="2672862" y="977289"/>
                      <a:pt x="2275194" y="1268596"/>
                      <a:pt x="2227569" y="1381308"/>
                    </a:cubicBezTo>
                    <a:cubicBezTo>
                      <a:pt x="2281544" y="1434489"/>
                      <a:pt x="2730806" y="1244784"/>
                      <a:pt x="3013380" y="1093177"/>
                    </a:cubicBezTo>
                    <a:cubicBezTo>
                      <a:pt x="3117363" y="1016878"/>
                      <a:pt x="3055771" y="876954"/>
                      <a:pt x="2950677" y="857698"/>
                    </a:cubicBezTo>
                    <a:close/>
                    <a:moveTo>
                      <a:pt x="850835" y="587237"/>
                    </a:moveTo>
                    <a:cubicBezTo>
                      <a:pt x="745540" y="573769"/>
                      <a:pt x="690473" y="689557"/>
                      <a:pt x="691663" y="759803"/>
                    </a:cubicBezTo>
                    <a:lnTo>
                      <a:pt x="1286976" y="2250466"/>
                    </a:lnTo>
                    <a:cubicBezTo>
                      <a:pt x="1258401" y="2445728"/>
                      <a:pt x="1167913" y="2564791"/>
                      <a:pt x="1072663" y="2593366"/>
                    </a:cubicBezTo>
                    <a:cubicBezTo>
                      <a:pt x="963126" y="2639403"/>
                      <a:pt x="767864" y="2542565"/>
                      <a:pt x="744051" y="2731478"/>
                    </a:cubicBezTo>
                    <a:cubicBezTo>
                      <a:pt x="759926" y="2890228"/>
                      <a:pt x="947251" y="2896578"/>
                      <a:pt x="1191726" y="2836253"/>
                    </a:cubicBezTo>
                    <a:cubicBezTo>
                      <a:pt x="1426676" y="2750528"/>
                      <a:pt x="1466364" y="2636228"/>
                      <a:pt x="1696551" y="2036153"/>
                    </a:cubicBezTo>
                    <a:lnTo>
                      <a:pt x="2201376" y="769328"/>
                    </a:lnTo>
                    <a:cubicBezTo>
                      <a:pt x="2215663" y="650265"/>
                      <a:pt x="2048976" y="521678"/>
                      <a:pt x="1929913" y="683603"/>
                    </a:cubicBezTo>
                    <a:lnTo>
                      <a:pt x="1458426" y="1855178"/>
                    </a:lnTo>
                    <a:lnTo>
                      <a:pt x="972651" y="650266"/>
                    </a:lnTo>
                    <a:cubicBezTo>
                      <a:pt x="926614" y="610579"/>
                      <a:pt x="885934" y="591727"/>
                      <a:pt x="850835" y="587237"/>
                    </a:cubicBezTo>
                    <a:close/>
                    <a:moveTo>
                      <a:pt x="540732" y="0"/>
                    </a:moveTo>
                    <a:lnTo>
                      <a:pt x="3521315" y="0"/>
                    </a:lnTo>
                    <a:cubicBezTo>
                      <a:pt x="3819953" y="0"/>
                      <a:pt x="4062047" y="242093"/>
                      <a:pt x="4062047" y="540731"/>
                    </a:cubicBezTo>
                    <a:lnTo>
                      <a:pt x="4062047" y="2914645"/>
                    </a:lnTo>
                    <a:cubicBezTo>
                      <a:pt x="4062047" y="3213283"/>
                      <a:pt x="3819953" y="3455377"/>
                      <a:pt x="3521315" y="3455377"/>
                    </a:cubicBezTo>
                    <a:lnTo>
                      <a:pt x="1802912" y="3455377"/>
                    </a:lnTo>
                    <a:lnTo>
                      <a:pt x="1075041" y="3938955"/>
                    </a:lnTo>
                    <a:lnTo>
                      <a:pt x="1075041" y="3455377"/>
                    </a:lnTo>
                    <a:lnTo>
                      <a:pt x="540732" y="3455377"/>
                    </a:lnTo>
                    <a:cubicBezTo>
                      <a:pt x="242094" y="3455377"/>
                      <a:pt x="0" y="3213283"/>
                      <a:pt x="0" y="2914645"/>
                    </a:cubicBezTo>
                    <a:lnTo>
                      <a:pt x="0" y="540731"/>
                    </a:lnTo>
                    <a:cubicBezTo>
                      <a:pt x="0" y="242093"/>
                      <a:pt x="242094" y="0"/>
                      <a:pt x="540732"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defRPr/>
                </a:pPr>
                <a:endParaRPr lang="en-US" dirty="0">
                  <a:solidFill>
                    <a:srgbClr val="505050"/>
                  </a:solidFill>
                  <a:ea typeface="Segoe UI" pitchFamily="34" charset="0"/>
                  <a:cs typeface="Segoe UI" pitchFamily="34" charset="0"/>
                </a:endParaRPr>
              </a:p>
            </p:txBody>
          </p:sp>
          <p:sp>
            <p:nvSpPr>
              <p:cNvPr id="367" name="Freeform 366"/>
              <p:cNvSpPr>
                <a:spLocks/>
              </p:cNvSpPr>
              <p:nvPr/>
            </p:nvSpPr>
            <p:spPr bwMode="auto">
              <a:xfrm>
                <a:off x="4790660" y="3040183"/>
                <a:ext cx="179316" cy="173928"/>
              </a:xfrm>
              <a:custGeom>
                <a:avLst/>
                <a:gdLst/>
                <a:ahLst/>
                <a:cxnLst/>
                <a:rect l="l" t="t" r="r" b="b"/>
                <a:pathLst>
                  <a:path w="792162" h="768350">
                    <a:moveTo>
                      <a:pt x="428082" y="239713"/>
                    </a:moveTo>
                    <a:lnTo>
                      <a:pt x="415438" y="240512"/>
                    </a:lnTo>
                    <a:lnTo>
                      <a:pt x="403583" y="242907"/>
                    </a:lnTo>
                    <a:lnTo>
                      <a:pt x="391728" y="248496"/>
                    </a:lnTo>
                    <a:lnTo>
                      <a:pt x="380664" y="254884"/>
                    </a:lnTo>
                    <a:lnTo>
                      <a:pt x="369599" y="264466"/>
                    </a:lnTo>
                    <a:lnTo>
                      <a:pt x="360116" y="274846"/>
                    </a:lnTo>
                    <a:lnTo>
                      <a:pt x="349842" y="288420"/>
                    </a:lnTo>
                    <a:lnTo>
                      <a:pt x="340358" y="303591"/>
                    </a:lnTo>
                    <a:lnTo>
                      <a:pt x="331664" y="319561"/>
                    </a:lnTo>
                    <a:lnTo>
                      <a:pt x="324552" y="334732"/>
                    </a:lnTo>
                    <a:lnTo>
                      <a:pt x="318229" y="350701"/>
                    </a:lnTo>
                    <a:lnTo>
                      <a:pt x="312697" y="366671"/>
                    </a:lnTo>
                    <a:lnTo>
                      <a:pt x="308745" y="381842"/>
                    </a:lnTo>
                    <a:lnTo>
                      <a:pt x="306374" y="397013"/>
                    </a:lnTo>
                    <a:lnTo>
                      <a:pt x="304004" y="412184"/>
                    </a:lnTo>
                    <a:lnTo>
                      <a:pt x="303213" y="427355"/>
                    </a:lnTo>
                    <a:lnTo>
                      <a:pt x="304004" y="444922"/>
                    </a:lnTo>
                    <a:lnTo>
                      <a:pt x="307955" y="459294"/>
                    </a:lnTo>
                    <a:lnTo>
                      <a:pt x="312697" y="472868"/>
                    </a:lnTo>
                    <a:lnTo>
                      <a:pt x="319810" y="484845"/>
                    </a:lnTo>
                    <a:lnTo>
                      <a:pt x="324552" y="490435"/>
                    </a:lnTo>
                    <a:lnTo>
                      <a:pt x="328503" y="495226"/>
                    </a:lnTo>
                    <a:lnTo>
                      <a:pt x="334035" y="499218"/>
                    </a:lnTo>
                    <a:lnTo>
                      <a:pt x="339568" y="502412"/>
                    </a:lnTo>
                    <a:lnTo>
                      <a:pt x="345100" y="505606"/>
                    </a:lnTo>
                    <a:lnTo>
                      <a:pt x="351422" y="506404"/>
                    </a:lnTo>
                    <a:lnTo>
                      <a:pt x="358535" y="508001"/>
                    </a:lnTo>
                    <a:lnTo>
                      <a:pt x="366438" y="508001"/>
                    </a:lnTo>
                    <a:lnTo>
                      <a:pt x="379083" y="507203"/>
                    </a:lnTo>
                    <a:lnTo>
                      <a:pt x="390938" y="502412"/>
                    </a:lnTo>
                    <a:lnTo>
                      <a:pt x="402793" y="496024"/>
                    </a:lnTo>
                    <a:lnTo>
                      <a:pt x="413857" y="488039"/>
                    </a:lnTo>
                    <a:lnTo>
                      <a:pt x="424131" y="476062"/>
                    </a:lnTo>
                    <a:lnTo>
                      <a:pt x="434405" y="462488"/>
                    </a:lnTo>
                    <a:lnTo>
                      <a:pt x="443889" y="445720"/>
                    </a:lnTo>
                    <a:lnTo>
                      <a:pt x="451792" y="427355"/>
                    </a:lnTo>
                    <a:lnTo>
                      <a:pt x="459695" y="407393"/>
                    </a:lnTo>
                    <a:lnTo>
                      <a:pt x="466017" y="389028"/>
                    </a:lnTo>
                    <a:lnTo>
                      <a:pt x="472340" y="372260"/>
                    </a:lnTo>
                    <a:lnTo>
                      <a:pt x="477082" y="355492"/>
                    </a:lnTo>
                    <a:lnTo>
                      <a:pt x="481033" y="340321"/>
                    </a:lnTo>
                    <a:lnTo>
                      <a:pt x="483404" y="325949"/>
                    </a:lnTo>
                    <a:lnTo>
                      <a:pt x="484195" y="313173"/>
                    </a:lnTo>
                    <a:lnTo>
                      <a:pt x="485775" y="301196"/>
                    </a:lnTo>
                    <a:lnTo>
                      <a:pt x="484195" y="288420"/>
                    </a:lnTo>
                    <a:lnTo>
                      <a:pt x="481824" y="277242"/>
                    </a:lnTo>
                    <a:lnTo>
                      <a:pt x="476292" y="266063"/>
                    </a:lnTo>
                    <a:lnTo>
                      <a:pt x="469969" y="256481"/>
                    </a:lnTo>
                    <a:lnTo>
                      <a:pt x="466017" y="253287"/>
                    </a:lnTo>
                    <a:lnTo>
                      <a:pt x="462066" y="249295"/>
                    </a:lnTo>
                    <a:lnTo>
                      <a:pt x="457324" y="246900"/>
                    </a:lnTo>
                    <a:lnTo>
                      <a:pt x="451792" y="243706"/>
                    </a:lnTo>
                    <a:lnTo>
                      <a:pt x="446260" y="242109"/>
                    </a:lnTo>
                    <a:lnTo>
                      <a:pt x="440727" y="240512"/>
                    </a:lnTo>
                    <a:lnTo>
                      <a:pt x="434405" y="239713"/>
                    </a:lnTo>
                    <a:close/>
                    <a:moveTo>
                      <a:pt x="427466" y="0"/>
                    </a:moveTo>
                    <a:lnTo>
                      <a:pt x="446535" y="0"/>
                    </a:lnTo>
                    <a:lnTo>
                      <a:pt x="464809" y="1588"/>
                    </a:lnTo>
                    <a:lnTo>
                      <a:pt x="483084" y="3175"/>
                    </a:lnTo>
                    <a:lnTo>
                      <a:pt x="501359" y="5556"/>
                    </a:lnTo>
                    <a:lnTo>
                      <a:pt x="518839" y="8731"/>
                    </a:lnTo>
                    <a:lnTo>
                      <a:pt x="536319" y="11906"/>
                    </a:lnTo>
                    <a:lnTo>
                      <a:pt x="553004" y="15875"/>
                    </a:lnTo>
                    <a:lnTo>
                      <a:pt x="569689" y="20638"/>
                    </a:lnTo>
                    <a:lnTo>
                      <a:pt x="584786" y="26194"/>
                    </a:lnTo>
                    <a:lnTo>
                      <a:pt x="600677" y="32544"/>
                    </a:lnTo>
                    <a:lnTo>
                      <a:pt x="614979" y="38894"/>
                    </a:lnTo>
                    <a:lnTo>
                      <a:pt x="630075" y="46038"/>
                    </a:lnTo>
                    <a:lnTo>
                      <a:pt x="644377" y="53975"/>
                    </a:lnTo>
                    <a:lnTo>
                      <a:pt x="657884" y="62706"/>
                    </a:lnTo>
                    <a:lnTo>
                      <a:pt x="672186" y="71438"/>
                    </a:lnTo>
                    <a:lnTo>
                      <a:pt x="684899" y="81756"/>
                    </a:lnTo>
                    <a:lnTo>
                      <a:pt x="709529" y="103981"/>
                    </a:lnTo>
                    <a:lnTo>
                      <a:pt x="730982" y="127794"/>
                    </a:lnTo>
                    <a:lnTo>
                      <a:pt x="750051" y="153988"/>
                    </a:lnTo>
                    <a:lnTo>
                      <a:pt x="765148" y="181769"/>
                    </a:lnTo>
                    <a:lnTo>
                      <a:pt x="777066" y="211138"/>
                    </a:lnTo>
                    <a:lnTo>
                      <a:pt x="785011" y="242094"/>
                    </a:lnTo>
                    <a:lnTo>
                      <a:pt x="789779" y="273844"/>
                    </a:lnTo>
                    <a:lnTo>
                      <a:pt x="792162" y="308769"/>
                    </a:lnTo>
                    <a:lnTo>
                      <a:pt x="790573" y="336550"/>
                    </a:lnTo>
                    <a:lnTo>
                      <a:pt x="787395" y="362744"/>
                    </a:lnTo>
                    <a:lnTo>
                      <a:pt x="781833" y="387350"/>
                    </a:lnTo>
                    <a:lnTo>
                      <a:pt x="774682" y="411956"/>
                    </a:lnTo>
                    <a:lnTo>
                      <a:pt x="765148" y="435769"/>
                    </a:lnTo>
                    <a:lnTo>
                      <a:pt x="753229" y="457994"/>
                    </a:lnTo>
                    <a:lnTo>
                      <a:pt x="739722" y="480219"/>
                    </a:lnTo>
                    <a:lnTo>
                      <a:pt x="723037" y="500063"/>
                    </a:lnTo>
                    <a:lnTo>
                      <a:pt x="715091" y="510381"/>
                    </a:lnTo>
                    <a:lnTo>
                      <a:pt x="705557" y="518319"/>
                    </a:lnTo>
                    <a:lnTo>
                      <a:pt x="697611" y="527844"/>
                    </a:lnTo>
                    <a:lnTo>
                      <a:pt x="688077" y="534988"/>
                    </a:lnTo>
                    <a:lnTo>
                      <a:pt x="679337" y="542131"/>
                    </a:lnTo>
                    <a:lnTo>
                      <a:pt x="669802" y="548481"/>
                    </a:lnTo>
                    <a:lnTo>
                      <a:pt x="661062" y="554038"/>
                    </a:lnTo>
                    <a:lnTo>
                      <a:pt x="650733" y="559594"/>
                    </a:lnTo>
                    <a:lnTo>
                      <a:pt x="640404" y="564356"/>
                    </a:lnTo>
                    <a:lnTo>
                      <a:pt x="631664" y="568325"/>
                    </a:lnTo>
                    <a:lnTo>
                      <a:pt x="621335" y="572294"/>
                    </a:lnTo>
                    <a:lnTo>
                      <a:pt x="611800" y="574675"/>
                    </a:lnTo>
                    <a:lnTo>
                      <a:pt x="600677" y="577056"/>
                    </a:lnTo>
                    <a:lnTo>
                      <a:pt x="590348" y="578644"/>
                    </a:lnTo>
                    <a:lnTo>
                      <a:pt x="579224" y="579438"/>
                    </a:lnTo>
                    <a:lnTo>
                      <a:pt x="568100" y="579438"/>
                    </a:lnTo>
                    <a:lnTo>
                      <a:pt x="557771" y="579438"/>
                    </a:lnTo>
                    <a:lnTo>
                      <a:pt x="547442" y="577850"/>
                    </a:lnTo>
                    <a:lnTo>
                      <a:pt x="537113" y="576263"/>
                    </a:lnTo>
                    <a:lnTo>
                      <a:pt x="528373" y="573088"/>
                    </a:lnTo>
                    <a:lnTo>
                      <a:pt x="519633" y="569913"/>
                    </a:lnTo>
                    <a:lnTo>
                      <a:pt x="512482" y="565150"/>
                    </a:lnTo>
                    <a:lnTo>
                      <a:pt x="505331" y="560388"/>
                    </a:lnTo>
                    <a:lnTo>
                      <a:pt x="498975" y="554038"/>
                    </a:lnTo>
                    <a:lnTo>
                      <a:pt x="488646" y="541338"/>
                    </a:lnTo>
                    <a:lnTo>
                      <a:pt x="481495" y="527844"/>
                    </a:lnTo>
                    <a:lnTo>
                      <a:pt x="476728" y="514350"/>
                    </a:lnTo>
                    <a:lnTo>
                      <a:pt x="475139" y="501650"/>
                    </a:lnTo>
                    <a:lnTo>
                      <a:pt x="475139" y="498475"/>
                    </a:lnTo>
                    <a:lnTo>
                      <a:pt x="475139" y="494506"/>
                    </a:lnTo>
                    <a:lnTo>
                      <a:pt x="475139" y="489744"/>
                    </a:lnTo>
                    <a:lnTo>
                      <a:pt x="475933" y="484188"/>
                    </a:lnTo>
                    <a:lnTo>
                      <a:pt x="471166" y="493713"/>
                    </a:lnTo>
                    <a:lnTo>
                      <a:pt x="465604" y="501650"/>
                    </a:lnTo>
                    <a:lnTo>
                      <a:pt x="461631" y="508794"/>
                    </a:lnTo>
                    <a:lnTo>
                      <a:pt x="456069" y="516731"/>
                    </a:lnTo>
                    <a:lnTo>
                      <a:pt x="450508" y="523875"/>
                    </a:lnTo>
                    <a:lnTo>
                      <a:pt x="444946" y="530225"/>
                    </a:lnTo>
                    <a:lnTo>
                      <a:pt x="439384" y="535781"/>
                    </a:lnTo>
                    <a:lnTo>
                      <a:pt x="433822" y="541338"/>
                    </a:lnTo>
                    <a:lnTo>
                      <a:pt x="422699" y="550069"/>
                    </a:lnTo>
                    <a:lnTo>
                      <a:pt x="411575" y="558006"/>
                    </a:lnTo>
                    <a:lnTo>
                      <a:pt x="399657" y="564356"/>
                    </a:lnTo>
                    <a:lnTo>
                      <a:pt x="387739" y="569913"/>
                    </a:lnTo>
                    <a:lnTo>
                      <a:pt x="375026" y="573088"/>
                    </a:lnTo>
                    <a:lnTo>
                      <a:pt x="362313" y="577056"/>
                    </a:lnTo>
                    <a:lnTo>
                      <a:pt x="348806" y="577850"/>
                    </a:lnTo>
                    <a:lnTo>
                      <a:pt x="333709" y="578644"/>
                    </a:lnTo>
                    <a:lnTo>
                      <a:pt x="319408" y="577850"/>
                    </a:lnTo>
                    <a:lnTo>
                      <a:pt x="305900" y="576263"/>
                    </a:lnTo>
                    <a:lnTo>
                      <a:pt x="291598" y="573088"/>
                    </a:lnTo>
                    <a:lnTo>
                      <a:pt x="278886" y="568325"/>
                    </a:lnTo>
                    <a:lnTo>
                      <a:pt x="266968" y="561975"/>
                    </a:lnTo>
                    <a:lnTo>
                      <a:pt x="255844" y="554831"/>
                    </a:lnTo>
                    <a:lnTo>
                      <a:pt x="245515" y="546894"/>
                    </a:lnTo>
                    <a:lnTo>
                      <a:pt x="235186" y="536575"/>
                    </a:lnTo>
                    <a:lnTo>
                      <a:pt x="225651" y="525463"/>
                    </a:lnTo>
                    <a:lnTo>
                      <a:pt x="217706" y="512763"/>
                    </a:lnTo>
                    <a:lnTo>
                      <a:pt x="210555" y="500063"/>
                    </a:lnTo>
                    <a:lnTo>
                      <a:pt x="204993" y="484981"/>
                    </a:lnTo>
                    <a:lnTo>
                      <a:pt x="200226" y="469900"/>
                    </a:lnTo>
                    <a:lnTo>
                      <a:pt x="197842" y="453231"/>
                    </a:lnTo>
                    <a:lnTo>
                      <a:pt x="195458" y="434975"/>
                    </a:lnTo>
                    <a:lnTo>
                      <a:pt x="194664" y="416719"/>
                    </a:lnTo>
                    <a:lnTo>
                      <a:pt x="195458" y="394494"/>
                    </a:lnTo>
                    <a:lnTo>
                      <a:pt x="198637" y="373856"/>
                    </a:lnTo>
                    <a:lnTo>
                      <a:pt x="203404" y="351631"/>
                    </a:lnTo>
                    <a:lnTo>
                      <a:pt x="210555" y="330994"/>
                    </a:lnTo>
                    <a:lnTo>
                      <a:pt x="218500" y="310356"/>
                    </a:lnTo>
                    <a:lnTo>
                      <a:pt x="228829" y="289719"/>
                    </a:lnTo>
                    <a:lnTo>
                      <a:pt x="241542" y="270669"/>
                    </a:lnTo>
                    <a:lnTo>
                      <a:pt x="255049" y="250031"/>
                    </a:lnTo>
                    <a:lnTo>
                      <a:pt x="262995" y="241300"/>
                    </a:lnTo>
                    <a:lnTo>
                      <a:pt x="270940" y="231775"/>
                    </a:lnTo>
                    <a:lnTo>
                      <a:pt x="278886" y="223838"/>
                    </a:lnTo>
                    <a:lnTo>
                      <a:pt x="287626" y="216694"/>
                    </a:lnTo>
                    <a:lnTo>
                      <a:pt x="295571" y="209550"/>
                    </a:lnTo>
                    <a:lnTo>
                      <a:pt x="305106" y="203200"/>
                    </a:lnTo>
                    <a:lnTo>
                      <a:pt x="313846" y="197644"/>
                    </a:lnTo>
                    <a:lnTo>
                      <a:pt x="323380" y="192881"/>
                    </a:lnTo>
                    <a:lnTo>
                      <a:pt x="332120" y="188119"/>
                    </a:lnTo>
                    <a:lnTo>
                      <a:pt x="342449" y="184150"/>
                    </a:lnTo>
                    <a:lnTo>
                      <a:pt x="351984" y="180975"/>
                    </a:lnTo>
                    <a:lnTo>
                      <a:pt x="362313" y="177800"/>
                    </a:lnTo>
                    <a:lnTo>
                      <a:pt x="372642" y="176213"/>
                    </a:lnTo>
                    <a:lnTo>
                      <a:pt x="382177" y="174625"/>
                    </a:lnTo>
                    <a:lnTo>
                      <a:pt x="393300" y="173038"/>
                    </a:lnTo>
                    <a:lnTo>
                      <a:pt x="404424" y="173038"/>
                    </a:lnTo>
                    <a:lnTo>
                      <a:pt x="417137" y="173038"/>
                    </a:lnTo>
                    <a:lnTo>
                      <a:pt x="428260" y="175419"/>
                    </a:lnTo>
                    <a:lnTo>
                      <a:pt x="439384" y="177006"/>
                    </a:lnTo>
                    <a:lnTo>
                      <a:pt x="450508" y="180975"/>
                    </a:lnTo>
                    <a:lnTo>
                      <a:pt x="459248" y="184150"/>
                    </a:lnTo>
                    <a:lnTo>
                      <a:pt x="468782" y="188913"/>
                    </a:lnTo>
                    <a:lnTo>
                      <a:pt x="476728" y="195263"/>
                    </a:lnTo>
                    <a:lnTo>
                      <a:pt x="483879" y="201613"/>
                    </a:lnTo>
                    <a:lnTo>
                      <a:pt x="489440" y="207169"/>
                    </a:lnTo>
                    <a:lnTo>
                      <a:pt x="494208" y="212725"/>
                    </a:lnTo>
                    <a:lnTo>
                      <a:pt x="498975" y="219075"/>
                    </a:lnTo>
                    <a:lnTo>
                      <a:pt x="502153" y="225425"/>
                    </a:lnTo>
                    <a:lnTo>
                      <a:pt x="505331" y="231775"/>
                    </a:lnTo>
                    <a:lnTo>
                      <a:pt x="509304" y="238125"/>
                    </a:lnTo>
                    <a:lnTo>
                      <a:pt x="511688" y="244475"/>
                    </a:lnTo>
                    <a:lnTo>
                      <a:pt x="513277" y="252413"/>
                    </a:lnTo>
                    <a:lnTo>
                      <a:pt x="530757" y="189706"/>
                    </a:lnTo>
                    <a:lnTo>
                      <a:pt x="624513" y="189706"/>
                    </a:lnTo>
                    <a:lnTo>
                      <a:pt x="560949" y="403225"/>
                    </a:lnTo>
                    <a:lnTo>
                      <a:pt x="557771" y="415131"/>
                    </a:lnTo>
                    <a:lnTo>
                      <a:pt x="554593" y="426244"/>
                    </a:lnTo>
                    <a:lnTo>
                      <a:pt x="552209" y="434181"/>
                    </a:lnTo>
                    <a:lnTo>
                      <a:pt x="549826" y="441325"/>
                    </a:lnTo>
                    <a:lnTo>
                      <a:pt x="549031" y="447675"/>
                    </a:lnTo>
                    <a:lnTo>
                      <a:pt x="548237" y="453231"/>
                    </a:lnTo>
                    <a:lnTo>
                      <a:pt x="547442" y="458788"/>
                    </a:lnTo>
                    <a:lnTo>
                      <a:pt x="547442" y="463550"/>
                    </a:lnTo>
                    <a:lnTo>
                      <a:pt x="548237" y="470694"/>
                    </a:lnTo>
                    <a:lnTo>
                      <a:pt x="549826" y="477838"/>
                    </a:lnTo>
                    <a:lnTo>
                      <a:pt x="553004" y="484188"/>
                    </a:lnTo>
                    <a:lnTo>
                      <a:pt x="557771" y="492125"/>
                    </a:lnTo>
                    <a:lnTo>
                      <a:pt x="560155" y="494506"/>
                    </a:lnTo>
                    <a:lnTo>
                      <a:pt x="562539" y="496888"/>
                    </a:lnTo>
                    <a:lnTo>
                      <a:pt x="566511" y="499269"/>
                    </a:lnTo>
                    <a:lnTo>
                      <a:pt x="570484" y="500856"/>
                    </a:lnTo>
                    <a:lnTo>
                      <a:pt x="573662" y="502444"/>
                    </a:lnTo>
                    <a:lnTo>
                      <a:pt x="578429" y="504031"/>
                    </a:lnTo>
                    <a:lnTo>
                      <a:pt x="583197" y="504825"/>
                    </a:lnTo>
                    <a:lnTo>
                      <a:pt x="588759" y="504825"/>
                    </a:lnTo>
                    <a:lnTo>
                      <a:pt x="599882" y="504031"/>
                    </a:lnTo>
                    <a:lnTo>
                      <a:pt x="609417" y="500856"/>
                    </a:lnTo>
                    <a:lnTo>
                      <a:pt x="620540" y="496888"/>
                    </a:lnTo>
                    <a:lnTo>
                      <a:pt x="630869" y="490538"/>
                    </a:lnTo>
                    <a:lnTo>
                      <a:pt x="641993" y="482600"/>
                    </a:lnTo>
                    <a:lnTo>
                      <a:pt x="651528" y="473869"/>
                    </a:lnTo>
                    <a:lnTo>
                      <a:pt x="662651" y="461963"/>
                    </a:lnTo>
                    <a:lnTo>
                      <a:pt x="672980" y="448469"/>
                    </a:lnTo>
                    <a:lnTo>
                      <a:pt x="682515" y="434181"/>
                    </a:lnTo>
                    <a:lnTo>
                      <a:pt x="691255" y="419100"/>
                    </a:lnTo>
                    <a:lnTo>
                      <a:pt x="698406" y="402431"/>
                    </a:lnTo>
                    <a:lnTo>
                      <a:pt x="704762" y="384969"/>
                    </a:lnTo>
                    <a:lnTo>
                      <a:pt x="709529" y="366713"/>
                    </a:lnTo>
                    <a:lnTo>
                      <a:pt x="712708" y="346075"/>
                    </a:lnTo>
                    <a:lnTo>
                      <a:pt x="715091" y="324644"/>
                    </a:lnTo>
                    <a:lnTo>
                      <a:pt x="715886" y="302419"/>
                    </a:lnTo>
                    <a:lnTo>
                      <a:pt x="714297" y="270669"/>
                    </a:lnTo>
                    <a:lnTo>
                      <a:pt x="708735" y="240506"/>
                    </a:lnTo>
                    <a:lnTo>
                      <a:pt x="699200" y="211931"/>
                    </a:lnTo>
                    <a:lnTo>
                      <a:pt x="686488" y="185738"/>
                    </a:lnTo>
                    <a:lnTo>
                      <a:pt x="670597" y="163513"/>
                    </a:lnTo>
                    <a:lnTo>
                      <a:pt x="650733" y="142081"/>
                    </a:lnTo>
                    <a:lnTo>
                      <a:pt x="626897" y="123825"/>
                    </a:lnTo>
                    <a:lnTo>
                      <a:pt x="599882" y="108744"/>
                    </a:lnTo>
                    <a:lnTo>
                      <a:pt x="590348" y="103981"/>
                    </a:lnTo>
                    <a:lnTo>
                      <a:pt x="581608" y="99219"/>
                    </a:lnTo>
                    <a:lnTo>
                      <a:pt x="572073" y="95250"/>
                    </a:lnTo>
                    <a:lnTo>
                      <a:pt x="561744" y="92075"/>
                    </a:lnTo>
                    <a:lnTo>
                      <a:pt x="552209" y="88900"/>
                    </a:lnTo>
                    <a:lnTo>
                      <a:pt x="542675" y="85725"/>
                    </a:lnTo>
                    <a:lnTo>
                      <a:pt x="532346" y="82550"/>
                    </a:lnTo>
                    <a:lnTo>
                      <a:pt x="522811" y="80169"/>
                    </a:lnTo>
                    <a:lnTo>
                      <a:pt x="512482" y="77788"/>
                    </a:lnTo>
                    <a:lnTo>
                      <a:pt x="501359" y="76200"/>
                    </a:lnTo>
                    <a:lnTo>
                      <a:pt x="491824" y="74613"/>
                    </a:lnTo>
                    <a:lnTo>
                      <a:pt x="480700" y="73819"/>
                    </a:lnTo>
                    <a:lnTo>
                      <a:pt x="469577" y="71438"/>
                    </a:lnTo>
                    <a:lnTo>
                      <a:pt x="458453" y="71438"/>
                    </a:lnTo>
                    <a:lnTo>
                      <a:pt x="446535" y="70644"/>
                    </a:lnTo>
                    <a:lnTo>
                      <a:pt x="435411" y="70644"/>
                    </a:lnTo>
                    <a:lnTo>
                      <a:pt x="415548" y="70644"/>
                    </a:lnTo>
                    <a:lnTo>
                      <a:pt x="395684" y="73025"/>
                    </a:lnTo>
                    <a:lnTo>
                      <a:pt x="375026" y="74613"/>
                    </a:lnTo>
                    <a:lnTo>
                      <a:pt x="356751" y="76994"/>
                    </a:lnTo>
                    <a:lnTo>
                      <a:pt x="337682" y="80963"/>
                    </a:lnTo>
                    <a:lnTo>
                      <a:pt x="320202" y="85725"/>
                    </a:lnTo>
                    <a:lnTo>
                      <a:pt x="301928" y="91281"/>
                    </a:lnTo>
                    <a:lnTo>
                      <a:pt x="285242" y="96838"/>
                    </a:lnTo>
                    <a:lnTo>
                      <a:pt x="269351" y="103981"/>
                    </a:lnTo>
                    <a:lnTo>
                      <a:pt x="252666" y="111125"/>
                    </a:lnTo>
                    <a:lnTo>
                      <a:pt x="236775" y="119063"/>
                    </a:lnTo>
                    <a:lnTo>
                      <a:pt x="222473" y="128588"/>
                    </a:lnTo>
                    <a:lnTo>
                      <a:pt x="207377" y="138906"/>
                    </a:lnTo>
                    <a:lnTo>
                      <a:pt x="193869" y="149225"/>
                    </a:lnTo>
                    <a:lnTo>
                      <a:pt x="180362" y="161131"/>
                    </a:lnTo>
                    <a:lnTo>
                      <a:pt x="167649" y="173038"/>
                    </a:lnTo>
                    <a:lnTo>
                      <a:pt x="146197" y="196850"/>
                    </a:lnTo>
                    <a:lnTo>
                      <a:pt x="127922" y="221456"/>
                    </a:lnTo>
                    <a:lnTo>
                      <a:pt x="112826" y="247650"/>
                    </a:lnTo>
                    <a:lnTo>
                      <a:pt x="99318" y="274638"/>
                    </a:lnTo>
                    <a:lnTo>
                      <a:pt x="89784" y="303213"/>
                    </a:lnTo>
                    <a:lnTo>
                      <a:pt x="82633" y="332581"/>
                    </a:lnTo>
                    <a:lnTo>
                      <a:pt x="78660" y="362744"/>
                    </a:lnTo>
                    <a:lnTo>
                      <a:pt x="77071" y="394494"/>
                    </a:lnTo>
                    <a:lnTo>
                      <a:pt x="78660" y="429419"/>
                    </a:lnTo>
                    <a:lnTo>
                      <a:pt x="83428" y="463550"/>
                    </a:lnTo>
                    <a:lnTo>
                      <a:pt x="91373" y="494506"/>
                    </a:lnTo>
                    <a:lnTo>
                      <a:pt x="103291" y="523875"/>
                    </a:lnTo>
                    <a:lnTo>
                      <a:pt x="119182" y="550863"/>
                    </a:lnTo>
                    <a:lnTo>
                      <a:pt x="137457" y="577056"/>
                    </a:lnTo>
                    <a:lnTo>
                      <a:pt x="158909" y="600869"/>
                    </a:lnTo>
                    <a:lnTo>
                      <a:pt x="183540" y="622300"/>
                    </a:lnTo>
                    <a:lnTo>
                      <a:pt x="195458" y="631825"/>
                    </a:lnTo>
                    <a:lnTo>
                      <a:pt x="208966" y="639763"/>
                    </a:lnTo>
                    <a:lnTo>
                      <a:pt x="220884" y="648494"/>
                    </a:lnTo>
                    <a:lnTo>
                      <a:pt x="234391" y="654844"/>
                    </a:lnTo>
                    <a:lnTo>
                      <a:pt x="247104" y="661988"/>
                    </a:lnTo>
                    <a:lnTo>
                      <a:pt x="260611" y="667544"/>
                    </a:lnTo>
                    <a:lnTo>
                      <a:pt x="274913" y="673100"/>
                    </a:lnTo>
                    <a:lnTo>
                      <a:pt x="289215" y="678656"/>
                    </a:lnTo>
                    <a:lnTo>
                      <a:pt x="303517" y="681831"/>
                    </a:lnTo>
                    <a:lnTo>
                      <a:pt x="318613" y="686594"/>
                    </a:lnTo>
                    <a:lnTo>
                      <a:pt x="333709" y="689769"/>
                    </a:lnTo>
                    <a:lnTo>
                      <a:pt x="349600" y="692150"/>
                    </a:lnTo>
                    <a:lnTo>
                      <a:pt x="365491" y="693738"/>
                    </a:lnTo>
                    <a:lnTo>
                      <a:pt x="381382" y="696119"/>
                    </a:lnTo>
                    <a:lnTo>
                      <a:pt x="398068" y="696913"/>
                    </a:lnTo>
                    <a:lnTo>
                      <a:pt x="414753" y="696913"/>
                    </a:lnTo>
                    <a:lnTo>
                      <a:pt x="426671" y="696913"/>
                    </a:lnTo>
                    <a:lnTo>
                      <a:pt x="437795" y="696119"/>
                    </a:lnTo>
                    <a:lnTo>
                      <a:pt x="449713" y="696119"/>
                    </a:lnTo>
                    <a:lnTo>
                      <a:pt x="460042" y="694531"/>
                    </a:lnTo>
                    <a:lnTo>
                      <a:pt x="471960" y="692944"/>
                    </a:lnTo>
                    <a:lnTo>
                      <a:pt x="483084" y="692150"/>
                    </a:lnTo>
                    <a:lnTo>
                      <a:pt x="494208" y="690563"/>
                    </a:lnTo>
                    <a:lnTo>
                      <a:pt x="505331" y="687388"/>
                    </a:lnTo>
                    <a:lnTo>
                      <a:pt x="516455" y="685800"/>
                    </a:lnTo>
                    <a:lnTo>
                      <a:pt x="527579" y="683419"/>
                    </a:lnTo>
                    <a:lnTo>
                      <a:pt x="537113" y="680244"/>
                    </a:lnTo>
                    <a:lnTo>
                      <a:pt x="548237" y="676275"/>
                    </a:lnTo>
                    <a:lnTo>
                      <a:pt x="558566" y="673894"/>
                    </a:lnTo>
                    <a:lnTo>
                      <a:pt x="569689" y="669925"/>
                    </a:lnTo>
                    <a:lnTo>
                      <a:pt x="579224" y="666750"/>
                    </a:lnTo>
                    <a:lnTo>
                      <a:pt x="589553" y="661988"/>
                    </a:lnTo>
                    <a:lnTo>
                      <a:pt x="600677" y="657225"/>
                    </a:lnTo>
                    <a:lnTo>
                      <a:pt x="611800" y="651669"/>
                    </a:lnTo>
                    <a:lnTo>
                      <a:pt x="622129" y="646113"/>
                    </a:lnTo>
                    <a:lnTo>
                      <a:pt x="634048" y="639763"/>
                    </a:lnTo>
                    <a:lnTo>
                      <a:pt x="645171" y="633413"/>
                    </a:lnTo>
                    <a:lnTo>
                      <a:pt x="657089" y="626269"/>
                    </a:lnTo>
                    <a:lnTo>
                      <a:pt x="669008" y="619125"/>
                    </a:lnTo>
                    <a:lnTo>
                      <a:pt x="680926" y="610394"/>
                    </a:lnTo>
                    <a:lnTo>
                      <a:pt x="692844" y="602456"/>
                    </a:lnTo>
                    <a:lnTo>
                      <a:pt x="728599" y="657225"/>
                    </a:lnTo>
                    <a:lnTo>
                      <a:pt x="719859" y="663575"/>
                    </a:lnTo>
                    <a:lnTo>
                      <a:pt x="711119" y="669925"/>
                    </a:lnTo>
                    <a:lnTo>
                      <a:pt x="702379" y="676275"/>
                    </a:lnTo>
                    <a:lnTo>
                      <a:pt x="692844" y="683419"/>
                    </a:lnTo>
                    <a:lnTo>
                      <a:pt x="684104" y="688181"/>
                    </a:lnTo>
                    <a:lnTo>
                      <a:pt x="674569" y="693738"/>
                    </a:lnTo>
                    <a:lnTo>
                      <a:pt x="665829" y="699294"/>
                    </a:lnTo>
                    <a:lnTo>
                      <a:pt x="656295" y="704850"/>
                    </a:lnTo>
                    <a:lnTo>
                      <a:pt x="645966" y="709613"/>
                    </a:lnTo>
                    <a:lnTo>
                      <a:pt x="637226" y="715169"/>
                    </a:lnTo>
                    <a:lnTo>
                      <a:pt x="626897" y="719931"/>
                    </a:lnTo>
                    <a:lnTo>
                      <a:pt x="618157" y="723900"/>
                    </a:lnTo>
                    <a:lnTo>
                      <a:pt x="607828" y="727869"/>
                    </a:lnTo>
                    <a:lnTo>
                      <a:pt x="597499" y="732631"/>
                    </a:lnTo>
                    <a:lnTo>
                      <a:pt x="587964" y="735806"/>
                    </a:lnTo>
                    <a:lnTo>
                      <a:pt x="577635" y="739775"/>
                    </a:lnTo>
                    <a:lnTo>
                      <a:pt x="567306" y="743744"/>
                    </a:lnTo>
                    <a:lnTo>
                      <a:pt x="557771" y="746125"/>
                    </a:lnTo>
                    <a:lnTo>
                      <a:pt x="547442" y="749300"/>
                    </a:lnTo>
                    <a:lnTo>
                      <a:pt x="536319" y="751681"/>
                    </a:lnTo>
                    <a:lnTo>
                      <a:pt x="525989" y="754063"/>
                    </a:lnTo>
                    <a:lnTo>
                      <a:pt x="515660" y="757238"/>
                    </a:lnTo>
                    <a:lnTo>
                      <a:pt x="505331" y="758825"/>
                    </a:lnTo>
                    <a:lnTo>
                      <a:pt x="494208" y="761206"/>
                    </a:lnTo>
                    <a:lnTo>
                      <a:pt x="483879" y="762794"/>
                    </a:lnTo>
                    <a:lnTo>
                      <a:pt x="473549" y="763588"/>
                    </a:lnTo>
                    <a:lnTo>
                      <a:pt x="462426" y="765175"/>
                    </a:lnTo>
                    <a:lnTo>
                      <a:pt x="452097" y="765969"/>
                    </a:lnTo>
                    <a:lnTo>
                      <a:pt x="440973" y="767556"/>
                    </a:lnTo>
                    <a:lnTo>
                      <a:pt x="429849" y="767556"/>
                    </a:lnTo>
                    <a:lnTo>
                      <a:pt x="419520" y="768350"/>
                    </a:lnTo>
                    <a:lnTo>
                      <a:pt x="408397" y="768350"/>
                    </a:lnTo>
                    <a:lnTo>
                      <a:pt x="383766" y="767556"/>
                    </a:lnTo>
                    <a:lnTo>
                      <a:pt x="359135" y="765969"/>
                    </a:lnTo>
                    <a:lnTo>
                      <a:pt x="335299" y="763588"/>
                    </a:lnTo>
                    <a:lnTo>
                      <a:pt x="312257" y="759619"/>
                    </a:lnTo>
                    <a:lnTo>
                      <a:pt x="290009" y="755650"/>
                    </a:lnTo>
                    <a:lnTo>
                      <a:pt x="267762" y="750094"/>
                    </a:lnTo>
                    <a:lnTo>
                      <a:pt x="247898" y="743744"/>
                    </a:lnTo>
                    <a:lnTo>
                      <a:pt x="228035" y="735806"/>
                    </a:lnTo>
                    <a:lnTo>
                      <a:pt x="208966" y="727869"/>
                    </a:lnTo>
                    <a:lnTo>
                      <a:pt x="189102" y="717550"/>
                    </a:lnTo>
                    <a:lnTo>
                      <a:pt x="171622" y="708025"/>
                    </a:lnTo>
                    <a:lnTo>
                      <a:pt x="154937" y="696913"/>
                    </a:lnTo>
                    <a:lnTo>
                      <a:pt x="138251" y="684213"/>
                    </a:lnTo>
                    <a:lnTo>
                      <a:pt x="121566" y="669925"/>
                    </a:lnTo>
                    <a:lnTo>
                      <a:pt x="107264" y="656431"/>
                    </a:lnTo>
                    <a:lnTo>
                      <a:pt x="92168" y="640556"/>
                    </a:lnTo>
                    <a:lnTo>
                      <a:pt x="70715" y="614363"/>
                    </a:lnTo>
                    <a:lnTo>
                      <a:pt x="52440" y="585788"/>
                    </a:lnTo>
                    <a:lnTo>
                      <a:pt x="36549" y="556419"/>
                    </a:lnTo>
                    <a:lnTo>
                      <a:pt x="23042" y="526256"/>
                    </a:lnTo>
                    <a:lnTo>
                      <a:pt x="12713" y="494506"/>
                    </a:lnTo>
                    <a:lnTo>
                      <a:pt x="5562" y="461963"/>
                    </a:lnTo>
                    <a:lnTo>
                      <a:pt x="1589" y="427831"/>
                    </a:lnTo>
                    <a:lnTo>
                      <a:pt x="0" y="392113"/>
                    </a:lnTo>
                    <a:lnTo>
                      <a:pt x="1589" y="352425"/>
                    </a:lnTo>
                    <a:lnTo>
                      <a:pt x="7151" y="314325"/>
                    </a:lnTo>
                    <a:lnTo>
                      <a:pt x="16686" y="278606"/>
                    </a:lnTo>
                    <a:lnTo>
                      <a:pt x="29398" y="242888"/>
                    </a:lnTo>
                    <a:lnTo>
                      <a:pt x="44495" y="209550"/>
                    </a:lnTo>
                    <a:lnTo>
                      <a:pt x="65153" y="177800"/>
                    </a:lnTo>
                    <a:lnTo>
                      <a:pt x="87400" y="147638"/>
                    </a:lnTo>
                    <a:lnTo>
                      <a:pt x="115209" y="119063"/>
                    </a:lnTo>
                    <a:lnTo>
                      <a:pt x="131100" y="104775"/>
                    </a:lnTo>
                    <a:lnTo>
                      <a:pt x="146991" y="91281"/>
                    </a:lnTo>
                    <a:lnTo>
                      <a:pt x="163677" y="79375"/>
                    </a:lnTo>
                    <a:lnTo>
                      <a:pt x="180362" y="67469"/>
                    </a:lnTo>
                    <a:lnTo>
                      <a:pt x="198637" y="56356"/>
                    </a:lnTo>
                    <a:lnTo>
                      <a:pt x="216911" y="46831"/>
                    </a:lnTo>
                    <a:lnTo>
                      <a:pt x="235186" y="38100"/>
                    </a:lnTo>
                    <a:lnTo>
                      <a:pt x="254255" y="29369"/>
                    </a:lnTo>
                    <a:lnTo>
                      <a:pt x="274913" y="23019"/>
                    </a:lnTo>
                    <a:lnTo>
                      <a:pt x="294777" y="16669"/>
                    </a:lnTo>
                    <a:lnTo>
                      <a:pt x="315435" y="11906"/>
                    </a:lnTo>
                    <a:lnTo>
                      <a:pt x="336888" y="7938"/>
                    </a:lnTo>
                    <a:lnTo>
                      <a:pt x="359135" y="4763"/>
                    </a:lnTo>
                    <a:lnTo>
                      <a:pt x="380588" y="2381"/>
                    </a:lnTo>
                    <a:lnTo>
                      <a:pt x="403629" y="158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grpSp>
            <p:nvGrpSpPr>
              <p:cNvPr id="368" name="Group 367"/>
              <p:cNvGrpSpPr/>
              <p:nvPr/>
            </p:nvGrpSpPr>
            <p:grpSpPr>
              <a:xfrm>
                <a:off x="4195952" y="3237771"/>
                <a:ext cx="229678" cy="198426"/>
                <a:chOff x="3960963" y="2956210"/>
                <a:chExt cx="229678" cy="198426"/>
              </a:xfrm>
            </p:grpSpPr>
            <p:sp>
              <p:nvSpPr>
                <p:cNvPr id="374" name="Oval 373"/>
                <p:cNvSpPr>
                  <a:spLocks noChangeArrowheads="1"/>
                </p:cNvSpPr>
                <p:nvPr/>
              </p:nvSpPr>
              <p:spPr bwMode="auto">
                <a:xfrm>
                  <a:off x="4041271" y="2956210"/>
                  <a:ext cx="73284" cy="73406"/>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75" name="Freeform 374"/>
                <p:cNvSpPr>
                  <a:spLocks/>
                </p:cNvSpPr>
                <p:nvPr/>
              </p:nvSpPr>
              <p:spPr bwMode="auto">
                <a:xfrm>
                  <a:off x="4011324" y="3038258"/>
                  <a:ext cx="131108" cy="116378"/>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6" h="405">
                      <a:moveTo>
                        <a:pt x="420" y="125"/>
                      </a:moveTo>
                      <a:cubicBezTo>
                        <a:pt x="369" y="38"/>
                        <a:pt x="327" y="0"/>
                        <a:pt x="311" y="0"/>
                      </a:cubicBezTo>
                      <a:cubicBezTo>
                        <a:pt x="296" y="0"/>
                        <a:pt x="247" y="97"/>
                        <a:pt x="233" y="97"/>
                      </a:cubicBezTo>
                      <a:cubicBezTo>
                        <a:pt x="223" y="97"/>
                        <a:pt x="223" y="97"/>
                        <a:pt x="223" y="97"/>
                      </a:cubicBezTo>
                      <a:cubicBezTo>
                        <a:pt x="210" y="97"/>
                        <a:pt x="161" y="0"/>
                        <a:pt x="145" y="0"/>
                      </a:cubicBezTo>
                      <a:cubicBezTo>
                        <a:pt x="130" y="0"/>
                        <a:pt x="88" y="38"/>
                        <a:pt x="37" y="125"/>
                      </a:cubicBezTo>
                      <a:cubicBezTo>
                        <a:pt x="13" y="165"/>
                        <a:pt x="0" y="251"/>
                        <a:pt x="30" y="307"/>
                      </a:cubicBezTo>
                      <a:cubicBezTo>
                        <a:pt x="64" y="372"/>
                        <a:pt x="149" y="405"/>
                        <a:pt x="220" y="405"/>
                      </a:cubicBezTo>
                      <a:cubicBezTo>
                        <a:pt x="236" y="405"/>
                        <a:pt x="236" y="405"/>
                        <a:pt x="236" y="405"/>
                      </a:cubicBezTo>
                      <a:cubicBezTo>
                        <a:pt x="308" y="405"/>
                        <a:pt x="393" y="372"/>
                        <a:pt x="427" y="307"/>
                      </a:cubicBezTo>
                      <a:cubicBezTo>
                        <a:pt x="456" y="251"/>
                        <a:pt x="444" y="165"/>
                        <a:pt x="420" y="12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76" name="Oval 375"/>
                <p:cNvSpPr>
                  <a:spLocks noChangeArrowheads="1"/>
                </p:cNvSpPr>
                <p:nvPr/>
              </p:nvSpPr>
              <p:spPr bwMode="auto">
                <a:xfrm>
                  <a:off x="3979716"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77" name="Freeform 376"/>
                <p:cNvSpPr>
                  <a:spLocks/>
                </p:cNvSpPr>
                <p:nvPr/>
              </p:nvSpPr>
              <p:spPr bwMode="auto">
                <a:xfrm>
                  <a:off x="3960963"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78" name="Oval 377"/>
                <p:cNvSpPr>
                  <a:spLocks noChangeArrowheads="1"/>
                </p:cNvSpPr>
                <p:nvPr/>
              </p:nvSpPr>
              <p:spPr bwMode="auto">
                <a:xfrm flipH="1">
                  <a:off x="4126201"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79" name="Freeform 378"/>
                <p:cNvSpPr>
                  <a:spLocks/>
                </p:cNvSpPr>
                <p:nvPr/>
              </p:nvSpPr>
              <p:spPr bwMode="auto">
                <a:xfrm flipH="1">
                  <a:off x="4123132"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grpSp>
          <p:pic>
            <p:nvPicPr>
              <p:cNvPr id="369" name="Picture 42"/>
              <p:cNvPicPr>
                <a:picLocks noChangeAspect="1"/>
              </p:cNvPicPr>
              <p:nvPr/>
            </p:nvPicPr>
            <p:blipFill>
              <a:blip r:embed="rId17"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3751205" y="3007090"/>
                <a:ext cx="292379" cy="216168"/>
              </a:xfrm>
              <a:prstGeom prst="rect">
                <a:avLst/>
              </a:prstGeom>
            </p:spPr>
          </p:pic>
          <p:grpSp>
            <p:nvGrpSpPr>
              <p:cNvPr id="370" name="Group 369"/>
              <p:cNvGrpSpPr/>
              <p:nvPr/>
            </p:nvGrpSpPr>
            <p:grpSpPr>
              <a:xfrm>
                <a:off x="4178076" y="2150348"/>
                <a:ext cx="454852" cy="261892"/>
                <a:chOff x="10810856" y="2000146"/>
                <a:chExt cx="542944" cy="312613"/>
              </a:xfrm>
            </p:grpSpPr>
            <p:pic>
              <p:nvPicPr>
                <p:cNvPr id="372" name="Picture 47" descr="C:\Users\sakuu\Documents\Ballmer MGX 2011\Tile Icons\Calendar.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black">
                <a:xfrm>
                  <a:off x="11038367" y="2022449"/>
                  <a:ext cx="315433" cy="29031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73" name="Freeform 113"/>
                <p:cNvSpPr>
                  <a:spLocks noEditPoints="1"/>
                </p:cNvSpPr>
                <p:nvPr/>
              </p:nvSpPr>
              <p:spPr bwMode="black">
                <a:xfrm>
                  <a:off x="10810856" y="2000146"/>
                  <a:ext cx="215583" cy="215583"/>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bg1">
                    <a:lumMod val="50000"/>
                  </a:schemeClr>
                </a:solidFill>
                <a:ln>
                  <a:noFill/>
                </a:ln>
                <a:extLst/>
              </p:spPr>
              <p:txBody>
                <a:bodyPr/>
                <a:lstStyle/>
                <a:p>
                  <a:pPr defTabSz="914400">
                    <a:defRPr/>
                  </a:pPr>
                  <a:endParaRPr lang="en-US" sz="1050" kern="0" dirty="0">
                    <a:solidFill>
                      <a:srgbClr val="000000"/>
                    </a:solidFill>
                  </a:endParaRPr>
                </a:p>
              </p:txBody>
            </p:sp>
          </p:grpSp>
          <p:pic>
            <p:nvPicPr>
              <p:cNvPr id="371" name="Picture 370"/>
              <p:cNvPicPr>
                <a:picLocks noChangeAspect="1"/>
              </p:cNvPicPr>
              <p:nvPr/>
            </p:nvPicPr>
            <p:blipFill>
              <a:blip r:embed="rId20">
                <a:duotone>
                  <a:prstClr val="black"/>
                  <a:schemeClr val="accent5">
                    <a:tint val="45000"/>
                    <a:satMod val="400000"/>
                  </a:schemeClr>
                </a:duotone>
              </a:blip>
              <a:stretch>
                <a:fillRect/>
              </a:stretch>
            </p:blipFill>
            <p:spPr bwMode="auto">
              <a:xfrm>
                <a:off x="4189696" y="2540145"/>
                <a:ext cx="380979" cy="354244"/>
              </a:xfrm>
              <a:prstGeom prst="rect">
                <a:avLst/>
              </a:prstGeom>
              <a:noFill/>
              <a:ln>
                <a:noFill/>
              </a:ln>
            </p:spPr>
          </p:pic>
        </p:grpSp>
        <p:sp>
          <p:nvSpPr>
            <p:cNvPr id="357" name="TextBox 356"/>
            <p:cNvSpPr txBox="1"/>
            <p:nvPr/>
          </p:nvSpPr>
          <p:spPr>
            <a:xfrm>
              <a:off x="4264784" y="6375501"/>
              <a:ext cx="886461" cy="184666"/>
            </a:xfrm>
            <a:prstGeom prst="rect">
              <a:avLst/>
            </a:prstGeom>
          </p:spPr>
          <p:txBody>
            <a:bodyPr vert="horz" wrap="none" lIns="0" tIns="0" rIns="0" bIns="0" rtlCol="0" anchor="t">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Social Media</a:t>
              </a:r>
            </a:p>
          </p:txBody>
        </p:sp>
      </p:grpSp>
      <p:cxnSp>
        <p:nvCxnSpPr>
          <p:cNvPr id="381" name="Straight Arrow Connector 380"/>
          <p:cNvCxnSpPr/>
          <p:nvPr/>
        </p:nvCxnSpPr>
        <p:spPr>
          <a:xfrm flipH="1" flipV="1">
            <a:off x="7133712" y="2712933"/>
            <a:ext cx="1945682" cy="17348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2" name="TextBox 381"/>
          <p:cNvSpPr txBox="1"/>
          <p:nvPr/>
        </p:nvSpPr>
        <p:spPr>
          <a:xfrm rot="2536932">
            <a:off x="7448986" y="3625250"/>
            <a:ext cx="1986909" cy="141485"/>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Real-time Insight Alerts</a:t>
            </a:r>
          </a:p>
        </p:txBody>
      </p:sp>
      <p:sp>
        <p:nvSpPr>
          <p:cNvPr id="212" name="Rectangle 211"/>
          <p:cNvSpPr/>
          <p:nvPr/>
        </p:nvSpPr>
        <p:spPr>
          <a:xfrm>
            <a:off x="972282" y="2712933"/>
            <a:ext cx="2122376" cy="518091"/>
          </a:xfrm>
          <a:prstGeom prst="rect">
            <a:avLst/>
          </a:prstGeom>
          <a:noFill/>
          <a:ln w="6350" cap="flat" cmpd="sng" algn="ctr">
            <a:noFill/>
            <a:prstDash val="solid"/>
          </a:ln>
          <a:effectLst/>
        </p:spPr>
        <p:txBody>
          <a:bodyPr wrap="none" lIns="0" tIns="0" rIns="0" bIns="0" rtlCol="0" anchor="ctr">
            <a:spAutoFit/>
          </a:bodyPr>
          <a:lstStyle/>
          <a:p>
            <a:pPr marL="0" lvl="1" algn="ctr" defTabSz="1218106" fontAlgn="base">
              <a:spcBef>
                <a:spcPts val="200"/>
              </a:spcBef>
              <a:buClr>
                <a:srgbClr val="FFFF99"/>
              </a:buClr>
              <a:buSzPct val="90000"/>
              <a:defRPr/>
            </a:pPr>
            <a:r>
              <a:rPr lang="en-US" sz="1600" kern="0" dirty="0">
                <a:solidFill>
                  <a:srgbClr val="505050"/>
                </a:solidFill>
                <a:latin typeface="Segoe UI Semibold" panose="020B0702040204020203" pitchFamily="34" charset="0"/>
                <a:ea typeface="Segoe UI" pitchFamily="34" charset="0"/>
                <a:cs typeface="Segoe UI" pitchFamily="34" charset="0"/>
              </a:rPr>
              <a:t>Building Management </a:t>
            </a:r>
          </a:p>
          <a:p>
            <a:pPr marL="0" lvl="1" algn="ctr" defTabSz="1218106" fontAlgn="base">
              <a:spcBef>
                <a:spcPts val="200"/>
              </a:spcBef>
              <a:buClr>
                <a:srgbClr val="FFFF99"/>
              </a:buClr>
              <a:buSzPct val="90000"/>
              <a:defRPr/>
            </a:pPr>
            <a:r>
              <a:rPr lang="en-US" sz="1600" kern="0" dirty="0">
                <a:solidFill>
                  <a:srgbClr val="505050"/>
                </a:solidFill>
                <a:latin typeface="Segoe UI Semibold" panose="020B0702040204020203" pitchFamily="34" charset="0"/>
                <a:ea typeface="Segoe UI" pitchFamily="34" charset="0"/>
                <a:cs typeface="Segoe UI" pitchFamily="34" charset="0"/>
              </a:rPr>
              <a:t>&amp; Partners</a:t>
            </a:r>
          </a:p>
        </p:txBody>
      </p:sp>
      <p:grpSp>
        <p:nvGrpSpPr>
          <p:cNvPr id="20" name="Group 19"/>
          <p:cNvGrpSpPr/>
          <p:nvPr/>
        </p:nvGrpSpPr>
        <p:grpSpPr>
          <a:xfrm>
            <a:off x="891197" y="1157774"/>
            <a:ext cx="1965691" cy="1404886"/>
            <a:chOff x="611164" y="1092962"/>
            <a:chExt cx="1965691" cy="1404886"/>
          </a:xfrm>
        </p:grpSpPr>
        <p:sp>
          <p:nvSpPr>
            <p:cNvPr id="213" name="Oval 212"/>
            <p:cNvSpPr/>
            <p:nvPr/>
          </p:nvSpPr>
          <p:spPr>
            <a:xfrm>
              <a:off x="611164" y="1092962"/>
              <a:ext cx="1943910" cy="140488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endParaRPr lang="en-US" sz="1200" kern="0" dirty="0">
                <a:solidFill>
                  <a:prstClr val="white"/>
                </a:solidFill>
              </a:endParaRPr>
            </a:p>
          </p:txBody>
        </p:sp>
        <p:sp>
          <p:nvSpPr>
            <p:cNvPr id="214" name="TextBox 213"/>
            <p:cNvSpPr txBox="1"/>
            <p:nvPr/>
          </p:nvSpPr>
          <p:spPr>
            <a:xfrm>
              <a:off x="1355366" y="2083900"/>
              <a:ext cx="1221489" cy="184666"/>
            </a:xfrm>
            <a:prstGeom prst="rect">
              <a:avLst/>
            </a:prstGeom>
          </p:spPr>
          <p:txBody>
            <a:bodyPr vert="horz" wrap="none" lIns="0" tIns="0" rIns="0" bIns="0" rtlCol="0" anchor="t">
              <a:sp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t>Vendors/Partners</a:t>
              </a:r>
            </a:p>
          </p:txBody>
        </p:sp>
        <p:grpSp>
          <p:nvGrpSpPr>
            <p:cNvPr id="19" name="Group 18"/>
            <p:cNvGrpSpPr/>
            <p:nvPr/>
          </p:nvGrpSpPr>
          <p:grpSpPr>
            <a:xfrm>
              <a:off x="1665256" y="1682248"/>
              <a:ext cx="691027" cy="367454"/>
              <a:chOff x="1860375" y="1308648"/>
              <a:chExt cx="691027" cy="367454"/>
            </a:xfrm>
          </p:grpSpPr>
          <p:sp>
            <p:nvSpPr>
              <p:cNvPr id="216" name="Freeform 215"/>
              <p:cNvSpPr/>
              <p:nvPr/>
            </p:nvSpPr>
            <p:spPr>
              <a:xfrm>
                <a:off x="2268175" y="1326797"/>
                <a:ext cx="102228" cy="272478"/>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sz="1800" kern="0">
                  <a:solidFill>
                    <a:prstClr val="white"/>
                  </a:solidFill>
                </a:endParaRPr>
              </a:p>
            </p:txBody>
          </p:sp>
          <p:sp>
            <p:nvSpPr>
              <p:cNvPr id="217" name="Man's Body"/>
              <p:cNvSpPr>
                <a:spLocks/>
              </p:cNvSpPr>
              <p:nvPr/>
            </p:nvSpPr>
            <p:spPr bwMode="auto">
              <a:xfrm>
                <a:off x="2177019" y="1308648"/>
                <a:ext cx="88873" cy="56963"/>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18" name="Man's Body"/>
              <p:cNvSpPr>
                <a:spLocks/>
              </p:cNvSpPr>
              <p:nvPr/>
            </p:nvSpPr>
            <p:spPr bwMode="auto">
              <a:xfrm>
                <a:off x="1988468" y="1335188"/>
                <a:ext cx="87118" cy="208644"/>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19" name="Man's Body"/>
              <p:cNvSpPr>
                <a:spLocks/>
              </p:cNvSpPr>
              <p:nvPr/>
            </p:nvSpPr>
            <p:spPr bwMode="auto">
              <a:xfrm>
                <a:off x="2407874" y="1368577"/>
                <a:ext cx="143528" cy="274490"/>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20" name="Man's Body"/>
              <p:cNvSpPr>
                <a:spLocks/>
              </p:cNvSpPr>
              <p:nvPr/>
            </p:nvSpPr>
            <p:spPr bwMode="auto">
              <a:xfrm>
                <a:off x="2105580" y="1334218"/>
                <a:ext cx="97837" cy="229926"/>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21" name="Man's Body"/>
              <p:cNvSpPr>
                <a:spLocks/>
              </p:cNvSpPr>
              <p:nvPr/>
            </p:nvSpPr>
            <p:spPr bwMode="auto">
              <a:xfrm>
                <a:off x="2164422" y="1362585"/>
                <a:ext cx="155638" cy="293437"/>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22" name="Man's Body"/>
              <p:cNvSpPr>
                <a:spLocks/>
              </p:cNvSpPr>
              <p:nvPr/>
            </p:nvSpPr>
            <p:spPr bwMode="auto">
              <a:xfrm>
                <a:off x="1860375" y="1358304"/>
                <a:ext cx="154453" cy="292413"/>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23" name="Freeform 222"/>
              <p:cNvSpPr/>
              <p:nvPr/>
            </p:nvSpPr>
            <p:spPr>
              <a:xfrm flipH="1">
                <a:off x="1923018" y="1366180"/>
                <a:ext cx="275399" cy="309922"/>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sz="1800" kern="0">
                  <a:solidFill>
                    <a:prstClr val="white"/>
                  </a:solidFill>
                </a:endParaRPr>
              </a:p>
            </p:txBody>
          </p:sp>
          <p:sp>
            <p:nvSpPr>
              <p:cNvPr id="224" name="Freeform 223"/>
              <p:cNvSpPr/>
              <p:nvPr/>
            </p:nvSpPr>
            <p:spPr>
              <a:xfrm>
                <a:off x="2265616" y="1383487"/>
                <a:ext cx="210604" cy="29112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sz="1800" kern="0" dirty="0">
                  <a:solidFill>
                    <a:prstClr val="white"/>
                  </a:solidFill>
                </a:endParaRPr>
              </a:p>
            </p:txBody>
          </p:sp>
        </p:grpSp>
        <p:cxnSp>
          <p:nvCxnSpPr>
            <p:cNvPr id="232" name="Straight Arrow Connector 231"/>
            <p:cNvCxnSpPr/>
            <p:nvPr/>
          </p:nvCxnSpPr>
          <p:spPr>
            <a:xfrm rot="5400000">
              <a:off x="1609804" y="1473414"/>
              <a:ext cx="0" cy="271971"/>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p:nvPr/>
          </p:nvCxnSpPr>
          <p:spPr>
            <a:xfrm rot="5400000" flipV="1">
              <a:off x="1609802" y="1321139"/>
              <a:ext cx="2" cy="271971"/>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sp>
          <p:nvSpPr>
            <p:cNvPr id="251" name="TextBox 250"/>
            <p:cNvSpPr txBox="1"/>
            <p:nvPr/>
          </p:nvSpPr>
          <p:spPr>
            <a:xfrm>
              <a:off x="749474" y="1730842"/>
              <a:ext cx="593112" cy="184665"/>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a:defRPr/>
              </a:pPr>
              <a:r>
                <a:rPr lang="en-US" kern="0" dirty="0">
                  <a:latin typeface="Segoe UI Semibold" panose="020B0702040204020203" pitchFamily="34" charset="0"/>
                  <a:cs typeface="Segoe UI Semibold" panose="020B0702040204020203" pitchFamily="34" charset="0"/>
                </a:rPr>
                <a:t>Facilities</a:t>
              </a:r>
            </a:p>
          </p:txBody>
        </p:sp>
        <p:pic>
          <p:nvPicPr>
            <p:cNvPr id="384" name="Picture 6" descr="\\MAGNUM\Projects\Microsoft\Cloud Power FY12\Design\ICONS_PNG\Professionals.png"/>
            <p:cNvPicPr>
              <a:picLocks noChangeAspect="1" noChangeArrowheads="1"/>
            </p:cNvPicPr>
            <p:nvPr/>
          </p:nvPicPr>
          <p:blipFill>
            <a:blip r:embed="rId21" cstate="print">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auto">
            <a:xfrm>
              <a:off x="827907" y="1234314"/>
              <a:ext cx="430521" cy="479198"/>
            </a:xfrm>
            <a:prstGeom prst="rect">
              <a:avLst/>
            </a:prstGeom>
            <a:noFill/>
          </p:spPr>
        </p:pic>
      </p:grpSp>
      <p:grpSp>
        <p:nvGrpSpPr>
          <p:cNvPr id="8" name="Group 7"/>
          <p:cNvGrpSpPr/>
          <p:nvPr/>
        </p:nvGrpSpPr>
        <p:grpSpPr>
          <a:xfrm>
            <a:off x="4709301" y="666634"/>
            <a:ext cx="3256218" cy="1903366"/>
            <a:chOff x="5747004" y="963522"/>
            <a:chExt cx="3256218" cy="1903366"/>
          </a:xfrm>
        </p:grpSpPr>
        <p:sp>
          <p:nvSpPr>
            <p:cNvPr id="202" name="Oval 209"/>
            <p:cNvSpPr/>
            <p:nvPr/>
          </p:nvSpPr>
          <p:spPr bwMode="auto">
            <a:xfrm>
              <a:off x="5747004" y="963522"/>
              <a:ext cx="3256218" cy="1866344"/>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850864">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grpSp>
          <p:nvGrpSpPr>
            <p:cNvPr id="55" name="Group 54"/>
            <p:cNvGrpSpPr/>
            <p:nvPr/>
          </p:nvGrpSpPr>
          <p:grpSpPr>
            <a:xfrm>
              <a:off x="8043010" y="2188007"/>
              <a:ext cx="914400" cy="581229"/>
              <a:chOff x="6435115" y="1891074"/>
              <a:chExt cx="914400" cy="581229"/>
            </a:xfrm>
          </p:grpSpPr>
          <p:pic>
            <p:nvPicPr>
              <p:cNvPr id="203" name="Picture 202"/>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6714860" y="1891074"/>
                <a:ext cx="354910" cy="354910"/>
              </a:xfrm>
              <a:prstGeom prst="rect">
                <a:avLst/>
              </a:prstGeom>
            </p:spPr>
          </p:pic>
          <p:sp>
            <p:nvSpPr>
              <p:cNvPr id="204" name="TextBox 203"/>
              <p:cNvSpPr txBox="1"/>
              <p:nvPr/>
            </p:nvSpPr>
            <p:spPr>
              <a:xfrm>
                <a:off x="6435115" y="2226082"/>
                <a:ext cx="914400"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Web App</a:t>
                </a:r>
              </a:p>
            </p:txBody>
          </p:sp>
        </p:grpSp>
        <p:grpSp>
          <p:nvGrpSpPr>
            <p:cNvPr id="54" name="Group 53"/>
            <p:cNvGrpSpPr/>
            <p:nvPr/>
          </p:nvGrpSpPr>
          <p:grpSpPr>
            <a:xfrm>
              <a:off x="6705789" y="2169140"/>
              <a:ext cx="779821" cy="626729"/>
              <a:chOff x="5097894" y="1872207"/>
              <a:chExt cx="779821" cy="626729"/>
            </a:xfrm>
          </p:grpSpPr>
          <p:pic>
            <p:nvPicPr>
              <p:cNvPr id="205" name="Picture 204"/>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flipH="1">
                <a:off x="5341678" y="1872207"/>
                <a:ext cx="349052" cy="349052"/>
              </a:xfrm>
              <a:prstGeom prst="rect">
                <a:avLst/>
              </a:prstGeom>
            </p:spPr>
          </p:pic>
          <p:sp>
            <p:nvSpPr>
              <p:cNvPr id="207" name="TextBox 206"/>
              <p:cNvSpPr txBox="1"/>
              <p:nvPr/>
            </p:nvSpPr>
            <p:spPr>
              <a:xfrm>
                <a:off x="5097894" y="2252715"/>
                <a:ext cx="779821" cy="246221"/>
              </a:xfrm>
              <a:prstGeom prst="rect">
                <a:avLst/>
              </a:prstGeom>
            </p:spPr>
            <p:txBody>
              <a:bodyPr vert="horz" wrap="square" lIns="45720" tIns="45720" rIns="45720" bIns="45720" rtlCol="0" anchor="ctr">
                <a:noAutofit/>
              </a:bodyPr>
              <a:lstStyle/>
              <a:p>
                <a:pPr algn="ctr" defTabSz="1088105">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Mobile App</a:t>
                </a:r>
              </a:p>
            </p:txBody>
          </p:sp>
        </p:grpSp>
        <p:grpSp>
          <p:nvGrpSpPr>
            <p:cNvPr id="17" name="Group 16"/>
            <p:cNvGrpSpPr/>
            <p:nvPr/>
          </p:nvGrpSpPr>
          <p:grpSpPr>
            <a:xfrm>
              <a:off x="7390309" y="2172196"/>
              <a:ext cx="914400" cy="694692"/>
              <a:chOff x="5498329" y="1378112"/>
              <a:chExt cx="914400" cy="694692"/>
            </a:xfrm>
          </p:grpSpPr>
          <p:sp>
            <p:nvSpPr>
              <p:cNvPr id="206" name="TextBox 205"/>
              <p:cNvSpPr txBox="1"/>
              <p:nvPr/>
            </p:nvSpPr>
            <p:spPr>
              <a:xfrm>
                <a:off x="5498329" y="1672694"/>
                <a:ext cx="914400" cy="400110"/>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pplication</a:t>
                </a:r>
                <a:br>
                  <a:rPr lang="en-US" kern="0" dirty="0">
                    <a:solidFill>
                      <a:prstClr val="white"/>
                    </a:solidFill>
                  </a:rPr>
                </a:br>
                <a:r>
                  <a:rPr lang="en-US" kern="0" dirty="0">
                    <a:solidFill>
                      <a:prstClr val="white"/>
                    </a:solidFill>
                  </a:rPr>
                  <a:t>Service</a:t>
                </a:r>
              </a:p>
            </p:txBody>
          </p:sp>
          <p:pic>
            <p:nvPicPr>
              <p:cNvPr id="208" name="Picture 207"/>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5799878" y="1378112"/>
                <a:ext cx="311303" cy="311303"/>
              </a:xfrm>
              <a:prstGeom prst="rect">
                <a:avLst/>
              </a:prstGeom>
            </p:spPr>
          </p:pic>
        </p:grpSp>
        <p:grpSp>
          <p:nvGrpSpPr>
            <p:cNvPr id="18" name="Group 17"/>
            <p:cNvGrpSpPr/>
            <p:nvPr/>
          </p:nvGrpSpPr>
          <p:grpSpPr>
            <a:xfrm>
              <a:off x="6208225" y="1526536"/>
              <a:ext cx="711947" cy="522301"/>
              <a:chOff x="5578388" y="1944880"/>
              <a:chExt cx="711947" cy="522301"/>
            </a:xfrm>
          </p:grpSpPr>
          <p:sp>
            <p:nvSpPr>
              <p:cNvPr id="209" name="TextBox 208"/>
              <p:cNvSpPr txBox="1"/>
              <p:nvPr/>
            </p:nvSpPr>
            <p:spPr>
              <a:xfrm>
                <a:off x="5578388" y="2261538"/>
                <a:ext cx="711947" cy="205643"/>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Skype</a:t>
                </a:r>
              </a:p>
            </p:txBody>
          </p:sp>
          <p:pic>
            <p:nvPicPr>
              <p:cNvPr id="210" name="Picture 209"/>
              <p:cNvPicPr>
                <a:picLocks noChangeAspect="1"/>
              </p:cNvPicPr>
              <p:nvPr/>
            </p:nvPicPr>
            <p:blipFill>
              <a:blip r:embed="rId25">
                <a:biLevel thresh="25000"/>
              </a:blip>
              <a:stretch>
                <a:fillRect/>
              </a:stretch>
            </p:blipFill>
            <p:spPr>
              <a:xfrm>
                <a:off x="5699672" y="1944880"/>
                <a:ext cx="464928" cy="347143"/>
              </a:xfrm>
              <a:prstGeom prst="rect">
                <a:avLst/>
              </a:prstGeom>
            </p:spPr>
          </p:pic>
        </p:grpSp>
        <p:grpSp>
          <p:nvGrpSpPr>
            <p:cNvPr id="385" name="Group 384"/>
            <p:cNvGrpSpPr/>
            <p:nvPr/>
          </p:nvGrpSpPr>
          <p:grpSpPr>
            <a:xfrm>
              <a:off x="6905978" y="1047263"/>
              <a:ext cx="1266928" cy="571367"/>
              <a:chOff x="6440813" y="4155554"/>
              <a:chExt cx="1266928" cy="571367"/>
            </a:xfrm>
          </p:grpSpPr>
          <p:pic>
            <p:nvPicPr>
              <p:cNvPr id="386" name="Picture 2" descr="Deploy Microsoft Dynamics AX on Azure"/>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901478" y="4155554"/>
                <a:ext cx="372712" cy="368378"/>
              </a:xfrm>
              <a:prstGeom prst="rect">
                <a:avLst/>
              </a:prstGeom>
              <a:noFill/>
              <a:extLst>
                <a:ext uri="{909E8E84-426E-40DD-AFC4-6F175D3DCCD1}">
                  <a14:hiddenFill xmlns:a14="http://schemas.microsoft.com/office/drawing/2010/main">
                    <a:solidFill>
                      <a:srgbClr val="FFFFFF"/>
                    </a:solidFill>
                  </a14:hiddenFill>
                </a:ext>
              </a:extLst>
            </p:spPr>
          </p:pic>
          <p:sp>
            <p:nvSpPr>
              <p:cNvPr id="387" name="TextBox 386"/>
              <p:cNvSpPr txBox="1"/>
              <p:nvPr/>
            </p:nvSpPr>
            <p:spPr>
              <a:xfrm>
                <a:off x="6440813" y="4542733"/>
                <a:ext cx="1266928" cy="184188"/>
              </a:xfrm>
              <a:prstGeom prst="rect">
                <a:avLst/>
              </a:prstGeom>
            </p:spPr>
            <p:txBody>
              <a:bodyPr vert="horz" wrap="none" lIns="0" tIns="0" rIns="0" bIns="0" rtlCol="0" anchor="ctr">
                <a:noAutofit/>
              </a:bodyPr>
              <a:lstStyle/>
              <a:p>
                <a:pPr algn="ctr" defTabSz="1088105">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ynamics Marketing</a:t>
                </a:r>
              </a:p>
            </p:txBody>
          </p:sp>
        </p:grpSp>
        <p:grpSp>
          <p:nvGrpSpPr>
            <p:cNvPr id="388" name="Group 387"/>
            <p:cNvGrpSpPr/>
            <p:nvPr/>
          </p:nvGrpSpPr>
          <p:grpSpPr>
            <a:xfrm>
              <a:off x="5965305" y="2159445"/>
              <a:ext cx="694501" cy="588132"/>
              <a:chOff x="6778590" y="4958763"/>
              <a:chExt cx="694501" cy="588132"/>
            </a:xfrm>
          </p:grpSpPr>
          <p:sp>
            <p:nvSpPr>
              <p:cNvPr id="389" name="TextBox 388"/>
              <p:cNvSpPr txBox="1"/>
              <p:nvPr/>
            </p:nvSpPr>
            <p:spPr>
              <a:xfrm>
                <a:off x="6778590" y="5393007"/>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CRM Online</a:t>
                </a:r>
              </a:p>
            </p:txBody>
          </p:sp>
          <p:pic>
            <p:nvPicPr>
              <p:cNvPr id="390" name="Picture 389"/>
              <p:cNvPicPr>
                <a:picLocks noChangeAspect="1"/>
              </p:cNvPicPr>
              <p:nvPr/>
            </p:nvPicPr>
            <p:blipFill>
              <a:blip r:embed="rId27"/>
              <a:stretch>
                <a:fillRect/>
              </a:stretch>
            </p:blipFill>
            <p:spPr>
              <a:xfrm>
                <a:off x="6933148" y="4958763"/>
                <a:ext cx="327217" cy="387206"/>
              </a:xfrm>
              <a:prstGeom prst="rect">
                <a:avLst/>
              </a:prstGeom>
            </p:spPr>
          </p:pic>
        </p:grpSp>
        <p:grpSp>
          <p:nvGrpSpPr>
            <p:cNvPr id="392" name="Group 391"/>
            <p:cNvGrpSpPr>
              <a:grpSpLocks noChangeAspect="1"/>
            </p:cNvGrpSpPr>
            <p:nvPr/>
          </p:nvGrpSpPr>
          <p:grpSpPr bwMode="black">
            <a:xfrm>
              <a:off x="7995444" y="1657582"/>
              <a:ext cx="621497" cy="469795"/>
              <a:chOff x="5152726" y="4450436"/>
              <a:chExt cx="311283" cy="235363"/>
            </a:xfrm>
            <a:solidFill>
              <a:srgbClr val="5E83BD"/>
            </a:solidFill>
          </p:grpSpPr>
          <p:sp>
            <p:nvSpPr>
              <p:cNvPr id="394" name="Freeform 168"/>
              <p:cNvSpPr>
                <a:spLocks noEditPoints="1"/>
              </p:cNvSpPr>
              <p:nvPr/>
            </p:nvSpPr>
            <p:spPr bwMode="black">
              <a:xfrm>
                <a:off x="5152726" y="4450436"/>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defRPr/>
                </a:pPr>
                <a:endParaRPr lang="en-US" kern="0" spc="-122">
                  <a:solidFill>
                    <a:srgbClr val="FFFFFF">
                      <a:lumMod val="50000"/>
                    </a:srgbClr>
                  </a:solidFill>
                  <a:latin typeface="Segoe Light" pitchFamily="34" charset="0"/>
                </a:endParaRPr>
              </a:p>
            </p:txBody>
          </p:sp>
          <p:sp>
            <p:nvSpPr>
              <p:cNvPr id="395"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chemeClr val="bg1">
                  <a:lumMod val="65000"/>
                </a:scheme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defRPr/>
                </a:pPr>
                <a:endParaRPr lang="en-US" kern="0" spc="-122">
                  <a:solidFill>
                    <a:srgbClr val="FFFFFF">
                      <a:lumMod val="50000"/>
                    </a:srgbClr>
                  </a:solidFill>
                  <a:latin typeface="Segoe Light" pitchFamily="34" charset="0"/>
                </a:endParaRPr>
              </a:p>
            </p:txBody>
          </p:sp>
        </p:grpSp>
        <p:sp>
          <p:nvSpPr>
            <p:cNvPr id="393" name="TextBox 392"/>
            <p:cNvSpPr txBox="1"/>
            <p:nvPr/>
          </p:nvSpPr>
          <p:spPr>
            <a:xfrm>
              <a:off x="7007055" y="1831954"/>
              <a:ext cx="975635" cy="137116"/>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Microsoft Social Engagement</a:t>
              </a:r>
            </a:p>
          </p:txBody>
        </p:sp>
      </p:grpSp>
      <p:cxnSp>
        <p:nvCxnSpPr>
          <p:cNvPr id="397" name="Straight Arrow Connector 396"/>
          <p:cNvCxnSpPr/>
          <p:nvPr/>
        </p:nvCxnSpPr>
        <p:spPr>
          <a:xfrm>
            <a:off x="2647994" y="2508428"/>
            <a:ext cx="1031071" cy="4190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0" name="Straight Arrow Connector 399"/>
          <p:cNvCxnSpPr/>
          <p:nvPr/>
        </p:nvCxnSpPr>
        <p:spPr>
          <a:xfrm flipH="1">
            <a:off x="7572043" y="1277769"/>
            <a:ext cx="225006" cy="1549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9505665" y="2235473"/>
            <a:ext cx="2549187" cy="1927779"/>
            <a:chOff x="4783606" y="4595827"/>
            <a:chExt cx="2549187" cy="1927779"/>
          </a:xfrm>
        </p:grpSpPr>
        <p:pic>
          <p:nvPicPr>
            <p:cNvPr id="341" name="Picture 340"/>
            <p:cNvPicPr>
              <a:picLocks noChangeAspect="1"/>
            </p:cNvPicPr>
            <p:nvPr/>
          </p:nvPicPr>
          <p:blipFill>
            <a:blip r:embed="rId28"/>
            <a:stretch>
              <a:fillRect/>
            </a:stretch>
          </p:blipFill>
          <p:spPr>
            <a:xfrm>
              <a:off x="4927700" y="4595827"/>
              <a:ext cx="2405093" cy="1927779"/>
            </a:xfrm>
            <a:prstGeom prst="rect">
              <a:avLst/>
            </a:prstGeom>
          </p:spPr>
        </p:pic>
        <p:sp>
          <p:nvSpPr>
            <p:cNvPr id="342" name="Freeform 62"/>
            <p:cNvSpPr>
              <a:spLocks noChangeAspect="1" noEditPoints="1"/>
            </p:cNvSpPr>
            <p:nvPr/>
          </p:nvSpPr>
          <p:spPr bwMode="black">
            <a:xfrm>
              <a:off x="6605585" y="5558922"/>
              <a:ext cx="269334" cy="289569"/>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a:defRPr/>
              </a:pPr>
              <a:endParaRPr lang="en-US" sz="1600" kern="0">
                <a:solidFill>
                  <a:sysClr val="windowText" lastClr="000000"/>
                </a:solidFill>
              </a:endParaRPr>
            </a:p>
          </p:txBody>
        </p:sp>
        <p:sp>
          <p:nvSpPr>
            <p:cNvPr id="343" name="TextBox 342"/>
            <p:cNvSpPr txBox="1"/>
            <p:nvPr/>
          </p:nvSpPr>
          <p:spPr>
            <a:xfrm>
              <a:off x="6332063" y="5862491"/>
              <a:ext cx="785403" cy="157796"/>
            </a:xfrm>
            <a:prstGeom prst="rect">
              <a:avLst/>
            </a:prstGeom>
          </p:spPr>
          <p:txBody>
            <a:bodyPr vert="horz" wrap="square" lIns="0" tIns="0" rIns="0" bIns="0" rtlCol="0" anchor="t">
              <a:noAutofit/>
            </a:bodyPr>
            <a:lstStyle/>
            <a:p>
              <a:pPr algn="ctr" defTabSz="914400">
                <a:defRPr/>
              </a:pP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Online </a:t>
              </a:r>
              <a:b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b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web, chat)</a:t>
              </a:r>
            </a:p>
          </p:txBody>
        </p:sp>
        <p:sp>
          <p:nvSpPr>
            <p:cNvPr id="345" name="Round Same Side Corner Rectangle 2"/>
            <p:cNvSpPr>
              <a:spLocks noChangeAspect="1"/>
            </p:cNvSpPr>
            <p:nvPr/>
          </p:nvSpPr>
          <p:spPr>
            <a:xfrm>
              <a:off x="6723177" y="4828641"/>
              <a:ext cx="133917" cy="291977"/>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rgbClr val="505050"/>
                </a:solidFill>
              </a:endParaRPr>
            </a:p>
          </p:txBody>
        </p:sp>
        <p:sp>
          <p:nvSpPr>
            <p:cNvPr id="380" name="TextBox 379"/>
            <p:cNvSpPr txBox="1"/>
            <p:nvPr/>
          </p:nvSpPr>
          <p:spPr>
            <a:xfrm>
              <a:off x="6407887" y="5056858"/>
              <a:ext cx="733509" cy="173033"/>
            </a:xfrm>
            <a:prstGeom prst="rect">
              <a:avLst/>
            </a:prstGeom>
          </p:spPr>
          <p:txBody>
            <a:bodyPr vert="horz" wrap="square" lIns="91440" tIns="91440" rIns="91440" bIns="91440" rtlCol="0" anchor="t">
              <a:noAutofit/>
            </a:bodyPr>
            <a:lstStyle/>
            <a:p>
              <a:pPr algn="ctr" defTabSz="914400">
                <a:defRPr/>
              </a:pP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Devices</a:t>
              </a:r>
            </a:p>
          </p:txBody>
        </p:sp>
        <p:sp>
          <p:nvSpPr>
            <p:cNvPr id="383" name="Man's Body"/>
            <p:cNvSpPr>
              <a:spLocks noChangeAspect="1"/>
            </p:cNvSpPr>
            <p:nvPr/>
          </p:nvSpPr>
          <p:spPr bwMode="auto">
            <a:xfrm flipH="1">
              <a:off x="5405480" y="5821592"/>
              <a:ext cx="181067" cy="248098"/>
            </a:xfrm>
            <a:custGeom>
              <a:avLst/>
              <a:gdLst>
                <a:gd name="connsiteX0" fmla="*/ 452684 w 673603"/>
                <a:gd name="connsiteY0" fmla="*/ 499119 h 858249"/>
                <a:gd name="connsiteX1" fmla="*/ 364244 w 673603"/>
                <a:gd name="connsiteY1" fmla="*/ 552651 h 858249"/>
                <a:gd name="connsiteX2" fmla="*/ 310399 w 673603"/>
                <a:gd name="connsiteY2" fmla="*/ 763544 h 858249"/>
                <a:gd name="connsiteX3" fmla="*/ 343737 w 673603"/>
                <a:gd name="connsiteY3" fmla="*/ 794501 h 858249"/>
                <a:gd name="connsiteX4" fmla="*/ 367549 w 673603"/>
                <a:gd name="connsiteY4" fmla="*/ 777832 h 858249"/>
                <a:gd name="connsiteX5" fmla="*/ 362787 w 673603"/>
                <a:gd name="connsiteY5" fmla="*/ 754019 h 858249"/>
                <a:gd name="connsiteX6" fmla="*/ 386599 w 673603"/>
                <a:gd name="connsiteY6" fmla="*/ 746876 h 858249"/>
                <a:gd name="connsiteX7" fmla="*/ 398506 w 673603"/>
                <a:gd name="connsiteY7" fmla="*/ 777832 h 858249"/>
                <a:gd name="connsiteX8" fmla="*/ 343737 w 673603"/>
                <a:gd name="connsiteY8" fmla="*/ 815932 h 858249"/>
                <a:gd name="connsiteX9" fmla="*/ 279443 w 673603"/>
                <a:gd name="connsiteY9" fmla="*/ 773069 h 858249"/>
                <a:gd name="connsiteX10" fmla="*/ 331831 w 673603"/>
                <a:gd name="connsiteY10" fmla="*/ 577807 h 858249"/>
                <a:gd name="connsiteX11" fmla="*/ 305637 w 673603"/>
                <a:gd name="connsiteY11" fmla="*/ 563519 h 858249"/>
                <a:gd name="connsiteX12" fmla="*/ 311779 w 673603"/>
                <a:gd name="connsiteY12" fmla="*/ 547549 h 858249"/>
                <a:gd name="connsiteX13" fmla="*/ 237741 w 673603"/>
                <a:gd name="connsiteY13" fmla="*/ 500485 h 858249"/>
                <a:gd name="connsiteX14" fmla="*/ 224038 w 673603"/>
                <a:gd name="connsiteY14" fmla="*/ 528452 h 858249"/>
                <a:gd name="connsiteX15" fmla="*/ 153447 w 673603"/>
                <a:gd name="connsiteY15" fmla="*/ 578809 h 858249"/>
                <a:gd name="connsiteX16" fmla="*/ 8401 w 673603"/>
                <a:gd name="connsiteY16" fmla="*/ 653033 h 858249"/>
                <a:gd name="connsiteX17" fmla="*/ 67793 w 673603"/>
                <a:gd name="connsiteY17" fmla="*/ 850206 h 858249"/>
                <a:gd name="connsiteX18" fmla="*/ 124357 w 673603"/>
                <a:gd name="connsiteY18" fmla="*/ 749115 h 858249"/>
                <a:gd name="connsiteX19" fmla="*/ 100924 w 673603"/>
                <a:gd name="connsiteY19" fmla="*/ 852938 h 858249"/>
                <a:gd name="connsiteX20" fmla="*/ 488320 w 673603"/>
                <a:gd name="connsiteY20" fmla="*/ 858165 h 858249"/>
                <a:gd name="connsiteX21" fmla="*/ 488345 w 673603"/>
                <a:gd name="connsiteY21" fmla="*/ 858249 h 858249"/>
                <a:gd name="connsiteX22" fmla="*/ 489349 w 673603"/>
                <a:gd name="connsiteY22" fmla="*/ 858186 h 858249"/>
                <a:gd name="connsiteX23" fmla="*/ 492440 w 673603"/>
                <a:gd name="connsiteY23" fmla="*/ 858249 h 858249"/>
                <a:gd name="connsiteX24" fmla="*/ 492755 w 673603"/>
                <a:gd name="connsiteY24" fmla="*/ 857971 h 858249"/>
                <a:gd name="connsiteX25" fmla="*/ 572680 w 673603"/>
                <a:gd name="connsiteY25" fmla="*/ 852938 h 858249"/>
                <a:gd name="connsiteX26" fmla="*/ 549247 w 673603"/>
                <a:gd name="connsiteY26" fmla="*/ 749115 h 858249"/>
                <a:gd name="connsiteX27" fmla="*/ 605811 w 673603"/>
                <a:gd name="connsiteY27" fmla="*/ 850206 h 858249"/>
                <a:gd name="connsiteX28" fmla="*/ 665203 w 673603"/>
                <a:gd name="connsiteY28" fmla="*/ 653033 h 858249"/>
                <a:gd name="connsiteX29" fmla="*/ 520157 w 673603"/>
                <a:gd name="connsiteY29" fmla="*/ 578809 h 858249"/>
                <a:gd name="connsiteX30" fmla="*/ 416545 w 673603"/>
                <a:gd name="connsiteY30" fmla="*/ 619374 h 858249"/>
                <a:gd name="connsiteX31" fmla="*/ 402735 w 673603"/>
                <a:gd name="connsiteY31" fmla="*/ 611762 h 858249"/>
                <a:gd name="connsiteX32" fmla="*/ 480966 w 673603"/>
                <a:gd name="connsiteY32" fmla="*/ 558317 h 858249"/>
                <a:gd name="connsiteX33" fmla="*/ 452684 w 673603"/>
                <a:gd name="connsiteY33" fmla="*/ 499119 h 858249"/>
                <a:gd name="connsiteX34" fmla="*/ 360713 w 673603"/>
                <a:gd name="connsiteY34" fmla="*/ 167 h 858249"/>
                <a:gd name="connsiteX35" fmla="*/ 241395 w 673603"/>
                <a:gd name="connsiteY35" fmla="*/ 59839 h 858249"/>
                <a:gd name="connsiteX36" fmla="*/ 169081 w 673603"/>
                <a:gd name="connsiteY36" fmla="*/ 160974 h 858249"/>
                <a:gd name="connsiteX37" fmla="*/ 192109 w 673603"/>
                <a:gd name="connsiteY37" fmla="*/ 186030 h 858249"/>
                <a:gd name="connsiteX38" fmla="*/ 209480 w 673603"/>
                <a:gd name="connsiteY38" fmla="*/ 168263 h 858249"/>
                <a:gd name="connsiteX39" fmla="*/ 352895 w 673603"/>
                <a:gd name="connsiteY39" fmla="*/ 122251 h 858249"/>
                <a:gd name="connsiteX40" fmla="*/ 205036 w 673603"/>
                <a:gd name="connsiteY40" fmla="*/ 213819 h 858249"/>
                <a:gd name="connsiteX41" fmla="*/ 205036 w 673603"/>
                <a:gd name="connsiteY41" fmla="*/ 254364 h 858249"/>
                <a:gd name="connsiteX42" fmla="*/ 186453 w 673603"/>
                <a:gd name="connsiteY42" fmla="*/ 269397 h 858249"/>
                <a:gd name="connsiteX43" fmla="*/ 206248 w 673603"/>
                <a:gd name="connsiteY43" fmla="*/ 358232 h 858249"/>
                <a:gd name="connsiteX44" fmla="*/ 217560 w 673603"/>
                <a:gd name="connsiteY44" fmla="*/ 365976 h 858249"/>
                <a:gd name="connsiteX45" fmla="*/ 265230 w 673603"/>
                <a:gd name="connsiteY45" fmla="*/ 473033 h 858249"/>
                <a:gd name="connsiteX46" fmla="*/ 352895 w 673603"/>
                <a:gd name="connsiteY46" fmla="*/ 522690 h 858249"/>
                <a:gd name="connsiteX47" fmla="*/ 447024 w 673603"/>
                <a:gd name="connsiteY47" fmla="*/ 460733 h 858249"/>
                <a:gd name="connsiteX48" fmla="*/ 488231 w 673603"/>
                <a:gd name="connsiteY48" fmla="*/ 361421 h 858249"/>
                <a:gd name="connsiteX49" fmla="*/ 521357 w 673603"/>
                <a:gd name="connsiteY49" fmla="*/ 283520 h 858249"/>
                <a:gd name="connsiteX50" fmla="*/ 508430 w 673603"/>
                <a:gd name="connsiteY50" fmla="*/ 261653 h 858249"/>
                <a:gd name="connsiteX51" fmla="*/ 535901 w 673603"/>
                <a:gd name="connsiteY51" fmla="*/ 181930 h 858249"/>
                <a:gd name="connsiteX52" fmla="*/ 426016 w 673603"/>
                <a:gd name="connsiteY52" fmla="*/ 17472 h 858249"/>
                <a:gd name="connsiteX53" fmla="*/ 360713 w 673603"/>
                <a:gd name="connsiteY53" fmla="*/ 167 h 858249"/>
                <a:gd name="connsiteX0" fmla="*/ 452684 w 673603"/>
                <a:gd name="connsiteY0" fmla="*/ 499119 h 858249"/>
                <a:gd name="connsiteX1" fmla="*/ 364244 w 673603"/>
                <a:gd name="connsiteY1" fmla="*/ 552651 h 858249"/>
                <a:gd name="connsiteX2" fmla="*/ 303255 w 673603"/>
                <a:gd name="connsiteY2" fmla="*/ 763544 h 858249"/>
                <a:gd name="connsiteX3" fmla="*/ 343737 w 673603"/>
                <a:gd name="connsiteY3" fmla="*/ 794501 h 858249"/>
                <a:gd name="connsiteX4" fmla="*/ 367549 w 673603"/>
                <a:gd name="connsiteY4" fmla="*/ 777832 h 858249"/>
                <a:gd name="connsiteX5" fmla="*/ 362787 w 673603"/>
                <a:gd name="connsiteY5" fmla="*/ 754019 h 858249"/>
                <a:gd name="connsiteX6" fmla="*/ 386599 w 673603"/>
                <a:gd name="connsiteY6" fmla="*/ 746876 h 858249"/>
                <a:gd name="connsiteX7" fmla="*/ 398506 w 673603"/>
                <a:gd name="connsiteY7" fmla="*/ 777832 h 858249"/>
                <a:gd name="connsiteX8" fmla="*/ 343737 w 673603"/>
                <a:gd name="connsiteY8" fmla="*/ 815932 h 858249"/>
                <a:gd name="connsiteX9" fmla="*/ 279443 w 673603"/>
                <a:gd name="connsiteY9" fmla="*/ 773069 h 858249"/>
                <a:gd name="connsiteX10" fmla="*/ 331831 w 673603"/>
                <a:gd name="connsiteY10" fmla="*/ 577807 h 858249"/>
                <a:gd name="connsiteX11" fmla="*/ 305637 w 673603"/>
                <a:gd name="connsiteY11" fmla="*/ 563519 h 858249"/>
                <a:gd name="connsiteX12" fmla="*/ 311779 w 673603"/>
                <a:gd name="connsiteY12" fmla="*/ 547549 h 858249"/>
                <a:gd name="connsiteX13" fmla="*/ 237741 w 673603"/>
                <a:gd name="connsiteY13" fmla="*/ 500485 h 858249"/>
                <a:gd name="connsiteX14" fmla="*/ 224038 w 673603"/>
                <a:gd name="connsiteY14" fmla="*/ 528452 h 858249"/>
                <a:gd name="connsiteX15" fmla="*/ 153447 w 673603"/>
                <a:gd name="connsiteY15" fmla="*/ 578809 h 858249"/>
                <a:gd name="connsiteX16" fmla="*/ 8401 w 673603"/>
                <a:gd name="connsiteY16" fmla="*/ 653033 h 858249"/>
                <a:gd name="connsiteX17" fmla="*/ 67793 w 673603"/>
                <a:gd name="connsiteY17" fmla="*/ 850206 h 858249"/>
                <a:gd name="connsiteX18" fmla="*/ 124357 w 673603"/>
                <a:gd name="connsiteY18" fmla="*/ 749115 h 858249"/>
                <a:gd name="connsiteX19" fmla="*/ 100924 w 673603"/>
                <a:gd name="connsiteY19" fmla="*/ 852938 h 858249"/>
                <a:gd name="connsiteX20" fmla="*/ 488320 w 673603"/>
                <a:gd name="connsiteY20" fmla="*/ 858165 h 858249"/>
                <a:gd name="connsiteX21" fmla="*/ 488345 w 673603"/>
                <a:gd name="connsiteY21" fmla="*/ 858249 h 858249"/>
                <a:gd name="connsiteX22" fmla="*/ 489349 w 673603"/>
                <a:gd name="connsiteY22" fmla="*/ 858186 h 858249"/>
                <a:gd name="connsiteX23" fmla="*/ 492440 w 673603"/>
                <a:gd name="connsiteY23" fmla="*/ 858249 h 858249"/>
                <a:gd name="connsiteX24" fmla="*/ 492755 w 673603"/>
                <a:gd name="connsiteY24" fmla="*/ 857971 h 858249"/>
                <a:gd name="connsiteX25" fmla="*/ 572680 w 673603"/>
                <a:gd name="connsiteY25" fmla="*/ 852938 h 858249"/>
                <a:gd name="connsiteX26" fmla="*/ 549247 w 673603"/>
                <a:gd name="connsiteY26" fmla="*/ 749115 h 858249"/>
                <a:gd name="connsiteX27" fmla="*/ 605811 w 673603"/>
                <a:gd name="connsiteY27" fmla="*/ 850206 h 858249"/>
                <a:gd name="connsiteX28" fmla="*/ 665203 w 673603"/>
                <a:gd name="connsiteY28" fmla="*/ 653033 h 858249"/>
                <a:gd name="connsiteX29" fmla="*/ 520157 w 673603"/>
                <a:gd name="connsiteY29" fmla="*/ 578809 h 858249"/>
                <a:gd name="connsiteX30" fmla="*/ 416545 w 673603"/>
                <a:gd name="connsiteY30" fmla="*/ 619374 h 858249"/>
                <a:gd name="connsiteX31" fmla="*/ 402735 w 673603"/>
                <a:gd name="connsiteY31" fmla="*/ 611762 h 858249"/>
                <a:gd name="connsiteX32" fmla="*/ 480966 w 673603"/>
                <a:gd name="connsiteY32" fmla="*/ 558317 h 858249"/>
                <a:gd name="connsiteX33" fmla="*/ 452684 w 673603"/>
                <a:gd name="connsiteY33" fmla="*/ 499119 h 858249"/>
                <a:gd name="connsiteX34" fmla="*/ 360713 w 673603"/>
                <a:gd name="connsiteY34" fmla="*/ 167 h 858249"/>
                <a:gd name="connsiteX35" fmla="*/ 241395 w 673603"/>
                <a:gd name="connsiteY35" fmla="*/ 59839 h 858249"/>
                <a:gd name="connsiteX36" fmla="*/ 169081 w 673603"/>
                <a:gd name="connsiteY36" fmla="*/ 160974 h 858249"/>
                <a:gd name="connsiteX37" fmla="*/ 192109 w 673603"/>
                <a:gd name="connsiteY37" fmla="*/ 186030 h 858249"/>
                <a:gd name="connsiteX38" fmla="*/ 209480 w 673603"/>
                <a:gd name="connsiteY38" fmla="*/ 168263 h 858249"/>
                <a:gd name="connsiteX39" fmla="*/ 352895 w 673603"/>
                <a:gd name="connsiteY39" fmla="*/ 122251 h 858249"/>
                <a:gd name="connsiteX40" fmla="*/ 205036 w 673603"/>
                <a:gd name="connsiteY40" fmla="*/ 213819 h 858249"/>
                <a:gd name="connsiteX41" fmla="*/ 205036 w 673603"/>
                <a:gd name="connsiteY41" fmla="*/ 254364 h 858249"/>
                <a:gd name="connsiteX42" fmla="*/ 186453 w 673603"/>
                <a:gd name="connsiteY42" fmla="*/ 269397 h 858249"/>
                <a:gd name="connsiteX43" fmla="*/ 206248 w 673603"/>
                <a:gd name="connsiteY43" fmla="*/ 358232 h 858249"/>
                <a:gd name="connsiteX44" fmla="*/ 217560 w 673603"/>
                <a:gd name="connsiteY44" fmla="*/ 365976 h 858249"/>
                <a:gd name="connsiteX45" fmla="*/ 265230 w 673603"/>
                <a:gd name="connsiteY45" fmla="*/ 473033 h 858249"/>
                <a:gd name="connsiteX46" fmla="*/ 352895 w 673603"/>
                <a:gd name="connsiteY46" fmla="*/ 522690 h 858249"/>
                <a:gd name="connsiteX47" fmla="*/ 447024 w 673603"/>
                <a:gd name="connsiteY47" fmla="*/ 460733 h 858249"/>
                <a:gd name="connsiteX48" fmla="*/ 488231 w 673603"/>
                <a:gd name="connsiteY48" fmla="*/ 361421 h 858249"/>
                <a:gd name="connsiteX49" fmla="*/ 521357 w 673603"/>
                <a:gd name="connsiteY49" fmla="*/ 283520 h 858249"/>
                <a:gd name="connsiteX50" fmla="*/ 508430 w 673603"/>
                <a:gd name="connsiteY50" fmla="*/ 261653 h 858249"/>
                <a:gd name="connsiteX51" fmla="*/ 535901 w 673603"/>
                <a:gd name="connsiteY51" fmla="*/ 181930 h 858249"/>
                <a:gd name="connsiteX52" fmla="*/ 426016 w 673603"/>
                <a:gd name="connsiteY52" fmla="*/ 17472 h 858249"/>
                <a:gd name="connsiteX53" fmla="*/ 360713 w 673603"/>
                <a:gd name="connsiteY53" fmla="*/ 167 h 858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73603" h="858249">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9463" y="855236"/>
                    <a:pt x="441914" y="856925"/>
                    <a:pt x="488320" y="858165"/>
                  </a:cubicBezTo>
                  <a:cubicBezTo>
                    <a:pt x="488326" y="858194"/>
                    <a:pt x="488336" y="858221"/>
                    <a:pt x="488345" y="858249"/>
                  </a:cubicBezTo>
                  <a:lnTo>
                    <a:pt x="489349" y="858186"/>
                  </a:lnTo>
                  <a:lnTo>
                    <a:pt x="492440" y="858249"/>
                  </a:lnTo>
                  <a:cubicBezTo>
                    <a:pt x="492562" y="858190"/>
                    <a:pt x="492684" y="858130"/>
                    <a:pt x="492755" y="857971"/>
                  </a:cubicBezTo>
                  <a:cubicBezTo>
                    <a:pt x="517797" y="856858"/>
                    <a:pt x="544705" y="855190"/>
                    <a:pt x="572680" y="852938"/>
                  </a:cubicBezTo>
                  <a:cubicBezTo>
                    <a:pt x="572277" y="823340"/>
                    <a:pt x="561368" y="775071"/>
                    <a:pt x="549247" y="749115"/>
                  </a:cubicBezTo>
                  <a:cubicBezTo>
                    <a:pt x="558539" y="755035"/>
                    <a:pt x="598134" y="796473"/>
                    <a:pt x="605811" y="850206"/>
                  </a:cubicBezTo>
                  <a:cubicBezTo>
                    <a:pt x="678536" y="756856"/>
                    <a:pt x="682172" y="682176"/>
                    <a:pt x="665203" y="653033"/>
                  </a:cubicBezTo>
                  <a:cubicBezTo>
                    <a:pt x="648638" y="624345"/>
                    <a:pt x="529853" y="576532"/>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5007" y="254367"/>
                    <a:pt x="186453" y="255741"/>
                    <a:pt x="186453" y="269397"/>
                  </a:cubicBezTo>
                  <a:cubicBezTo>
                    <a:pt x="186453" y="283062"/>
                    <a:pt x="206241" y="358204"/>
                    <a:pt x="206248" y="358232"/>
                  </a:cubicBezTo>
                  <a:cubicBezTo>
                    <a:pt x="206263" y="358257"/>
                    <a:pt x="211509"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48" y="261603"/>
                    <a:pt x="533882" y="191493"/>
                    <a:pt x="535901" y="181930"/>
                  </a:cubicBezTo>
                  <a:cubicBezTo>
                    <a:pt x="537517" y="172818"/>
                    <a:pt x="554484" y="11549"/>
                    <a:pt x="426016" y="17472"/>
                  </a:cubicBezTo>
                  <a:cubicBezTo>
                    <a:pt x="407231" y="4488"/>
                    <a:pt x="384639" y="-1064"/>
                    <a:pt x="360713" y="167"/>
                  </a:cubicBezTo>
                  <a:close/>
                </a:path>
              </a:pathLst>
            </a:custGeom>
            <a:solidFill>
              <a:schemeClr val="bg1">
                <a:lumMod val="50000"/>
              </a:schemeClr>
            </a:solidFill>
            <a:ln w="25400" cap="flat" cmpd="sng" algn="ctr">
              <a:noFill/>
              <a:prstDash val="solid"/>
            </a:ln>
            <a:effectLst/>
            <a:ex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defRPr/>
              </a:pPr>
              <a:endParaRPr lang="en-US" sz="1200" kern="0">
                <a:solidFill>
                  <a:sysClr val="windowText" lastClr="000000"/>
                </a:solidFill>
              </a:endParaRPr>
            </a:p>
          </p:txBody>
        </p:sp>
        <p:sp>
          <p:nvSpPr>
            <p:cNvPr id="391" name="Round Same Side Corner Rectangle 2"/>
            <p:cNvSpPr/>
            <p:nvPr/>
          </p:nvSpPr>
          <p:spPr>
            <a:xfrm>
              <a:off x="5618151" y="5831355"/>
              <a:ext cx="115545" cy="163620"/>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ctr" defTabSz="1088105">
                <a:defRPr/>
              </a:pPr>
              <a:endParaRPr lang="en-US" sz="1200" kern="0">
                <a:solidFill>
                  <a:srgbClr val="505050"/>
                </a:solidFill>
              </a:endParaRPr>
            </a:p>
          </p:txBody>
        </p:sp>
        <p:sp>
          <p:nvSpPr>
            <p:cNvPr id="398" name="TextBox 397"/>
            <p:cNvSpPr txBox="1"/>
            <p:nvPr/>
          </p:nvSpPr>
          <p:spPr>
            <a:xfrm>
              <a:off x="5197565" y="6009406"/>
              <a:ext cx="818808" cy="204589"/>
            </a:xfrm>
            <a:prstGeom prst="rect">
              <a:avLst/>
            </a:prstGeom>
          </p:spPr>
          <p:txBody>
            <a:bodyPr vert="horz" wrap="square" lIns="91440" tIns="91440" rIns="91440" bIns="91440" rtlCol="0" anchor="t">
              <a:noAutofit/>
            </a:bodyPr>
            <a:lstStyle/>
            <a:p>
              <a:pPr algn="ctr" defTabSz="914400">
                <a:defRPr/>
              </a:pP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Assistant</a:t>
              </a:r>
            </a:p>
          </p:txBody>
        </p:sp>
        <p:sp>
          <p:nvSpPr>
            <p:cNvPr id="399" name="TextBox 398"/>
            <p:cNvSpPr txBox="1"/>
            <p:nvPr/>
          </p:nvSpPr>
          <p:spPr>
            <a:xfrm>
              <a:off x="4783606" y="5258399"/>
              <a:ext cx="1012424" cy="145297"/>
            </a:xfrm>
            <a:prstGeom prst="rect">
              <a:avLst/>
            </a:prstGeom>
          </p:spPr>
          <p:txBody>
            <a:bodyPr vert="horz" wrap="square" lIns="91440" tIns="91440" rIns="91440" bIns="91440" rtlCol="0" anchor="t">
              <a:noAutofit/>
            </a:bodyPr>
            <a:lstStyle/>
            <a:p>
              <a:pPr algn="ctr" defTabSz="914400">
                <a:defRPr/>
              </a:pP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Digital Signage</a:t>
              </a:r>
            </a:p>
          </p:txBody>
        </p:sp>
        <p:sp>
          <p:nvSpPr>
            <p:cNvPr id="401" name="Freeform 7"/>
            <p:cNvSpPr>
              <a:spLocks noChangeAspect="1" noEditPoints="1"/>
            </p:cNvSpPr>
            <p:nvPr/>
          </p:nvSpPr>
          <p:spPr bwMode="black">
            <a:xfrm>
              <a:off x="5140493" y="5142148"/>
              <a:ext cx="269264" cy="182907"/>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chemeClr val="bg1">
                <a:lumMod val="5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defRPr/>
              </a:pPr>
              <a:endParaRPr lang="en-US" kern="0" spc="-122">
                <a:solidFill>
                  <a:srgbClr val="505050"/>
                </a:solidFill>
                <a:latin typeface="Segoe Light" pitchFamily="34" charset="0"/>
              </a:endParaRPr>
            </a:p>
          </p:txBody>
        </p:sp>
        <p:sp>
          <p:nvSpPr>
            <p:cNvPr id="402" name="TextBox 401"/>
            <p:cNvSpPr txBox="1"/>
            <p:nvPr/>
          </p:nvSpPr>
          <p:spPr>
            <a:xfrm>
              <a:off x="5600253" y="5308591"/>
              <a:ext cx="892575" cy="100083"/>
            </a:xfrm>
            <a:prstGeom prst="rect">
              <a:avLst/>
            </a:prstGeom>
          </p:spPr>
          <p:txBody>
            <a:bodyPr vert="horz" wrap="square" lIns="91416" tIns="91416" rIns="91416" bIns="91416" rtlCol="0" anchor="ctr">
              <a:noAutofit/>
            </a:bodyPr>
            <a:lstStyle/>
            <a:p>
              <a:pPr algn="ctr" defTabSz="1088105">
                <a:defRPr/>
              </a:pP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Occupant</a:t>
              </a:r>
            </a:p>
          </p:txBody>
        </p:sp>
        <p:sp>
          <p:nvSpPr>
            <p:cNvPr id="403" name="Freeform 402"/>
            <p:cNvSpPr>
              <a:spLocks/>
            </p:cNvSpPr>
            <p:nvPr/>
          </p:nvSpPr>
          <p:spPr bwMode="auto">
            <a:xfrm>
              <a:off x="5987418" y="4719076"/>
              <a:ext cx="82480" cy="88917"/>
            </a:xfrm>
            <a:custGeom>
              <a:avLst/>
              <a:gdLst>
                <a:gd name="connsiteX0" fmla="*/ 63021 w 126043"/>
                <a:gd name="connsiteY0" fmla="*/ 0 h 126351"/>
                <a:gd name="connsiteX1" fmla="*/ 126043 w 126043"/>
                <a:gd name="connsiteY1" fmla="*/ 63175 h 126351"/>
                <a:gd name="connsiteX2" fmla="*/ 63021 w 126043"/>
                <a:gd name="connsiteY2" fmla="*/ 126351 h 126351"/>
                <a:gd name="connsiteX3" fmla="*/ 0 w 126043"/>
                <a:gd name="connsiteY3" fmla="*/ 63175 h 126351"/>
                <a:gd name="connsiteX4" fmla="*/ 63021 w 126043"/>
                <a:gd name="connsiteY4" fmla="*/ 0 h 126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3" h="126351">
                  <a:moveTo>
                    <a:pt x="63021" y="0"/>
                  </a:moveTo>
                  <a:cubicBezTo>
                    <a:pt x="97827" y="0"/>
                    <a:pt x="126043" y="28285"/>
                    <a:pt x="126043" y="63175"/>
                  </a:cubicBezTo>
                  <a:cubicBezTo>
                    <a:pt x="126043" y="98066"/>
                    <a:pt x="97827" y="126351"/>
                    <a:pt x="63021" y="126351"/>
                  </a:cubicBezTo>
                  <a:cubicBezTo>
                    <a:pt x="28216" y="126351"/>
                    <a:pt x="0" y="98066"/>
                    <a:pt x="0" y="63175"/>
                  </a:cubicBezTo>
                  <a:cubicBezTo>
                    <a:pt x="0" y="28285"/>
                    <a:pt x="28216" y="0"/>
                    <a:pt x="63021" y="0"/>
                  </a:cubicBezTo>
                  <a:close/>
                </a:path>
              </a:pathLst>
            </a:custGeom>
            <a:solidFill>
              <a:schemeClr val="bg1">
                <a:lumMod val="50000"/>
              </a:schemeClr>
            </a:solidFill>
            <a:ln>
              <a:noFill/>
            </a:ln>
            <a:effectLst/>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000" dirty="0">
                <a:solidFill>
                  <a:srgbClr val="505050"/>
                </a:solidFill>
              </a:endParaRPr>
            </a:p>
          </p:txBody>
        </p:sp>
        <p:sp>
          <p:nvSpPr>
            <p:cNvPr id="404" name="Freeform 403"/>
            <p:cNvSpPr/>
            <p:nvPr/>
          </p:nvSpPr>
          <p:spPr>
            <a:xfrm>
              <a:off x="5948387" y="4821572"/>
              <a:ext cx="268824" cy="411915"/>
            </a:xfrm>
            <a:custGeom>
              <a:avLst/>
              <a:gdLst>
                <a:gd name="connsiteX0" fmla="*/ 71203 w 410808"/>
                <a:gd name="connsiteY0" fmla="*/ 0 h 585333"/>
                <a:gd name="connsiteX1" fmla="*/ 199797 w 410808"/>
                <a:gd name="connsiteY1" fmla="*/ 0 h 585333"/>
                <a:gd name="connsiteX2" fmla="*/ 306140 w 410808"/>
                <a:gd name="connsiteY2" fmla="*/ 112676 h 585333"/>
                <a:gd name="connsiteX3" fmla="*/ 382989 w 410808"/>
                <a:gd name="connsiteY3" fmla="*/ 112676 h 585333"/>
                <a:gd name="connsiteX4" fmla="*/ 410808 w 410808"/>
                <a:gd name="connsiteY4" fmla="*/ 141425 h 585333"/>
                <a:gd name="connsiteX5" fmla="*/ 382989 w 410808"/>
                <a:gd name="connsiteY5" fmla="*/ 170173 h 585333"/>
                <a:gd name="connsiteX6" fmla="*/ 301835 w 410808"/>
                <a:gd name="connsiteY6" fmla="*/ 169364 h 585333"/>
                <a:gd name="connsiteX7" fmla="*/ 264502 w 410808"/>
                <a:gd name="connsiteY7" fmla="*/ 148203 h 585333"/>
                <a:gd name="connsiteX8" fmla="*/ 219588 w 410808"/>
                <a:gd name="connsiteY8" fmla="*/ 93054 h 585333"/>
                <a:gd name="connsiteX9" fmla="*/ 218506 w 410808"/>
                <a:gd name="connsiteY9" fmla="*/ 91936 h 585333"/>
                <a:gd name="connsiteX10" fmla="*/ 207685 w 410808"/>
                <a:gd name="connsiteY10" fmla="*/ 91936 h 585333"/>
                <a:gd name="connsiteX11" fmla="*/ 206603 w 410808"/>
                <a:gd name="connsiteY11" fmla="*/ 93054 h 585333"/>
                <a:gd name="connsiteX12" fmla="*/ 206814 w 410808"/>
                <a:gd name="connsiteY12" fmla="*/ 158980 h 585333"/>
                <a:gd name="connsiteX13" fmla="*/ 206814 w 410808"/>
                <a:gd name="connsiteY13" fmla="*/ 552303 h 585333"/>
                <a:gd name="connsiteX14" fmla="*/ 174852 w 410808"/>
                <a:gd name="connsiteY14" fmla="*/ 585333 h 585333"/>
                <a:gd name="connsiteX15" fmla="*/ 142888 w 410808"/>
                <a:gd name="connsiteY15" fmla="*/ 552303 h 585333"/>
                <a:gd name="connsiteX16" fmla="*/ 142888 w 410808"/>
                <a:gd name="connsiteY16" fmla="*/ 303759 h 585333"/>
                <a:gd name="connsiteX17" fmla="*/ 142677 w 410808"/>
                <a:gd name="connsiteY17" fmla="*/ 284784 h 585333"/>
                <a:gd name="connsiteX18" fmla="*/ 141727 w 410808"/>
                <a:gd name="connsiteY18" fmla="*/ 283803 h 585333"/>
                <a:gd name="connsiteX19" fmla="*/ 129939 w 410808"/>
                <a:gd name="connsiteY19" fmla="*/ 283803 h 585333"/>
                <a:gd name="connsiteX20" fmla="*/ 128989 w 410808"/>
                <a:gd name="connsiteY20" fmla="*/ 284784 h 585333"/>
                <a:gd name="connsiteX21" fmla="*/ 128989 w 410808"/>
                <a:gd name="connsiteY21" fmla="*/ 303759 h 585333"/>
                <a:gd name="connsiteX22" fmla="*/ 128910 w 410808"/>
                <a:gd name="connsiteY22" fmla="*/ 552303 h 585333"/>
                <a:gd name="connsiteX23" fmla="*/ 96946 w 410808"/>
                <a:gd name="connsiteY23" fmla="*/ 585333 h 585333"/>
                <a:gd name="connsiteX24" fmla="*/ 64983 w 410808"/>
                <a:gd name="connsiteY24" fmla="*/ 552303 h 585333"/>
                <a:gd name="connsiteX25" fmla="*/ 64983 w 410808"/>
                <a:gd name="connsiteY25" fmla="*/ 166868 h 585333"/>
                <a:gd name="connsiteX26" fmla="*/ 63987 w 410808"/>
                <a:gd name="connsiteY26" fmla="*/ 93037 h 585333"/>
                <a:gd name="connsiteX27" fmla="*/ 62921 w 410808"/>
                <a:gd name="connsiteY27" fmla="*/ 91936 h 585333"/>
                <a:gd name="connsiteX28" fmla="*/ 52267 w 410808"/>
                <a:gd name="connsiteY28" fmla="*/ 91936 h 585333"/>
                <a:gd name="connsiteX29" fmla="*/ 51201 w 410808"/>
                <a:gd name="connsiteY29" fmla="*/ 93037 h 585333"/>
                <a:gd name="connsiteX30" fmla="*/ 51201 w 410808"/>
                <a:gd name="connsiteY30" fmla="*/ 164044 h 585333"/>
                <a:gd name="connsiteX31" fmla="*/ 51141 w 410808"/>
                <a:gd name="connsiteY31" fmla="*/ 164028 h 585333"/>
                <a:gd name="connsiteX32" fmla="*/ 51141 w 410808"/>
                <a:gd name="connsiteY32" fmla="*/ 260047 h 585333"/>
                <a:gd name="connsiteX33" fmla="*/ 25571 w 410808"/>
                <a:gd name="connsiteY33" fmla="*/ 286472 h 585333"/>
                <a:gd name="connsiteX34" fmla="*/ 0 w 410808"/>
                <a:gd name="connsiteY34" fmla="*/ 260047 h 585333"/>
                <a:gd name="connsiteX35" fmla="*/ 0 w 410808"/>
                <a:gd name="connsiteY35" fmla="*/ 93775 h 585333"/>
                <a:gd name="connsiteX36" fmla="*/ 0 w 410808"/>
                <a:gd name="connsiteY36" fmla="*/ 73582 h 585333"/>
                <a:gd name="connsiteX37" fmla="*/ 0 w 410808"/>
                <a:gd name="connsiteY37" fmla="*/ 69305 h 585333"/>
                <a:gd name="connsiteX38" fmla="*/ 2527 w 410808"/>
                <a:gd name="connsiteY38" fmla="*/ 51295 h 585333"/>
                <a:gd name="connsiteX39" fmla="*/ 4076 w 410808"/>
                <a:gd name="connsiteY39" fmla="*/ 45985 h 585333"/>
                <a:gd name="connsiteX40" fmla="*/ 71203 w 410808"/>
                <a:gd name="connsiteY40" fmla="*/ 0 h 58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10808" h="585333">
                  <a:moveTo>
                    <a:pt x="71203" y="0"/>
                  </a:moveTo>
                  <a:lnTo>
                    <a:pt x="199797" y="0"/>
                  </a:lnTo>
                  <a:cubicBezTo>
                    <a:pt x="241881" y="11719"/>
                    <a:pt x="283417" y="79839"/>
                    <a:pt x="306140" y="112676"/>
                  </a:cubicBezTo>
                  <a:lnTo>
                    <a:pt x="382989" y="112676"/>
                  </a:lnTo>
                  <a:cubicBezTo>
                    <a:pt x="398353" y="112676"/>
                    <a:pt x="410808" y="125548"/>
                    <a:pt x="410808" y="141425"/>
                  </a:cubicBezTo>
                  <a:cubicBezTo>
                    <a:pt x="410808" y="157302"/>
                    <a:pt x="401151" y="165517"/>
                    <a:pt x="382989" y="170173"/>
                  </a:cubicBezTo>
                  <a:lnTo>
                    <a:pt x="301835" y="169364"/>
                  </a:lnTo>
                  <a:cubicBezTo>
                    <a:pt x="277261" y="170178"/>
                    <a:pt x="271591" y="157155"/>
                    <a:pt x="264502" y="148203"/>
                  </a:cubicBezTo>
                  <a:lnTo>
                    <a:pt x="219588" y="93054"/>
                  </a:lnTo>
                  <a:cubicBezTo>
                    <a:pt x="219588" y="92437"/>
                    <a:pt x="219103" y="91936"/>
                    <a:pt x="218506" y="91936"/>
                  </a:cubicBezTo>
                  <a:lnTo>
                    <a:pt x="207685" y="91936"/>
                  </a:lnTo>
                  <a:cubicBezTo>
                    <a:pt x="207087" y="91936"/>
                    <a:pt x="206603" y="92437"/>
                    <a:pt x="206603" y="93054"/>
                  </a:cubicBezTo>
                  <a:lnTo>
                    <a:pt x="206814" y="158980"/>
                  </a:lnTo>
                  <a:lnTo>
                    <a:pt x="206814" y="552303"/>
                  </a:lnTo>
                  <a:cubicBezTo>
                    <a:pt x="206814" y="570545"/>
                    <a:pt x="192504" y="585333"/>
                    <a:pt x="174852" y="585333"/>
                  </a:cubicBezTo>
                  <a:cubicBezTo>
                    <a:pt x="157199" y="585333"/>
                    <a:pt x="142888" y="570545"/>
                    <a:pt x="142888" y="552303"/>
                  </a:cubicBezTo>
                  <a:lnTo>
                    <a:pt x="142888" y="303759"/>
                  </a:lnTo>
                  <a:lnTo>
                    <a:pt x="142677" y="284784"/>
                  </a:lnTo>
                  <a:cubicBezTo>
                    <a:pt x="142677" y="284243"/>
                    <a:pt x="142252" y="283803"/>
                    <a:pt x="141727" y="283803"/>
                  </a:cubicBezTo>
                  <a:lnTo>
                    <a:pt x="129939" y="283803"/>
                  </a:lnTo>
                  <a:cubicBezTo>
                    <a:pt x="129414" y="283803"/>
                    <a:pt x="128989" y="284243"/>
                    <a:pt x="128989" y="284784"/>
                  </a:cubicBezTo>
                  <a:lnTo>
                    <a:pt x="128989" y="303759"/>
                  </a:lnTo>
                  <a:cubicBezTo>
                    <a:pt x="128963" y="386607"/>
                    <a:pt x="128936" y="469455"/>
                    <a:pt x="128910" y="552303"/>
                  </a:cubicBezTo>
                  <a:cubicBezTo>
                    <a:pt x="128910" y="570545"/>
                    <a:pt x="114599" y="585333"/>
                    <a:pt x="96946" y="585333"/>
                  </a:cubicBezTo>
                  <a:cubicBezTo>
                    <a:pt x="79294" y="585333"/>
                    <a:pt x="64983" y="570545"/>
                    <a:pt x="64983" y="552303"/>
                  </a:cubicBezTo>
                  <a:lnTo>
                    <a:pt x="64983" y="166868"/>
                  </a:lnTo>
                  <a:cubicBezTo>
                    <a:pt x="64651" y="142258"/>
                    <a:pt x="64319" y="117647"/>
                    <a:pt x="63987" y="93037"/>
                  </a:cubicBezTo>
                  <a:cubicBezTo>
                    <a:pt x="63987" y="92429"/>
                    <a:pt x="63509" y="91936"/>
                    <a:pt x="62921" y="91936"/>
                  </a:cubicBezTo>
                  <a:lnTo>
                    <a:pt x="52267" y="91936"/>
                  </a:lnTo>
                  <a:cubicBezTo>
                    <a:pt x="51678" y="91936"/>
                    <a:pt x="51201" y="92429"/>
                    <a:pt x="51201" y="93037"/>
                  </a:cubicBezTo>
                  <a:lnTo>
                    <a:pt x="51201" y="164044"/>
                  </a:lnTo>
                  <a:cubicBezTo>
                    <a:pt x="51180" y="164042"/>
                    <a:pt x="51161" y="164036"/>
                    <a:pt x="51141" y="164028"/>
                  </a:cubicBezTo>
                  <a:lnTo>
                    <a:pt x="51141" y="260047"/>
                  </a:lnTo>
                  <a:cubicBezTo>
                    <a:pt x="51141" y="274641"/>
                    <a:pt x="39693" y="286472"/>
                    <a:pt x="25571" y="286472"/>
                  </a:cubicBezTo>
                  <a:cubicBezTo>
                    <a:pt x="11448" y="286472"/>
                    <a:pt x="0" y="274641"/>
                    <a:pt x="0" y="260047"/>
                  </a:cubicBezTo>
                  <a:lnTo>
                    <a:pt x="0" y="93775"/>
                  </a:lnTo>
                  <a:lnTo>
                    <a:pt x="0" y="73582"/>
                  </a:lnTo>
                  <a:lnTo>
                    <a:pt x="0" y="69305"/>
                  </a:lnTo>
                  <a:cubicBezTo>
                    <a:pt x="0" y="63054"/>
                    <a:pt x="787" y="56994"/>
                    <a:pt x="2527" y="51295"/>
                  </a:cubicBezTo>
                  <a:cubicBezTo>
                    <a:pt x="3002" y="49540"/>
                    <a:pt x="2948" y="47348"/>
                    <a:pt x="4076" y="45985"/>
                  </a:cubicBezTo>
                  <a:cubicBezTo>
                    <a:pt x="14344" y="18630"/>
                    <a:pt x="41090" y="0"/>
                    <a:pt x="71203" y="0"/>
                  </a:cubicBez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defRPr/>
              </a:pPr>
              <a:endParaRPr lang="en-US" sz="1200" dirty="0" err="1">
                <a:solidFill>
                  <a:srgbClr val="505050"/>
                </a:solidFill>
              </a:endParaRPr>
            </a:p>
          </p:txBody>
        </p:sp>
      </p:grpSp>
      <p:sp>
        <p:nvSpPr>
          <p:cNvPr id="21" name="Rectangle 20"/>
          <p:cNvSpPr/>
          <p:nvPr/>
        </p:nvSpPr>
        <p:spPr>
          <a:xfrm>
            <a:off x="5708323" y="3429999"/>
            <a:ext cx="1695256" cy="2853761"/>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endParaRPr lang="en-US" sz="1200" kern="0" dirty="0" err="1">
              <a:solidFill>
                <a:sysClr val="windowText" lastClr="000000"/>
              </a:solidFill>
            </a:endParaRPr>
          </a:p>
        </p:txBody>
      </p:sp>
      <p:pic>
        <p:nvPicPr>
          <p:cNvPr id="415" name="Picture 8" descr="\\MAGNUM\Projects\Microsoft\Cloud Power FY12\Design\Icons\PNGs\Partner.png"/>
          <p:cNvPicPr>
            <a:picLocks noChangeAspect="1" noChangeArrowheads="1"/>
          </p:cNvPicPr>
          <p:nvPr/>
        </p:nvPicPr>
        <p:blipFill>
          <a:blip r:embed="rId29" cstate="print">
            <a:duotone>
              <a:srgbClr val="0A5BBA">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53303" y="3681253"/>
            <a:ext cx="626767" cy="626767"/>
          </a:xfrm>
          <a:prstGeom prst="rect">
            <a:avLst/>
          </a:prstGeom>
          <a:noFill/>
        </p:spPr>
      </p:pic>
      <p:sp>
        <p:nvSpPr>
          <p:cNvPr id="416" name="TextBox 415"/>
          <p:cNvSpPr txBox="1"/>
          <p:nvPr/>
        </p:nvSpPr>
        <p:spPr>
          <a:xfrm>
            <a:off x="5822246" y="4230285"/>
            <a:ext cx="1473692" cy="299330"/>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Building Data</a:t>
            </a:r>
          </a:p>
        </p:txBody>
      </p:sp>
      <p:pic>
        <p:nvPicPr>
          <p:cNvPr id="417" name="Picture 5" descr="\\MAGNUM\Projects\Microsoft\Cloud Power FY12\Design\Icons\PNGs\Truck.png"/>
          <p:cNvPicPr>
            <a:picLocks noChangeAspect="1" noChangeArrowheads="1"/>
          </p:cNvPicPr>
          <p:nvPr/>
        </p:nvPicPr>
        <p:blipFill>
          <a:blip r:embed="rId30" cstate="print">
            <a:duotone>
              <a:srgbClr val="0A5BBA">
                <a:shade val="45000"/>
                <a:satMod val="135000"/>
              </a:srgbClr>
              <a:prstClr val="white"/>
            </a:duotone>
            <a:extLst>
              <a:ext uri="{BEBA8EAE-BF5A-486C-A8C5-ECC9F3942E4B}">
                <a14:imgProps xmlns:a14="http://schemas.microsoft.com/office/drawing/2010/main">
                  <a14:imgLayer r:embed="rId31">
                    <a14:imgEffect>
                      <a14:brightnessContrast bright="-31000" contrast="-40000"/>
                    </a14:imgEffect>
                  </a14:imgLayer>
                </a14:imgProps>
              </a:ext>
              <a:ext uri="{28A0092B-C50C-407E-A947-70E740481C1C}">
                <a14:useLocalDpi xmlns:a14="http://schemas.microsoft.com/office/drawing/2010/main"/>
              </a:ext>
            </a:extLst>
          </a:blip>
          <a:stretch>
            <a:fillRect/>
          </a:stretch>
        </p:blipFill>
        <p:spPr bwMode="auto">
          <a:xfrm>
            <a:off x="6167297" y="4653145"/>
            <a:ext cx="457200" cy="457200"/>
          </a:xfrm>
          <a:prstGeom prst="rect">
            <a:avLst/>
          </a:prstGeom>
          <a:noFill/>
        </p:spPr>
      </p:pic>
      <p:sp>
        <p:nvSpPr>
          <p:cNvPr id="418" name="TextBox 417"/>
          <p:cNvSpPr txBox="1"/>
          <p:nvPr/>
        </p:nvSpPr>
        <p:spPr>
          <a:xfrm>
            <a:off x="5859280" y="5091742"/>
            <a:ext cx="1473692" cy="299330"/>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Parking, Transit &amp; Traffic Data</a:t>
            </a:r>
          </a:p>
        </p:txBody>
      </p:sp>
      <p:pic>
        <p:nvPicPr>
          <p:cNvPr id="419" name="Picture 5" descr="\\MAGNUM\Projects\Microsoft\Cloud Power FY12\Design\Icons\PNGs\Truck.png"/>
          <p:cNvPicPr>
            <a:picLocks noChangeAspect="1" noChangeArrowheads="1"/>
          </p:cNvPicPr>
          <p:nvPr/>
        </p:nvPicPr>
        <p:blipFill>
          <a:blip r:embed="rId30" cstate="print">
            <a:duotone>
              <a:srgbClr val="0A5BBA">
                <a:shade val="45000"/>
                <a:satMod val="135000"/>
              </a:srgbClr>
              <a:prstClr val="white"/>
            </a:duotone>
            <a:extLst>
              <a:ext uri="{BEBA8EAE-BF5A-486C-A8C5-ECC9F3942E4B}">
                <a14:imgProps xmlns:a14="http://schemas.microsoft.com/office/drawing/2010/main">
                  <a14:imgLayer r:embed="rId31">
                    <a14:imgEffect>
                      <a14:brightnessContrast bright="-31000" contrast="-40000"/>
                    </a14:imgEffect>
                  </a14:imgLayer>
                </a14:imgProps>
              </a:ext>
              <a:ext uri="{28A0092B-C50C-407E-A947-70E740481C1C}">
                <a14:useLocalDpi xmlns:a14="http://schemas.microsoft.com/office/drawing/2010/main"/>
              </a:ext>
            </a:extLst>
          </a:blip>
          <a:stretch>
            <a:fillRect/>
          </a:stretch>
        </p:blipFill>
        <p:spPr bwMode="auto">
          <a:xfrm>
            <a:off x="6338087" y="4716876"/>
            <a:ext cx="457200" cy="457200"/>
          </a:xfrm>
          <a:prstGeom prst="rect">
            <a:avLst/>
          </a:prstGeom>
          <a:noFill/>
        </p:spPr>
      </p:pic>
      <p:grpSp>
        <p:nvGrpSpPr>
          <p:cNvPr id="420" name="Group 419"/>
          <p:cNvGrpSpPr/>
          <p:nvPr/>
        </p:nvGrpSpPr>
        <p:grpSpPr>
          <a:xfrm>
            <a:off x="6187710" y="5443462"/>
            <a:ext cx="696168" cy="591489"/>
            <a:chOff x="5524270" y="4881368"/>
            <a:chExt cx="696168" cy="591489"/>
          </a:xfrm>
        </p:grpSpPr>
        <p:pic>
          <p:nvPicPr>
            <p:cNvPr id="421" name="Picture 6" descr="\\MAGNUM\Projects\Microsoft\Cloud Power FY12\Design\ICONS_PNG\Cloud.png"/>
            <p:cNvPicPr>
              <a:picLocks noChangeAspect="1" noChangeArrowheads="1"/>
            </p:cNvPicPr>
            <p:nvPr/>
          </p:nvPicPr>
          <p:blipFill>
            <a:blip r:embed="rId32" cstate="print">
              <a:duotone>
                <a:srgbClr val="0A5BBA">
                  <a:shade val="45000"/>
                  <a:satMod val="135000"/>
                </a:srgbClr>
                <a:prstClr val="white"/>
              </a:duotone>
              <a:extLst>
                <a:ext uri="{BEBA8EAE-BF5A-486C-A8C5-ECC9F3942E4B}">
                  <a14:imgProps xmlns:a14="http://schemas.microsoft.com/office/drawing/2010/main">
                    <a14:imgLayer r:embed="rId33">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5524270" y="4881368"/>
              <a:ext cx="457200" cy="457200"/>
            </a:xfrm>
            <a:prstGeom prst="rect">
              <a:avLst/>
            </a:prstGeom>
            <a:noFill/>
          </p:spPr>
        </p:pic>
        <p:pic>
          <p:nvPicPr>
            <p:cNvPr id="422" name="Picture 2" descr="\\MAGNUM\Projects\Microsoft\Cloud Power FY12\Design\Icons\PNGs\Electricity.png"/>
            <p:cNvPicPr>
              <a:picLocks noChangeAspect="1" noChangeArrowheads="1"/>
            </p:cNvPicPr>
            <p:nvPr/>
          </p:nvPicPr>
          <p:blipFill>
            <a:blip r:embed="rId34" cstate="print">
              <a:duotone>
                <a:srgbClr val="0A5BBA">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763238" y="5015657"/>
              <a:ext cx="457200" cy="457200"/>
            </a:xfrm>
            <a:prstGeom prst="rect">
              <a:avLst/>
            </a:prstGeom>
            <a:noFill/>
          </p:spPr>
        </p:pic>
      </p:grpSp>
      <p:sp>
        <p:nvSpPr>
          <p:cNvPr id="423" name="TextBox 422"/>
          <p:cNvSpPr txBox="1"/>
          <p:nvPr/>
        </p:nvSpPr>
        <p:spPr>
          <a:xfrm>
            <a:off x="5755318" y="5941928"/>
            <a:ext cx="1473692" cy="299330"/>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Weather Data</a:t>
            </a:r>
          </a:p>
        </p:txBody>
      </p:sp>
      <p:sp>
        <p:nvSpPr>
          <p:cNvPr id="197" name="Text Placeholder 5"/>
          <p:cNvSpPr txBox="1">
            <a:spLocks/>
          </p:cNvSpPr>
          <p:nvPr/>
        </p:nvSpPr>
        <p:spPr>
          <a:xfrm>
            <a:off x="3538662" y="120625"/>
            <a:ext cx="3995787" cy="346295"/>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dirty="0"/>
              <a:t>Technology Storyboard</a:t>
            </a:r>
            <a:endParaRPr lang="en-IN" dirty="0"/>
          </a:p>
        </p:txBody>
      </p:sp>
    </p:spTree>
    <p:extLst>
      <p:ext uri="{BB962C8B-B14F-4D97-AF65-F5344CB8AC3E}">
        <p14:creationId xmlns:p14="http://schemas.microsoft.com/office/powerpoint/2010/main" val="29383512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F3CBC-745D-4EE0-AABB-BE8A28AC4E47}"/>
              </a:ext>
            </a:extLst>
          </p:cNvPr>
          <p:cNvSpPr>
            <a:spLocks noGrp="1"/>
          </p:cNvSpPr>
          <p:nvPr>
            <p:ph type="title"/>
          </p:nvPr>
        </p:nvSpPr>
        <p:spPr/>
        <p:txBody>
          <a:bodyPr/>
          <a:lstStyle/>
          <a:p>
            <a:r>
              <a:rPr lang="en-US" dirty="0"/>
              <a:t>Threats</a:t>
            </a:r>
          </a:p>
        </p:txBody>
      </p:sp>
      <p:sp>
        <p:nvSpPr>
          <p:cNvPr id="3" name="Slide Number Placeholder 2">
            <a:extLst>
              <a:ext uri="{FF2B5EF4-FFF2-40B4-BE49-F238E27FC236}">
                <a16:creationId xmlns:a16="http://schemas.microsoft.com/office/drawing/2014/main" id="{408DD499-2E08-465E-9B3F-3A1F0BAB510E}"/>
              </a:ext>
            </a:extLst>
          </p:cNvPr>
          <p:cNvSpPr>
            <a:spLocks noGrp="1"/>
          </p:cNvSpPr>
          <p:nvPr>
            <p:ph type="sldNum" sz="quarter" idx="12"/>
          </p:nvPr>
        </p:nvSpPr>
        <p:spPr/>
        <p:txBody>
          <a:bodyPr/>
          <a:lstStyle/>
          <a:p>
            <a:fld id="{6A4C1A4A-E5E6-4CC1-B72C-A20A4EB3E2D2}" type="slidenum">
              <a:rPr lang="en-US" smtClean="0">
                <a:solidFill>
                  <a:srgbClr val="505050"/>
                </a:solidFill>
              </a:rPr>
              <a:pPr/>
              <a:t>13</a:t>
            </a:fld>
            <a:endParaRPr lang="en-US" dirty="0">
              <a:solidFill>
                <a:srgbClr val="505050"/>
              </a:solidFill>
            </a:endParaRPr>
          </a:p>
        </p:txBody>
      </p:sp>
      <p:sp>
        <p:nvSpPr>
          <p:cNvPr id="4" name="Text Placeholder 3">
            <a:extLst>
              <a:ext uri="{FF2B5EF4-FFF2-40B4-BE49-F238E27FC236}">
                <a16:creationId xmlns:a16="http://schemas.microsoft.com/office/drawing/2014/main" id="{323798A5-B33D-4867-82DD-ACB4ADEABDD0}"/>
              </a:ext>
            </a:extLst>
          </p:cNvPr>
          <p:cNvSpPr>
            <a:spLocks noGrp="1"/>
          </p:cNvSpPr>
          <p:nvPr>
            <p:ph type="body" sz="quarter" idx="13"/>
          </p:nvPr>
        </p:nvSpPr>
        <p:spPr>
          <a:xfrm>
            <a:off x="0" y="1362644"/>
            <a:ext cx="12192000" cy="4971788"/>
          </a:xfrm>
        </p:spPr>
        <p:txBody>
          <a:bodyPr/>
          <a:lstStyle/>
          <a:p>
            <a:pPr marL="514350" indent="-514350">
              <a:buAutoNum type="arabicPeriod"/>
            </a:pPr>
            <a:r>
              <a:rPr lang="en-US" dirty="0"/>
              <a:t>Privacy of business in the Smart building – redirecting to only specific store vendor.</a:t>
            </a:r>
          </a:p>
          <a:p>
            <a:pPr marL="514350" indent="-514350">
              <a:buAutoNum type="arabicPeriod"/>
            </a:pPr>
            <a:r>
              <a:rPr lang="en-US" dirty="0"/>
              <a:t>Profiling of prospective before purchase. Where all has he gone to check the prices ?</a:t>
            </a:r>
          </a:p>
          <a:p>
            <a:pPr marL="514350" indent="-514350">
              <a:buAutoNum type="arabicPeriod"/>
            </a:pPr>
            <a:r>
              <a:rPr lang="en-US" dirty="0"/>
              <a:t>Smart metering and division of bills ( transparency and trust on metering )</a:t>
            </a:r>
          </a:p>
          <a:p>
            <a:pPr marL="796024" lvl="1" indent="-514350">
              <a:buAutoNum type="arabicPeriod"/>
            </a:pPr>
            <a:r>
              <a:rPr lang="en-US" dirty="0"/>
              <a:t>Recall our electricity meters ( Same metering concept to all meters).</a:t>
            </a:r>
          </a:p>
          <a:p>
            <a:pPr marL="796024" lvl="1" indent="-514350">
              <a:buAutoNum type="arabicPeriod"/>
            </a:pPr>
            <a:r>
              <a:rPr lang="en-US" dirty="0"/>
              <a:t>Best my bandwidth meter ( phone/home – how best to monitor )</a:t>
            </a:r>
          </a:p>
          <a:p>
            <a:pPr marL="796024" lvl="1" indent="-514350">
              <a:buAutoNum type="arabicPeriod"/>
            </a:pPr>
            <a:endParaRPr lang="en-US" dirty="0"/>
          </a:p>
          <a:p>
            <a:pPr marL="514350" indent="-514350">
              <a:buAutoNum type="arabicPeriod"/>
            </a:pPr>
            <a:endParaRPr lang="en-US" dirty="0"/>
          </a:p>
        </p:txBody>
      </p:sp>
    </p:spTree>
    <p:extLst>
      <p:ext uri="{BB962C8B-B14F-4D97-AF65-F5344CB8AC3E}">
        <p14:creationId xmlns:p14="http://schemas.microsoft.com/office/powerpoint/2010/main" val="4710350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0853" y="2242493"/>
            <a:ext cx="11890296" cy="1822988"/>
          </a:xfrm>
        </p:spPr>
        <p:txBody>
          <a:bodyPr>
            <a:normAutofit fontScale="90000"/>
          </a:bodyPr>
          <a:lstStyle/>
          <a:p>
            <a:r>
              <a:rPr lang="en-US" dirty="0">
                <a:solidFill>
                  <a:schemeClr val="tx1"/>
                </a:solidFill>
              </a:rPr>
              <a:t>Optimize City Operations and Infrastructure</a:t>
            </a:r>
          </a:p>
        </p:txBody>
      </p:sp>
      <p:sp>
        <p:nvSpPr>
          <p:cNvPr id="14" name="Freeform 73"/>
          <p:cNvSpPr>
            <a:spLocks noChangeAspect="1" noEditPoints="1"/>
          </p:cNvSpPr>
          <p:nvPr/>
        </p:nvSpPr>
        <p:spPr bwMode="black">
          <a:xfrm>
            <a:off x="10137227" y="4989076"/>
            <a:ext cx="1475383" cy="142428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ysClr val="window" lastClr="FFFFFF"/>
          </a:solidFill>
          <a:ln>
            <a:noFill/>
          </a:ln>
        </p:spPr>
        <p:txBody>
          <a:bodyPr vert="horz" wrap="square" lIns="82305" tIns="41153" rIns="82305" bIns="41153" numCol="1" anchor="t" anchorCtr="0" compatLnSpc="1">
            <a:prstTxWarp prst="textNoShape">
              <a:avLst/>
            </a:prstTxWarp>
          </a:bodyPr>
          <a:lstStyle/>
          <a:p>
            <a:pPr marL="0" marR="0" lvl="0" indent="0" defTabSz="91424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p:txBody>
      </p:sp>
      <p:sp>
        <p:nvSpPr>
          <p:cNvPr id="15"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dirty="0" err="1">
                <a:ln>
                  <a:noFill/>
                </a:ln>
                <a:solidFill>
                  <a:schemeClr val="tx1"/>
                </a:solidFill>
                <a:effectLst/>
                <a:uLnTx/>
                <a:uFillTx/>
                <a:latin typeface="Segoe UI Light" pitchFamily="34" charset="0"/>
                <a:ea typeface="Segoe UI" pitchFamily="34" charset="0"/>
                <a:cs typeface="Segoe UI" pitchFamily="34" charset="0"/>
              </a:rPr>
              <a:t>CityNext</a:t>
            </a:r>
            <a:r>
              <a:rPr kumimoji="0" lang="en-US" sz="3600" b="0" i="0" u="none" strike="noStrike" kern="1200" cap="none" spc="-98" normalizeH="0" baseline="0" noProof="0" dirty="0">
                <a:ln>
                  <a:noFill/>
                </a:ln>
                <a:solidFill>
                  <a:schemeClr val="tx1"/>
                </a:solidFill>
                <a:effectLst/>
                <a:uLnTx/>
                <a:uFillTx/>
                <a:latin typeface="Segoe UI Light" pitchFamily="34" charset="0"/>
                <a:ea typeface="Segoe UI" pitchFamily="34" charset="0"/>
                <a:cs typeface="Segoe UI" pitchFamily="34" charset="0"/>
              </a:rPr>
              <a:t> Book of Dreams</a:t>
            </a:r>
          </a:p>
        </p:txBody>
      </p:sp>
    </p:spTree>
    <p:extLst>
      <p:ext uri="{BB962C8B-B14F-4D97-AF65-F5344CB8AC3E}">
        <p14:creationId xmlns:p14="http://schemas.microsoft.com/office/powerpoint/2010/main" val="26007189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Text Box 4"/>
          <p:cNvSpPr txBox="1">
            <a:spLocks noChangeArrowheads="1"/>
          </p:cNvSpPr>
          <p:nvPr/>
        </p:nvSpPr>
        <p:spPr bwMode="gray">
          <a:xfrm>
            <a:off x="3391166" y="1696923"/>
            <a:ext cx="5397016" cy="2551227"/>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kern="0" dirty="0">
                <a:ln>
                  <a:noFill/>
                </a:ln>
                <a:solidFill>
                  <a:srgbClr val="505050"/>
                </a:solidFill>
                <a:latin typeface="Segoe UI Semibold" panose="020B0702040204020203" pitchFamily="34" charset="0"/>
                <a:cs typeface="Segoe UI Semibold" panose="020B0702040204020203" pitchFamily="34" charset="0"/>
              </a:rPr>
              <a:t>Analyze data and apply insight</a:t>
            </a:r>
          </a:p>
        </p:txBody>
      </p:sp>
      <p:sp>
        <p:nvSpPr>
          <p:cNvPr id="142" name="Text Box 4"/>
          <p:cNvSpPr txBox="1">
            <a:spLocks noChangeArrowheads="1"/>
          </p:cNvSpPr>
          <p:nvPr/>
        </p:nvSpPr>
        <p:spPr bwMode="gray">
          <a:xfrm>
            <a:off x="303212" y="1696923"/>
            <a:ext cx="2858806"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kern="0" dirty="0">
                <a:ln>
                  <a:noFill/>
                </a:ln>
                <a:solidFill>
                  <a:srgbClr val="505050"/>
                </a:solidFill>
                <a:latin typeface="Segoe UI Semibold" panose="020B0702040204020203" pitchFamily="34" charset="0"/>
                <a:cs typeface="Segoe UI Semibold" panose="020B0702040204020203" pitchFamily="34" charset="0"/>
              </a:rPr>
              <a:t>Gather data</a:t>
            </a:r>
          </a:p>
        </p:txBody>
      </p:sp>
      <p:sp>
        <p:nvSpPr>
          <p:cNvPr id="143" name="Text Box 4"/>
          <p:cNvSpPr txBox="1">
            <a:spLocks noChangeArrowheads="1"/>
          </p:cNvSpPr>
          <p:nvPr/>
        </p:nvSpPr>
        <p:spPr bwMode="gray">
          <a:xfrm>
            <a:off x="9023540" y="1696923"/>
            <a:ext cx="2862072"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kern="0" dirty="0">
                <a:ln>
                  <a:noFill/>
                </a:ln>
                <a:solidFill>
                  <a:srgbClr val="505050"/>
                </a:solidFill>
                <a:latin typeface="Segoe UI Semibold" panose="020B0702040204020203" pitchFamily="34" charset="0"/>
                <a:cs typeface="Segoe UI Semibold" panose="020B0702040204020203" pitchFamily="34" charset="0"/>
              </a:rPr>
              <a:t>Improve citizen experiences and city operations</a:t>
            </a:r>
          </a:p>
        </p:txBody>
      </p:sp>
      <p:sp>
        <p:nvSpPr>
          <p:cNvPr id="144" name="Rectangle 143"/>
          <p:cNvSpPr/>
          <p:nvPr/>
        </p:nvSpPr>
        <p:spPr>
          <a:xfrm>
            <a:off x="303212" y="1296170"/>
            <a:ext cx="11582400" cy="3485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en-IN" sz="1200" dirty="0">
                <a:solidFill>
                  <a:prstClr val="white"/>
                </a:solidFill>
                <a:latin typeface="Segoe UI Semibold" panose="020B0702040204020203" pitchFamily="34" charset="0"/>
                <a:cs typeface="Segoe UI Semibold" panose="020B0702040204020203" pitchFamily="34" charset="0"/>
              </a:rPr>
              <a:t>Gather and analyse data from many sources to generate insight for improving city operations and citizen satisfaction.</a:t>
            </a:r>
          </a:p>
        </p:txBody>
      </p:sp>
      <p:grpSp>
        <p:nvGrpSpPr>
          <p:cNvPr id="145" name="Group 144"/>
          <p:cNvGrpSpPr/>
          <p:nvPr/>
        </p:nvGrpSpPr>
        <p:grpSpPr>
          <a:xfrm>
            <a:off x="303212" y="4762175"/>
            <a:ext cx="11582400" cy="1717539"/>
            <a:chOff x="303212" y="4677426"/>
            <a:chExt cx="11243879" cy="1843336"/>
          </a:xfrm>
        </p:grpSpPr>
        <p:grpSp>
          <p:nvGrpSpPr>
            <p:cNvPr id="146" name="Group 145"/>
            <p:cNvGrpSpPr/>
            <p:nvPr/>
          </p:nvGrpSpPr>
          <p:grpSpPr>
            <a:xfrm>
              <a:off x="303212" y="4677426"/>
              <a:ext cx="2858806" cy="1840423"/>
              <a:chOff x="303212" y="4677426"/>
              <a:chExt cx="2858806" cy="1840423"/>
            </a:xfrm>
          </p:grpSpPr>
          <p:sp>
            <p:nvSpPr>
              <p:cNvPr id="156" name="Text Box 4"/>
              <p:cNvSpPr txBox="1">
                <a:spLocks noChangeArrowheads="1"/>
              </p:cNvSpPr>
              <p:nvPr/>
            </p:nvSpPr>
            <p:spPr bwMode="gray">
              <a:xfrm>
                <a:off x="303212" y="4951747"/>
                <a:ext cx="2858806" cy="1566102"/>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IN" sz="1050" kern="0" dirty="0">
                    <a:ln>
                      <a:noFill/>
                    </a:ln>
                    <a:solidFill>
                      <a:srgbClr val="505050"/>
                    </a:solidFill>
                  </a:rPr>
                  <a:t>Improve decision making by city leaders, businesses, and citizens</a:t>
                </a:r>
              </a:p>
              <a:p>
                <a:pPr marL="137160" indent="-137160">
                  <a:spcBef>
                    <a:spcPts val="100"/>
                  </a:spcBef>
                  <a:spcAft>
                    <a:spcPts val="100"/>
                  </a:spcAft>
                  <a:buFont typeface="Arial" panose="020B0604020202020204" pitchFamily="34" charset="0"/>
                  <a:buChar char="•"/>
                  <a:defRPr/>
                </a:pPr>
                <a:r>
                  <a:rPr lang="en-IN" sz="1050" kern="0" dirty="0">
                    <a:ln>
                      <a:noFill/>
                    </a:ln>
                    <a:solidFill>
                      <a:srgbClr val="505050"/>
                    </a:solidFill>
                  </a:rPr>
                  <a:t>Provide citizens with information they need to live, work, and travel comfortably in the city</a:t>
                </a:r>
              </a:p>
              <a:p>
                <a:pPr marL="137160" indent="-137160">
                  <a:spcBef>
                    <a:spcPts val="100"/>
                  </a:spcBef>
                  <a:spcAft>
                    <a:spcPts val="100"/>
                  </a:spcAft>
                  <a:buFont typeface="Arial" panose="020B0604020202020204" pitchFamily="34" charset="0"/>
                  <a:buChar char="•"/>
                  <a:defRPr/>
                </a:pPr>
                <a:r>
                  <a:rPr lang="en-IN" sz="1050" kern="0" dirty="0">
                    <a:ln>
                      <a:noFill/>
                    </a:ln>
                    <a:solidFill>
                      <a:srgbClr val="505050"/>
                    </a:solidFill>
                  </a:rPr>
                  <a:t>Identify high-value improvements to make in city facilities and processes</a:t>
                </a:r>
              </a:p>
            </p:txBody>
          </p:sp>
          <p:sp>
            <p:nvSpPr>
              <p:cNvPr id="157" name="Rectangle 156"/>
              <p:cNvSpPr/>
              <p:nvPr/>
            </p:nvSpPr>
            <p:spPr>
              <a:xfrm>
                <a:off x="303212" y="4677426"/>
                <a:ext cx="2858806" cy="274320"/>
              </a:xfrm>
              <a:prstGeom prst="rect">
                <a:avLst/>
              </a:prstGeom>
              <a:solidFill>
                <a:schemeClr val="bg2"/>
              </a:solidFill>
              <a:ln w="3175" cap="flat" cmpd="sng" algn="ctr">
                <a:noFill/>
                <a:prstDash val="solid"/>
              </a:ln>
              <a:effectLst/>
            </p:spPr>
            <p:txBody>
              <a:bodyPr wrap="square" lIns="91440" tIns="45720" rIns="91440" bIns="45720" rtlCol="0" anchor="ctr">
                <a:noAutofit/>
              </a:bodyPr>
              <a:lstStyle/>
              <a:p>
                <a:pPr marL="0" lvl="1" algn="ctr" defTabSz="1218106" fontAlgn="base">
                  <a:buClr>
                    <a:srgbClr val="FFFF99"/>
                  </a:buClr>
                  <a:buSzPct val="90000"/>
                  <a:defRPr/>
                </a:pPr>
                <a:r>
                  <a:rPr lang="en-US" sz="1200" kern="0" dirty="0">
                    <a:solidFill>
                      <a:srgbClr val="FFFFFF"/>
                    </a:solidFill>
                    <a:latin typeface="Segoe UI Semibold" panose="020B0702040204020203" pitchFamily="34" charset="0"/>
                    <a:ea typeface="Segoe UI" pitchFamily="34" charset="0"/>
                    <a:cs typeface="Segoe UI" pitchFamily="34" charset="0"/>
                  </a:rPr>
                  <a:t>Benefits</a:t>
                </a:r>
              </a:p>
            </p:txBody>
          </p:sp>
        </p:grpSp>
        <p:grpSp>
          <p:nvGrpSpPr>
            <p:cNvPr id="147" name="Group 146"/>
            <p:cNvGrpSpPr/>
            <p:nvPr/>
          </p:nvGrpSpPr>
          <p:grpSpPr>
            <a:xfrm>
              <a:off x="3221455" y="4677426"/>
              <a:ext cx="2678716" cy="1843336"/>
              <a:chOff x="3391166" y="4677426"/>
              <a:chExt cx="2678716" cy="1843336"/>
            </a:xfrm>
          </p:grpSpPr>
          <p:sp>
            <p:nvSpPr>
              <p:cNvPr id="154" name="Text Box 4"/>
              <p:cNvSpPr txBox="1">
                <a:spLocks noChangeArrowheads="1"/>
              </p:cNvSpPr>
              <p:nvPr/>
            </p:nvSpPr>
            <p:spPr bwMode="gray">
              <a:xfrm>
                <a:off x="3391166" y="4951747"/>
                <a:ext cx="267871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Embracing an open data culture to support better insight and transparency</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Make non-personal and non-sensitive information available to the public</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Provide citizens, businesses, communities, and decision makers with insight</a:t>
                </a:r>
              </a:p>
            </p:txBody>
          </p:sp>
          <p:sp>
            <p:nvSpPr>
              <p:cNvPr id="155" name="Rectangle 154"/>
              <p:cNvSpPr/>
              <p:nvPr/>
            </p:nvSpPr>
            <p:spPr>
              <a:xfrm>
                <a:off x="3391166" y="4677426"/>
                <a:ext cx="2678716" cy="274320"/>
              </a:xfrm>
              <a:prstGeom prst="rect">
                <a:avLst/>
              </a:prstGeom>
              <a:solidFill>
                <a:schemeClr val="tx2"/>
              </a:solidFill>
              <a:ln w="3175" cap="flat" cmpd="sng" algn="ctr">
                <a:noFill/>
                <a:prstDash val="solid"/>
              </a:ln>
              <a:effectLst/>
            </p:spPr>
            <p:txBody>
              <a:bodyPr wrap="square" lIns="91440" tIns="45720" rIns="91440" bIns="45720" rtlCol="0" anchor="ctr">
                <a:noAutofit/>
              </a:bodyPr>
              <a:lstStyle/>
              <a:p>
                <a:pPr marL="0" lvl="1" algn="ctr" defTabSz="1218106" fontAlgn="base">
                  <a:spcBef>
                    <a:spcPts val="200"/>
                  </a:spcBef>
                  <a:buClr>
                    <a:srgbClr val="FFFF99"/>
                  </a:buClr>
                  <a:buSzPct val="90000"/>
                  <a:defRPr/>
                </a:pPr>
                <a:r>
                  <a:rPr lang="en-US" sz="1200" kern="0" dirty="0">
                    <a:solidFill>
                      <a:srgbClr val="FFFFFF"/>
                    </a:solidFill>
                    <a:latin typeface="Segoe UI Semibold" panose="020B0702040204020203" pitchFamily="34" charset="0"/>
                    <a:ea typeface="Segoe UI" pitchFamily="34" charset="0"/>
                    <a:cs typeface="Segoe UI" pitchFamily="34" charset="0"/>
                  </a:rPr>
                  <a:t>Start </a:t>
                </a:r>
              </a:p>
            </p:txBody>
          </p:sp>
        </p:grpSp>
        <p:grpSp>
          <p:nvGrpSpPr>
            <p:cNvPr id="148" name="Group 147"/>
            <p:cNvGrpSpPr/>
            <p:nvPr/>
          </p:nvGrpSpPr>
          <p:grpSpPr>
            <a:xfrm>
              <a:off x="5959608" y="4677426"/>
              <a:ext cx="2669241" cy="1843336"/>
              <a:chOff x="6118941" y="4677426"/>
              <a:chExt cx="2669241" cy="1843336"/>
            </a:xfrm>
          </p:grpSpPr>
          <p:sp>
            <p:nvSpPr>
              <p:cNvPr id="152" name="Text Box 4"/>
              <p:cNvSpPr txBox="1">
                <a:spLocks noChangeArrowheads="1"/>
              </p:cNvSpPr>
              <p:nvPr/>
            </p:nvSpPr>
            <p:spPr bwMode="gray">
              <a:xfrm>
                <a:off x="6118941" y="4951747"/>
                <a:ext cx="2669241"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Making decisions based on incomplete or inapplicable data</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Making decisions based on faulty analysis of data</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Restricting citizen access to important insights</a:t>
                </a:r>
              </a:p>
              <a:p>
                <a:pPr marL="137160" indent="-137160">
                  <a:spcBef>
                    <a:spcPts val="100"/>
                  </a:spcBef>
                  <a:spcAft>
                    <a:spcPts val="100"/>
                  </a:spcAft>
                  <a:buFont typeface="Arial" panose="020B0604020202020204" pitchFamily="34" charset="0"/>
                  <a:buChar char="•"/>
                  <a:defRPr/>
                </a:pPr>
                <a:endParaRPr lang="en-US" sz="1050" kern="0" dirty="0">
                  <a:ln>
                    <a:noFill/>
                  </a:ln>
                  <a:solidFill>
                    <a:srgbClr val="505050"/>
                  </a:solidFill>
                </a:endParaRPr>
              </a:p>
              <a:p>
                <a:pPr marL="137160" indent="-137160">
                  <a:spcBef>
                    <a:spcPts val="100"/>
                  </a:spcBef>
                  <a:spcAft>
                    <a:spcPts val="100"/>
                  </a:spcAft>
                  <a:buFont typeface="Arial" panose="020B0604020202020204" pitchFamily="34" charset="0"/>
                  <a:buChar char="•"/>
                  <a:defRPr/>
                </a:pPr>
                <a:endParaRPr lang="en-US" sz="1050" kern="0" dirty="0">
                  <a:ln>
                    <a:noFill/>
                  </a:ln>
                  <a:solidFill>
                    <a:srgbClr val="505050"/>
                  </a:solidFill>
                </a:endParaRPr>
              </a:p>
            </p:txBody>
          </p:sp>
          <p:sp>
            <p:nvSpPr>
              <p:cNvPr id="153" name="Rectangle 152"/>
              <p:cNvSpPr/>
              <p:nvPr/>
            </p:nvSpPr>
            <p:spPr>
              <a:xfrm>
                <a:off x="6118941" y="4677426"/>
                <a:ext cx="2669241" cy="274320"/>
              </a:xfrm>
              <a:prstGeom prst="rect">
                <a:avLst/>
              </a:prstGeom>
              <a:solidFill>
                <a:schemeClr val="accent1"/>
              </a:solidFill>
              <a:ln w="3175" cap="flat" cmpd="sng" algn="ctr">
                <a:noFill/>
                <a:prstDash val="solid"/>
              </a:ln>
              <a:effectLst/>
            </p:spPr>
            <p:txBody>
              <a:bodyPr wrap="square" lIns="91440" tIns="45720" rIns="91440" bIns="45720" rtlCol="0" anchor="ctr">
                <a:noAutofit/>
              </a:bodyPr>
              <a:lstStyle/>
              <a:p>
                <a:pPr marL="0" lvl="1" algn="ctr" defTabSz="1218106" fontAlgn="base">
                  <a:spcBef>
                    <a:spcPts val="200"/>
                  </a:spcBef>
                  <a:buClr>
                    <a:srgbClr val="FFFF99"/>
                  </a:buClr>
                  <a:buSzPct val="90000"/>
                  <a:defRPr/>
                </a:pPr>
                <a:r>
                  <a:rPr lang="en-US" sz="1200" kern="0" dirty="0">
                    <a:solidFill>
                      <a:srgbClr val="FFFFFF"/>
                    </a:solidFill>
                    <a:latin typeface="Segoe UI Semibold" panose="020B0702040204020203" pitchFamily="34" charset="0"/>
                    <a:ea typeface="Segoe UI" pitchFamily="34" charset="0"/>
                    <a:cs typeface="Segoe UI" pitchFamily="34" charset="0"/>
                  </a:rPr>
                  <a:t>Stop</a:t>
                </a:r>
              </a:p>
            </p:txBody>
          </p:sp>
        </p:grpSp>
        <p:grpSp>
          <p:nvGrpSpPr>
            <p:cNvPr id="149" name="Group 148"/>
            <p:cNvGrpSpPr/>
            <p:nvPr/>
          </p:nvGrpSpPr>
          <p:grpSpPr>
            <a:xfrm>
              <a:off x="8688285" y="4677426"/>
              <a:ext cx="2858806" cy="1843336"/>
              <a:chOff x="9026806" y="4677426"/>
              <a:chExt cx="2858806" cy="1843336"/>
            </a:xfrm>
          </p:grpSpPr>
          <p:sp>
            <p:nvSpPr>
              <p:cNvPr id="150" name="Text Box 4"/>
              <p:cNvSpPr txBox="1">
                <a:spLocks noChangeArrowheads="1"/>
              </p:cNvSpPr>
              <p:nvPr/>
            </p:nvSpPr>
            <p:spPr bwMode="gray">
              <a:xfrm>
                <a:off x="9026806" y="4951747"/>
                <a:ext cx="285880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mproving decision making by city leader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Gathering information from many sources, including sensor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mproving the understanding of the needs of citizens and businesses perceive </a:t>
                </a:r>
              </a:p>
            </p:txBody>
          </p:sp>
          <p:sp>
            <p:nvSpPr>
              <p:cNvPr id="151" name="Rectangle 150"/>
              <p:cNvSpPr/>
              <p:nvPr/>
            </p:nvSpPr>
            <p:spPr>
              <a:xfrm>
                <a:off x="9026806" y="4677426"/>
                <a:ext cx="2858806" cy="274320"/>
              </a:xfrm>
              <a:prstGeom prst="rect">
                <a:avLst/>
              </a:prstGeom>
              <a:solidFill>
                <a:schemeClr val="accent2"/>
              </a:solidFill>
              <a:ln w="3175" cap="flat" cmpd="sng" algn="ctr">
                <a:noFill/>
                <a:prstDash val="solid"/>
              </a:ln>
              <a:effectLst/>
            </p:spPr>
            <p:txBody>
              <a:bodyPr wrap="square" lIns="91440" tIns="45720" rIns="91440" bIns="45720" rtlCol="0" anchor="ctr">
                <a:noAutofit/>
              </a:bodyPr>
              <a:lstStyle/>
              <a:p>
                <a:pPr marL="0" lvl="1" algn="ctr" defTabSz="1218106" fontAlgn="base">
                  <a:spcBef>
                    <a:spcPts val="200"/>
                  </a:spcBef>
                  <a:buClr>
                    <a:srgbClr val="FFFF99"/>
                  </a:buClr>
                  <a:buSzPct val="90000"/>
                  <a:defRPr/>
                </a:pPr>
                <a:r>
                  <a:rPr lang="en-US" sz="1200" kern="0" dirty="0">
                    <a:solidFill>
                      <a:srgbClr val="505050"/>
                    </a:solidFill>
                    <a:latin typeface="Segoe UI Semibold" panose="020B0702040204020203" pitchFamily="34" charset="0"/>
                    <a:ea typeface="Segoe UI" pitchFamily="34" charset="0"/>
                    <a:cs typeface="Segoe UI" pitchFamily="34" charset="0"/>
                  </a:rPr>
                  <a:t>Continue</a:t>
                </a:r>
              </a:p>
            </p:txBody>
          </p:sp>
        </p:grpSp>
      </p:grpSp>
      <p:sp>
        <p:nvSpPr>
          <p:cNvPr id="180" name="Isosceles Triangle 179"/>
          <p:cNvSpPr/>
          <p:nvPr/>
        </p:nvSpPr>
        <p:spPr>
          <a:xfrm rot="5400000">
            <a:off x="3078217" y="2894423"/>
            <a:ext cx="396749" cy="156227"/>
          </a:xfrm>
          <a:prstGeom prst="triangle">
            <a:avLst/>
          </a:prstGeom>
          <a:solidFill>
            <a:schemeClr val="accent1"/>
          </a:solidFill>
        </p:spPr>
        <p:txBody>
          <a:bodyPr vert="horz" lIns="137160" tIns="91440" rIns="91440" bIns="91440" rtlCol="0" anchor="t" anchorCtr="0">
            <a:noAutofit/>
          </a:bodyPr>
          <a:lstStyle/>
          <a:p>
            <a:pPr algn="ctr"/>
            <a:endParaRPr lang="en-US" sz="900" kern="800">
              <a:solidFill>
                <a:srgbClr val="FFFFFF"/>
              </a:solidFill>
              <a:cs typeface="Segoe UI Light"/>
            </a:endParaRPr>
          </a:p>
        </p:txBody>
      </p:sp>
      <p:sp>
        <p:nvSpPr>
          <p:cNvPr id="181" name="Isosceles Triangle 180"/>
          <p:cNvSpPr/>
          <p:nvPr/>
        </p:nvSpPr>
        <p:spPr>
          <a:xfrm rot="5400000">
            <a:off x="8707486" y="2894423"/>
            <a:ext cx="396749" cy="156227"/>
          </a:xfrm>
          <a:prstGeom prst="triangle">
            <a:avLst/>
          </a:prstGeom>
          <a:solidFill>
            <a:schemeClr val="accent1"/>
          </a:solidFill>
        </p:spPr>
        <p:txBody>
          <a:bodyPr vert="horz" lIns="137160" tIns="91440" rIns="91440" bIns="91440" rtlCol="0" anchor="t" anchorCtr="0">
            <a:noAutofit/>
          </a:bodyPr>
          <a:lstStyle/>
          <a:p>
            <a:pPr algn="ctr"/>
            <a:endParaRPr lang="en-US" sz="900" kern="800">
              <a:solidFill>
                <a:srgbClr val="505050"/>
              </a:solidFill>
              <a:cs typeface="Segoe UI Light"/>
            </a:endParaRPr>
          </a:p>
        </p:txBody>
      </p:sp>
      <p:sp>
        <p:nvSpPr>
          <p:cNvPr id="3" name="Title 2"/>
          <p:cNvSpPr>
            <a:spLocks noGrp="1"/>
          </p:cNvSpPr>
          <p:nvPr>
            <p:ph type="title"/>
          </p:nvPr>
        </p:nvSpPr>
        <p:spPr/>
        <p:txBody>
          <a:bodyPr/>
          <a:lstStyle/>
          <a:p>
            <a:r>
              <a:rPr lang="en-US" dirty="0"/>
              <a:t>City Insights</a:t>
            </a:r>
          </a:p>
        </p:txBody>
      </p:sp>
      <p:sp>
        <p:nvSpPr>
          <p:cNvPr id="2" name="Slide Number Placeholder 1"/>
          <p:cNvSpPr>
            <a:spLocks noGrp="1"/>
          </p:cNvSpPr>
          <p:nvPr>
            <p:ph type="sldNum" sz="quarter" idx="12"/>
          </p:nvPr>
        </p:nvSpPr>
        <p:spPr/>
        <p:txBody>
          <a:bodyPr/>
          <a:lstStyle/>
          <a:p>
            <a:fld id="{FAADACFB-7C71-4E89-89D2-7BBA40B7BFA9}" type="slidenum">
              <a:rPr lang="en-US" smtClean="0">
                <a:solidFill>
                  <a:srgbClr val="505050"/>
                </a:solidFill>
              </a:rPr>
              <a:pPr/>
              <a:t>15</a:t>
            </a:fld>
            <a:endParaRPr lang="en-US" dirty="0">
              <a:solidFill>
                <a:srgbClr val="505050"/>
              </a:solidFill>
            </a:endParaRPr>
          </a:p>
        </p:txBody>
      </p:sp>
      <p:sp>
        <p:nvSpPr>
          <p:cNvPr id="229" name="Oval 228"/>
          <p:cNvSpPr/>
          <p:nvPr/>
        </p:nvSpPr>
        <p:spPr>
          <a:xfrm>
            <a:off x="3554318" y="2094654"/>
            <a:ext cx="1879678" cy="1882772"/>
          </a:xfrm>
          <a:prstGeom prst="ellipse">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defTabSz="1088105"/>
            <a:endParaRPr lang="en-US" sz="1000" dirty="0" err="1">
              <a:solidFill>
                <a:srgbClr val="505050"/>
              </a:solidFill>
            </a:endParaRPr>
          </a:p>
        </p:txBody>
      </p:sp>
      <p:sp>
        <p:nvSpPr>
          <p:cNvPr id="233" name="TextBox 232"/>
          <p:cNvSpPr txBox="1"/>
          <p:nvPr/>
        </p:nvSpPr>
        <p:spPr>
          <a:xfrm>
            <a:off x="3731839" y="3379890"/>
            <a:ext cx="764633" cy="307777"/>
          </a:xfrm>
          <a:prstGeom prst="rect">
            <a:avLst/>
          </a:prstGeom>
        </p:spPr>
        <p:txBody>
          <a:bodyPr vert="horz" wrap="none" lIns="0" tIns="0" rIns="0" bIns="0" rtlCol="0" anchor="t">
            <a:spAutoFit/>
          </a:bodyPr>
          <a:lstStyle>
            <a:defPPr>
              <a:defRPr lang="en-US"/>
            </a:defPPr>
            <a:lvl1pPr algn="ctr" defTabSz="1088105">
              <a:defRPr sz="1000">
                <a:solidFill>
                  <a:srgbClr val="505050"/>
                </a:solidFill>
                <a:ea typeface="Segoe UI" pitchFamily="34" charset="0"/>
                <a:cs typeface="Segoe UI" pitchFamily="34" charset="0"/>
              </a:defRPr>
            </a:lvl1pPr>
          </a:lstStyle>
          <a:p>
            <a:r>
              <a:rPr lang="en-US" dirty="0"/>
              <a:t>Collaboration</a:t>
            </a:r>
            <a:br>
              <a:rPr lang="en-US" dirty="0"/>
            </a:br>
            <a:r>
              <a:rPr lang="en-US" dirty="0"/>
              <a:t>Tools</a:t>
            </a:r>
          </a:p>
        </p:txBody>
      </p:sp>
      <p:sp>
        <p:nvSpPr>
          <p:cNvPr id="234" name="TextBox 233"/>
          <p:cNvSpPr txBox="1"/>
          <p:nvPr/>
        </p:nvSpPr>
        <p:spPr>
          <a:xfrm>
            <a:off x="4610752" y="3379890"/>
            <a:ext cx="594714" cy="307777"/>
          </a:xfrm>
          <a:prstGeom prst="rect">
            <a:avLst/>
          </a:prstGeom>
        </p:spPr>
        <p:txBody>
          <a:bodyPr vert="horz" wrap="none" lIns="0" tIns="0" rIns="0" bIns="0" rtlCol="0" anchor="t">
            <a:spAutoFit/>
          </a:bodyPr>
          <a:lstStyle>
            <a:defPPr>
              <a:defRPr lang="en-US"/>
            </a:defPPr>
            <a:lvl1pPr algn="ctr" defTabSz="1088105">
              <a:defRPr sz="1000">
                <a:solidFill>
                  <a:srgbClr val="505050"/>
                </a:solidFill>
                <a:ea typeface="Segoe UI" pitchFamily="34" charset="0"/>
                <a:cs typeface="Segoe UI" pitchFamily="34" charset="0"/>
              </a:defRPr>
            </a:lvl1pPr>
          </a:lstStyle>
          <a:p>
            <a:r>
              <a:rPr lang="en-US" dirty="0"/>
              <a:t>Advanced </a:t>
            </a:r>
            <a:br>
              <a:rPr lang="en-US" dirty="0"/>
            </a:br>
            <a:r>
              <a:rPr lang="en-US" dirty="0"/>
              <a:t>Analytics</a:t>
            </a:r>
          </a:p>
        </p:txBody>
      </p:sp>
      <p:sp>
        <p:nvSpPr>
          <p:cNvPr id="239" name="Freeform 73"/>
          <p:cNvSpPr>
            <a:spLocks noEditPoints="1"/>
          </p:cNvSpPr>
          <p:nvPr/>
        </p:nvSpPr>
        <p:spPr bwMode="black">
          <a:xfrm>
            <a:off x="3903924" y="2932821"/>
            <a:ext cx="420462" cy="40590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lumMod val="50000"/>
            </a:schemeClr>
          </a:solidFill>
          <a:ln w="9525">
            <a:noFill/>
            <a:round/>
            <a:headEnd/>
            <a:tailEnd/>
          </a:ln>
        </p:spPr>
        <p:txBody>
          <a:bodyPr/>
          <a:lstStyle/>
          <a:p>
            <a:pPr algn="ctr" defTabSz="1088105"/>
            <a:endParaRPr lang="en-US" sz="2200">
              <a:ln>
                <a:solidFill>
                  <a:srgbClr val="505050">
                    <a:alpha val="0"/>
                  </a:srgbClr>
                </a:solidFill>
              </a:ln>
              <a:solidFill>
                <a:srgbClr val="505050"/>
              </a:solidFill>
            </a:endParaRPr>
          </a:p>
        </p:txBody>
      </p:sp>
      <p:sp>
        <p:nvSpPr>
          <p:cNvPr id="242" name="TextBox 241"/>
          <p:cNvSpPr txBox="1"/>
          <p:nvPr/>
        </p:nvSpPr>
        <p:spPr>
          <a:xfrm>
            <a:off x="3841697" y="2589344"/>
            <a:ext cx="545021" cy="307777"/>
          </a:xfrm>
          <a:prstGeom prst="rect">
            <a:avLst/>
          </a:prstGeom>
        </p:spPr>
        <p:txBody>
          <a:bodyPr vert="horz" wrap="none" lIns="0" tIns="0" rIns="0" bIns="0" rtlCol="0" anchor="t">
            <a:spAutoFit/>
          </a:bodyPr>
          <a:lstStyle>
            <a:defPPr>
              <a:defRPr lang="en-US"/>
            </a:defPPr>
            <a:lvl1pPr algn="ctr" defTabSz="1088105">
              <a:defRPr sz="1000">
                <a:solidFill>
                  <a:srgbClr val="505050"/>
                </a:solidFill>
                <a:ea typeface="Segoe UI" pitchFamily="34" charset="0"/>
                <a:cs typeface="Segoe UI" pitchFamily="34" charset="0"/>
              </a:defRPr>
            </a:lvl1pPr>
          </a:lstStyle>
          <a:p>
            <a:r>
              <a:rPr lang="en-US" dirty="0"/>
              <a:t>Dynamics</a:t>
            </a:r>
            <a:br>
              <a:rPr lang="en-US" dirty="0"/>
            </a:br>
            <a:r>
              <a:rPr lang="en-US" dirty="0"/>
              <a:t>CRM</a:t>
            </a:r>
          </a:p>
        </p:txBody>
      </p:sp>
      <p:cxnSp>
        <p:nvCxnSpPr>
          <p:cNvPr id="245" name="Straight Arrow Connector 244"/>
          <p:cNvCxnSpPr/>
          <p:nvPr/>
        </p:nvCxnSpPr>
        <p:spPr>
          <a:xfrm>
            <a:off x="5515157" y="3036040"/>
            <a:ext cx="292248" cy="0"/>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353" name="Group 352"/>
          <p:cNvGrpSpPr>
            <a:grpSpLocks noChangeAspect="1"/>
          </p:cNvGrpSpPr>
          <p:nvPr/>
        </p:nvGrpSpPr>
        <p:grpSpPr>
          <a:xfrm>
            <a:off x="3876037" y="2370017"/>
            <a:ext cx="437799" cy="209152"/>
            <a:chOff x="335107" y="1984056"/>
            <a:chExt cx="8623119" cy="4119564"/>
          </a:xfrm>
          <a:solidFill>
            <a:schemeClr val="bg1">
              <a:lumMod val="50000"/>
            </a:schemeClr>
          </a:solidFill>
        </p:grpSpPr>
        <p:sp>
          <p:nvSpPr>
            <p:cNvPr id="354" name="Freeform 353"/>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355" name="Man's Body"/>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56" name="Man's Body"/>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57" name="Man's Body"/>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58" name="Man's Body"/>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59" name="Man's Body"/>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60" name="Man's Body"/>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61" name="Freeform 360"/>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362" name="Freeform 361"/>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grpSp>
      <p:cxnSp>
        <p:nvCxnSpPr>
          <p:cNvPr id="141" name="Straight Arrow Connector 140"/>
          <p:cNvCxnSpPr/>
          <p:nvPr/>
        </p:nvCxnSpPr>
        <p:spPr>
          <a:xfrm>
            <a:off x="6820055" y="3036040"/>
            <a:ext cx="229148" cy="0"/>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sp>
        <p:nvSpPr>
          <p:cNvPr id="161" name="Oval 160"/>
          <p:cNvSpPr/>
          <p:nvPr/>
        </p:nvSpPr>
        <p:spPr>
          <a:xfrm>
            <a:off x="7153277" y="2072897"/>
            <a:ext cx="1544470" cy="1828800"/>
          </a:xfrm>
          <a:prstGeom prst="ellipse">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defTabSz="1088105"/>
            <a:endParaRPr lang="en-US" sz="1000" dirty="0" err="1">
              <a:solidFill>
                <a:srgbClr val="505050"/>
              </a:solidFill>
            </a:endParaRPr>
          </a:p>
        </p:txBody>
      </p:sp>
      <p:sp>
        <p:nvSpPr>
          <p:cNvPr id="162" name="TextBox 161"/>
          <p:cNvSpPr txBox="1"/>
          <p:nvPr/>
        </p:nvSpPr>
        <p:spPr>
          <a:xfrm>
            <a:off x="7287999" y="2574514"/>
            <a:ext cx="663644"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Information</a:t>
            </a:r>
          </a:p>
        </p:txBody>
      </p:sp>
      <p:sp>
        <p:nvSpPr>
          <p:cNvPr id="163" name="TextBox 162"/>
          <p:cNvSpPr txBox="1"/>
          <p:nvPr/>
        </p:nvSpPr>
        <p:spPr>
          <a:xfrm>
            <a:off x="7352924" y="3144719"/>
            <a:ext cx="533800" cy="153888"/>
          </a:xfrm>
          <a:prstGeom prst="rect">
            <a:avLst/>
          </a:prstGeom>
        </p:spPr>
        <p:txBody>
          <a:bodyPr vert="horz" wrap="none" lIns="0" tIns="0" rIns="0" bIns="0" rtlCol="0" anchor="t">
            <a:spAutoFit/>
          </a:bodyPr>
          <a:lstStyle/>
          <a:p>
            <a:pPr algn="ctr" defTabSz="1088105"/>
            <a:r>
              <a:rPr lang="en-US" sz="1000" dirty="0" err="1">
                <a:solidFill>
                  <a:srgbClr val="505050"/>
                </a:solidFill>
                <a:ea typeface="Segoe UI" pitchFamily="34" charset="0"/>
                <a:cs typeface="Segoe UI" pitchFamily="34" charset="0"/>
              </a:rPr>
              <a:t>Businesss</a:t>
            </a:r>
            <a:endParaRPr lang="en-US" sz="1000" dirty="0">
              <a:solidFill>
                <a:srgbClr val="505050"/>
              </a:solidFill>
              <a:ea typeface="Segoe UI" pitchFamily="34" charset="0"/>
              <a:cs typeface="Segoe UI" pitchFamily="34" charset="0"/>
            </a:endParaRPr>
          </a:p>
        </p:txBody>
      </p:sp>
      <p:sp>
        <p:nvSpPr>
          <p:cNvPr id="164" name="TextBox 163"/>
          <p:cNvSpPr txBox="1"/>
          <p:nvPr/>
        </p:nvSpPr>
        <p:spPr>
          <a:xfrm>
            <a:off x="8118040" y="2554425"/>
            <a:ext cx="370294"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Health</a:t>
            </a:r>
          </a:p>
        </p:txBody>
      </p:sp>
      <p:sp>
        <p:nvSpPr>
          <p:cNvPr id="166" name="TextBox 165"/>
          <p:cNvSpPr txBox="1"/>
          <p:nvPr/>
        </p:nvSpPr>
        <p:spPr>
          <a:xfrm>
            <a:off x="8024266" y="3142795"/>
            <a:ext cx="557846"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Education</a:t>
            </a:r>
          </a:p>
        </p:txBody>
      </p:sp>
      <p:sp>
        <p:nvSpPr>
          <p:cNvPr id="170" name="TextBox 169"/>
          <p:cNvSpPr txBox="1"/>
          <p:nvPr/>
        </p:nvSpPr>
        <p:spPr>
          <a:xfrm>
            <a:off x="4184994" y="4028338"/>
            <a:ext cx="649216"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Capabilities</a:t>
            </a:r>
          </a:p>
        </p:txBody>
      </p:sp>
      <p:sp>
        <p:nvSpPr>
          <p:cNvPr id="171" name="TextBox 170"/>
          <p:cNvSpPr txBox="1"/>
          <p:nvPr/>
        </p:nvSpPr>
        <p:spPr>
          <a:xfrm>
            <a:off x="7287999" y="3926501"/>
            <a:ext cx="1397819"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Services and information</a:t>
            </a:r>
          </a:p>
        </p:txBody>
      </p:sp>
      <p:pic>
        <p:nvPicPr>
          <p:cNvPr id="209" name="Picture 42"/>
          <p:cNvPicPr>
            <a:picLocks noChangeAspect="1"/>
          </p:cNvPicPr>
          <p:nvPr/>
        </p:nvPicPr>
        <p:blipFill>
          <a:blip r:embed="rId3"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4680594" y="3010731"/>
            <a:ext cx="455030" cy="336422"/>
          </a:xfrm>
          <a:prstGeom prst="rect">
            <a:avLst/>
          </a:prstGeom>
        </p:spPr>
      </p:pic>
      <p:sp>
        <p:nvSpPr>
          <p:cNvPr id="211" name="TextBox 210"/>
          <p:cNvSpPr txBox="1"/>
          <p:nvPr/>
        </p:nvSpPr>
        <p:spPr>
          <a:xfrm>
            <a:off x="9305131" y="3644409"/>
            <a:ext cx="511358" cy="307777"/>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Satisfied </a:t>
            </a:r>
            <a:br>
              <a:rPr lang="en-US" sz="1000" dirty="0">
                <a:solidFill>
                  <a:srgbClr val="505050"/>
                </a:solidFill>
                <a:ea typeface="Segoe UI" pitchFamily="34" charset="0"/>
                <a:cs typeface="Segoe UI" pitchFamily="34" charset="0"/>
              </a:rPr>
            </a:br>
            <a:r>
              <a:rPr lang="en-US" sz="1000" dirty="0">
                <a:solidFill>
                  <a:srgbClr val="505050"/>
                </a:solidFill>
                <a:ea typeface="Segoe UI" pitchFamily="34" charset="0"/>
                <a:cs typeface="Segoe UI" pitchFamily="34" charset="0"/>
              </a:rPr>
              <a:t>citizens</a:t>
            </a:r>
          </a:p>
        </p:txBody>
      </p:sp>
      <p:cxnSp>
        <p:nvCxnSpPr>
          <p:cNvPr id="212" name="Straight Arrow Connector 211"/>
          <p:cNvCxnSpPr/>
          <p:nvPr/>
        </p:nvCxnSpPr>
        <p:spPr>
          <a:xfrm flipH="1">
            <a:off x="9890180" y="3046608"/>
            <a:ext cx="566234" cy="207438"/>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p:cNvCxnSpPr/>
          <p:nvPr/>
        </p:nvCxnSpPr>
        <p:spPr>
          <a:xfrm>
            <a:off x="10473397" y="3046608"/>
            <a:ext cx="545576" cy="229782"/>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a:off x="10464906" y="3046607"/>
            <a:ext cx="0" cy="397699"/>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282" name="Group 281"/>
          <p:cNvGrpSpPr/>
          <p:nvPr/>
        </p:nvGrpSpPr>
        <p:grpSpPr>
          <a:xfrm>
            <a:off x="9364237" y="3019685"/>
            <a:ext cx="393135" cy="622718"/>
            <a:chOff x="9356379" y="2942907"/>
            <a:chExt cx="393135" cy="622718"/>
          </a:xfrm>
        </p:grpSpPr>
        <p:sp>
          <p:nvSpPr>
            <p:cNvPr id="283" name="Donut 224"/>
            <p:cNvSpPr/>
            <p:nvPr/>
          </p:nvSpPr>
          <p:spPr bwMode="auto">
            <a:xfrm>
              <a:off x="9356379" y="2942907"/>
              <a:ext cx="393135" cy="622718"/>
            </a:xfrm>
            <a:custGeom>
              <a:avLst/>
              <a:gdLst/>
              <a:ahLst/>
              <a:cxnLst/>
              <a:rect l="l" t="t" r="r" b="b"/>
              <a:pathLst>
                <a:path w="2466728" h="3907257">
                  <a:moveTo>
                    <a:pt x="2014797" y="2302617"/>
                  </a:moveTo>
                  <a:lnTo>
                    <a:pt x="2014797" y="2368845"/>
                  </a:lnTo>
                  <a:cubicBezTo>
                    <a:pt x="2014797" y="2437866"/>
                    <a:pt x="1958843" y="2493817"/>
                    <a:pt x="1889825" y="2493817"/>
                  </a:cubicBezTo>
                  <a:cubicBezTo>
                    <a:pt x="1820803" y="2493817"/>
                    <a:pt x="1764853" y="2437866"/>
                    <a:pt x="1764853" y="2368845"/>
                  </a:cubicBezTo>
                  <a:lnTo>
                    <a:pt x="1764853" y="2320801"/>
                  </a:lnTo>
                  <a:lnTo>
                    <a:pt x="1878268" y="2402778"/>
                  </a:lnTo>
                  <a:cubicBezTo>
                    <a:pt x="1927113" y="2369130"/>
                    <a:pt x="1972673" y="2335863"/>
                    <a:pt x="2014797" y="2302617"/>
                  </a:cubicBezTo>
                  <a:close/>
                  <a:moveTo>
                    <a:pt x="1578478" y="1269672"/>
                  </a:moveTo>
                  <a:cubicBezTo>
                    <a:pt x="1692371" y="1275562"/>
                    <a:pt x="1811709" y="1353098"/>
                    <a:pt x="1878269" y="1524211"/>
                  </a:cubicBezTo>
                  <a:cubicBezTo>
                    <a:pt x="2121686" y="898426"/>
                    <a:pt x="3071011" y="1524211"/>
                    <a:pt x="1878269" y="2328791"/>
                  </a:cubicBezTo>
                  <a:cubicBezTo>
                    <a:pt x="1058259" y="1775642"/>
                    <a:pt x="1250710" y="1307002"/>
                    <a:pt x="1530170" y="1271470"/>
                  </a:cubicBezTo>
                  <a:cubicBezTo>
                    <a:pt x="1546048" y="1269451"/>
                    <a:pt x="1562208" y="1268831"/>
                    <a:pt x="1578478" y="1269672"/>
                  </a:cubicBezTo>
                  <a:close/>
                  <a:moveTo>
                    <a:pt x="1038314" y="1138972"/>
                  </a:moveTo>
                  <a:lnTo>
                    <a:pt x="1666798" y="1138972"/>
                  </a:lnTo>
                  <a:cubicBezTo>
                    <a:pt x="1793020" y="1138972"/>
                    <a:pt x="1905937" y="1202580"/>
                    <a:pt x="1963829" y="1304363"/>
                  </a:cubicBezTo>
                  <a:cubicBezTo>
                    <a:pt x="1928766" y="1333354"/>
                    <a:pt x="1900263" y="1373512"/>
                    <a:pt x="1878268" y="1423066"/>
                  </a:cubicBezTo>
                  <a:cubicBezTo>
                    <a:pt x="1654583" y="886684"/>
                    <a:pt x="666580" y="1436078"/>
                    <a:pt x="1701098" y="2270021"/>
                  </a:cubicBezTo>
                  <a:lnTo>
                    <a:pt x="1701098" y="3751043"/>
                  </a:lnTo>
                  <a:cubicBezTo>
                    <a:pt x="1701098" y="3837319"/>
                    <a:pt x="1631160" y="3907257"/>
                    <a:pt x="1544884" y="3907257"/>
                  </a:cubicBezTo>
                  <a:cubicBezTo>
                    <a:pt x="1458609" y="3907257"/>
                    <a:pt x="1388668" y="3837319"/>
                    <a:pt x="1388668" y="3751043"/>
                  </a:cubicBezTo>
                  <a:lnTo>
                    <a:pt x="1388668" y="2575575"/>
                  </a:lnTo>
                  <a:cubicBezTo>
                    <a:pt x="1388322" y="2545663"/>
                    <a:pt x="1387979" y="2515749"/>
                    <a:pt x="1387634" y="2485837"/>
                  </a:cubicBezTo>
                  <a:cubicBezTo>
                    <a:pt x="1387634" y="2483271"/>
                    <a:pt x="1385557" y="2481194"/>
                    <a:pt x="1382994" y="2481194"/>
                  </a:cubicBezTo>
                  <a:lnTo>
                    <a:pt x="1325376" y="2481194"/>
                  </a:lnTo>
                  <a:cubicBezTo>
                    <a:pt x="1322813" y="2481194"/>
                    <a:pt x="1320736" y="2483271"/>
                    <a:pt x="1320736" y="2485837"/>
                  </a:cubicBezTo>
                  <a:lnTo>
                    <a:pt x="1320736" y="2575575"/>
                  </a:lnTo>
                  <a:cubicBezTo>
                    <a:pt x="1320607" y="2967397"/>
                    <a:pt x="1320478" y="3359219"/>
                    <a:pt x="1320349" y="3751043"/>
                  </a:cubicBezTo>
                  <a:cubicBezTo>
                    <a:pt x="1320349" y="3837319"/>
                    <a:pt x="1250408" y="3907257"/>
                    <a:pt x="1164133" y="3907257"/>
                  </a:cubicBezTo>
                  <a:cubicBezTo>
                    <a:pt x="1077857" y="3907257"/>
                    <a:pt x="1007916" y="3837319"/>
                    <a:pt x="1007916" y="3751043"/>
                  </a:cubicBezTo>
                  <a:lnTo>
                    <a:pt x="1007916" y="1928158"/>
                  </a:lnTo>
                  <a:cubicBezTo>
                    <a:pt x="1006290" y="1811766"/>
                    <a:pt x="1004667" y="1695374"/>
                    <a:pt x="1003044" y="1578982"/>
                  </a:cubicBezTo>
                  <a:cubicBezTo>
                    <a:pt x="1003044" y="1576105"/>
                    <a:pt x="1000713" y="1573773"/>
                    <a:pt x="997836" y="1573773"/>
                  </a:cubicBezTo>
                  <a:lnTo>
                    <a:pt x="945764" y="1573773"/>
                  </a:lnTo>
                  <a:cubicBezTo>
                    <a:pt x="942887" y="1573773"/>
                    <a:pt x="940558" y="1576105"/>
                    <a:pt x="940558" y="1578982"/>
                  </a:cubicBezTo>
                  <a:lnTo>
                    <a:pt x="940558" y="1914803"/>
                  </a:lnTo>
                  <a:cubicBezTo>
                    <a:pt x="940453" y="1914794"/>
                    <a:pt x="940359" y="1914762"/>
                    <a:pt x="940262" y="1914730"/>
                  </a:cubicBezTo>
                  <a:lnTo>
                    <a:pt x="940262" y="2368845"/>
                  </a:lnTo>
                  <a:cubicBezTo>
                    <a:pt x="940262" y="2437866"/>
                    <a:pt x="884312" y="2493817"/>
                    <a:pt x="815290" y="2493817"/>
                  </a:cubicBezTo>
                  <a:cubicBezTo>
                    <a:pt x="746272" y="2493817"/>
                    <a:pt x="690318" y="2437866"/>
                    <a:pt x="690318" y="2368845"/>
                  </a:cubicBezTo>
                  <a:lnTo>
                    <a:pt x="690318" y="1582471"/>
                  </a:lnTo>
                  <a:lnTo>
                    <a:pt x="690318" y="1486968"/>
                  </a:lnTo>
                  <a:lnTo>
                    <a:pt x="690318" y="1466744"/>
                  </a:lnTo>
                  <a:cubicBezTo>
                    <a:pt x="690318" y="1437180"/>
                    <a:pt x="694164" y="1408517"/>
                    <a:pt x="702668" y="1381564"/>
                  </a:cubicBezTo>
                  <a:cubicBezTo>
                    <a:pt x="704988" y="1373265"/>
                    <a:pt x="704728" y="1362898"/>
                    <a:pt x="710241" y="1356453"/>
                  </a:cubicBezTo>
                  <a:cubicBezTo>
                    <a:pt x="760426" y="1227078"/>
                    <a:pt x="891140" y="1138972"/>
                    <a:pt x="1038314" y="1138972"/>
                  </a:cubicBezTo>
                  <a:close/>
                  <a:moveTo>
                    <a:pt x="840652" y="1059849"/>
                  </a:moveTo>
                  <a:lnTo>
                    <a:pt x="866681" y="1096877"/>
                  </a:lnTo>
                  <a:lnTo>
                    <a:pt x="829653" y="1122905"/>
                  </a:lnTo>
                  <a:lnTo>
                    <a:pt x="803625" y="1085878"/>
                  </a:lnTo>
                  <a:close/>
                  <a:moveTo>
                    <a:pt x="767010" y="951533"/>
                  </a:moveTo>
                  <a:lnTo>
                    <a:pt x="792830" y="988705"/>
                  </a:lnTo>
                  <a:lnTo>
                    <a:pt x="755657" y="1014526"/>
                  </a:lnTo>
                  <a:lnTo>
                    <a:pt x="729837" y="977353"/>
                  </a:lnTo>
                  <a:close/>
                  <a:moveTo>
                    <a:pt x="695867" y="843239"/>
                  </a:moveTo>
                  <a:lnTo>
                    <a:pt x="721337" y="880653"/>
                  </a:lnTo>
                  <a:lnTo>
                    <a:pt x="683923" y="906123"/>
                  </a:lnTo>
                  <a:lnTo>
                    <a:pt x="658453" y="868709"/>
                  </a:lnTo>
                  <a:close/>
                  <a:moveTo>
                    <a:pt x="1352558" y="513821"/>
                  </a:moveTo>
                  <a:cubicBezTo>
                    <a:pt x="1504761" y="513821"/>
                    <a:pt x="1628145" y="637206"/>
                    <a:pt x="1628145" y="789409"/>
                  </a:cubicBezTo>
                  <a:cubicBezTo>
                    <a:pt x="1628145" y="941613"/>
                    <a:pt x="1504761" y="1064997"/>
                    <a:pt x="1352558" y="1064997"/>
                  </a:cubicBezTo>
                  <a:cubicBezTo>
                    <a:pt x="1200354" y="1064997"/>
                    <a:pt x="1076970" y="941613"/>
                    <a:pt x="1076970" y="789409"/>
                  </a:cubicBezTo>
                  <a:cubicBezTo>
                    <a:pt x="1076970" y="637206"/>
                    <a:pt x="1200354" y="513821"/>
                    <a:pt x="1352558" y="513821"/>
                  </a:cubicBezTo>
                  <a:close/>
                  <a:moveTo>
                    <a:pt x="374465" y="214412"/>
                  </a:moveTo>
                  <a:lnTo>
                    <a:pt x="478221" y="214412"/>
                  </a:lnTo>
                  <a:lnTo>
                    <a:pt x="478221" y="374465"/>
                  </a:lnTo>
                  <a:lnTo>
                    <a:pt x="635800" y="374465"/>
                  </a:lnTo>
                  <a:lnTo>
                    <a:pt x="635800" y="478221"/>
                  </a:lnTo>
                  <a:lnTo>
                    <a:pt x="478221" y="478221"/>
                  </a:lnTo>
                  <a:lnTo>
                    <a:pt x="478221" y="638274"/>
                  </a:lnTo>
                  <a:lnTo>
                    <a:pt x="374465" y="638274"/>
                  </a:lnTo>
                  <a:lnTo>
                    <a:pt x="374465" y="478221"/>
                  </a:lnTo>
                  <a:lnTo>
                    <a:pt x="216886" y="478221"/>
                  </a:lnTo>
                  <a:lnTo>
                    <a:pt x="216886" y="374465"/>
                  </a:lnTo>
                  <a:lnTo>
                    <a:pt x="374465" y="374465"/>
                  </a:lnTo>
                  <a:close/>
                  <a:moveTo>
                    <a:pt x="426343" y="67908"/>
                  </a:moveTo>
                  <a:cubicBezTo>
                    <a:pt x="228385" y="67908"/>
                    <a:pt x="67908" y="228385"/>
                    <a:pt x="67908" y="426343"/>
                  </a:cubicBezTo>
                  <a:cubicBezTo>
                    <a:pt x="67908" y="624301"/>
                    <a:pt x="228385" y="784778"/>
                    <a:pt x="426343" y="784778"/>
                  </a:cubicBezTo>
                  <a:cubicBezTo>
                    <a:pt x="624301" y="784778"/>
                    <a:pt x="784778" y="624301"/>
                    <a:pt x="784778" y="426343"/>
                  </a:cubicBezTo>
                  <a:cubicBezTo>
                    <a:pt x="784778" y="228385"/>
                    <a:pt x="624301" y="67908"/>
                    <a:pt x="426343" y="67908"/>
                  </a:cubicBezTo>
                  <a:close/>
                  <a:moveTo>
                    <a:pt x="426343" y="0"/>
                  </a:moveTo>
                  <a:cubicBezTo>
                    <a:pt x="661806" y="0"/>
                    <a:pt x="852686" y="190880"/>
                    <a:pt x="852686" y="426343"/>
                  </a:cubicBezTo>
                  <a:cubicBezTo>
                    <a:pt x="852686" y="661806"/>
                    <a:pt x="661806" y="852686"/>
                    <a:pt x="426343" y="852686"/>
                  </a:cubicBezTo>
                  <a:cubicBezTo>
                    <a:pt x="190880" y="852686"/>
                    <a:pt x="0" y="661806"/>
                    <a:pt x="0" y="426343"/>
                  </a:cubicBezTo>
                  <a:cubicBezTo>
                    <a:pt x="0" y="190880"/>
                    <a:pt x="190880" y="0"/>
                    <a:pt x="426343"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000" dirty="0" err="1">
                <a:solidFill>
                  <a:srgbClr val="505050">
                    <a:lumMod val="50000"/>
                  </a:srgbClr>
                </a:solidFill>
              </a:endParaRPr>
            </a:p>
          </p:txBody>
        </p:sp>
        <p:pic>
          <p:nvPicPr>
            <p:cNvPr id="284" name="Picture 7" descr="\\MAGNUM\Projects\Microsoft\Cloud Power FY12\Design\ICONS_PNG\Within_Your_Reach.png"/>
            <p:cNvPicPr>
              <a:picLocks noChangeAspect="1" noChangeArrowheads="1"/>
            </p:cNvPicPr>
            <p:nvPr/>
          </p:nvPicPr>
          <p:blipFill>
            <a:blip r:embed="rId4" cstate="print">
              <a:biLevel thresh="25000"/>
              <a:extLst>
                <a:ext uri="{BEBA8EAE-BF5A-486C-A8C5-ECC9F3942E4B}">
                  <a14:imgProps xmlns:a14="http://schemas.microsoft.com/office/drawing/2010/main">
                    <a14:imgLayer r:embed="rId5">
                      <a14:imgEffect>
                        <a14:brightnessContrast bright="-31000" contrast="-40000"/>
                      </a14:imgEffect>
                    </a14:imgLayer>
                  </a14:imgProps>
                </a:ext>
                <a:ext uri="{28A0092B-C50C-407E-A947-70E740481C1C}">
                  <a14:useLocalDpi xmlns:a14="http://schemas.microsoft.com/office/drawing/2010/main"/>
                </a:ext>
              </a:extLst>
            </a:blip>
            <a:stretch>
              <a:fillRect/>
            </a:stretch>
          </p:blipFill>
          <p:spPr bwMode="auto">
            <a:xfrm>
              <a:off x="9610202" y="3193256"/>
              <a:ext cx="88690" cy="88690"/>
            </a:xfrm>
            <a:prstGeom prst="rect">
              <a:avLst/>
            </a:prstGeom>
            <a:noFill/>
          </p:spPr>
        </p:pic>
      </p:grpSp>
      <p:sp>
        <p:nvSpPr>
          <p:cNvPr id="329" name="TextBox 328"/>
          <p:cNvSpPr txBox="1"/>
          <p:nvPr/>
        </p:nvSpPr>
        <p:spPr>
          <a:xfrm>
            <a:off x="11094267" y="3644409"/>
            <a:ext cx="578684" cy="307777"/>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Improved </a:t>
            </a:r>
            <a:br>
              <a:rPr lang="en-US" sz="1000" dirty="0">
                <a:solidFill>
                  <a:srgbClr val="505050"/>
                </a:solidFill>
                <a:ea typeface="Segoe UI" pitchFamily="34" charset="0"/>
                <a:cs typeface="Segoe UI" pitchFamily="34" charset="0"/>
              </a:rPr>
            </a:br>
            <a:r>
              <a:rPr lang="en-US" sz="1000" dirty="0">
                <a:solidFill>
                  <a:srgbClr val="505050"/>
                </a:solidFill>
                <a:ea typeface="Segoe UI" pitchFamily="34" charset="0"/>
                <a:cs typeface="Segoe UI" pitchFamily="34" charset="0"/>
              </a:rPr>
              <a:t>livability</a:t>
            </a:r>
          </a:p>
        </p:txBody>
      </p:sp>
      <p:sp>
        <p:nvSpPr>
          <p:cNvPr id="332" name="TextBox 331"/>
          <p:cNvSpPr txBox="1"/>
          <p:nvPr/>
        </p:nvSpPr>
        <p:spPr>
          <a:xfrm>
            <a:off x="10081940" y="3926500"/>
            <a:ext cx="774251" cy="307777"/>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Improved city</a:t>
            </a:r>
            <a:br>
              <a:rPr lang="en-US" sz="1000" dirty="0">
                <a:solidFill>
                  <a:srgbClr val="505050"/>
                </a:solidFill>
                <a:ea typeface="Segoe UI" pitchFamily="34" charset="0"/>
                <a:cs typeface="Segoe UI" pitchFamily="34" charset="0"/>
              </a:rPr>
            </a:br>
            <a:r>
              <a:rPr lang="en-US" sz="1000" dirty="0">
                <a:solidFill>
                  <a:srgbClr val="505050"/>
                </a:solidFill>
                <a:ea typeface="Segoe UI" pitchFamily="34" charset="0"/>
                <a:cs typeface="Segoe UI" pitchFamily="34" charset="0"/>
              </a:rPr>
              <a:t>decisions</a:t>
            </a:r>
          </a:p>
        </p:txBody>
      </p:sp>
      <p:grpSp>
        <p:nvGrpSpPr>
          <p:cNvPr id="205" name="Group 204"/>
          <p:cNvGrpSpPr/>
          <p:nvPr/>
        </p:nvGrpSpPr>
        <p:grpSpPr>
          <a:xfrm>
            <a:off x="5939043" y="2626538"/>
            <a:ext cx="742320" cy="783049"/>
            <a:chOff x="5760840" y="2470790"/>
            <a:chExt cx="1103454" cy="1163997"/>
          </a:xfrm>
        </p:grpSpPr>
        <p:grpSp>
          <p:nvGrpSpPr>
            <p:cNvPr id="206" name="Group 205"/>
            <p:cNvGrpSpPr>
              <a:grpSpLocks/>
            </p:cNvGrpSpPr>
            <p:nvPr/>
          </p:nvGrpSpPr>
          <p:grpSpPr>
            <a:xfrm>
              <a:off x="5835818" y="2637004"/>
              <a:ext cx="965424" cy="843079"/>
              <a:chOff x="3576277" y="1473954"/>
              <a:chExt cx="4798544" cy="4260681"/>
            </a:xfrm>
            <a:solidFill>
              <a:schemeClr val="bg1">
                <a:lumMod val="50000"/>
              </a:schemeClr>
            </a:solidFill>
          </p:grpSpPr>
          <p:sp>
            <p:nvSpPr>
              <p:cNvPr id="236" name="Freeform 235"/>
              <p:cNvSpPr/>
              <p:nvPr/>
            </p:nvSpPr>
            <p:spPr bwMode="auto">
              <a:xfrm>
                <a:off x="4166794"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37" name="Freeform 236"/>
              <p:cNvSpPr/>
              <p:nvPr/>
            </p:nvSpPr>
            <p:spPr bwMode="auto">
              <a:xfrm flipH="1">
                <a:off x="6100719"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38" name="Freeform 237"/>
              <p:cNvSpPr/>
              <p:nvPr/>
            </p:nvSpPr>
            <p:spPr bwMode="auto">
              <a:xfrm flipV="1">
                <a:off x="4166794"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40" name="Freeform 239"/>
              <p:cNvSpPr/>
              <p:nvPr/>
            </p:nvSpPr>
            <p:spPr bwMode="auto">
              <a:xfrm flipH="1" flipV="1">
                <a:off x="6100719"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43" name="Freeform 242"/>
              <p:cNvSpPr/>
              <p:nvPr/>
            </p:nvSpPr>
            <p:spPr bwMode="auto">
              <a:xfrm rot="17954294">
                <a:off x="3288256"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44" name="Freeform 243"/>
              <p:cNvSpPr/>
              <p:nvPr/>
            </p:nvSpPr>
            <p:spPr bwMode="auto">
              <a:xfrm rot="3645706" flipH="1">
                <a:off x="6969782"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grpSp>
        <p:sp>
          <p:nvSpPr>
            <p:cNvPr id="207" name="Freeform 7"/>
            <p:cNvSpPr>
              <a:spLocks noEditPoints="1"/>
            </p:cNvSpPr>
            <p:nvPr/>
          </p:nvSpPr>
          <p:spPr bwMode="auto">
            <a:xfrm>
              <a:off x="6609086" y="2674774"/>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endParaRPr lang="en-US" sz="2400" kern="0" dirty="0">
                <a:ln>
                  <a:solidFill>
                    <a:srgbClr val="FFFFFF">
                      <a:alpha val="0"/>
                    </a:srgbClr>
                  </a:solidFill>
                </a:ln>
                <a:solidFill>
                  <a:srgbClr val="44546A"/>
                </a:solidFill>
              </a:endParaRPr>
            </a:p>
          </p:txBody>
        </p:sp>
        <p:sp>
          <p:nvSpPr>
            <p:cNvPr id="208" name="Freeform 138"/>
            <p:cNvSpPr>
              <a:spLocks noChangeAspect="1" noEditPoints="1"/>
            </p:cNvSpPr>
            <p:nvPr/>
          </p:nvSpPr>
          <p:spPr bwMode="black">
            <a:xfrm>
              <a:off x="6664759" y="2716842"/>
              <a:ext cx="143863" cy="176195"/>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ysClr val="window" lastClr="FFFFFF">
                <a:lumMod val="50000"/>
              </a:sysClr>
            </a:solidFill>
            <a:ln>
              <a:noFill/>
            </a:ln>
            <a:extLst/>
          </p:spPr>
          <p:txBody>
            <a:bodyPr vert="horz" wrap="square" lIns="91440" tIns="45720" rIns="91440" bIns="45720" numCol="1" anchor="t" anchorCtr="0" compatLnSpc="1">
              <a:prstTxWarp prst="textNoShape">
                <a:avLst/>
              </a:prstTxWarp>
              <a:noAutofit/>
            </a:bodyPr>
            <a:lstStyle/>
            <a:p>
              <a:pPr>
                <a:defRPr/>
              </a:pPr>
              <a:endParaRPr lang="en-US" sz="2000" kern="0">
                <a:ln>
                  <a:solidFill>
                    <a:srgbClr val="FFFFFF">
                      <a:alpha val="0"/>
                    </a:srgbClr>
                  </a:solidFill>
                </a:ln>
                <a:solidFill>
                  <a:srgbClr val="44546A"/>
                </a:solidFill>
              </a:endParaRPr>
            </a:p>
          </p:txBody>
        </p:sp>
        <p:sp>
          <p:nvSpPr>
            <p:cNvPr id="210" name="Freeform 7"/>
            <p:cNvSpPr>
              <a:spLocks noEditPoints="1"/>
            </p:cNvSpPr>
            <p:nvPr/>
          </p:nvSpPr>
          <p:spPr bwMode="auto">
            <a:xfrm>
              <a:off x="6605670" y="3146922"/>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14" name="Freeform 7"/>
            <p:cNvSpPr>
              <a:spLocks noEditPoints="1"/>
            </p:cNvSpPr>
            <p:nvPr/>
          </p:nvSpPr>
          <p:spPr bwMode="auto">
            <a:xfrm>
              <a:off x="5766963" y="317243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15" name="Freeform 7"/>
            <p:cNvSpPr>
              <a:spLocks noEditPoints="1"/>
            </p:cNvSpPr>
            <p:nvPr/>
          </p:nvSpPr>
          <p:spPr bwMode="auto">
            <a:xfrm>
              <a:off x="5760840" y="2689027"/>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16" name="Freeform 7"/>
            <p:cNvSpPr>
              <a:spLocks noEditPoints="1"/>
            </p:cNvSpPr>
            <p:nvPr/>
          </p:nvSpPr>
          <p:spPr bwMode="auto">
            <a:xfrm>
              <a:off x="6190926" y="247079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17" name="original cloud"/>
            <p:cNvSpPr>
              <a:spLocks noChangeAspect="1"/>
            </p:cNvSpPr>
            <p:nvPr/>
          </p:nvSpPr>
          <p:spPr bwMode="black">
            <a:xfrm>
              <a:off x="6232032" y="2546232"/>
              <a:ext cx="172996" cy="1051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50000"/>
              </a:schemeClr>
            </a:solidFill>
            <a:ln>
              <a:noFill/>
            </a:ln>
            <a:extLst/>
          </p:spPr>
          <p:txBody>
            <a:bodyPr vert="horz" wrap="square" lIns="121920" tIns="60960" rIns="121920" bIns="60960" numCol="1" anchor="t" anchorCtr="0" compatLnSpc="1">
              <a:prstTxWarp prst="textNoShape">
                <a:avLst/>
              </a:prstTxWarp>
              <a:noAutofit/>
            </a:bodyPr>
            <a:lstStyle/>
            <a:p>
              <a:pPr defTabSz="776791">
                <a:defRPr/>
              </a:pPr>
              <a:endParaRPr lang="en-US" sz="2000" kern="0" dirty="0">
                <a:ln>
                  <a:solidFill>
                    <a:srgbClr val="FFFFFF">
                      <a:alpha val="0"/>
                    </a:srgbClr>
                  </a:solidFill>
                </a:ln>
                <a:solidFill>
                  <a:srgbClr val="44546A"/>
                </a:solidFill>
              </a:endParaRPr>
            </a:p>
          </p:txBody>
        </p:sp>
        <p:sp>
          <p:nvSpPr>
            <p:cNvPr id="218" name="Freeform 7"/>
            <p:cNvSpPr>
              <a:spLocks noEditPoints="1"/>
            </p:cNvSpPr>
            <p:nvPr/>
          </p:nvSpPr>
          <p:spPr bwMode="auto">
            <a:xfrm>
              <a:off x="6190926" y="3378755"/>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grpSp>
          <p:nvGrpSpPr>
            <p:cNvPr id="219" name="Group 218"/>
            <p:cNvGrpSpPr/>
            <p:nvPr/>
          </p:nvGrpSpPr>
          <p:grpSpPr>
            <a:xfrm>
              <a:off x="6209498" y="3479631"/>
              <a:ext cx="218065" cy="67360"/>
              <a:chOff x="4888707" y="5496501"/>
              <a:chExt cx="2071733" cy="650674"/>
            </a:xfrm>
            <a:solidFill>
              <a:srgbClr val="7F7F7F"/>
            </a:solidFill>
          </p:grpSpPr>
          <p:sp>
            <p:nvSpPr>
              <p:cNvPr id="228" name="Freeform 61"/>
              <p:cNvSpPr>
                <a:spLocks/>
              </p:cNvSpPr>
              <p:nvPr/>
            </p:nvSpPr>
            <p:spPr bwMode="black">
              <a:xfrm rot="10800000">
                <a:off x="5227783" y="5496501"/>
                <a:ext cx="411263" cy="594652"/>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ln w="12700">
                <a:noFill/>
              </a:ln>
              <a:extLst/>
            </p:spPr>
            <p:txBody>
              <a:bodyPr vert="horz" wrap="square" lIns="91440" tIns="45720" rIns="91440" bIns="45720"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230" name="Freeform 20"/>
              <p:cNvSpPr>
                <a:spLocks noEditPoints="1"/>
              </p:cNvSpPr>
              <p:nvPr/>
            </p:nvSpPr>
            <p:spPr bwMode="black">
              <a:xfrm>
                <a:off x="5734595" y="5507339"/>
                <a:ext cx="839742" cy="58381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grpFill/>
              <a:ln w="12700">
                <a:noFill/>
              </a:ln>
              <a:extLst/>
            </p:spPr>
            <p:txBody>
              <a:bodyPr vert="horz" wrap="square" lIns="82305" tIns="41153" rIns="82305" bIns="41153"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231" name="Rounded Rectangle 4"/>
              <p:cNvSpPr/>
              <p:nvPr/>
            </p:nvSpPr>
            <p:spPr bwMode="auto">
              <a:xfrm>
                <a:off x="6657183" y="5507336"/>
                <a:ext cx="303257" cy="582786"/>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grpFill/>
              <a:ln w="12700">
                <a:noFill/>
              </a:ln>
              <a:extLst/>
            </p:spPr>
            <p:txBody>
              <a:bodyPr vert="horz" wrap="square" lIns="91440" tIns="45720" rIns="91440" bIns="45720" numCol="1" rtlCol="0" anchor="t" anchorCtr="0" compatLnSpc="1">
                <a:prstTxWarp prst="textNoShape">
                  <a:avLst/>
                </a:prstTxWarp>
                <a:noAutofit/>
              </a:bodyPr>
              <a:lstStyle/>
              <a:p>
                <a:pPr algn="ctr">
                  <a:defRPr/>
                </a:pPr>
                <a:endParaRPr lang="en-US" kern="0">
                  <a:ln>
                    <a:solidFill>
                      <a:srgbClr val="FFFFFF">
                        <a:alpha val="0"/>
                      </a:srgbClr>
                    </a:solidFill>
                  </a:ln>
                  <a:solidFill>
                    <a:srgbClr val="44546A"/>
                  </a:solidFill>
                </a:endParaRPr>
              </a:p>
            </p:txBody>
          </p:sp>
          <p:sp>
            <p:nvSpPr>
              <p:cNvPr id="232" name="Freeform 231"/>
              <p:cNvSpPr/>
              <p:nvPr/>
            </p:nvSpPr>
            <p:spPr>
              <a:xfrm>
                <a:off x="4888707" y="5854458"/>
                <a:ext cx="388142" cy="292717"/>
              </a:xfrm>
              <a:custGeom>
                <a:avLst/>
                <a:gdLst>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0 w 392906"/>
                  <a:gd name="connsiteY19"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4763 w 392906"/>
                  <a:gd name="connsiteY19" fmla="*/ 140494 h 300038"/>
                  <a:gd name="connsiteX20" fmla="*/ 0 w 392906"/>
                  <a:gd name="connsiteY20"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7890 w 392906"/>
                  <a:gd name="connsiteY19" fmla="*/ 142057 h 300038"/>
                  <a:gd name="connsiteX20" fmla="*/ 0 w 392906"/>
                  <a:gd name="connsiteY20" fmla="*/ 176213 h 300038"/>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9256"/>
                  <a:gd name="connsiteX1" fmla="*/ 132459 w 392906"/>
                  <a:gd name="connsiteY1" fmla="*/ 299256 h 299256"/>
                  <a:gd name="connsiteX2" fmla="*/ 157163 w 392906"/>
                  <a:gd name="connsiteY2" fmla="*/ 285786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6814" h="299256">
                    <a:moveTo>
                      <a:pt x="0" y="173868"/>
                    </a:moveTo>
                    <a:lnTo>
                      <a:pt x="132459" y="299256"/>
                    </a:lnTo>
                    <a:cubicBezTo>
                      <a:pt x="140694" y="294766"/>
                      <a:pt x="144700" y="290364"/>
                      <a:pt x="157945" y="288913"/>
                    </a:cubicBezTo>
                    <a:cubicBezTo>
                      <a:pt x="171190" y="287462"/>
                      <a:pt x="193675" y="288961"/>
                      <a:pt x="211931" y="290549"/>
                    </a:cubicBezTo>
                    <a:cubicBezTo>
                      <a:pt x="248311" y="279377"/>
                      <a:pt x="267535" y="266488"/>
                      <a:pt x="285114" y="256249"/>
                    </a:cubicBezTo>
                    <a:cubicBezTo>
                      <a:pt x="302693" y="246010"/>
                      <a:pt x="296819" y="197468"/>
                      <a:pt x="324560" y="179412"/>
                    </a:cubicBezTo>
                    <a:cubicBezTo>
                      <a:pt x="321076" y="163433"/>
                      <a:pt x="308212" y="159180"/>
                      <a:pt x="301601" y="159616"/>
                    </a:cubicBezTo>
                    <a:cubicBezTo>
                      <a:pt x="273074" y="148205"/>
                      <a:pt x="267116" y="247024"/>
                      <a:pt x="222275" y="219966"/>
                    </a:cubicBezTo>
                    <a:cubicBezTo>
                      <a:pt x="241530" y="188220"/>
                      <a:pt x="371414" y="64666"/>
                      <a:pt x="396814" y="27757"/>
                    </a:cubicBezTo>
                    <a:cubicBezTo>
                      <a:pt x="394645" y="9931"/>
                      <a:pt x="384660" y="702"/>
                      <a:pt x="362168" y="2418"/>
                    </a:cubicBezTo>
                    <a:cubicBezTo>
                      <a:pt x="318439" y="44487"/>
                      <a:pt x="238561" y="139759"/>
                      <a:pt x="231763" y="132532"/>
                    </a:cubicBezTo>
                    <a:cubicBezTo>
                      <a:pt x="224965" y="125305"/>
                      <a:pt x="256864" y="100734"/>
                      <a:pt x="265101" y="85689"/>
                    </a:cubicBezTo>
                    <a:cubicBezTo>
                      <a:pt x="278281" y="72255"/>
                      <a:pt x="251595" y="54132"/>
                      <a:pt x="238198" y="53987"/>
                    </a:cubicBezTo>
                    <a:cubicBezTo>
                      <a:pt x="221529" y="67481"/>
                      <a:pt x="195032" y="102304"/>
                      <a:pt x="190536" y="96032"/>
                    </a:cubicBezTo>
                    <a:cubicBezTo>
                      <a:pt x="186040" y="89760"/>
                      <a:pt x="219015" y="61094"/>
                      <a:pt x="220602" y="49188"/>
                    </a:cubicBezTo>
                    <a:cubicBezTo>
                      <a:pt x="227825" y="39166"/>
                      <a:pt x="208471" y="22892"/>
                      <a:pt x="193808" y="24595"/>
                    </a:cubicBezTo>
                    <a:cubicBezTo>
                      <a:pt x="181902" y="27770"/>
                      <a:pt x="151991" y="72419"/>
                      <a:pt x="145256" y="64330"/>
                    </a:cubicBezTo>
                    <a:cubicBezTo>
                      <a:pt x="138521" y="56241"/>
                      <a:pt x="169027" y="38370"/>
                      <a:pt x="167470" y="27648"/>
                    </a:cubicBezTo>
                    <a:cubicBezTo>
                      <a:pt x="168676" y="4362"/>
                      <a:pt x="153467" y="1399"/>
                      <a:pt x="135913" y="0"/>
                    </a:cubicBezTo>
                    <a:cubicBezTo>
                      <a:pt x="94638" y="49213"/>
                      <a:pt x="12865" y="126764"/>
                      <a:pt x="7890" y="139712"/>
                    </a:cubicBezTo>
                    <a:cubicBezTo>
                      <a:pt x="2915" y="152660"/>
                      <a:pt x="2630" y="162483"/>
                      <a:pt x="0" y="173868"/>
                    </a:cubicBezTo>
                    <a:close/>
                  </a:path>
                </a:pathLst>
              </a:custGeom>
              <a:grpFill/>
              <a:ln w="12700"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defRPr/>
                </a:pPr>
                <a:endParaRPr lang="en-US" kern="0" dirty="0" err="1">
                  <a:ln>
                    <a:solidFill>
                      <a:srgbClr val="FFFFFF">
                        <a:alpha val="0"/>
                      </a:srgbClr>
                    </a:solidFill>
                  </a:ln>
                  <a:solidFill>
                    <a:srgbClr val="44546A"/>
                  </a:solidFill>
                  <a:ea typeface="Segoe UI" pitchFamily="34" charset="0"/>
                  <a:cs typeface="Segoe UI" pitchFamily="34" charset="0"/>
                </a:endParaRPr>
              </a:p>
            </p:txBody>
          </p:sp>
        </p:grpSp>
        <p:pic>
          <p:nvPicPr>
            <p:cNvPr id="220" name="Picture 42"/>
            <p:cNvPicPr>
              <a:picLocks noChangeAspect="1"/>
            </p:cNvPicPr>
            <p:nvPr/>
          </p:nvPicPr>
          <p:blipFill>
            <a:blip r:embed="rId6" cstate="screen">
              <a:duotone>
                <a:prstClr val="black"/>
                <a:schemeClr val="accent5">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tretch>
              <a:fillRect/>
            </a:stretch>
          </p:blipFill>
          <p:spPr bwMode="auto">
            <a:xfrm>
              <a:off x="5807405" y="2755642"/>
              <a:ext cx="162079" cy="122803"/>
            </a:xfrm>
            <a:prstGeom prst="rect">
              <a:avLst/>
            </a:prstGeom>
          </p:spPr>
        </p:pic>
        <p:grpSp>
          <p:nvGrpSpPr>
            <p:cNvPr id="222" name="Group 9"/>
            <p:cNvGrpSpPr>
              <a:grpSpLocks/>
            </p:cNvGrpSpPr>
            <p:nvPr/>
          </p:nvGrpSpPr>
          <p:grpSpPr bwMode="auto">
            <a:xfrm>
              <a:off x="5794575" y="3218649"/>
              <a:ext cx="190686" cy="156029"/>
              <a:chOff x="6940223" y="1895560"/>
              <a:chExt cx="721993" cy="641901"/>
            </a:xfrm>
            <a:solidFill>
              <a:schemeClr val="bg1">
                <a:lumMod val="95000"/>
              </a:schemeClr>
            </a:solidFill>
          </p:grpSpPr>
          <p:cxnSp>
            <p:nvCxnSpPr>
              <p:cNvPr id="224" name="Straight Connector 10"/>
              <p:cNvCxnSpPr/>
              <p:nvPr/>
            </p:nvCxnSpPr>
            <p:spPr>
              <a:xfrm flipV="1">
                <a:off x="7247609" y="1895560"/>
                <a:ext cx="294081" cy="641901"/>
              </a:xfrm>
              <a:prstGeom prst="line">
                <a:avLst/>
              </a:prstGeom>
              <a:grpFill/>
              <a:ln w="38100" cap="rnd" cmpd="sng" algn="ctr">
                <a:solidFill>
                  <a:srgbClr val="7F7F7F"/>
                </a:solidFill>
                <a:prstDash val="sysDot"/>
              </a:ln>
              <a:effectLst/>
            </p:spPr>
          </p:cxnSp>
          <p:grpSp>
            <p:nvGrpSpPr>
              <p:cNvPr id="225" name="Group 11"/>
              <p:cNvGrpSpPr>
                <a:grpSpLocks/>
              </p:cNvGrpSpPr>
              <p:nvPr/>
            </p:nvGrpSpPr>
            <p:grpSpPr bwMode="auto">
              <a:xfrm>
                <a:off x="6940223" y="2011636"/>
                <a:ext cx="721993" cy="430704"/>
                <a:chOff x="6997583" y="1705969"/>
                <a:chExt cx="1039555" cy="620144"/>
              </a:xfrm>
              <a:grpFill/>
            </p:grpSpPr>
            <p:pic>
              <p:nvPicPr>
                <p:cNvPr id="226" name="Picture 47" descr="C:\Users\sakuu\Documents\Ballmer MGX 2011\Tile Icons\Calendar.png"/>
                <p:cNvPicPr>
                  <a:picLocks noChangeAspect="1" noChangeArrowheads="1"/>
                </p:cNvPicPr>
                <p:nvPr/>
              </p:nvPicPr>
              <p:blipFill>
                <a:blip r:embed="rId8" cstate="screen">
                  <a:duotone>
                    <a:prstClr val="black"/>
                    <a:schemeClr val="accent5">
                      <a:tint val="45000"/>
                      <a:satMod val="400000"/>
                    </a:schemeClr>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black">
                <a:xfrm>
                  <a:off x="7458341" y="1774201"/>
                  <a:ext cx="578797" cy="551912"/>
                </a:xfrm>
                <a:prstGeom prst="rect">
                  <a:avLst/>
                </a:prstGeom>
                <a:grpFill/>
                <a:extLst>
                  <a:ext uri="{909E8E84-426E-40dd-AFC4-6F175D3DCCD1}">
                    <a14:hiddenFill xmlns:a14="http://schemas.microsoft.com/office/drawing/2010/main" xmlns="">
                      <a:solidFill>
                        <a:srgbClr val="FFFFFF"/>
                      </a:solidFill>
                    </a14:hiddenFill>
                  </a:ext>
                </a:extLst>
              </p:spPr>
            </p:pic>
            <p:sp>
              <p:nvSpPr>
                <p:cNvPr id="227" name="Freeform 113"/>
                <p:cNvSpPr>
                  <a:spLocks noEditPoints="1"/>
                </p:cNvSpPr>
                <p:nvPr/>
              </p:nvSpPr>
              <p:spPr bwMode="black">
                <a:xfrm>
                  <a:off x="6997583" y="1705969"/>
                  <a:ext cx="424935" cy="48747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7F7F7F"/>
                </a:solidFill>
                <a:ln>
                  <a:noFill/>
                </a:ln>
                <a:extLst/>
              </p:spPr>
              <p:txBody>
                <a:bodyPr/>
                <a:lstStyle/>
                <a:p>
                  <a:pPr defTabSz="914400">
                    <a:defRPr/>
                  </a:pPr>
                  <a:endParaRPr lang="en-US" sz="1050" kern="0">
                    <a:solidFill>
                      <a:srgbClr val="000000"/>
                    </a:solidFill>
                  </a:endParaRPr>
                </a:p>
              </p:txBody>
            </p:sp>
          </p:grpSp>
        </p:grpSp>
        <p:sp>
          <p:nvSpPr>
            <p:cNvPr id="223" name="Freeform 73"/>
            <p:cNvSpPr>
              <a:spLocks noEditPoints="1"/>
            </p:cNvSpPr>
            <p:nvPr/>
          </p:nvSpPr>
          <p:spPr bwMode="black">
            <a:xfrm>
              <a:off x="6646247" y="3186281"/>
              <a:ext cx="185208" cy="17476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lumMod val="50000"/>
              </a:schemeClr>
            </a:solidFill>
            <a:ln w="9525">
              <a:noFill/>
              <a:round/>
              <a:headEnd/>
              <a:tailEnd/>
            </a:ln>
          </p:spPr>
          <p:txBody>
            <a:bodyPr/>
            <a:lstStyle/>
            <a:p>
              <a:pPr algn="ctr" defTabSz="1088105"/>
              <a:endParaRPr lang="en-US" sz="2200">
                <a:ln>
                  <a:solidFill>
                    <a:srgbClr val="505050">
                      <a:alpha val="0"/>
                    </a:srgbClr>
                  </a:solidFill>
                </a:ln>
                <a:solidFill>
                  <a:srgbClr val="505050"/>
                </a:solidFill>
              </a:endParaRPr>
            </a:p>
          </p:txBody>
        </p:sp>
      </p:grpSp>
      <p:grpSp>
        <p:nvGrpSpPr>
          <p:cNvPr id="247" name="Group 246"/>
          <p:cNvGrpSpPr>
            <a:grpSpLocks noChangeAspect="1"/>
          </p:cNvGrpSpPr>
          <p:nvPr/>
        </p:nvGrpSpPr>
        <p:grpSpPr>
          <a:xfrm>
            <a:off x="6111913" y="2906002"/>
            <a:ext cx="421256" cy="201249"/>
            <a:chOff x="335107" y="1984056"/>
            <a:chExt cx="8623119" cy="4119564"/>
          </a:xfrm>
          <a:solidFill>
            <a:schemeClr val="bg1">
              <a:lumMod val="50000"/>
            </a:schemeClr>
          </a:solidFill>
        </p:grpSpPr>
        <p:sp>
          <p:nvSpPr>
            <p:cNvPr id="257" name="Freeform 256"/>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285" name="Man's Body"/>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86" name="Man's Body"/>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87" name="Man's Body"/>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88" name="Man's Body"/>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89" name="Man's Body"/>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90" name="Man's Body"/>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91" name="Freeform 290"/>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292" name="Freeform 291"/>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grpSp>
      <p:sp>
        <p:nvSpPr>
          <p:cNvPr id="294" name="TextBox 293"/>
          <p:cNvSpPr txBox="1"/>
          <p:nvPr/>
        </p:nvSpPr>
        <p:spPr>
          <a:xfrm>
            <a:off x="5995031" y="3396793"/>
            <a:ext cx="687689"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City Insights</a:t>
            </a:r>
          </a:p>
        </p:txBody>
      </p:sp>
      <p:grpSp>
        <p:nvGrpSpPr>
          <p:cNvPr id="175" name="Group 174"/>
          <p:cNvGrpSpPr/>
          <p:nvPr/>
        </p:nvGrpSpPr>
        <p:grpSpPr>
          <a:xfrm>
            <a:off x="11190602" y="3308136"/>
            <a:ext cx="372864" cy="297508"/>
            <a:chOff x="928913" y="3884413"/>
            <a:chExt cx="2166935" cy="1728997"/>
          </a:xfrm>
          <a:solidFill>
            <a:schemeClr val="bg1">
              <a:lumMod val="50000"/>
            </a:schemeClr>
          </a:solidFill>
        </p:grpSpPr>
        <p:sp>
          <p:nvSpPr>
            <p:cNvPr id="203" name="Freeform 202"/>
            <p:cNvSpPr/>
            <p:nvPr/>
          </p:nvSpPr>
          <p:spPr>
            <a:xfrm>
              <a:off x="928913" y="3979926"/>
              <a:ext cx="686989" cy="1633484"/>
            </a:xfrm>
            <a:custGeom>
              <a:avLst/>
              <a:gdLst>
                <a:gd name="connsiteX0" fmla="*/ 762448 w 1004418"/>
                <a:gd name="connsiteY0" fmla="*/ 1549280 h 1748166"/>
                <a:gd name="connsiteX1" fmla="*/ 762448 w 1004418"/>
                <a:gd name="connsiteY1" fmla="*/ 1660335 h 1748166"/>
                <a:gd name="connsiteX2" fmla="*/ 942296 w 1004418"/>
                <a:gd name="connsiteY2" fmla="*/ 1660335 h 1748166"/>
                <a:gd name="connsiteX3" fmla="*/ 942296 w 1004418"/>
                <a:gd name="connsiteY3" fmla="*/ 1549280 h 1748166"/>
                <a:gd name="connsiteX4" fmla="*/ 526885 w 1004418"/>
                <a:gd name="connsiteY4" fmla="*/ 1549280 h 1748166"/>
                <a:gd name="connsiteX5" fmla="*/ 526885 w 1004418"/>
                <a:gd name="connsiteY5" fmla="*/ 1660335 h 1748166"/>
                <a:gd name="connsiteX6" fmla="*/ 706733 w 1004418"/>
                <a:gd name="connsiteY6" fmla="*/ 1660335 h 1748166"/>
                <a:gd name="connsiteX7" fmla="*/ 706733 w 1004418"/>
                <a:gd name="connsiteY7" fmla="*/ 1549280 h 1748166"/>
                <a:gd name="connsiteX8" fmla="*/ 291323 w 1004418"/>
                <a:gd name="connsiteY8" fmla="*/ 1549280 h 1748166"/>
                <a:gd name="connsiteX9" fmla="*/ 291323 w 1004418"/>
                <a:gd name="connsiteY9" fmla="*/ 1660335 h 1748166"/>
                <a:gd name="connsiteX10" fmla="*/ 471171 w 1004418"/>
                <a:gd name="connsiteY10" fmla="*/ 1660335 h 1748166"/>
                <a:gd name="connsiteX11" fmla="*/ 471171 w 1004418"/>
                <a:gd name="connsiteY11" fmla="*/ 1549280 h 1748166"/>
                <a:gd name="connsiteX12" fmla="*/ 55761 w 1004418"/>
                <a:gd name="connsiteY12" fmla="*/ 1549280 h 1748166"/>
                <a:gd name="connsiteX13" fmla="*/ 55761 w 1004418"/>
                <a:gd name="connsiteY13" fmla="*/ 1660335 h 1748166"/>
                <a:gd name="connsiteX14" fmla="*/ 235609 w 1004418"/>
                <a:gd name="connsiteY14" fmla="*/ 1660335 h 1748166"/>
                <a:gd name="connsiteX15" fmla="*/ 235609 w 1004418"/>
                <a:gd name="connsiteY15" fmla="*/ 1549280 h 1748166"/>
                <a:gd name="connsiteX16" fmla="*/ 762448 w 1004418"/>
                <a:gd name="connsiteY16" fmla="*/ 1387515 h 1748166"/>
                <a:gd name="connsiteX17" fmla="*/ 762448 w 1004418"/>
                <a:gd name="connsiteY17" fmla="*/ 1498570 h 1748166"/>
                <a:gd name="connsiteX18" fmla="*/ 942296 w 1004418"/>
                <a:gd name="connsiteY18" fmla="*/ 1498570 h 1748166"/>
                <a:gd name="connsiteX19" fmla="*/ 942296 w 1004418"/>
                <a:gd name="connsiteY19" fmla="*/ 1387515 h 1748166"/>
                <a:gd name="connsiteX20" fmla="*/ 526885 w 1004418"/>
                <a:gd name="connsiteY20" fmla="*/ 1387515 h 1748166"/>
                <a:gd name="connsiteX21" fmla="*/ 526885 w 1004418"/>
                <a:gd name="connsiteY21" fmla="*/ 1498570 h 1748166"/>
                <a:gd name="connsiteX22" fmla="*/ 706733 w 1004418"/>
                <a:gd name="connsiteY22" fmla="*/ 1498570 h 1748166"/>
                <a:gd name="connsiteX23" fmla="*/ 706733 w 1004418"/>
                <a:gd name="connsiteY23" fmla="*/ 1387515 h 1748166"/>
                <a:gd name="connsiteX24" fmla="*/ 291323 w 1004418"/>
                <a:gd name="connsiteY24" fmla="*/ 1387515 h 1748166"/>
                <a:gd name="connsiteX25" fmla="*/ 291323 w 1004418"/>
                <a:gd name="connsiteY25" fmla="*/ 1498570 h 1748166"/>
                <a:gd name="connsiteX26" fmla="*/ 471171 w 1004418"/>
                <a:gd name="connsiteY26" fmla="*/ 1498570 h 1748166"/>
                <a:gd name="connsiteX27" fmla="*/ 471171 w 1004418"/>
                <a:gd name="connsiteY27" fmla="*/ 1387515 h 1748166"/>
                <a:gd name="connsiteX28" fmla="*/ 55761 w 1004418"/>
                <a:gd name="connsiteY28" fmla="*/ 1387515 h 1748166"/>
                <a:gd name="connsiteX29" fmla="*/ 55761 w 1004418"/>
                <a:gd name="connsiteY29" fmla="*/ 1498570 h 1748166"/>
                <a:gd name="connsiteX30" fmla="*/ 235609 w 1004418"/>
                <a:gd name="connsiteY30" fmla="*/ 1498570 h 1748166"/>
                <a:gd name="connsiteX31" fmla="*/ 235609 w 1004418"/>
                <a:gd name="connsiteY31" fmla="*/ 1387515 h 1748166"/>
                <a:gd name="connsiteX32" fmla="*/ 762448 w 1004418"/>
                <a:gd name="connsiteY32" fmla="*/ 1225750 h 1748166"/>
                <a:gd name="connsiteX33" fmla="*/ 762448 w 1004418"/>
                <a:gd name="connsiteY33" fmla="*/ 1336805 h 1748166"/>
                <a:gd name="connsiteX34" fmla="*/ 942296 w 1004418"/>
                <a:gd name="connsiteY34" fmla="*/ 1336805 h 1748166"/>
                <a:gd name="connsiteX35" fmla="*/ 942296 w 1004418"/>
                <a:gd name="connsiteY35" fmla="*/ 1225750 h 1748166"/>
                <a:gd name="connsiteX36" fmla="*/ 526885 w 1004418"/>
                <a:gd name="connsiteY36" fmla="*/ 1225750 h 1748166"/>
                <a:gd name="connsiteX37" fmla="*/ 526885 w 1004418"/>
                <a:gd name="connsiteY37" fmla="*/ 1336805 h 1748166"/>
                <a:gd name="connsiteX38" fmla="*/ 706733 w 1004418"/>
                <a:gd name="connsiteY38" fmla="*/ 1336805 h 1748166"/>
                <a:gd name="connsiteX39" fmla="*/ 706733 w 1004418"/>
                <a:gd name="connsiteY39" fmla="*/ 1225750 h 1748166"/>
                <a:gd name="connsiteX40" fmla="*/ 291323 w 1004418"/>
                <a:gd name="connsiteY40" fmla="*/ 1225750 h 1748166"/>
                <a:gd name="connsiteX41" fmla="*/ 291323 w 1004418"/>
                <a:gd name="connsiteY41" fmla="*/ 1336805 h 1748166"/>
                <a:gd name="connsiteX42" fmla="*/ 471171 w 1004418"/>
                <a:gd name="connsiteY42" fmla="*/ 1336805 h 1748166"/>
                <a:gd name="connsiteX43" fmla="*/ 471171 w 1004418"/>
                <a:gd name="connsiteY43" fmla="*/ 1225750 h 1748166"/>
                <a:gd name="connsiteX44" fmla="*/ 55761 w 1004418"/>
                <a:gd name="connsiteY44" fmla="*/ 1225750 h 1748166"/>
                <a:gd name="connsiteX45" fmla="*/ 55761 w 1004418"/>
                <a:gd name="connsiteY45" fmla="*/ 1336805 h 1748166"/>
                <a:gd name="connsiteX46" fmla="*/ 235609 w 1004418"/>
                <a:gd name="connsiteY46" fmla="*/ 1336805 h 1748166"/>
                <a:gd name="connsiteX47" fmla="*/ 235609 w 1004418"/>
                <a:gd name="connsiteY47" fmla="*/ 1225750 h 1748166"/>
                <a:gd name="connsiteX48" fmla="*/ 762448 w 1004418"/>
                <a:gd name="connsiteY48" fmla="*/ 1063985 h 1748166"/>
                <a:gd name="connsiteX49" fmla="*/ 762448 w 1004418"/>
                <a:gd name="connsiteY49" fmla="*/ 1175040 h 1748166"/>
                <a:gd name="connsiteX50" fmla="*/ 942296 w 1004418"/>
                <a:gd name="connsiteY50" fmla="*/ 1175040 h 1748166"/>
                <a:gd name="connsiteX51" fmla="*/ 942296 w 1004418"/>
                <a:gd name="connsiteY51" fmla="*/ 1063985 h 1748166"/>
                <a:gd name="connsiteX52" fmla="*/ 526885 w 1004418"/>
                <a:gd name="connsiteY52" fmla="*/ 1063985 h 1748166"/>
                <a:gd name="connsiteX53" fmla="*/ 526885 w 1004418"/>
                <a:gd name="connsiteY53" fmla="*/ 1175040 h 1748166"/>
                <a:gd name="connsiteX54" fmla="*/ 706733 w 1004418"/>
                <a:gd name="connsiteY54" fmla="*/ 1175040 h 1748166"/>
                <a:gd name="connsiteX55" fmla="*/ 706733 w 1004418"/>
                <a:gd name="connsiteY55" fmla="*/ 1063985 h 1748166"/>
                <a:gd name="connsiteX56" fmla="*/ 291323 w 1004418"/>
                <a:gd name="connsiteY56" fmla="*/ 1063985 h 1748166"/>
                <a:gd name="connsiteX57" fmla="*/ 291323 w 1004418"/>
                <a:gd name="connsiteY57" fmla="*/ 1175040 h 1748166"/>
                <a:gd name="connsiteX58" fmla="*/ 471171 w 1004418"/>
                <a:gd name="connsiteY58" fmla="*/ 1175040 h 1748166"/>
                <a:gd name="connsiteX59" fmla="*/ 471171 w 1004418"/>
                <a:gd name="connsiteY59" fmla="*/ 1063985 h 1748166"/>
                <a:gd name="connsiteX60" fmla="*/ 55761 w 1004418"/>
                <a:gd name="connsiteY60" fmla="*/ 1063985 h 1748166"/>
                <a:gd name="connsiteX61" fmla="*/ 55761 w 1004418"/>
                <a:gd name="connsiteY61" fmla="*/ 1175040 h 1748166"/>
                <a:gd name="connsiteX62" fmla="*/ 235609 w 1004418"/>
                <a:gd name="connsiteY62" fmla="*/ 1175040 h 1748166"/>
                <a:gd name="connsiteX63" fmla="*/ 235609 w 1004418"/>
                <a:gd name="connsiteY63" fmla="*/ 1063985 h 1748166"/>
                <a:gd name="connsiteX64" fmla="*/ 762448 w 1004418"/>
                <a:gd name="connsiteY64" fmla="*/ 902220 h 1748166"/>
                <a:gd name="connsiteX65" fmla="*/ 762448 w 1004418"/>
                <a:gd name="connsiteY65" fmla="*/ 1013275 h 1748166"/>
                <a:gd name="connsiteX66" fmla="*/ 942296 w 1004418"/>
                <a:gd name="connsiteY66" fmla="*/ 1013275 h 1748166"/>
                <a:gd name="connsiteX67" fmla="*/ 942296 w 1004418"/>
                <a:gd name="connsiteY67" fmla="*/ 902220 h 1748166"/>
                <a:gd name="connsiteX68" fmla="*/ 526885 w 1004418"/>
                <a:gd name="connsiteY68" fmla="*/ 902220 h 1748166"/>
                <a:gd name="connsiteX69" fmla="*/ 526885 w 1004418"/>
                <a:gd name="connsiteY69" fmla="*/ 1013275 h 1748166"/>
                <a:gd name="connsiteX70" fmla="*/ 706733 w 1004418"/>
                <a:gd name="connsiteY70" fmla="*/ 1013275 h 1748166"/>
                <a:gd name="connsiteX71" fmla="*/ 706733 w 1004418"/>
                <a:gd name="connsiteY71" fmla="*/ 902220 h 1748166"/>
                <a:gd name="connsiteX72" fmla="*/ 291323 w 1004418"/>
                <a:gd name="connsiteY72" fmla="*/ 902220 h 1748166"/>
                <a:gd name="connsiteX73" fmla="*/ 291323 w 1004418"/>
                <a:gd name="connsiteY73" fmla="*/ 1013275 h 1748166"/>
                <a:gd name="connsiteX74" fmla="*/ 471171 w 1004418"/>
                <a:gd name="connsiteY74" fmla="*/ 1013275 h 1748166"/>
                <a:gd name="connsiteX75" fmla="*/ 471171 w 1004418"/>
                <a:gd name="connsiteY75" fmla="*/ 902220 h 1748166"/>
                <a:gd name="connsiteX76" fmla="*/ 55761 w 1004418"/>
                <a:gd name="connsiteY76" fmla="*/ 902220 h 1748166"/>
                <a:gd name="connsiteX77" fmla="*/ 55761 w 1004418"/>
                <a:gd name="connsiteY77" fmla="*/ 1013275 h 1748166"/>
                <a:gd name="connsiteX78" fmla="*/ 235609 w 1004418"/>
                <a:gd name="connsiteY78" fmla="*/ 1013275 h 1748166"/>
                <a:gd name="connsiteX79" fmla="*/ 235609 w 1004418"/>
                <a:gd name="connsiteY79" fmla="*/ 902220 h 1748166"/>
                <a:gd name="connsiteX80" fmla="*/ 762448 w 1004418"/>
                <a:gd name="connsiteY80" fmla="*/ 740455 h 1748166"/>
                <a:gd name="connsiteX81" fmla="*/ 762448 w 1004418"/>
                <a:gd name="connsiteY81" fmla="*/ 851510 h 1748166"/>
                <a:gd name="connsiteX82" fmla="*/ 942296 w 1004418"/>
                <a:gd name="connsiteY82" fmla="*/ 851510 h 1748166"/>
                <a:gd name="connsiteX83" fmla="*/ 942296 w 1004418"/>
                <a:gd name="connsiteY83" fmla="*/ 740455 h 1748166"/>
                <a:gd name="connsiteX84" fmla="*/ 526885 w 1004418"/>
                <a:gd name="connsiteY84" fmla="*/ 740455 h 1748166"/>
                <a:gd name="connsiteX85" fmla="*/ 526885 w 1004418"/>
                <a:gd name="connsiteY85" fmla="*/ 851510 h 1748166"/>
                <a:gd name="connsiteX86" fmla="*/ 706733 w 1004418"/>
                <a:gd name="connsiteY86" fmla="*/ 851510 h 1748166"/>
                <a:gd name="connsiteX87" fmla="*/ 706733 w 1004418"/>
                <a:gd name="connsiteY87" fmla="*/ 740455 h 1748166"/>
                <a:gd name="connsiteX88" fmla="*/ 291323 w 1004418"/>
                <a:gd name="connsiteY88" fmla="*/ 740455 h 1748166"/>
                <a:gd name="connsiteX89" fmla="*/ 291323 w 1004418"/>
                <a:gd name="connsiteY89" fmla="*/ 851510 h 1748166"/>
                <a:gd name="connsiteX90" fmla="*/ 471171 w 1004418"/>
                <a:gd name="connsiteY90" fmla="*/ 851510 h 1748166"/>
                <a:gd name="connsiteX91" fmla="*/ 471171 w 1004418"/>
                <a:gd name="connsiteY91" fmla="*/ 740455 h 1748166"/>
                <a:gd name="connsiteX92" fmla="*/ 55761 w 1004418"/>
                <a:gd name="connsiteY92" fmla="*/ 740455 h 1748166"/>
                <a:gd name="connsiteX93" fmla="*/ 55761 w 1004418"/>
                <a:gd name="connsiteY93" fmla="*/ 851510 h 1748166"/>
                <a:gd name="connsiteX94" fmla="*/ 235609 w 1004418"/>
                <a:gd name="connsiteY94" fmla="*/ 851510 h 1748166"/>
                <a:gd name="connsiteX95" fmla="*/ 235609 w 1004418"/>
                <a:gd name="connsiteY95" fmla="*/ 740455 h 1748166"/>
                <a:gd name="connsiteX96" fmla="*/ 762448 w 1004418"/>
                <a:gd name="connsiteY96" fmla="*/ 578690 h 1748166"/>
                <a:gd name="connsiteX97" fmla="*/ 762448 w 1004418"/>
                <a:gd name="connsiteY97" fmla="*/ 689745 h 1748166"/>
                <a:gd name="connsiteX98" fmla="*/ 942296 w 1004418"/>
                <a:gd name="connsiteY98" fmla="*/ 689745 h 1748166"/>
                <a:gd name="connsiteX99" fmla="*/ 942296 w 1004418"/>
                <a:gd name="connsiteY99" fmla="*/ 578690 h 1748166"/>
                <a:gd name="connsiteX100" fmla="*/ 526885 w 1004418"/>
                <a:gd name="connsiteY100" fmla="*/ 578690 h 1748166"/>
                <a:gd name="connsiteX101" fmla="*/ 526885 w 1004418"/>
                <a:gd name="connsiteY101" fmla="*/ 689745 h 1748166"/>
                <a:gd name="connsiteX102" fmla="*/ 706733 w 1004418"/>
                <a:gd name="connsiteY102" fmla="*/ 689745 h 1748166"/>
                <a:gd name="connsiteX103" fmla="*/ 706733 w 1004418"/>
                <a:gd name="connsiteY103" fmla="*/ 578690 h 1748166"/>
                <a:gd name="connsiteX104" fmla="*/ 291323 w 1004418"/>
                <a:gd name="connsiteY104" fmla="*/ 578690 h 1748166"/>
                <a:gd name="connsiteX105" fmla="*/ 291323 w 1004418"/>
                <a:gd name="connsiteY105" fmla="*/ 689745 h 1748166"/>
                <a:gd name="connsiteX106" fmla="*/ 471171 w 1004418"/>
                <a:gd name="connsiteY106" fmla="*/ 689745 h 1748166"/>
                <a:gd name="connsiteX107" fmla="*/ 471171 w 1004418"/>
                <a:gd name="connsiteY107" fmla="*/ 578690 h 1748166"/>
                <a:gd name="connsiteX108" fmla="*/ 55761 w 1004418"/>
                <a:gd name="connsiteY108" fmla="*/ 578690 h 1748166"/>
                <a:gd name="connsiteX109" fmla="*/ 55761 w 1004418"/>
                <a:gd name="connsiteY109" fmla="*/ 689745 h 1748166"/>
                <a:gd name="connsiteX110" fmla="*/ 235609 w 1004418"/>
                <a:gd name="connsiteY110" fmla="*/ 689745 h 1748166"/>
                <a:gd name="connsiteX111" fmla="*/ 235609 w 1004418"/>
                <a:gd name="connsiteY111" fmla="*/ 578690 h 1748166"/>
                <a:gd name="connsiteX112" fmla="*/ 762448 w 1004418"/>
                <a:gd name="connsiteY112" fmla="*/ 416925 h 1748166"/>
                <a:gd name="connsiteX113" fmla="*/ 762448 w 1004418"/>
                <a:gd name="connsiteY113" fmla="*/ 527980 h 1748166"/>
                <a:gd name="connsiteX114" fmla="*/ 942296 w 1004418"/>
                <a:gd name="connsiteY114" fmla="*/ 527980 h 1748166"/>
                <a:gd name="connsiteX115" fmla="*/ 942296 w 1004418"/>
                <a:gd name="connsiteY115" fmla="*/ 416925 h 1748166"/>
                <a:gd name="connsiteX116" fmla="*/ 526885 w 1004418"/>
                <a:gd name="connsiteY116" fmla="*/ 416925 h 1748166"/>
                <a:gd name="connsiteX117" fmla="*/ 526885 w 1004418"/>
                <a:gd name="connsiteY117" fmla="*/ 527980 h 1748166"/>
                <a:gd name="connsiteX118" fmla="*/ 706733 w 1004418"/>
                <a:gd name="connsiteY118" fmla="*/ 527980 h 1748166"/>
                <a:gd name="connsiteX119" fmla="*/ 706733 w 1004418"/>
                <a:gd name="connsiteY119" fmla="*/ 416925 h 1748166"/>
                <a:gd name="connsiteX120" fmla="*/ 291323 w 1004418"/>
                <a:gd name="connsiteY120" fmla="*/ 416925 h 1748166"/>
                <a:gd name="connsiteX121" fmla="*/ 291323 w 1004418"/>
                <a:gd name="connsiteY121" fmla="*/ 527980 h 1748166"/>
                <a:gd name="connsiteX122" fmla="*/ 471171 w 1004418"/>
                <a:gd name="connsiteY122" fmla="*/ 527980 h 1748166"/>
                <a:gd name="connsiteX123" fmla="*/ 471171 w 1004418"/>
                <a:gd name="connsiteY123" fmla="*/ 416925 h 1748166"/>
                <a:gd name="connsiteX124" fmla="*/ 55761 w 1004418"/>
                <a:gd name="connsiteY124" fmla="*/ 416925 h 1748166"/>
                <a:gd name="connsiteX125" fmla="*/ 55761 w 1004418"/>
                <a:gd name="connsiteY125" fmla="*/ 527980 h 1748166"/>
                <a:gd name="connsiteX126" fmla="*/ 235609 w 1004418"/>
                <a:gd name="connsiteY126" fmla="*/ 527980 h 1748166"/>
                <a:gd name="connsiteX127" fmla="*/ 235609 w 1004418"/>
                <a:gd name="connsiteY127" fmla="*/ 416925 h 1748166"/>
                <a:gd name="connsiteX128" fmla="*/ 762448 w 1004418"/>
                <a:gd name="connsiteY128" fmla="*/ 255160 h 1748166"/>
                <a:gd name="connsiteX129" fmla="*/ 762448 w 1004418"/>
                <a:gd name="connsiteY129" fmla="*/ 366215 h 1748166"/>
                <a:gd name="connsiteX130" fmla="*/ 942296 w 1004418"/>
                <a:gd name="connsiteY130" fmla="*/ 366215 h 1748166"/>
                <a:gd name="connsiteX131" fmla="*/ 942296 w 1004418"/>
                <a:gd name="connsiteY131" fmla="*/ 255160 h 1748166"/>
                <a:gd name="connsiteX132" fmla="*/ 526885 w 1004418"/>
                <a:gd name="connsiteY132" fmla="*/ 255160 h 1748166"/>
                <a:gd name="connsiteX133" fmla="*/ 526885 w 1004418"/>
                <a:gd name="connsiteY133" fmla="*/ 366215 h 1748166"/>
                <a:gd name="connsiteX134" fmla="*/ 706733 w 1004418"/>
                <a:gd name="connsiteY134" fmla="*/ 366215 h 1748166"/>
                <a:gd name="connsiteX135" fmla="*/ 706733 w 1004418"/>
                <a:gd name="connsiteY135" fmla="*/ 255160 h 1748166"/>
                <a:gd name="connsiteX136" fmla="*/ 291323 w 1004418"/>
                <a:gd name="connsiteY136" fmla="*/ 255160 h 1748166"/>
                <a:gd name="connsiteX137" fmla="*/ 291323 w 1004418"/>
                <a:gd name="connsiteY137" fmla="*/ 366215 h 1748166"/>
                <a:gd name="connsiteX138" fmla="*/ 471171 w 1004418"/>
                <a:gd name="connsiteY138" fmla="*/ 366215 h 1748166"/>
                <a:gd name="connsiteX139" fmla="*/ 471171 w 1004418"/>
                <a:gd name="connsiteY139" fmla="*/ 255160 h 1748166"/>
                <a:gd name="connsiteX140" fmla="*/ 55761 w 1004418"/>
                <a:gd name="connsiteY140" fmla="*/ 255160 h 1748166"/>
                <a:gd name="connsiteX141" fmla="*/ 55761 w 1004418"/>
                <a:gd name="connsiteY141" fmla="*/ 366215 h 1748166"/>
                <a:gd name="connsiteX142" fmla="*/ 235609 w 1004418"/>
                <a:gd name="connsiteY142" fmla="*/ 366215 h 1748166"/>
                <a:gd name="connsiteX143" fmla="*/ 235609 w 1004418"/>
                <a:gd name="connsiteY143" fmla="*/ 255160 h 1748166"/>
                <a:gd name="connsiteX144" fmla="*/ 762448 w 1004418"/>
                <a:gd name="connsiteY144" fmla="*/ 93395 h 1748166"/>
                <a:gd name="connsiteX145" fmla="*/ 762448 w 1004418"/>
                <a:gd name="connsiteY145" fmla="*/ 204450 h 1748166"/>
                <a:gd name="connsiteX146" fmla="*/ 942296 w 1004418"/>
                <a:gd name="connsiteY146" fmla="*/ 204450 h 1748166"/>
                <a:gd name="connsiteX147" fmla="*/ 942296 w 1004418"/>
                <a:gd name="connsiteY147" fmla="*/ 93395 h 1748166"/>
                <a:gd name="connsiteX148" fmla="*/ 526885 w 1004418"/>
                <a:gd name="connsiteY148" fmla="*/ 93395 h 1748166"/>
                <a:gd name="connsiteX149" fmla="*/ 526885 w 1004418"/>
                <a:gd name="connsiteY149" fmla="*/ 204450 h 1748166"/>
                <a:gd name="connsiteX150" fmla="*/ 706733 w 1004418"/>
                <a:gd name="connsiteY150" fmla="*/ 204450 h 1748166"/>
                <a:gd name="connsiteX151" fmla="*/ 706733 w 1004418"/>
                <a:gd name="connsiteY151" fmla="*/ 93395 h 1748166"/>
                <a:gd name="connsiteX152" fmla="*/ 291323 w 1004418"/>
                <a:gd name="connsiteY152" fmla="*/ 93395 h 1748166"/>
                <a:gd name="connsiteX153" fmla="*/ 291323 w 1004418"/>
                <a:gd name="connsiteY153" fmla="*/ 204450 h 1748166"/>
                <a:gd name="connsiteX154" fmla="*/ 471171 w 1004418"/>
                <a:gd name="connsiteY154" fmla="*/ 204450 h 1748166"/>
                <a:gd name="connsiteX155" fmla="*/ 471171 w 1004418"/>
                <a:gd name="connsiteY155" fmla="*/ 93395 h 1748166"/>
                <a:gd name="connsiteX156" fmla="*/ 55761 w 1004418"/>
                <a:gd name="connsiteY156" fmla="*/ 93395 h 1748166"/>
                <a:gd name="connsiteX157" fmla="*/ 55761 w 1004418"/>
                <a:gd name="connsiteY157" fmla="*/ 204450 h 1748166"/>
                <a:gd name="connsiteX158" fmla="*/ 235609 w 1004418"/>
                <a:gd name="connsiteY158" fmla="*/ 204450 h 1748166"/>
                <a:gd name="connsiteX159" fmla="*/ 235609 w 1004418"/>
                <a:gd name="connsiteY159" fmla="*/ 93395 h 1748166"/>
                <a:gd name="connsiteX160" fmla="*/ 0 w 1004418"/>
                <a:gd name="connsiteY160" fmla="*/ 0 h 1748166"/>
                <a:gd name="connsiteX161" fmla="*/ 1004418 w 1004418"/>
                <a:gd name="connsiteY161" fmla="*/ 0 h 1748166"/>
                <a:gd name="connsiteX162" fmla="*/ 1004418 w 1004418"/>
                <a:gd name="connsiteY162" fmla="*/ 1748166 h 1748166"/>
                <a:gd name="connsiteX163" fmla="*/ 0 w 1004418"/>
                <a:gd name="connsiteY163" fmla="*/ 1748166 h 174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004418" h="1748166">
                  <a:moveTo>
                    <a:pt x="762448" y="1549280"/>
                  </a:moveTo>
                  <a:lnTo>
                    <a:pt x="762448" y="1660335"/>
                  </a:lnTo>
                  <a:lnTo>
                    <a:pt x="942296" y="1660335"/>
                  </a:lnTo>
                  <a:lnTo>
                    <a:pt x="942296" y="1549280"/>
                  </a:lnTo>
                  <a:close/>
                  <a:moveTo>
                    <a:pt x="526885" y="1549280"/>
                  </a:moveTo>
                  <a:lnTo>
                    <a:pt x="526885" y="1660335"/>
                  </a:lnTo>
                  <a:lnTo>
                    <a:pt x="706733" y="1660335"/>
                  </a:lnTo>
                  <a:lnTo>
                    <a:pt x="706733" y="1549280"/>
                  </a:lnTo>
                  <a:close/>
                  <a:moveTo>
                    <a:pt x="291323" y="1549280"/>
                  </a:moveTo>
                  <a:lnTo>
                    <a:pt x="291323" y="1660335"/>
                  </a:lnTo>
                  <a:lnTo>
                    <a:pt x="471171" y="1660335"/>
                  </a:lnTo>
                  <a:lnTo>
                    <a:pt x="471171" y="1549280"/>
                  </a:lnTo>
                  <a:close/>
                  <a:moveTo>
                    <a:pt x="55761" y="1549280"/>
                  </a:moveTo>
                  <a:lnTo>
                    <a:pt x="55761" y="1660335"/>
                  </a:lnTo>
                  <a:lnTo>
                    <a:pt x="235609" y="1660335"/>
                  </a:lnTo>
                  <a:lnTo>
                    <a:pt x="235609" y="1549280"/>
                  </a:lnTo>
                  <a:close/>
                  <a:moveTo>
                    <a:pt x="762448" y="1387515"/>
                  </a:moveTo>
                  <a:lnTo>
                    <a:pt x="762448" y="1498570"/>
                  </a:lnTo>
                  <a:lnTo>
                    <a:pt x="942296" y="1498570"/>
                  </a:lnTo>
                  <a:lnTo>
                    <a:pt x="942296" y="1387515"/>
                  </a:lnTo>
                  <a:close/>
                  <a:moveTo>
                    <a:pt x="526885" y="1387515"/>
                  </a:moveTo>
                  <a:lnTo>
                    <a:pt x="526885" y="1498570"/>
                  </a:lnTo>
                  <a:lnTo>
                    <a:pt x="706733" y="1498570"/>
                  </a:lnTo>
                  <a:lnTo>
                    <a:pt x="706733" y="1387515"/>
                  </a:lnTo>
                  <a:close/>
                  <a:moveTo>
                    <a:pt x="291323" y="1387515"/>
                  </a:moveTo>
                  <a:lnTo>
                    <a:pt x="291323" y="1498570"/>
                  </a:lnTo>
                  <a:lnTo>
                    <a:pt x="471171" y="1498570"/>
                  </a:lnTo>
                  <a:lnTo>
                    <a:pt x="471171" y="1387515"/>
                  </a:lnTo>
                  <a:close/>
                  <a:moveTo>
                    <a:pt x="55761" y="1387515"/>
                  </a:moveTo>
                  <a:lnTo>
                    <a:pt x="55761" y="1498570"/>
                  </a:lnTo>
                  <a:lnTo>
                    <a:pt x="235609" y="1498570"/>
                  </a:lnTo>
                  <a:lnTo>
                    <a:pt x="235609" y="1387515"/>
                  </a:lnTo>
                  <a:close/>
                  <a:moveTo>
                    <a:pt x="762448" y="1225750"/>
                  </a:moveTo>
                  <a:lnTo>
                    <a:pt x="762448" y="1336805"/>
                  </a:lnTo>
                  <a:lnTo>
                    <a:pt x="942296" y="1336805"/>
                  </a:lnTo>
                  <a:lnTo>
                    <a:pt x="942296" y="1225750"/>
                  </a:lnTo>
                  <a:close/>
                  <a:moveTo>
                    <a:pt x="526885" y="1225750"/>
                  </a:moveTo>
                  <a:lnTo>
                    <a:pt x="526885" y="1336805"/>
                  </a:lnTo>
                  <a:lnTo>
                    <a:pt x="706733" y="1336805"/>
                  </a:lnTo>
                  <a:lnTo>
                    <a:pt x="706733" y="1225750"/>
                  </a:lnTo>
                  <a:close/>
                  <a:moveTo>
                    <a:pt x="291323" y="1225750"/>
                  </a:moveTo>
                  <a:lnTo>
                    <a:pt x="291323" y="1336805"/>
                  </a:lnTo>
                  <a:lnTo>
                    <a:pt x="471171" y="1336805"/>
                  </a:lnTo>
                  <a:lnTo>
                    <a:pt x="471171" y="1225750"/>
                  </a:lnTo>
                  <a:close/>
                  <a:moveTo>
                    <a:pt x="55761" y="1225750"/>
                  </a:moveTo>
                  <a:lnTo>
                    <a:pt x="55761" y="1336805"/>
                  </a:lnTo>
                  <a:lnTo>
                    <a:pt x="235609" y="1336805"/>
                  </a:lnTo>
                  <a:lnTo>
                    <a:pt x="235609" y="1225750"/>
                  </a:lnTo>
                  <a:close/>
                  <a:moveTo>
                    <a:pt x="762448" y="1063985"/>
                  </a:moveTo>
                  <a:lnTo>
                    <a:pt x="762448" y="1175040"/>
                  </a:lnTo>
                  <a:lnTo>
                    <a:pt x="942296" y="1175040"/>
                  </a:lnTo>
                  <a:lnTo>
                    <a:pt x="942296" y="1063985"/>
                  </a:lnTo>
                  <a:close/>
                  <a:moveTo>
                    <a:pt x="526885" y="1063985"/>
                  </a:moveTo>
                  <a:lnTo>
                    <a:pt x="526885" y="1175040"/>
                  </a:lnTo>
                  <a:lnTo>
                    <a:pt x="706733" y="1175040"/>
                  </a:lnTo>
                  <a:lnTo>
                    <a:pt x="706733" y="1063985"/>
                  </a:lnTo>
                  <a:close/>
                  <a:moveTo>
                    <a:pt x="291323" y="1063985"/>
                  </a:moveTo>
                  <a:lnTo>
                    <a:pt x="291323" y="1175040"/>
                  </a:lnTo>
                  <a:lnTo>
                    <a:pt x="471171" y="1175040"/>
                  </a:lnTo>
                  <a:lnTo>
                    <a:pt x="471171" y="1063985"/>
                  </a:lnTo>
                  <a:close/>
                  <a:moveTo>
                    <a:pt x="55761" y="1063985"/>
                  </a:moveTo>
                  <a:lnTo>
                    <a:pt x="55761" y="1175040"/>
                  </a:lnTo>
                  <a:lnTo>
                    <a:pt x="235609" y="1175040"/>
                  </a:lnTo>
                  <a:lnTo>
                    <a:pt x="235609" y="1063985"/>
                  </a:lnTo>
                  <a:close/>
                  <a:moveTo>
                    <a:pt x="762448" y="902220"/>
                  </a:moveTo>
                  <a:lnTo>
                    <a:pt x="762448" y="1013275"/>
                  </a:lnTo>
                  <a:lnTo>
                    <a:pt x="942296" y="1013275"/>
                  </a:lnTo>
                  <a:lnTo>
                    <a:pt x="942296" y="902220"/>
                  </a:lnTo>
                  <a:close/>
                  <a:moveTo>
                    <a:pt x="526885" y="902220"/>
                  </a:moveTo>
                  <a:lnTo>
                    <a:pt x="526885" y="1013275"/>
                  </a:lnTo>
                  <a:lnTo>
                    <a:pt x="706733" y="1013275"/>
                  </a:lnTo>
                  <a:lnTo>
                    <a:pt x="706733" y="902220"/>
                  </a:lnTo>
                  <a:close/>
                  <a:moveTo>
                    <a:pt x="291323" y="902220"/>
                  </a:moveTo>
                  <a:lnTo>
                    <a:pt x="291323" y="1013275"/>
                  </a:lnTo>
                  <a:lnTo>
                    <a:pt x="471171" y="1013275"/>
                  </a:lnTo>
                  <a:lnTo>
                    <a:pt x="471171" y="902220"/>
                  </a:lnTo>
                  <a:close/>
                  <a:moveTo>
                    <a:pt x="55761" y="902220"/>
                  </a:moveTo>
                  <a:lnTo>
                    <a:pt x="55761" y="1013275"/>
                  </a:lnTo>
                  <a:lnTo>
                    <a:pt x="235609" y="1013275"/>
                  </a:lnTo>
                  <a:lnTo>
                    <a:pt x="235609" y="902220"/>
                  </a:lnTo>
                  <a:close/>
                  <a:moveTo>
                    <a:pt x="762448" y="740455"/>
                  </a:moveTo>
                  <a:lnTo>
                    <a:pt x="762448" y="851510"/>
                  </a:lnTo>
                  <a:lnTo>
                    <a:pt x="942296" y="851510"/>
                  </a:lnTo>
                  <a:lnTo>
                    <a:pt x="942296" y="740455"/>
                  </a:lnTo>
                  <a:close/>
                  <a:moveTo>
                    <a:pt x="526885" y="740455"/>
                  </a:moveTo>
                  <a:lnTo>
                    <a:pt x="526885" y="851510"/>
                  </a:lnTo>
                  <a:lnTo>
                    <a:pt x="706733" y="851510"/>
                  </a:lnTo>
                  <a:lnTo>
                    <a:pt x="706733" y="740455"/>
                  </a:lnTo>
                  <a:close/>
                  <a:moveTo>
                    <a:pt x="291323" y="740455"/>
                  </a:moveTo>
                  <a:lnTo>
                    <a:pt x="291323" y="851510"/>
                  </a:lnTo>
                  <a:lnTo>
                    <a:pt x="471171" y="851510"/>
                  </a:lnTo>
                  <a:lnTo>
                    <a:pt x="471171" y="740455"/>
                  </a:lnTo>
                  <a:close/>
                  <a:moveTo>
                    <a:pt x="55761" y="740455"/>
                  </a:moveTo>
                  <a:lnTo>
                    <a:pt x="55761" y="851510"/>
                  </a:lnTo>
                  <a:lnTo>
                    <a:pt x="235609" y="851510"/>
                  </a:lnTo>
                  <a:lnTo>
                    <a:pt x="235609" y="740455"/>
                  </a:lnTo>
                  <a:close/>
                  <a:moveTo>
                    <a:pt x="762448" y="578690"/>
                  </a:moveTo>
                  <a:lnTo>
                    <a:pt x="762448" y="689745"/>
                  </a:lnTo>
                  <a:lnTo>
                    <a:pt x="942296" y="689745"/>
                  </a:lnTo>
                  <a:lnTo>
                    <a:pt x="942296" y="578690"/>
                  </a:lnTo>
                  <a:close/>
                  <a:moveTo>
                    <a:pt x="526885" y="578690"/>
                  </a:moveTo>
                  <a:lnTo>
                    <a:pt x="526885" y="689745"/>
                  </a:lnTo>
                  <a:lnTo>
                    <a:pt x="706733" y="689745"/>
                  </a:lnTo>
                  <a:lnTo>
                    <a:pt x="706733" y="578690"/>
                  </a:lnTo>
                  <a:close/>
                  <a:moveTo>
                    <a:pt x="291323" y="578690"/>
                  </a:moveTo>
                  <a:lnTo>
                    <a:pt x="291323" y="689745"/>
                  </a:lnTo>
                  <a:lnTo>
                    <a:pt x="471171" y="689745"/>
                  </a:lnTo>
                  <a:lnTo>
                    <a:pt x="471171" y="578690"/>
                  </a:lnTo>
                  <a:close/>
                  <a:moveTo>
                    <a:pt x="55761" y="578690"/>
                  </a:moveTo>
                  <a:lnTo>
                    <a:pt x="55761" y="689745"/>
                  </a:lnTo>
                  <a:lnTo>
                    <a:pt x="235609" y="689745"/>
                  </a:lnTo>
                  <a:lnTo>
                    <a:pt x="235609" y="578690"/>
                  </a:lnTo>
                  <a:close/>
                  <a:moveTo>
                    <a:pt x="762448" y="416925"/>
                  </a:moveTo>
                  <a:lnTo>
                    <a:pt x="762448" y="527980"/>
                  </a:lnTo>
                  <a:lnTo>
                    <a:pt x="942296" y="527980"/>
                  </a:lnTo>
                  <a:lnTo>
                    <a:pt x="942296" y="416925"/>
                  </a:lnTo>
                  <a:close/>
                  <a:moveTo>
                    <a:pt x="526885" y="416925"/>
                  </a:moveTo>
                  <a:lnTo>
                    <a:pt x="526885" y="527980"/>
                  </a:lnTo>
                  <a:lnTo>
                    <a:pt x="706733" y="527980"/>
                  </a:lnTo>
                  <a:lnTo>
                    <a:pt x="706733" y="416925"/>
                  </a:lnTo>
                  <a:close/>
                  <a:moveTo>
                    <a:pt x="291323" y="416925"/>
                  </a:moveTo>
                  <a:lnTo>
                    <a:pt x="291323" y="527980"/>
                  </a:lnTo>
                  <a:lnTo>
                    <a:pt x="471171" y="527980"/>
                  </a:lnTo>
                  <a:lnTo>
                    <a:pt x="471171" y="416925"/>
                  </a:lnTo>
                  <a:close/>
                  <a:moveTo>
                    <a:pt x="55761" y="416925"/>
                  </a:moveTo>
                  <a:lnTo>
                    <a:pt x="55761" y="527980"/>
                  </a:lnTo>
                  <a:lnTo>
                    <a:pt x="235609" y="527980"/>
                  </a:lnTo>
                  <a:lnTo>
                    <a:pt x="235609" y="416925"/>
                  </a:lnTo>
                  <a:close/>
                  <a:moveTo>
                    <a:pt x="762448" y="255160"/>
                  </a:moveTo>
                  <a:lnTo>
                    <a:pt x="762448" y="366215"/>
                  </a:lnTo>
                  <a:lnTo>
                    <a:pt x="942296" y="366215"/>
                  </a:lnTo>
                  <a:lnTo>
                    <a:pt x="942296" y="255160"/>
                  </a:lnTo>
                  <a:close/>
                  <a:moveTo>
                    <a:pt x="526885" y="255160"/>
                  </a:moveTo>
                  <a:lnTo>
                    <a:pt x="526885" y="366215"/>
                  </a:lnTo>
                  <a:lnTo>
                    <a:pt x="706733" y="366215"/>
                  </a:lnTo>
                  <a:lnTo>
                    <a:pt x="706733" y="255160"/>
                  </a:lnTo>
                  <a:close/>
                  <a:moveTo>
                    <a:pt x="291323" y="255160"/>
                  </a:moveTo>
                  <a:lnTo>
                    <a:pt x="291323" y="366215"/>
                  </a:lnTo>
                  <a:lnTo>
                    <a:pt x="471171" y="366215"/>
                  </a:lnTo>
                  <a:lnTo>
                    <a:pt x="471171" y="255160"/>
                  </a:lnTo>
                  <a:close/>
                  <a:moveTo>
                    <a:pt x="55761" y="255160"/>
                  </a:moveTo>
                  <a:lnTo>
                    <a:pt x="55761" y="366215"/>
                  </a:lnTo>
                  <a:lnTo>
                    <a:pt x="235609" y="366215"/>
                  </a:lnTo>
                  <a:lnTo>
                    <a:pt x="235609" y="255160"/>
                  </a:lnTo>
                  <a:close/>
                  <a:moveTo>
                    <a:pt x="762448" y="93395"/>
                  </a:moveTo>
                  <a:lnTo>
                    <a:pt x="762448" y="204450"/>
                  </a:lnTo>
                  <a:lnTo>
                    <a:pt x="942296" y="204450"/>
                  </a:lnTo>
                  <a:lnTo>
                    <a:pt x="942296" y="93395"/>
                  </a:lnTo>
                  <a:close/>
                  <a:moveTo>
                    <a:pt x="526885" y="93395"/>
                  </a:moveTo>
                  <a:lnTo>
                    <a:pt x="526885" y="204450"/>
                  </a:lnTo>
                  <a:lnTo>
                    <a:pt x="706733" y="204450"/>
                  </a:lnTo>
                  <a:lnTo>
                    <a:pt x="706733" y="93395"/>
                  </a:lnTo>
                  <a:close/>
                  <a:moveTo>
                    <a:pt x="291323" y="93395"/>
                  </a:moveTo>
                  <a:lnTo>
                    <a:pt x="291323" y="204450"/>
                  </a:lnTo>
                  <a:lnTo>
                    <a:pt x="471171" y="204450"/>
                  </a:lnTo>
                  <a:lnTo>
                    <a:pt x="471171" y="93395"/>
                  </a:lnTo>
                  <a:close/>
                  <a:moveTo>
                    <a:pt x="55761" y="93395"/>
                  </a:moveTo>
                  <a:lnTo>
                    <a:pt x="55761" y="204450"/>
                  </a:lnTo>
                  <a:lnTo>
                    <a:pt x="235609" y="204450"/>
                  </a:lnTo>
                  <a:lnTo>
                    <a:pt x="235609" y="93395"/>
                  </a:lnTo>
                  <a:close/>
                  <a:moveTo>
                    <a:pt x="0" y="0"/>
                  </a:moveTo>
                  <a:lnTo>
                    <a:pt x="1004418" y="0"/>
                  </a:lnTo>
                  <a:lnTo>
                    <a:pt x="1004418" y="1748166"/>
                  </a:lnTo>
                  <a:lnTo>
                    <a:pt x="0" y="17481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204" name="Freeform 203"/>
            <p:cNvSpPr/>
            <p:nvPr/>
          </p:nvSpPr>
          <p:spPr>
            <a:xfrm>
              <a:off x="1664036" y="4253206"/>
              <a:ext cx="417678" cy="1360203"/>
            </a:xfrm>
            <a:custGeom>
              <a:avLst/>
              <a:gdLst>
                <a:gd name="connsiteX0" fmla="*/ 396674 w 522562"/>
                <a:gd name="connsiteY0" fmla="*/ 1580850 h 1701769"/>
                <a:gd name="connsiteX1" fmla="*/ 396674 w 522562"/>
                <a:gd name="connsiteY1" fmla="*/ 1648369 h 1701769"/>
                <a:gd name="connsiteX2" fmla="*/ 490242 w 522562"/>
                <a:gd name="connsiteY2" fmla="*/ 1648369 h 1701769"/>
                <a:gd name="connsiteX3" fmla="*/ 490242 w 522562"/>
                <a:gd name="connsiteY3" fmla="*/ 1580850 h 1701769"/>
                <a:gd name="connsiteX4" fmla="*/ 274119 w 522562"/>
                <a:gd name="connsiteY4" fmla="*/ 1580850 h 1701769"/>
                <a:gd name="connsiteX5" fmla="*/ 274119 w 522562"/>
                <a:gd name="connsiteY5" fmla="*/ 1648369 h 1701769"/>
                <a:gd name="connsiteX6" fmla="*/ 367687 w 522562"/>
                <a:gd name="connsiteY6" fmla="*/ 1648369 h 1701769"/>
                <a:gd name="connsiteX7" fmla="*/ 367687 w 522562"/>
                <a:gd name="connsiteY7" fmla="*/ 1580850 h 1701769"/>
                <a:gd name="connsiteX8" fmla="*/ 151565 w 522562"/>
                <a:gd name="connsiteY8" fmla="*/ 1580850 h 1701769"/>
                <a:gd name="connsiteX9" fmla="*/ 151565 w 522562"/>
                <a:gd name="connsiteY9" fmla="*/ 1648369 h 1701769"/>
                <a:gd name="connsiteX10" fmla="*/ 245133 w 522562"/>
                <a:gd name="connsiteY10" fmla="*/ 1648369 h 1701769"/>
                <a:gd name="connsiteX11" fmla="*/ 245133 w 522562"/>
                <a:gd name="connsiteY11" fmla="*/ 1580850 h 1701769"/>
                <a:gd name="connsiteX12" fmla="*/ 29010 w 522562"/>
                <a:gd name="connsiteY12" fmla="*/ 1580850 h 1701769"/>
                <a:gd name="connsiteX13" fmla="*/ 29010 w 522562"/>
                <a:gd name="connsiteY13" fmla="*/ 1648369 h 1701769"/>
                <a:gd name="connsiteX14" fmla="*/ 122579 w 522562"/>
                <a:gd name="connsiteY14" fmla="*/ 1648369 h 1701769"/>
                <a:gd name="connsiteX15" fmla="*/ 122579 w 522562"/>
                <a:gd name="connsiteY15" fmla="*/ 1580850 h 1701769"/>
                <a:gd name="connsiteX16" fmla="*/ 396674 w 522562"/>
                <a:gd name="connsiteY16" fmla="*/ 1482500 h 1701769"/>
                <a:gd name="connsiteX17" fmla="*/ 396674 w 522562"/>
                <a:gd name="connsiteY17" fmla="*/ 1550019 h 1701769"/>
                <a:gd name="connsiteX18" fmla="*/ 490242 w 522562"/>
                <a:gd name="connsiteY18" fmla="*/ 1550019 h 1701769"/>
                <a:gd name="connsiteX19" fmla="*/ 490242 w 522562"/>
                <a:gd name="connsiteY19" fmla="*/ 1482500 h 1701769"/>
                <a:gd name="connsiteX20" fmla="*/ 274119 w 522562"/>
                <a:gd name="connsiteY20" fmla="*/ 1482500 h 1701769"/>
                <a:gd name="connsiteX21" fmla="*/ 274119 w 522562"/>
                <a:gd name="connsiteY21" fmla="*/ 1550019 h 1701769"/>
                <a:gd name="connsiteX22" fmla="*/ 367687 w 522562"/>
                <a:gd name="connsiteY22" fmla="*/ 1550019 h 1701769"/>
                <a:gd name="connsiteX23" fmla="*/ 367687 w 522562"/>
                <a:gd name="connsiteY23" fmla="*/ 1482500 h 1701769"/>
                <a:gd name="connsiteX24" fmla="*/ 151565 w 522562"/>
                <a:gd name="connsiteY24" fmla="*/ 1482500 h 1701769"/>
                <a:gd name="connsiteX25" fmla="*/ 151565 w 522562"/>
                <a:gd name="connsiteY25" fmla="*/ 1550019 h 1701769"/>
                <a:gd name="connsiteX26" fmla="*/ 245133 w 522562"/>
                <a:gd name="connsiteY26" fmla="*/ 1550019 h 1701769"/>
                <a:gd name="connsiteX27" fmla="*/ 245133 w 522562"/>
                <a:gd name="connsiteY27" fmla="*/ 1482500 h 1701769"/>
                <a:gd name="connsiteX28" fmla="*/ 29010 w 522562"/>
                <a:gd name="connsiteY28" fmla="*/ 1482500 h 1701769"/>
                <a:gd name="connsiteX29" fmla="*/ 29010 w 522562"/>
                <a:gd name="connsiteY29" fmla="*/ 1550019 h 1701769"/>
                <a:gd name="connsiteX30" fmla="*/ 122579 w 522562"/>
                <a:gd name="connsiteY30" fmla="*/ 1550019 h 1701769"/>
                <a:gd name="connsiteX31" fmla="*/ 122579 w 522562"/>
                <a:gd name="connsiteY31" fmla="*/ 1482500 h 1701769"/>
                <a:gd name="connsiteX32" fmla="*/ 396674 w 522562"/>
                <a:gd name="connsiteY32" fmla="*/ 1384149 h 1701769"/>
                <a:gd name="connsiteX33" fmla="*/ 396674 w 522562"/>
                <a:gd name="connsiteY33" fmla="*/ 1451669 h 1701769"/>
                <a:gd name="connsiteX34" fmla="*/ 490242 w 522562"/>
                <a:gd name="connsiteY34" fmla="*/ 1451669 h 1701769"/>
                <a:gd name="connsiteX35" fmla="*/ 490242 w 522562"/>
                <a:gd name="connsiteY35" fmla="*/ 1384149 h 1701769"/>
                <a:gd name="connsiteX36" fmla="*/ 274119 w 522562"/>
                <a:gd name="connsiteY36" fmla="*/ 1384149 h 1701769"/>
                <a:gd name="connsiteX37" fmla="*/ 274119 w 522562"/>
                <a:gd name="connsiteY37" fmla="*/ 1451669 h 1701769"/>
                <a:gd name="connsiteX38" fmla="*/ 367687 w 522562"/>
                <a:gd name="connsiteY38" fmla="*/ 1451669 h 1701769"/>
                <a:gd name="connsiteX39" fmla="*/ 367687 w 522562"/>
                <a:gd name="connsiteY39" fmla="*/ 1384149 h 1701769"/>
                <a:gd name="connsiteX40" fmla="*/ 151565 w 522562"/>
                <a:gd name="connsiteY40" fmla="*/ 1384149 h 1701769"/>
                <a:gd name="connsiteX41" fmla="*/ 151565 w 522562"/>
                <a:gd name="connsiteY41" fmla="*/ 1451669 h 1701769"/>
                <a:gd name="connsiteX42" fmla="*/ 245133 w 522562"/>
                <a:gd name="connsiteY42" fmla="*/ 1451669 h 1701769"/>
                <a:gd name="connsiteX43" fmla="*/ 245133 w 522562"/>
                <a:gd name="connsiteY43" fmla="*/ 1384149 h 1701769"/>
                <a:gd name="connsiteX44" fmla="*/ 29010 w 522562"/>
                <a:gd name="connsiteY44" fmla="*/ 1384149 h 1701769"/>
                <a:gd name="connsiteX45" fmla="*/ 29010 w 522562"/>
                <a:gd name="connsiteY45" fmla="*/ 1451669 h 1701769"/>
                <a:gd name="connsiteX46" fmla="*/ 122579 w 522562"/>
                <a:gd name="connsiteY46" fmla="*/ 1451669 h 1701769"/>
                <a:gd name="connsiteX47" fmla="*/ 122579 w 522562"/>
                <a:gd name="connsiteY47" fmla="*/ 1384149 h 1701769"/>
                <a:gd name="connsiteX48" fmla="*/ 396674 w 522562"/>
                <a:gd name="connsiteY48" fmla="*/ 1285799 h 1701769"/>
                <a:gd name="connsiteX49" fmla="*/ 396674 w 522562"/>
                <a:gd name="connsiteY49" fmla="*/ 1353318 h 1701769"/>
                <a:gd name="connsiteX50" fmla="*/ 490242 w 522562"/>
                <a:gd name="connsiteY50" fmla="*/ 1353318 h 1701769"/>
                <a:gd name="connsiteX51" fmla="*/ 490242 w 522562"/>
                <a:gd name="connsiteY51" fmla="*/ 1285799 h 1701769"/>
                <a:gd name="connsiteX52" fmla="*/ 274119 w 522562"/>
                <a:gd name="connsiteY52" fmla="*/ 1285799 h 1701769"/>
                <a:gd name="connsiteX53" fmla="*/ 274119 w 522562"/>
                <a:gd name="connsiteY53" fmla="*/ 1353318 h 1701769"/>
                <a:gd name="connsiteX54" fmla="*/ 367687 w 522562"/>
                <a:gd name="connsiteY54" fmla="*/ 1353318 h 1701769"/>
                <a:gd name="connsiteX55" fmla="*/ 367687 w 522562"/>
                <a:gd name="connsiteY55" fmla="*/ 1285799 h 1701769"/>
                <a:gd name="connsiteX56" fmla="*/ 151565 w 522562"/>
                <a:gd name="connsiteY56" fmla="*/ 1285799 h 1701769"/>
                <a:gd name="connsiteX57" fmla="*/ 151565 w 522562"/>
                <a:gd name="connsiteY57" fmla="*/ 1353318 h 1701769"/>
                <a:gd name="connsiteX58" fmla="*/ 245133 w 522562"/>
                <a:gd name="connsiteY58" fmla="*/ 1353318 h 1701769"/>
                <a:gd name="connsiteX59" fmla="*/ 245133 w 522562"/>
                <a:gd name="connsiteY59" fmla="*/ 1285799 h 1701769"/>
                <a:gd name="connsiteX60" fmla="*/ 29010 w 522562"/>
                <a:gd name="connsiteY60" fmla="*/ 1285799 h 1701769"/>
                <a:gd name="connsiteX61" fmla="*/ 29010 w 522562"/>
                <a:gd name="connsiteY61" fmla="*/ 1353318 h 1701769"/>
                <a:gd name="connsiteX62" fmla="*/ 122579 w 522562"/>
                <a:gd name="connsiteY62" fmla="*/ 1353318 h 1701769"/>
                <a:gd name="connsiteX63" fmla="*/ 122579 w 522562"/>
                <a:gd name="connsiteY63" fmla="*/ 1285799 h 1701769"/>
                <a:gd name="connsiteX64" fmla="*/ 396674 w 522562"/>
                <a:gd name="connsiteY64" fmla="*/ 1187448 h 1701769"/>
                <a:gd name="connsiteX65" fmla="*/ 396674 w 522562"/>
                <a:gd name="connsiteY65" fmla="*/ 1254968 h 1701769"/>
                <a:gd name="connsiteX66" fmla="*/ 490242 w 522562"/>
                <a:gd name="connsiteY66" fmla="*/ 1254968 h 1701769"/>
                <a:gd name="connsiteX67" fmla="*/ 490242 w 522562"/>
                <a:gd name="connsiteY67" fmla="*/ 1187448 h 1701769"/>
                <a:gd name="connsiteX68" fmla="*/ 274119 w 522562"/>
                <a:gd name="connsiteY68" fmla="*/ 1187448 h 1701769"/>
                <a:gd name="connsiteX69" fmla="*/ 274119 w 522562"/>
                <a:gd name="connsiteY69" fmla="*/ 1254968 h 1701769"/>
                <a:gd name="connsiteX70" fmla="*/ 367687 w 522562"/>
                <a:gd name="connsiteY70" fmla="*/ 1254968 h 1701769"/>
                <a:gd name="connsiteX71" fmla="*/ 367687 w 522562"/>
                <a:gd name="connsiteY71" fmla="*/ 1187448 h 1701769"/>
                <a:gd name="connsiteX72" fmla="*/ 151565 w 522562"/>
                <a:gd name="connsiteY72" fmla="*/ 1187448 h 1701769"/>
                <a:gd name="connsiteX73" fmla="*/ 151565 w 522562"/>
                <a:gd name="connsiteY73" fmla="*/ 1254968 h 1701769"/>
                <a:gd name="connsiteX74" fmla="*/ 245133 w 522562"/>
                <a:gd name="connsiteY74" fmla="*/ 1254968 h 1701769"/>
                <a:gd name="connsiteX75" fmla="*/ 245133 w 522562"/>
                <a:gd name="connsiteY75" fmla="*/ 1187448 h 1701769"/>
                <a:gd name="connsiteX76" fmla="*/ 29010 w 522562"/>
                <a:gd name="connsiteY76" fmla="*/ 1187448 h 1701769"/>
                <a:gd name="connsiteX77" fmla="*/ 29010 w 522562"/>
                <a:gd name="connsiteY77" fmla="*/ 1254968 h 1701769"/>
                <a:gd name="connsiteX78" fmla="*/ 122579 w 522562"/>
                <a:gd name="connsiteY78" fmla="*/ 1254968 h 1701769"/>
                <a:gd name="connsiteX79" fmla="*/ 122579 w 522562"/>
                <a:gd name="connsiteY79" fmla="*/ 1187448 h 1701769"/>
                <a:gd name="connsiteX80" fmla="*/ 396674 w 522562"/>
                <a:gd name="connsiteY80" fmla="*/ 1089098 h 1701769"/>
                <a:gd name="connsiteX81" fmla="*/ 396674 w 522562"/>
                <a:gd name="connsiteY81" fmla="*/ 1156618 h 1701769"/>
                <a:gd name="connsiteX82" fmla="*/ 490242 w 522562"/>
                <a:gd name="connsiteY82" fmla="*/ 1156618 h 1701769"/>
                <a:gd name="connsiteX83" fmla="*/ 490242 w 522562"/>
                <a:gd name="connsiteY83" fmla="*/ 1089098 h 1701769"/>
                <a:gd name="connsiteX84" fmla="*/ 274119 w 522562"/>
                <a:gd name="connsiteY84" fmla="*/ 1089098 h 1701769"/>
                <a:gd name="connsiteX85" fmla="*/ 274119 w 522562"/>
                <a:gd name="connsiteY85" fmla="*/ 1156618 h 1701769"/>
                <a:gd name="connsiteX86" fmla="*/ 367687 w 522562"/>
                <a:gd name="connsiteY86" fmla="*/ 1156618 h 1701769"/>
                <a:gd name="connsiteX87" fmla="*/ 367687 w 522562"/>
                <a:gd name="connsiteY87" fmla="*/ 1089098 h 1701769"/>
                <a:gd name="connsiteX88" fmla="*/ 151565 w 522562"/>
                <a:gd name="connsiteY88" fmla="*/ 1089098 h 1701769"/>
                <a:gd name="connsiteX89" fmla="*/ 151565 w 522562"/>
                <a:gd name="connsiteY89" fmla="*/ 1156618 h 1701769"/>
                <a:gd name="connsiteX90" fmla="*/ 245133 w 522562"/>
                <a:gd name="connsiteY90" fmla="*/ 1156618 h 1701769"/>
                <a:gd name="connsiteX91" fmla="*/ 245133 w 522562"/>
                <a:gd name="connsiteY91" fmla="*/ 1089098 h 1701769"/>
                <a:gd name="connsiteX92" fmla="*/ 29010 w 522562"/>
                <a:gd name="connsiteY92" fmla="*/ 1089098 h 1701769"/>
                <a:gd name="connsiteX93" fmla="*/ 29010 w 522562"/>
                <a:gd name="connsiteY93" fmla="*/ 1156618 h 1701769"/>
                <a:gd name="connsiteX94" fmla="*/ 122579 w 522562"/>
                <a:gd name="connsiteY94" fmla="*/ 1156618 h 1701769"/>
                <a:gd name="connsiteX95" fmla="*/ 122579 w 522562"/>
                <a:gd name="connsiteY95" fmla="*/ 1089098 h 1701769"/>
                <a:gd name="connsiteX96" fmla="*/ 396674 w 522562"/>
                <a:gd name="connsiteY96" fmla="*/ 990748 h 1701769"/>
                <a:gd name="connsiteX97" fmla="*/ 396674 w 522562"/>
                <a:gd name="connsiteY97" fmla="*/ 1058267 h 1701769"/>
                <a:gd name="connsiteX98" fmla="*/ 490242 w 522562"/>
                <a:gd name="connsiteY98" fmla="*/ 1058267 h 1701769"/>
                <a:gd name="connsiteX99" fmla="*/ 490242 w 522562"/>
                <a:gd name="connsiteY99" fmla="*/ 990748 h 1701769"/>
                <a:gd name="connsiteX100" fmla="*/ 274119 w 522562"/>
                <a:gd name="connsiteY100" fmla="*/ 990748 h 1701769"/>
                <a:gd name="connsiteX101" fmla="*/ 274119 w 522562"/>
                <a:gd name="connsiteY101" fmla="*/ 1058267 h 1701769"/>
                <a:gd name="connsiteX102" fmla="*/ 367687 w 522562"/>
                <a:gd name="connsiteY102" fmla="*/ 1058267 h 1701769"/>
                <a:gd name="connsiteX103" fmla="*/ 367687 w 522562"/>
                <a:gd name="connsiteY103" fmla="*/ 990748 h 1701769"/>
                <a:gd name="connsiteX104" fmla="*/ 151565 w 522562"/>
                <a:gd name="connsiteY104" fmla="*/ 990748 h 1701769"/>
                <a:gd name="connsiteX105" fmla="*/ 151565 w 522562"/>
                <a:gd name="connsiteY105" fmla="*/ 1058267 h 1701769"/>
                <a:gd name="connsiteX106" fmla="*/ 245133 w 522562"/>
                <a:gd name="connsiteY106" fmla="*/ 1058267 h 1701769"/>
                <a:gd name="connsiteX107" fmla="*/ 245133 w 522562"/>
                <a:gd name="connsiteY107" fmla="*/ 990748 h 1701769"/>
                <a:gd name="connsiteX108" fmla="*/ 29010 w 522562"/>
                <a:gd name="connsiteY108" fmla="*/ 990748 h 1701769"/>
                <a:gd name="connsiteX109" fmla="*/ 29010 w 522562"/>
                <a:gd name="connsiteY109" fmla="*/ 1058267 h 1701769"/>
                <a:gd name="connsiteX110" fmla="*/ 122579 w 522562"/>
                <a:gd name="connsiteY110" fmla="*/ 1058267 h 1701769"/>
                <a:gd name="connsiteX111" fmla="*/ 122579 w 522562"/>
                <a:gd name="connsiteY111" fmla="*/ 990748 h 1701769"/>
                <a:gd name="connsiteX112" fmla="*/ 396674 w 522562"/>
                <a:gd name="connsiteY112" fmla="*/ 892397 h 1701769"/>
                <a:gd name="connsiteX113" fmla="*/ 396674 w 522562"/>
                <a:gd name="connsiteY113" fmla="*/ 959917 h 1701769"/>
                <a:gd name="connsiteX114" fmla="*/ 490242 w 522562"/>
                <a:gd name="connsiteY114" fmla="*/ 959917 h 1701769"/>
                <a:gd name="connsiteX115" fmla="*/ 490242 w 522562"/>
                <a:gd name="connsiteY115" fmla="*/ 892397 h 1701769"/>
                <a:gd name="connsiteX116" fmla="*/ 274119 w 522562"/>
                <a:gd name="connsiteY116" fmla="*/ 892397 h 1701769"/>
                <a:gd name="connsiteX117" fmla="*/ 274119 w 522562"/>
                <a:gd name="connsiteY117" fmla="*/ 959917 h 1701769"/>
                <a:gd name="connsiteX118" fmla="*/ 367687 w 522562"/>
                <a:gd name="connsiteY118" fmla="*/ 959917 h 1701769"/>
                <a:gd name="connsiteX119" fmla="*/ 367687 w 522562"/>
                <a:gd name="connsiteY119" fmla="*/ 892397 h 1701769"/>
                <a:gd name="connsiteX120" fmla="*/ 151565 w 522562"/>
                <a:gd name="connsiteY120" fmla="*/ 892397 h 1701769"/>
                <a:gd name="connsiteX121" fmla="*/ 151565 w 522562"/>
                <a:gd name="connsiteY121" fmla="*/ 959917 h 1701769"/>
                <a:gd name="connsiteX122" fmla="*/ 245133 w 522562"/>
                <a:gd name="connsiteY122" fmla="*/ 959917 h 1701769"/>
                <a:gd name="connsiteX123" fmla="*/ 245133 w 522562"/>
                <a:gd name="connsiteY123" fmla="*/ 892397 h 1701769"/>
                <a:gd name="connsiteX124" fmla="*/ 29010 w 522562"/>
                <a:gd name="connsiteY124" fmla="*/ 892397 h 1701769"/>
                <a:gd name="connsiteX125" fmla="*/ 29010 w 522562"/>
                <a:gd name="connsiteY125" fmla="*/ 959917 h 1701769"/>
                <a:gd name="connsiteX126" fmla="*/ 122579 w 522562"/>
                <a:gd name="connsiteY126" fmla="*/ 959917 h 1701769"/>
                <a:gd name="connsiteX127" fmla="*/ 122579 w 522562"/>
                <a:gd name="connsiteY127" fmla="*/ 892397 h 1701769"/>
                <a:gd name="connsiteX128" fmla="*/ 396674 w 522562"/>
                <a:gd name="connsiteY128" fmla="*/ 794047 h 1701769"/>
                <a:gd name="connsiteX129" fmla="*/ 396674 w 522562"/>
                <a:gd name="connsiteY129" fmla="*/ 861567 h 1701769"/>
                <a:gd name="connsiteX130" fmla="*/ 490242 w 522562"/>
                <a:gd name="connsiteY130" fmla="*/ 861567 h 1701769"/>
                <a:gd name="connsiteX131" fmla="*/ 490242 w 522562"/>
                <a:gd name="connsiteY131" fmla="*/ 794047 h 1701769"/>
                <a:gd name="connsiteX132" fmla="*/ 274119 w 522562"/>
                <a:gd name="connsiteY132" fmla="*/ 794047 h 1701769"/>
                <a:gd name="connsiteX133" fmla="*/ 274119 w 522562"/>
                <a:gd name="connsiteY133" fmla="*/ 861567 h 1701769"/>
                <a:gd name="connsiteX134" fmla="*/ 367687 w 522562"/>
                <a:gd name="connsiteY134" fmla="*/ 861567 h 1701769"/>
                <a:gd name="connsiteX135" fmla="*/ 367687 w 522562"/>
                <a:gd name="connsiteY135" fmla="*/ 794047 h 1701769"/>
                <a:gd name="connsiteX136" fmla="*/ 151565 w 522562"/>
                <a:gd name="connsiteY136" fmla="*/ 794047 h 1701769"/>
                <a:gd name="connsiteX137" fmla="*/ 151565 w 522562"/>
                <a:gd name="connsiteY137" fmla="*/ 861567 h 1701769"/>
                <a:gd name="connsiteX138" fmla="*/ 245133 w 522562"/>
                <a:gd name="connsiteY138" fmla="*/ 861567 h 1701769"/>
                <a:gd name="connsiteX139" fmla="*/ 245133 w 522562"/>
                <a:gd name="connsiteY139" fmla="*/ 794047 h 1701769"/>
                <a:gd name="connsiteX140" fmla="*/ 29010 w 522562"/>
                <a:gd name="connsiteY140" fmla="*/ 794047 h 1701769"/>
                <a:gd name="connsiteX141" fmla="*/ 29010 w 522562"/>
                <a:gd name="connsiteY141" fmla="*/ 861567 h 1701769"/>
                <a:gd name="connsiteX142" fmla="*/ 122579 w 522562"/>
                <a:gd name="connsiteY142" fmla="*/ 861567 h 1701769"/>
                <a:gd name="connsiteX143" fmla="*/ 122579 w 522562"/>
                <a:gd name="connsiteY143" fmla="*/ 794047 h 1701769"/>
                <a:gd name="connsiteX144" fmla="*/ 396674 w 522562"/>
                <a:gd name="connsiteY144" fmla="*/ 695697 h 1701769"/>
                <a:gd name="connsiteX145" fmla="*/ 396674 w 522562"/>
                <a:gd name="connsiteY145" fmla="*/ 763216 h 1701769"/>
                <a:gd name="connsiteX146" fmla="*/ 490242 w 522562"/>
                <a:gd name="connsiteY146" fmla="*/ 763216 h 1701769"/>
                <a:gd name="connsiteX147" fmla="*/ 490242 w 522562"/>
                <a:gd name="connsiteY147" fmla="*/ 695697 h 1701769"/>
                <a:gd name="connsiteX148" fmla="*/ 274119 w 522562"/>
                <a:gd name="connsiteY148" fmla="*/ 695697 h 1701769"/>
                <a:gd name="connsiteX149" fmla="*/ 274119 w 522562"/>
                <a:gd name="connsiteY149" fmla="*/ 763216 h 1701769"/>
                <a:gd name="connsiteX150" fmla="*/ 367687 w 522562"/>
                <a:gd name="connsiteY150" fmla="*/ 763216 h 1701769"/>
                <a:gd name="connsiteX151" fmla="*/ 367687 w 522562"/>
                <a:gd name="connsiteY151" fmla="*/ 695697 h 1701769"/>
                <a:gd name="connsiteX152" fmla="*/ 151565 w 522562"/>
                <a:gd name="connsiteY152" fmla="*/ 695697 h 1701769"/>
                <a:gd name="connsiteX153" fmla="*/ 151565 w 522562"/>
                <a:gd name="connsiteY153" fmla="*/ 763216 h 1701769"/>
                <a:gd name="connsiteX154" fmla="*/ 245133 w 522562"/>
                <a:gd name="connsiteY154" fmla="*/ 763216 h 1701769"/>
                <a:gd name="connsiteX155" fmla="*/ 245133 w 522562"/>
                <a:gd name="connsiteY155" fmla="*/ 695697 h 1701769"/>
                <a:gd name="connsiteX156" fmla="*/ 29010 w 522562"/>
                <a:gd name="connsiteY156" fmla="*/ 695697 h 1701769"/>
                <a:gd name="connsiteX157" fmla="*/ 29010 w 522562"/>
                <a:gd name="connsiteY157" fmla="*/ 763216 h 1701769"/>
                <a:gd name="connsiteX158" fmla="*/ 122579 w 522562"/>
                <a:gd name="connsiteY158" fmla="*/ 763216 h 1701769"/>
                <a:gd name="connsiteX159" fmla="*/ 122579 w 522562"/>
                <a:gd name="connsiteY159" fmla="*/ 695697 h 1701769"/>
                <a:gd name="connsiteX160" fmla="*/ 0 w 522562"/>
                <a:gd name="connsiteY160" fmla="*/ 638914 h 1701769"/>
                <a:gd name="connsiteX161" fmla="*/ 522562 w 522562"/>
                <a:gd name="connsiteY161" fmla="*/ 638914 h 1701769"/>
                <a:gd name="connsiteX162" fmla="*/ 522562 w 522562"/>
                <a:gd name="connsiteY162" fmla="*/ 1701769 h 1701769"/>
                <a:gd name="connsiteX163" fmla="*/ 0 w 522562"/>
                <a:gd name="connsiteY163" fmla="*/ 1701769 h 1701769"/>
                <a:gd name="connsiteX164" fmla="*/ 236999 w 522562"/>
                <a:gd name="connsiteY164" fmla="*/ 0 h 1701769"/>
                <a:gd name="connsiteX165" fmla="*/ 285564 w 522562"/>
                <a:gd name="connsiteY165" fmla="*/ 0 h 1701769"/>
                <a:gd name="connsiteX166" fmla="*/ 309847 w 522562"/>
                <a:gd name="connsiteY166" fmla="*/ 633349 h 1701769"/>
                <a:gd name="connsiteX167" fmla="*/ 212716 w 522562"/>
                <a:gd name="connsiteY167" fmla="*/ 633349 h 170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522562" h="1701769">
                  <a:moveTo>
                    <a:pt x="396674" y="1580850"/>
                  </a:moveTo>
                  <a:lnTo>
                    <a:pt x="396674" y="1648369"/>
                  </a:lnTo>
                  <a:lnTo>
                    <a:pt x="490242" y="1648369"/>
                  </a:lnTo>
                  <a:lnTo>
                    <a:pt x="490242" y="1580850"/>
                  </a:lnTo>
                  <a:close/>
                  <a:moveTo>
                    <a:pt x="274119" y="1580850"/>
                  </a:moveTo>
                  <a:lnTo>
                    <a:pt x="274119" y="1648369"/>
                  </a:lnTo>
                  <a:lnTo>
                    <a:pt x="367687" y="1648369"/>
                  </a:lnTo>
                  <a:lnTo>
                    <a:pt x="367687" y="1580850"/>
                  </a:lnTo>
                  <a:close/>
                  <a:moveTo>
                    <a:pt x="151565" y="1580850"/>
                  </a:moveTo>
                  <a:lnTo>
                    <a:pt x="151565" y="1648369"/>
                  </a:lnTo>
                  <a:lnTo>
                    <a:pt x="245133" y="1648369"/>
                  </a:lnTo>
                  <a:lnTo>
                    <a:pt x="245133" y="1580850"/>
                  </a:lnTo>
                  <a:close/>
                  <a:moveTo>
                    <a:pt x="29010" y="1580850"/>
                  </a:moveTo>
                  <a:lnTo>
                    <a:pt x="29010" y="1648369"/>
                  </a:lnTo>
                  <a:lnTo>
                    <a:pt x="122579" y="1648369"/>
                  </a:lnTo>
                  <a:lnTo>
                    <a:pt x="122579" y="1580850"/>
                  </a:lnTo>
                  <a:close/>
                  <a:moveTo>
                    <a:pt x="396674" y="1482500"/>
                  </a:moveTo>
                  <a:lnTo>
                    <a:pt x="396674" y="1550019"/>
                  </a:lnTo>
                  <a:lnTo>
                    <a:pt x="490242" y="1550019"/>
                  </a:lnTo>
                  <a:lnTo>
                    <a:pt x="490242" y="1482500"/>
                  </a:lnTo>
                  <a:close/>
                  <a:moveTo>
                    <a:pt x="274119" y="1482500"/>
                  </a:moveTo>
                  <a:lnTo>
                    <a:pt x="274119" y="1550019"/>
                  </a:lnTo>
                  <a:lnTo>
                    <a:pt x="367687" y="1550019"/>
                  </a:lnTo>
                  <a:lnTo>
                    <a:pt x="367687" y="1482500"/>
                  </a:lnTo>
                  <a:close/>
                  <a:moveTo>
                    <a:pt x="151565" y="1482500"/>
                  </a:moveTo>
                  <a:lnTo>
                    <a:pt x="151565" y="1550019"/>
                  </a:lnTo>
                  <a:lnTo>
                    <a:pt x="245133" y="1550019"/>
                  </a:lnTo>
                  <a:lnTo>
                    <a:pt x="245133" y="1482500"/>
                  </a:lnTo>
                  <a:close/>
                  <a:moveTo>
                    <a:pt x="29010" y="1482500"/>
                  </a:moveTo>
                  <a:lnTo>
                    <a:pt x="29010" y="1550019"/>
                  </a:lnTo>
                  <a:lnTo>
                    <a:pt x="122579" y="1550019"/>
                  </a:lnTo>
                  <a:lnTo>
                    <a:pt x="122579" y="1482500"/>
                  </a:lnTo>
                  <a:close/>
                  <a:moveTo>
                    <a:pt x="396674" y="1384149"/>
                  </a:moveTo>
                  <a:lnTo>
                    <a:pt x="396674" y="1451669"/>
                  </a:lnTo>
                  <a:lnTo>
                    <a:pt x="490242" y="1451669"/>
                  </a:lnTo>
                  <a:lnTo>
                    <a:pt x="490242" y="1384149"/>
                  </a:lnTo>
                  <a:close/>
                  <a:moveTo>
                    <a:pt x="274119" y="1384149"/>
                  </a:moveTo>
                  <a:lnTo>
                    <a:pt x="274119" y="1451669"/>
                  </a:lnTo>
                  <a:lnTo>
                    <a:pt x="367687" y="1451669"/>
                  </a:lnTo>
                  <a:lnTo>
                    <a:pt x="367687" y="1384149"/>
                  </a:lnTo>
                  <a:close/>
                  <a:moveTo>
                    <a:pt x="151565" y="1384149"/>
                  </a:moveTo>
                  <a:lnTo>
                    <a:pt x="151565" y="1451669"/>
                  </a:lnTo>
                  <a:lnTo>
                    <a:pt x="245133" y="1451669"/>
                  </a:lnTo>
                  <a:lnTo>
                    <a:pt x="245133" y="1384149"/>
                  </a:lnTo>
                  <a:close/>
                  <a:moveTo>
                    <a:pt x="29010" y="1384149"/>
                  </a:moveTo>
                  <a:lnTo>
                    <a:pt x="29010" y="1451669"/>
                  </a:lnTo>
                  <a:lnTo>
                    <a:pt x="122579" y="1451669"/>
                  </a:lnTo>
                  <a:lnTo>
                    <a:pt x="122579" y="1384149"/>
                  </a:lnTo>
                  <a:close/>
                  <a:moveTo>
                    <a:pt x="396674" y="1285799"/>
                  </a:moveTo>
                  <a:lnTo>
                    <a:pt x="396674" y="1353318"/>
                  </a:lnTo>
                  <a:lnTo>
                    <a:pt x="490242" y="1353318"/>
                  </a:lnTo>
                  <a:lnTo>
                    <a:pt x="490242" y="1285799"/>
                  </a:lnTo>
                  <a:close/>
                  <a:moveTo>
                    <a:pt x="274119" y="1285799"/>
                  </a:moveTo>
                  <a:lnTo>
                    <a:pt x="274119" y="1353318"/>
                  </a:lnTo>
                  <a:lnTo>
                    <a:pt x="367687" y="1353318"/>
                  </a:lnTo>
                  <a:lnTo>
                    <a:pt x="367687" y="1285799"/>
                  </a:lnTo>
                  <a:close/>
                  <a:moveTo>
                    <a:pt x="151565" y="1285799"/>
                  </a:moveTo>
                  <a:lnTo>
                    <a:pt x="151565" y="1353318"/>
                  </a:lnTo>
                  <a:lnTo>
                    <a:pt x="245133" y="1353318"/>
                  </a:lnTo>
                  <a:lnTo>
                    <a:pt x="245133" y="1285799"/>
                  </a:lnTo>
                  <a:close/>
                  <a:moveTo>
                    <a:pt x="29010" y="1285799"/>
                  </a:moveTo>
                  <a:lnTo>
                    <a:pt x="29010" y="1353318"/>
                  </a:lnTo>
                  <a:lnTo>
                    <a:pt x="122579" y="1353318"/>
                  </a:lnTo>
                  <a:lnTo>
                    <a:pt x="122579" y="1285799"/>
                  </a:lnTo>
                  <a:close/>
                  <a:moveTo>
                    <a:pt x="396674" y="1187448"/>
                  </a:moveTo>
                  <a:lnTo>
                    <a:pt x="396674" y="1254968"/>
                  </a:lnTo>
                  <a:lnTo>
                    <a:pt x="490242" y="1254968"/>
                  </a:lnTo>
                  <a:lnTo>
                    <a:pt x="490242" y="1187448"/>
                  </a:lnTo>
                  <a:close/>
                  <a:moveTo>
                    <a:pt x="274119" y="1187448"/>
                  </a:moveTo>
                  <a:lnTo>
                    <a:pt x="274119" y="1254968"/>
                  </a:lnTo>
                  <a:lnTo>
                    <a:pt x="367687" y="1254968"/>
                  </a:lnTo>
                  <a:lnTo>
                    <a:pt x="367687" y="1187448"/>
                  </a:lnTo>
                  <a:close/>
                  <a:moveTo>
                    <a:pt x="151565" y="1187448"/>
                  </a:moveTo>
                  <a:lnTo>
                    <a:pt x="151565" y="1254968"/>
                  </a:lnTo>
                  <a:lnTo>
                    <a:pt x="245133" y="1254968"/>
                  </a:lnTo>
                  <a:lnTo>
                    <a:pt x="245133" y="1187448"/>
                  </a:lnTo>
                  <a:close/>
                  <a:moveTo>
                    <a:pt x="29010" y="1187448"/>
                  </a:moveTo>
                  <a:lnTo>
                    <a:pt x="29010" y="1254968"/>
                  </a:lnTo>
                  <a:lnTo>
                    <a:pt x="122579" y="1254968"/>
                  </a:lnTo>
                  <a:lnTo>
                    <a:pt x="122579" y="1187448"/>
                  </a:lnTo>
                  <a:close/>
                  <a:moveTo>
                    <a:pt x="396674" y="1089098"/>
                  </a:moveTo>
                  <a:lnTo>
                    <a:pt x="396674" y="1156618"/>
                  </a:lnTo>
                  <a:lnTo>
                    <a:pt x="490242" y="1156618"/>
                  </a:lnTo>
                  <a:lnTo>
                    <a:pt x="490242" y="1089098"/>
                  </a:lnTo>
                  <a:close/>
                  <a:moveTo>
                    <a:pt x="274119" y="1089098"/>
                  </a:moveTo>
                  <a:lnTo>
                    <a:pt x="274119" y="1156618"/>
                  </a:lnTo>
                  <a:lnTo>
                    <a:pt x="367687" y="1156618"/>
                  </a:lnTo>
                  <a:lnTo>
                    <a:pt x="367687" y="1089098"/>
                  </a:lnTo>
                  <a:close/>
                  <a:moveTo>
                    <a:pt x="151565" y="1089098"/>
                  </a:moveTo>
                  <a:lnTo>
                    <a:pt x="151565" y="1156618"/>
                  </a:lnTo>
                  <a:lnTo>
                    <a:pt x="245133" y="1156618"/>
                  </a:lnTo>
                  <a:lnTo>
                    <a:pt x="245133" y="1089098"/>
                  </a:lnTo>
                  <a:close/>
                  <a:moveTo>
                    <a:pt x="29010" y="1089098"/>
                  </a:moveTo>
                  <a:lnTo>
                    <a:pt x="29010" y="1156618"/>
                  </a:lnTo>
                  <a:lnTo>
                    <a:pt x="122579" y="1156618"/>
                  </a:lnTo>
                  <a:lnTo>
                    <a:pt x="122579" y="1089098"/>
                  </a:lnTo>
                  <a:close/>
                  <a:moveTo>
                    <a:pt x="396674" y="990748"/>
                  </a:moveTo>
                  <a:lnTo>
                    <a:pt x="396674" y="1058267"/>
                  </a:lnTo>
                  <a:lnTo>
                    <a:pt x="490242" y="1058267"/>
                  </a:lnTo>
                  <a:lnTo>
                    <a:pt x="490242" y="990748"/>
                  </a:lnTo>
                  <a:close/>
                  <a:moveTo>
                    <a:pt x="274119" y="990748"/>
                  </a:moveTo>
                  <a:lnTo>
                    <a:pt x="274119" y="1058267"/>
                  </a:lnTo>
                  <a:lnTo>
                    <a:pt x="367687" y="1058267"/>
                  </a:lnTo>
                  <a:lnTo>
                    <a:pt x="367687" y="990748"/>
                  </a:lnTo>
                  <a:close/>
                  <a:moveTo>
                    <a:pt x="151565" y="990748"/>
                  </a:moveTo>
                  <a:lnTo>
                    <a:pt x="151565" y="1058267"/>
                  </a:lnTo>
                  <a:lnTo>
                    <a:pt x="245133" y="1058267"/>
                  </a:lnTo>
                  <a:lnTo>
                    <a:pt x="245133" y="990748"/>
                  </a:lnTo>
                  <a:close/>
                  <a:moveTo>
                    <a:pt x="29010" y="990748"/>
                  </a:moveTo>
                  <a:lnTo>
                    <a:pt x="29010" y="1058267"/>
                  </a:lnTo>
                  <a:lnTo>
                    <a:pt x="122579" y="1058267"/>
                  </a:lnTo>
                  <a:lnTo>
                    <a:pt x="122579" y="990748"/>
                  </a:lnTo>
                  <a:close/>
                  <a:moveTo>
                    <a:pt x="396674" y="892397"/>
                  </a:moveTo>
                  <a:lnTo>
                    <a:pt x="396674" y="959917"/>
                  </a:lnTo>
                  <a:lnTo>
                    <a:pt x="490242" y="959917"/>
                  </a:lnTo>
                  <a:lnTo>
                    <a:pt x="490242" y="892397"/>
                  </a:lnTo>
                  <a:close/>
                  <a:moveTo>
                    <a:pt x="274119" y="892397"/>
                  </a:moveTo>
                  <a:lnTo>
                    <a:pt x="274119" y="959917"/>
                  </a:lnTo>
                  <a:lnTo>
                    <a:pt x="367687" y="959917"/>
                  </a:lnTo>
                  <a:lnTo>
                    <a:pt x="367687" y="892397"/>
                  </a:lnTo>
                  <a:close/>
                  <a:moveTo>
                    <a:pt x="151565" y="892397"/>
                  </a:moveTo>
                  <a:lnTo>
                    <a:pt x="151565" y="959917"/>
                  </a:lnTo>
                  <a:lnTo>
                    <a:pt x="245133" y="959917"/>
                  </a:lnTo>
                  <a:lnTo>
                    <a:pt x="245133" y="892397"/>
                  </a:lnTo>
                  <a:close/>
                  <a:moveTo>
                    <a:pt x="29010" y="892397"/>
                  </a:moveTo>
                  <a:lnTo>
                    <a:pt x="29010" y="959917"/>
                  </a:lnTo>
                  <a:lnTo>
                    <a:pt x="122579" y="959917"/>
                  </a:lnTo>
                  <a:lnTo>
                    <a:pt x="122579" y="892397"/>
                  </a:lnTo>
                  <a:close/>
                  <a:moveTo>
                    <a:pt x="396674" y="794047"/>
                  </a:moveTo>
                  <a:lnTo>
                    <a:pt x="396674" y="861567"/>
                  </a:lnTo>
                  <a:lnTo>
                    <a:pt x="490242" y="861567"/>
                  </a:lnTo>
                  <a:lnTo>
                    <a:pt x="490242" y="794047"/>
                  </a:lnTo>
                  <a:close/>
                  <a:moveTo>
                    <a:pt x="274119" y="794047"/>
                  </a:moveTo>
                  <a:lnTo>
                    <a:pt x="274119" y="861567"/>
                  </a:lnTo>
                  <a:lnTo>
                    <a:pt x="367687" y="861567"/>
                  </a:lnTo>
                  <a:lnTo>
                    <a:pt x="367687" y="794047"/>
                  </a:lnTo>
                  <a:close/>
                  <a:moveTo>
                    <a:pt x="151565" y="794047"/>
                  </a:moveTo>
                  <a:lnTo>
                    <a:pt x="151565" y="861567"/>
                  </a:lnTo>
                  <a:lnTo>
                    <a:pt x="245133" y="861567"/>
                  </a:lnTo>
                  <a:lnTo>
                    <a:pt x="245133" y="794047"/>
                  </a:lnTo>
                  <a:close/>
                  <a:moveTo>
                    <a:pt x="29010" y="794047"/>
                  </a:moveTo>
                  <a:lnTo>
                    <a:pt x="29010" y="861567"/>
                  </a:lnTo>
                  <a:lnTo>
                    <a:pt x="122579" y="861567"/>
                  </a:lnTo>
                  <a:lnTo>
                    <a:pt x="122579" y="794047"/>
                  </a:lnTo>
                  <a:close/>
                  <a:moveTo>
                    <a:pt x="396674" y="695697"/>
                  </a:moveTo>
                  <a:lnTo>
                    <a:pt x="396674" y="763216"/>
                  </a:lnTo>
                  <a:lnTo>
                    <a:pt x="490242" y="763216"/>
                  </a:lnTo>
                  <a:lnTo>
                    <a:pt x="490242" y="695697"/>
                  </a:lnTo>
                  <a:close/>
                  <a:moveTo>
                    <a:pt x="274119" y="695697"/>
                  </a:moveTo>
                  <a:lnTo>
                    <a:pt x="274119" y="763216"/>
                  </a:lnTo>
                  <a:lnTo>
                    <a:pt x="367687" y="763216"/>
                  </a:lnTo>
                  <a:lnTo>
                    <a:pt x="367687" y="695697"/>
                  </a:lnTo>
                  <a:close/>
                  <a:moveTo>
                    <a:pt x="151565" y="695697"/>
                  </a:moveTo>
                  <a:lnTo>
                    <a:pt x="151565" y="763216"/>
                  </a:lnTo>
                  <a:lnTo>
                    <a:pt x="245133" y="763216"/>
                  </a:lnTo>
                  <a:lnTo>
                    <a:pt x="245133" y="695697"/>
                  </a:lnTo>
                  <a:close/>
                  <a:moveTo>
                    <a:pt x="29010" y="695697"/>
                  </a:moveTo>
                  <a:lnTo>
                    <a:pt x="29010" y="763216"/>
                  </a:lnTo>
                  <a:lnTo>
                    <a:pt x="122579" y="763216"/>
                  </a:lnTo>
                  <a:lnTo>
                    <a:pt x="122579" y="695697"/>
                  </a:lnTo>
                  <a:close/>
                  <a:moveTo>
                    <a:pt x="0" y="638914"/>
                  </a:moveTo>
                  <a:lnTo>
                    <a:pt x="522562" y="638914"/>
                  </a:lnTo>
                  <a:lnTo>
                    <a:pt x="522562" y="1701769"/>
                  </a:lnTo>
                  <a:lnTo>
                    <a:pt x="0" y="1701769"/>
                  </a:lnTo>
                  <a:close/>
                  <a:moveTo>
                    <a:pt x="236999" y="0"/>
                  </a:moveTo>
                  <a:lnTo>
                    <a:pt x="285564" y="0"/>
                  </a:lnTo>
                  <a:lnTo>
                    <a:pt x="309847" y="633349"/>
                  </a:lnTo>
                  <a:lnTo>
                    <a:pt x="212716" y="63334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221" name="Round Same Side Corner Rectangle 220"/>
            <p:cNvSpPr/>
            <p:nvPr/>
          </p:nvSpPr>
          <p:spPr>
            <a:xfrm>
              <a:off x="1100660" y="3884413"/>
              <a:ext cx="343495" cy="103540"/>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246" name="Freeform 245"/>
            <p:cNvSpPr/>
            <p:nvPr/>
          </p:nvSpPr>
          <p:spPr>
            <a:xfrm>
              <a:off x="2129849" y="4212602"/>
              <a:ext cx="965999" cy="1400808"/>
            </a:xfrm>
            <a:custGeom>
              <a:avLst/>
              <a:gdLst>
                <a:gd name="connsiteX0" fmla="*/ 854488 w 1026319"/>
                <a:gd name="connsiteY0" fmla="*/ 1243372 h 1488280"/>
                <a:gd name="connsiteX1" fmla="*/ 854488 w 1026319"/>
                <a:gd name="connsiteY1" fmla="*/ 1343956 h 1488280"/>
                <a:gd name="connsiteX2" fmla="*/ 956882 w 1026319"/>
                <a:gd name="connsiteY2" fmla="*/ 1343956 h 1488280"/>
                <a:gd name="connsiteX3" fmla="*/ 956882 w 1026319"/>
                <a:gd name="connsiteY3" fmla="*/ 1243372 h 1488280"/>
                <a:gd name="connsiteX4" fmla="*/ 686181 w 1026319"/>
                <a:gd name="connsiteY4" fmla="*/ 1243372 h 1488280"/>
                <a:gd name="connsiteX5" fmla="*/ 686181 w 1026319"/>
                <a:gd name="connsiteY5" fmla="*/ 1343956 h 1488280"/>
                <a:gd name="connsiteX6" fmla="*/ 788575 w 1026319"/>
                <a:gd name="connsiteY6" fmla="*/ 1343956 h 1488280"/>
                <a:gd name="connsiteX7" fmla="*/ 788575 w 1026319"/>
                <a:gd name="connsiteY7" fmla="*/ 1243372 h 1488280"/>
                <a:gd name="connsiteX8" fmla="*/ 390144 w 1026319"/>
                <a:gd name="connsiteY8" fmla="*/ 1243372 h 1488280"/>
                <a:gd name="connsiteX9" fmla="*/ 390144 w 1026319"/>
                <a:gd name="connsiteY9" fmla="*/ 1343956 h 1488280"/>
                <a:gd name="connsiteX10" fmla="*/ 492538 w 1026319"/>
                <a:gd name="connsiteY10" fmla="*/ 1343956 h 1488280"/>
                <a:gd name="connsiteX11" fmla="*/ 492538 w 1026319"/>
                <a:gd name="connsiteY11" fmla="*/ 1243372 h 1488280"/>
                <a:gd name="connsiteX12" fmla="*/ 221837 w 1026319"/>
                <a:gd name="connsiteY12" fmla="*/ 1243372 h 1488280"/>
                <a:gd name="connsiteX13" fmla="*/ 221837 w 1026319"/>
                <a:gd name="connsiteY13" fmla="*/ 1343956 h 1488280"/>
                <a:gd name="connsiteX14" fmla="*/ 324231 w 1026319"/>
                <a:gd name="connsiteY14" fmla="*/ 1343956 h 1488280"/>
                <a:gd name="connsiteX15" fmla="*/ 324231 w 1026319"/>
                <a:gd name="connsiteY15" fmla="*/ 1243372 h 1488280"/>
                <a:gd name="connsiteX16" fmla="*/ 59912 w 1026319"/>
                <a:gd name="connsiteY16" fmla="*/ 1243372 h 1488280"/>
                <a:gd name="connsiteX17" fmla="*/ 59912 w 1026319"/>
                <a:gd name="connsiteY17" fmla="*/ 1343956 h 1488280"/>
                <a:gd name="connsiteX18" fmla="*/ 162306 w 1026319"/>
                <a:gd name="connsiteY18" fmla="*/ 1343956 h 1488280"/>
                <a:gd name="connsiteX19" fmla="*/ 162306 w 1026319"/>
                <a:gd name="connsiteY19" fmla="*/ 1243372 h 1488280"/>
                <a:gd name="connsiteX20" fmla="*/ 854488 w 1026319"/>
                <a:gd name="connsiteY20" fmla="*/ 1041995 h 1488280"/>
                <a:gd name="connsiteX21" fmla="*/ 854488 w 1026319"/>
                <a:gd name="connsiteY21" fmla="*/ 1142579 h 1488280"/>
                <a:gd name="connsiteX22" fmla="*/ 956882 w 1026319"/>
                <a:gd name="connsiteY22" fmla="*/ 1142579 h 1488280"/>
                <a:gd name="connsiteX23" fmla="*/ 956882 w 1026319"/>
                <a:gd name="connsiteY23" fmla="*/ 1041995 h 1488280"/>
                <a:gd name="connsiteX24" fmla="*/ 686181 w 1026319"/>
                <a:gd name="connsiteY24" fmla="*/ 1041995 h 1488280"/>
                <a:gd name="connsiteX25" fmla="*/ 686181 w 1026319"/>
                <a:gd name="connsiteY25" fmla="*/ 1142579 h 1488280"/>
                <a:gd name="connsiteX26" fmla="*/ 788575 w 1026319"/>
                <a:gd name="connsiteY26" fmla="*/ 1142579 h 1488280"/>
                <a:gd name="connsiteX27" fmla="*/ 788575 w 1026319"/>
                <a:gd name="connsiteY27" fmla="*/ 1041995 h 1488280"/>
                <a:gd name="connsiteX28" fmla="*/ 390144 w 1026319"/>
                <a:gd name="connsiteY28" fmla="*/ 1041995 h 1488280"/>
                <a:gd name="connsiteX29" fmla="*/ 390144 w 1026319"/>
                <a:gd name="connsiteY29" fmla="*/ 1142579 h 1488280"/>
                <a:gd name="connsiteX30" fmla="*/ 492538 w 1026319"/>
                <a:gd name="connsiteY30" fmla="*/ 1142579 h 1488280"/>
                <a:gd name="connsiteX31" fmla="*/ 492538 w 1026319"/>
                <a:gd name="connsiteY31" fmla="*/ 1041995 h 1488280"/>
                <a:gd name="connsiteX32" fmla="*/ 221837 w 1026319"/>
                <a:gd name="connsiteY32" fmla="*/ 1041995 h 1488280"/>
                <a:gd name="connsiteX33" fmla="*/ 221837 w 1026319"/>
                <a:gd name="connsiteY33" fmla="*/ 1142579 h 1488280"/>
                <a:gd name="connsiteX34" fmla="*/ 324231 w 1026319"/>
                <a:gd name="connsiteY34" fmla="*/ 1142579 h 1488280"/>
                <a:gd name="connsiteX35" fmla="*/ 324231 w 1026319"/>
                <a:gd name="connsiteY35" fmla="*/ 1041995 h 1488280"/>
                <a:gd name="connsiteX36" fmla="*/ 59912 w 1026319"/>
                <a:gd name="connsiteY36" fmla="*/ 1041995 h 1488280"/>
                <a:gd name="connsiteX37" fmla="*/ 59912 w 1026319"/>
                <a:gd name="connsiteY37" fmla="*/ 1142579 h 1488280"/>
                <a:gd name="connsiteX38" fmla="*/ 162306 w 1026319"/>
                <a:gd name="connsiteY38" fmla="*/ 1142579 h 1488280"/>
                <a:gd name="connsiteX39" fmla="*/ 162306 w 1026319"/>
                <a:gd name="connsiteY39" fmla="*/ 1041995 h 1488280"/>
                <a:gd name="connsiteX40" fmla="*/ 854488 w 1026319"/>
                <a:gd name="connsiteY40" fmla="*/ 840618 h 1488280"/>
                <a:gd name="connsiteX41" fmla="*/ 854488 w 1026319"/>
                <a:gd name="connsiteY41" fmla="*/ 941202 h 1488280"/>
                <a:gd name="connsiteX42" fmla="*/ 956882 w 1026319"/>
                <a:gd name="connsiteY42" fmla="*/ 941202 h 1488280"/>
                <a:gd name="connsiteX43" fmla="*/ 956882 w 1026319"/>
                <a:gd name="connsiteY43" fmla="*/ 840618 h 1488280"/>
                <a:gd name="connsiteX44" fmla="*/ 686181 w 1026319"/>
                <a:gd name="connsiteY44" fmla="*/ 840618 h 1488280"/>
                <a:gd name="connsiteX45" fmla="*/ 686181 w 1026319"/>
                <a:gd name="connsiteY45" fmla="*/ 941202 h 1488280"/>
                <a:gd name="connsiteX46" fmla="*/ 788575 w 1026319"/>
                <a:gd name="connsiteY46" fmla="*/ 941202 h 1488280"/>
                <a:gd name="connsiteX47" fmla="*/ 788575 w 1026319"/>
                <a:gd name="connsiteY47" fmla="*/ 840618 h 1488280"/>
                <a:gd name="connsiteX48" fmla="*/ 390144 w 1026319"/>
                <a:gd name="connsiteY48" fmla="*/ 840618 h 1488280"/>
                <a:gd name="connsiteX49" fmla="*/ 390144 w 1026319"/>
                <a:gd name="connsiteY49" fmla="*/ 941202 h 1488280"/>
                <a:gd name="connsiteX50" fmla="*/ 492538 w 1026319"/>
                <a:gd name="connsiteY50" fmla="*/ 941202 h 1488280"/>
                <a:gd name="connsiteX51" fmla="*/ 492538 w 1026319"/>
                <a:gd name="connsiteY51" fmla="*/ 840618 h 1488280"/>
                <a:gd name="connsiteX52" fmla="*/ 221837 w 1026319"/>
                <a:gd name="connsiteY52" fmla="*/ 840618 h 1488280"/>
                <a:gd name="connsiteX53" fmla="*/ 221837 w 1026319"/>
                <a:gd name="connsiteY53" fmla="*/ 941202 h 1488280"/>
                <a:gd name="connsiteX54" fmla="*/ 324231 w 1026319"/>
                <a:gd name="connsiteY54" fmla="*/ 941202 h 1488280"/>
                <a:gd name="connsiteX55" fmla="*/ 324231 w 1026319"/>
                <a:gd name="connsiteY55" fmla="*/ 840618 h 1488280"/>
                <a:gd name="connsiteX56" fmla="*/ 59912 w 1026319"/>
                <a:gd name="connsiteY56" fmla="*/ 840618 h 1488280"/>
                <a:gd name="connsiteX57" fmla="*/ 59912 w 1026319"/>
                <a:gd name="connsiteY57" fmla="*/ 941202 h 1488280"/>
                <a:gd name="connsiteX58" fmla="*/ 162306 w 1026319"/>
                <a:gd name="connsiteY58" fmla="*/ 941202 h 1488280"/>
                <a:gd name="connsiteX59" fmla="*/ 162306 w 1026319"/>
                <a:gd name="connsiteY59" fmla="*/ 840618 h 1488280"/>
                <a:gd name="connsiteX60" fmla="*/ 390144 w 1026319"/>
                <a:gd name="connsiteY60" fmla="*/ 639241 h 1488280"/>
                <a:gd name="connsiteX61" fmla="*/ 390144 w 1026319"/>
                <a:gd name="connsiteY61" fmla="*/ 739825 h 1488280"/>
                <a:gd name="connsiteX62" fmla="*/ 492538 w 1026319"/>
                <a:gd name="connsiteY62" fmla="*/ 739825 h 1488280"/>
                <a:gd name="connsiteX63" fmla="*/ 492538 w 1026319"/>
                <a:gd name="connsiteY63" fmla="*/ 639241 h 1488280"/>
                <a:gd name="connsiteX64" fmla="*/ 221837 w 1026319"/>
                <a:gd name="connsiteY64" fmla="*/ 639241 h 1488280"/>
                <a:gd name="connsiteX65" fmla="*/ 221837 w 1026319"/>
                <a:gd name="connsiteY65" fmla="*/ 739825 h 1488280"/>
                <a:gd name="connsiteX66" fmla="*/ 324231 w 1026319"/>
                <a:gd name="connsiteY66" fmla="*/ 739825 h 1488280"/>
                <a:gd name="connsiteX67" fmla="*/ 324231 w 1026319"/>
                <a:gd name="connsiteY67" fmla="*/ 639241 h 1488280"/>
                <a:gd name="connsiteX68" fmla="*/ 59912 w 1026319"/>
                <a:gd name="connsiteY68" fmla="*/ 639241 h 1488280"/>
                <a:gd name="connsiteX69" fmla="*/ 59912 w 1026319"/>
                <a:gd name="connsiteY69" fmla="*/ 739825 h 1488280"/>
                <a:gd name="connsiteX70" fmla="*/ 162306 w 1026319"/>
                <a:gd name="connsiteY70" fmla="*/ 739825 h 1488280"/>
                <a:gd name="connsiteX71" fmla="*/ 162306 w 1026319"/>
                <a:gd name="connsiteY71" fmla="*/ 639241 h 1488280"/>
                <a:gd name="connsiteX72" fmla="*/ 854488 w 1026319"/>
                <a:gd name="connsiteY72" fmla="*/ 616953 h 1488280"/>
                <a:gd name="connsiteX73" fmla="*/ 854488 w 1026319"/>
                <a:gd name="connsiteY73" fmla="*/ 717537 h 1488280"/>
                <a:gd name="connsiteX74" fmla="*/ 956882 w 1026319"/>
                <a:gd name="connsiteY74" fmla="*/ 717537 h 1488280"/>
                <a:gd name="connsiteX75" fmla="*/ 956882 w 1026319"/>
                <a:gd name="connsiteY75" fmla="*/ 616953 h 1488280"/>
                <a:gd name="connsiteX76" fmla="*/ 686181 w 1026319"/>
                <a:gd name="connsiteY76" fmla="*/ 616953 h 1488280"/>
                <a:gd name="connsiteX77" fmla="*/ 686181 w 1026319"/>
                <a:gd name="connsiteY77" fmla="*/ 717537 h 1488280"/>
                <a:gd name="connsiteX78" fmla="*/ 788575 w 1026319"/>
                <a:gd name="connsiteY78" fmla="*/ 717537 h 1488280"/>
                <a:gd name="connsiteX79" fmla="*/ 788575 w 1026319"/>
                <a:gd name="connsiteY79" fmla="*/ 616953 h 1488280"/>
                <a:gd name="connsiteX80" fmla="*/ 0 w 1026319"/>
                <a:gd name="connsiteY80" fmla="*/ 488156 h 1488280"/>
                <a:gd name="connsiteX81" fmla="*/ 552450 w 1026319"/>
                <a:gd name="connsiteY81" fmla="*/ 488156 h 1488280"/>
                <a:gd name="connsiteX82" fmla="*/ 552450 w 1026319"/>
                <a:gd name="connsiteY82" fmla="*/ 1488280 h 1488280"/>
                <a:gd name="connsiteX83" fmla="*/ 0 w 1026319"/>
                <a:gd name="connsiteY83" fmla="*/ 1488280 h 1488280"/>
                <a:gd name="connsiteX84" fmla="*/ 854488 w 1026319"/>
                <a:gd name="connsiteY84" fmla="*/ 414052 h 1488280"/>
                <a:gd name="connsiteX85" fmla="*/ 854488 w 1026319"/>
                <a:gd name="connsiteY85" fmla="*/ 514636 h 1488280"/>
                <a:gd name="connsiteX86" fmla="*/ 956882 w 1026319"/>
                <a:gd name="connsiteY86" fmla="*/ 514636 h 1488280"/>
                <a:gd name="connsiteX87" fmla="*/ 956882 w 1026319"/>
                <a:gd name="connsiteY87" fmla="*/ 414052 h 1488280"/>
                <a:gd name="connsiteX88" fmla="*/ 686181 w 1026319"/>
                <a:gd name="connsiteY88" fmla="*/ 414052 h 1488280"/>
                <a:gd name="connsiteX89" fmla="*/ 686181 w 1026319"/>
                <a:gd name="connsiteY89" fmla="*/ 514636 h 1488280"/>
                <a:gd name="connsiteX90" fmla="*/ 788575 w 1026319"/>
                <a:gd name="connsiteY90" fmla="*/ 514636 h 1488280"/>
                <a:gd name="connsiteX91" fmla="*/ 788575 w 1026319"/>
                <a:gd name="connsiteY91" fmla="*/ 414052 h 1488280"/>
                <a:gd name="connsiteX92" fmla="*/ 287274 w 1026319"/>
                <a:gd name="connsiteY92" fmla="*/ 388144 h 1488280"/>
                <a:gd name="connsiteX93" fmla="*/ 552450 w 1026319"/>
                <a:gd name="connsiteY93" fmla="*/ 388144 h 1488280"/>
                <a:gd name="connsiteX94" fmla="*/ 552450 w 1026319"/>
                <a:gd name="connsiteY94" fmla="*/ 464344 h 1488280"/>
                <a:gd name="connsiteX95" fmla="*/ 287274 w 1026319"/>
                <a:gd name="connsiteY95" fmla="*/ 464344 h 1488280"/>
                <a:gd name="connsiteX96" fmla="*/ 0 w 1026319"/>
                <a:gd name="connsiteY96" fmla="*/ 388144 h 1488280"/>
                <a:gd name="connsiteX97" fmla="*/ 265176 w 1026319"/>
                <a:gd name="connsiteY97" fmla="*/ 388144 h 1488280"/>
                <a:gd name="connsiteX98" fmla="*/ 265176 w 1026319"/>
                <a:gd name="connsiteY98" fmla="*/ 464344 h 1488280"/>
                <a:gd name="connsiteX99" fmla="*/ 0 w 1026319"/>
                <a:gd name="connsiteY99" fmla="*/ 464344 h 1488280"/>
                <a:gd name="connsiteX100" fmla="*/ 854488 w 1026319"/>
                <a:gd name="connsiteY100" fmla="*/ 218750 h 1488280"/>
                <a:gd name="connsiteX101" fmla="*/ 854488 w 1026319"/>
                <a:gd name="connsiteY101" fmla="*/ 319334 h 1488280"/>
                <a:gd name="connsiteX102" fmla="*/ 956882 w 1026319"/>
                <a:gd name="connsiteY102" fmla="*/ 319334 h 1488280"/>
                <a:gd name="connsiteX103" fmla="*/ 956882 w 1026319"/>
                <a:gd name="connsiteY103" fmla="*/ 218750 h 1488280"/>
                <a:gd name="connsiteX104" fmla="*/ 686181 w 1026319"/>
                <a:gd name="connsiteY104" fmla="*/ 218750 h 1488280"/>
                <a:gd name="connsiteX105" fmla="*/ 686181 w 1026319"/>
                <a:gd name="connsiteY105" fmla="*/ 319334 h 1488280"/>
                <a:gd name="connsiteX106" fmla="*/ 788575 w 1026319"/>
                <a:gd name="connsiteY106" fmla="*/ 319334 h 1488280"/>
                <a:gd name="connsiteX107" fmla="*/ 788575 w 1026319"/>
                <a:gd name="connsiteY107" fmla="*/ 218750 h 1488280"/>
                <a:gd name="connsiteX108" fmla="*/ 616744 w 1026319"/>
                <a:gd name="connsiteY108" fmla="*/ 100011 h 1488280"/>
                <a:gd name="connsiteX109" fmla="*/ 1026319 w 1026319"/>
                <a:gd name="connsiteY109" fmla="*/ 100011 h 1488280"/>
                <a:gd name="connsiteX110" fmla="*/ 1026319 w 1026319"/>
                <a:gd name="connsiteY110" fmla="*/ 1488280 h 1488280"/>
                <a:gd name="connsiteX111" fmla="*/ 616744 w 1026319"/>
                <a:gd name="connsiteY111" fmla="*/ 1488280 h 1488280"/>
                <a:gd name="connsiteX112" fmla="*/ 616744 w 1026319"/>
                <a:gd name="connsiteY112" fmla="*/ 0 h 1488280"/>
                <a:gd name="connsiteX113" fmla="*/ 1026319 w 1026319"/>
                <a:gd name="connsiteY113" fmla="*/ 0 h 1488280"/>
                <a:gd name="connsiteX114" fmla="*/ 1026319 w 1026319"/>
                <a:gd name="connsiteY114" fmla="*/ 76200 h 1488280"/>
                <a:gd name="connsiteX115" fmla="*/ 616744 w 1026319"/>
                <a:gd name="connsiteY115" fmla="*/ 76200 h 148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026319" h="1488280">
                  <a:moveTo>
                    <a:pt x="854488" y="1243372"/>
                  </a:moveTo>
                  <a:lnTo>
                    <a:pt x="854488" y="1343956"/>
                  </a:lnTo>
                  <a:lnTo>
                    <a:pt x="956882" y="1343956"/>
                  </a:lnTo>
                  <a:lnTo>
                    <a:pt x="956882" y="1243372"/>
                  </a:lnTo>
                  <a:close/>
                  <a:moveTo>
                    <a:pt x="686181" y="1243372"/>
                  </a:moveTo>
                  <a:lnTo>
                    <a:pt x="686181" y="1343956"/>
                  </a:lnTo>
                  <a:lnTo>
                    <a:pt x="788575" y="1343956"/>
                  </a:lnTo>
                  <a:lnTo>
                    <a:pt x="788575" y="1243372"/>
                  </a:lnTo>
                  <a:close/>
                  <a:moveTo>
                    <a:pt x="390144" y="1243372"/>
                  </a:moveTo>
                  <a:lnTo>
                    <a:pt x="390144" y="1343956"/>
                  </a:lnTo>
                  <a:lnTo>
                    <a:pt x="492538" y="1343956"/>
                  </a:lnTo>
                  <a:lnTo>
                    <a:pt x="492538" y="1243372"/>
                  </a:lnTo>
                  <a:close/>
                  <a:moveTo>
                    <a:pt x="221837" y="1243372"/>
                  </a:moveTo>
                  <a:lnTo>
                    <a:pt x="221837" y="1343956"/>
                  </a:lnTo>
                  <a:lnTo>
                    <a:pt x="324231" y="1343956"/>
                  </a:lnTo>
                  <a:lnTo>
                    <a:pt x="324231" y="1243372"/>
                  </a:lnTo>
                  <a:close/>
                  <a:moveTo>
                    <a:pt x="59912" y="1243372"/>
                  </a:moveTo>
                  <a:lnTo>
                    <a:pt x="59912" y="1343956"/>
                  </a:lnTo>
                  <a:lnTo>
                    <a:pt x="162306" y="1343956"/>
                  </a:lnTo>
                  <a:lnTo>
                    <a:pt x="162306" y="1243372"/>
                  </a:lnTo>
                  <a:close/>
                  <a:moveTo>
                    <a:pt x="854488" y="1041995"/>
                  </a:moveTo>
                  <a:lnTo>
                    <a:pt x="854488" y="1142579"/>
                  </a:lnTo>
                  <a:lnTo>
                    <a:pt x="956882" y="1142579"/>
                  </a:lnTo>
                  <a:lnTo>
                    <a:pt x="956882" y="1041995"/>
                  </a:lnTo>
                  <a:close/>
                  <a:moveTo>
                    <a:pt x="686181" y="1041995"/>
                  </a:moveTo>
                  <a:lnTo>
                    <a:pt x="686181" y="1142579"/>
                  </a:lnTo>
                  <a:lnTo>
                    <a:pt x="788575" y="1142579"/>
                  </a:lnTo>
                  <a:lnTo>
                    <a:pt x="788575" y="1041995"/>
                  </a:lnTo>
                  <a:close/>
                  <a:moveTo>
                    <a:pt x="390144" y="1041995"/>
                  </a:moveTo>
                  <a:lnTo>
                    <a:pt x="390144" y="1142579"/>
                  </a:lnTo>
                  <a:lnTo>
                    <a:pt x="492538" y="1142579"/>
                  </a:lnTo>
                  <a:lnTo>
                    <a:pt x="492538" y="1041995"/>
                  </a:lnTo>
                  <a:close/>
                  <a:moveTo>
                    <a:pt x="221837" y="1041995"/>
                  </a:moveTo>
                  <a:lnTo>
                    <a:pt x="221837" y="1142579"/>
                  </a:lnTo>
                  <a:lnTo>
                    <a:pt x="324231" y="1142579"/>
                  </a:lnTo>
                  <a:lnTo>
                    <a:pt x="324231" y="1041995"/>
                  </a:lnTo>
                  <a:close/>
                  <a:moveTo>
                    <a:pt x="59912" y="1041995"/>
                  </a:moveTo>
                  <a:lnTo>
                    <a:pt x="59912" y="1142579"/>
                  </a:lnTo>
                  <a:lnTo>
                    <a:pt x="162306" y="1142579"/>
                  </a:lnTo>
                  <a:lnTo>
                    <a:pt x="162306" y="1041995"/>
                  </a:lnTo>
                  <a:close/>
                  <a:moveTo>
                    <a:pt x="854488" y="840618"/>
                  </a:moveTo>
                  <a:lnTo>
                    <a:pt x="854488" y="941202"/>
                  </a:lnTo>
                  <a:lnTo>
                    <a:pt x="956882" y="941202"/>
                  </a:lnTo>
                  <a:lnTo>
                    <a:pt x="956882" y="840618"/>
                  </a:lnTo>
                  <a:close/>
                  <a:moveTo>
                    <a:pt x="686181" y="840618"/>
                  </a:moveTo>
                  <a:lnTo>
                    <a:pt x="686181" y="941202"/>
                  </a:lnTo>
                  <a:lnTo>
                    <a:pt x="788575" y="941202"/>
                  </a:lnTo>
                  <a:lnTo>
                    <a:pt x="788575" y="840618"/>
                  </a:lnTo>
                  <a:close/>
                  <a:moveTo>
                    <a:pt x="390144" y="840618"/>
                  </a:moveTo>
                  <a:lnTo>
                    <a:pt x="390144" y="941202"/>
                  </a:lnTo>
                  <a:lnTo>
                    <a:pt x="492538" y="941202"/>
                  </a:lnTo>
                  <a:lnTo>
                    <a:pt x="492538" y="840618"/>
                  </a:lnTo>
                  <a:close/>
                  <a:moveTo>
                    <a:pt x="221837" y="840618"/>
                  </a:moveTo>
                  <a:lnTo>
                    <a:pt x="221837" y="941202"/>
                  </a:lnTo>
                  <a:lnTo>
                    <a:pt x="324231" y="941202"/>
                  </a:lnTo>
                  <a:lnTo>
                    <a:pt x="324231" y="840618"/>
                  </a:lnTo>
                  <a:close/>
                  <a:moveTo>
                    <a:pt x="59912" y="840618"/>
                  </a:moveTo>
                  <a:lnTo>
                    <a:pt x="59912" y="941202"/>
                  </a:lnTo>
                  <a:lnTo>
                    <a:pt x="162306" y="941202"/>
                  </a:lnTo>
                  <a:lnTo>
                    <a:pt x="162306" y="840618"/>
                  </a:lnTo>
                  <a:close/>
                  <a:moveTo>
                    <a:pt x="390144" y="639241"/>
                  </a:moveTo>
                  <a:lnTo>
                    <a:pt x="390144" y="739825"/>
                  </a:lnTo>
                  <a:lnTo>
                    <a:pt x="492538" y="739825"/>
                  </a:lnTo>
                  <a:lnTo>
                    <a:pt x="492538" y="639241"/>
                  </a:lnTo>
                  <a:close/>
                  <a:moveTo>
                    <a:pt x="221837" y="639241"/>
                  </a:moveTo>
                  <a:lnTo>
                    <a:pt x="221837" y="739825"/>
                  </a:lnTo>
                  <a:lnTo>
                    <a:pt x="324231" y="739825"/>
                  </a:lnTo>
                  <a:lnTo>
                    <a:pt x="324231" y="639241"/>
                  </a:lnTo>
                  <a:close/>
                  <a:moveTo>
                    <a:pt x="59912" y="639241"/>
                  </a:moveTo>
                  <a:lnTo>
                    <a:pt x="59912" y="739825"/>
                  </a:lnTo>
                  <a:lnTo>
                    <a:pt x="162306" y="739825"/>
                  </a:lnTo>
                  <a:lnTo>
                    <a:pt x="162306" y="639241"/>
                  </a:lnTo>
                  <a:close/>
                  <a:moveTo>
                    <a:pt x="854488" y="616953"/>
                  </a:moveTo>
                  <a:lnTo>
                    <a:pt x="854488" y="717537"/>
                  </a:lnTo>
                  <a:lnTo>
                    <a:pt x="956882" y="717537"/>
                  </a:lnTo>
                  <a:lnTo>
                    <a:pt x="956882" y="616953"/>
                  </a:lnTo>
                  <a:close/>
                  <a:moveTo>
                    <a:pt x="686181" y="616953"/>
                  </a:moveTo>
                  <a:lnTo>
                    <a:pt x="686181" y="717537"/>
                  </a:lnTo>
                  <a:lnTo>
                    <a:pt x="788575" y="717537"/>
                  </a:lnTo>
                  <a:lnTo>
                    <a:pt x="788575" y="616953"/>
                  </a:lnTo>
                  <a:close/>
                  <a:moveTo>
                    <a:pt x="0" y="488156"/>
                  </a:moveTo>
                  <a:lnTo>
                    <a:pt x="552450" y="488156"/>
                  </a:lnTo>
                  <a:lnTo>
                    <a:pt x="552450" y="1488280"/>
                  </a:lnTo>
                  <a:lnTo>
                    <a:pt x="0" y="1488280"/>
                  </a:lnTo>
                  <a:close/>
                  <a:moveTo>
                    <a:pt x="854488" y="414052"/>
                  </a:moveTo>
                  <a:lnTo>
                    <a:pt x="854488" y="514636"/>
                  </a:lnTo>
                  <a:lnTo>
                    <a:pt x="956882" y="514636"/>
                  </a:lnTo>
                  <a:lnTo>
                    <a:pt x="956882" y="414052"/>
                  </a:lnTo>
                  <a:close/>
                  <a:moveTo>
                    <a:pt x="686181" y="414052"/>
                  </a:moveTo>
                  <a:lnTo>
                    <a:pt x="686181" y="514636"/>
                  </a:lnTo>
                  <a:lnTo>
                    <a:pt x="788575" y="514636"/>
                  </a:lnTo>
                  <a:lnTo>
                    <a:pt x="788575" y="414052"/>
                  </a:lnTo>
                  <a:close/>
                  <a:moveTo>
                    <a:pt x="287274" y="388144"/>
                  </a:moveTo>
                  <a:lnTo>
                    <a:pt x="552450" y="388144"/>
                  </a:lnTo>
                  <a:lnTo>
                    <a:pt x="552450" y="464344"/>
                  </a:lnTo>
                  <a:lnTo>
                    <a:pt x="287274" y="464344"/>
                  </a:lnTo>
                  <a:close/>
                  <a:moveTo>
                    <a:pt x="0" y="388144"/>
                  </a:moveTo>
                  <a:lnTo>
                    <a:pt x="265176" y="388144"/>
                  </a:lnTo>
                  <a:lnTo>
                    <a:pt x="265176" y="464344"/>
                  </a:lnTo>
                  <a:lnTo>
                    <a:pt x="0" y="464344"/>
                  </a:lnTo>
                  <a:close/>
                  <a:moveTo>
                    <a:pt x="854488" y="218750"/>
                  </a:moveTo>
                  <a:lnTo>
                    <a:pt x="854488" y="319334"/>
                  </a:lnTo>
                  <a:lnTo>
                    <a:pt x="956882" y="319334"/>
                  </a:lnTo>
                  <a:lnTo>
                    <a:pt x="956882" y="218750"/>
                  </a:lnTo>
                  <a:close/>
                  <a:moveTo>
                    <a:pt x="686181" y="218750"/>
                  </a:moveTo>
                  <a:lnTo>
                    <a:pt x="686181" y="319334"/>
                  </a:lnTo>
                  <a:lnTo>
                    <a:pt x="788575" y="319334"/>
                  </a:lnTo>
                  <a:lnTo>
                    <a:pt x="788575" y="218750"/>
                  </a:lnTo>
                  <a:close/>
                  <a:moveTo>
                    <a:pt x="616744" y="100011"/>
                  </a:moveTo>
                  <a:lnTo>
                    <a:pt x="1026319" y="100011"/>
                  </a:lnTo>
                  <a:lnTo>
                    <a:pt x="1026319" y="1488280"/>
                  </a:lnTo>
                  <a:lnTo>
                    <a:pt x="616744" y="1488280"/>
                  </a:lnTo>
                  <a:close/>
                  <a:moveTo>
                    <a:pt x="616744" y="0"/>
                  </a:moveTo>
                  <a:lnTo>
                    <a:pt x="1026319" y="0"/>
                  </a:lnTo>
                  <a:lnTo>
                    <a:pt x="1026319" y="76200"/>
                  </a:lnTo>
                  <a:lnTo>
                    <a:pt x="616744" y="762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solidFill>
                  <a:srgbClr val="505050"/>
                </a:solidFill>
              </a:endParaRPr>
            </a:p>
          </p:txBody>
        </p:sp>
      </p:grpSp>
      <p:sp>
        <p:nvSpPr>
          <p:cNvPr id="260" name="TextBox 259"/>
          <p:cNvSpPr txBox="1"/>
          <p:nvPr/>
        </p:nvSpPr>
        <p:spPr>
          <a:xfrm>
            <a:off x="7632056" y="2280771"/>
            <a:ext cx="88166" cy="369332"/>
          </a:xfrm>
          <a:prstGeom prst="rect">
            <a:avLst/>
          </a:prstGeom>
        </p:spPr>
        <p:txBody>
          <a:bodyPr vert="horz" wrap="none" lIns="0" tIns="0" rIns="0" bIns="0" rtlCol="0" anchor="t">
            <a:spAutoFit/>
          </a:bodyPr>
          <a:lstStyle/>
          <a:p>
            <a:pPr algn="ctr" defTabSz="1088105"/>
            <a:r>
              <a:rPr lang="en-US" sz="2400" b="1" dirty="0" err="1">
                <a:solidFill>
                  <a:prstClr val="white">
                    <a:lumMod val="50000"/>
                  </a:prstClr>
                </a:solidFill>
                <a:ea typeface="Segoe UI" pitchFamily="34" charset="0"/>
                <a:cs typeface="Segoe UI" pitchFamily="34" charset="0"/>
              </a:rPr>
              <a:t>i</a:t>
            </a:r>
            <a:endParaRPr lang="en-US" sz="2400" b="1" dirty="0">
              <a:solidFill>
                <a:prstClr val="white">
                  <a:lumMod val="50000"/>
                </a:prstClr>
              </a:solidFill>
              <a:ea typeface="Segoe UI" pitchFamily="34" charset="0"/>
              <a:cs typeface="Segoe UI" pitchFamily="34" charset="0"/>
            </a:endParaRPr>
          </a:p>
        </p:txBody>
      </p:sp>
      <p:sp>
        <p:nvSpPr>
          <p:cNvPr id="318" name="Freeform 317"/>
          <p:cNvSpPr/>
          <p:nvPr/>
        </p:nvSpPr>
        <p:spPr bwMode="auto">
          <a:xfrm>
            <a:off x="8168048" y="2267675"/>
            <a:ext cx="286722" cy="266896"/>
          </a:xfrm>
          <a:custGeom>
            <a:avLst/>
            <a:gdLst>
              <a:gd name="connsiteX0" fmla="*/ 396062 w 942035"/>
              <a:gd name="connsiteY0" fmla="*/ 301954 h 876895"/>
              <a:gd name="connsiteX1" fmla="*/ 396062 w 942035"/>
              <a:gd name="connsiteY1" fmla="*/ 461202 h 876895"/>
              <a:gd name="connsiteX2" fmla="*/ 236814 w 942035"/>
              <a:gd name="connsiteY2" fmla="*/ 461202 h 876895"/>
              <a:gd name="connsiteX3" fmla="*/ 236814 w 942035"/>
              <a:gd name="connsiteY3" fmla="*/ 611114 h 876895"/>
              <a:gd name="connsiteX4" fmla="*/ 396062 w 942035"/>
              <a:gd name="connsiteY4" fmla="*/ 611114 h 876895"/>
              <a:gd name="connsiteX5" fmla="*/ 396062 w 942035"/>
              <a:gd name="connsiteY5" fmla="*/ 770362 h 876895"/>
              <a:gd name="connsiteX6" fmla="*/ 545973 w 942035"/>
              <a:gd name="connsiteY6" fmla="*/ 770362 h 876895"/>
              <a:gd name="connsiteX7" fmla="*/ 545973 w 942035"/>
              <a:gd name="connsiteY7" fmla="*/ 611114 h 876895"/>
              <a:gd name="connsiteX8" fmla="*/ 705221 w 942035"/>
              <a:gd name="connsiteY8" fmla="*/ 611114 h 876895"/>
              <a:gd name="connsiteX9" fmla="*/ 705221 w 942035"/>
              <a:gd name="connsiteY9" fmla="*/ 461202 h 876895"/>
              <a:gd name="connsiteX10" fmla="*/ 545973 w 942035"/>
              <a:gd name="connsiteY10" fmla="*/ 461202 h 876895"/>
              <a:gd name="connsiteX11" fmla="*/ 545973 w 942035"/>
              <a:gd name="connsiteY11" fmla="*/ 301954 h 876895"/>
              <a:gd name="connsiteX12" fmla="*/ 634519 w 942035"/>
              <a:gd name="connsiteY12" fmla="*/ 175948 h 876895"/>
              <a:gd name="connsiteX13" fmla="*/ 611659 w 942035"/>
              <a:gd name="connsiteY13" fmla="*/ 198808 h 876895"/>
              <a:gd name="connsiteX14" fmla="*/ 634519 w 942035"/>
              <a:gd name="connsiteY14" fmla="*/ 221668 h 876895"/>
              <a:gd name="connsiteX15" fmla="*/ 657379 w 942035"/>
              <a:gd name="connsiteY15" fmla="*/ 198808 h 876895"/>
              <a:gd name="connsiteX16" fmla="*/ 634519 w 942035"/>
              <a:gd name="connsiteY16" fmla="*/ 175948 h 876895"/>
              <a:gd name="connsiteX17" fmla="*/ 307258 w 942035"/>
              <a:gd name="connsiteY17" fmla="*/ 175948 h 876895"/>
              <a:gd name="connsiteX18" fmla="*/ 284398 w 942035"/>
              <a:gd name="connsiteY18" fmla="*/ 198808 h 876895"/>
              <a:gd name="connsiteX19" fmla="*/ 307258 w 942035"/>
              <a:gd name="connsiteY19" fmla="*/ 221668 h 876895"/>
              <a:gd name="connsiteX20" fmla="*/ 330118 w 942035"/>
              <a:gd name="connsiteY20" fmla="*/ 198808 h 876895"/>
              <a:gd name="connsiteX21" fmla="*/ 307258 w 942035"/>
              <a:gd name="connsiteY21" fmla="*/ 175948 h 876895"/>
              <a:gd name="connsiteX22" fmla="*/ 376581 w 942035"/>
              <a:gd name="connsiteY22" fmla="*/ 39406 h 876895"/>
              <a:gd name="connsiteX23" fmla="*/ 329031 w 942035"/>
              <a:gd name="connsiteY23" fmla="*/ 86956 h 876895"/>
              <a:gd name="connsiteX24" fmla="*/ 329031 w 942035"/>
              <a:gd name="connsiteY24" fmla="*/ 149323 h 876895"/>
              <a:gd name="connsiteX25" fmla="*/ 353764 w 942035"/>
              <a:gd name="connsiteY25" fmla="*/ 183397 h 876895"/>
              <a:gd name="connsiteX26" fmla="*/ 588271 w 942035"/>
              <a:gd name="connsiteY26" fmla="*/ 183397 h 876895"/>
              <a:gd name="connsiteX27" fmla="*/ 614326 w 942035"/>
              <a:gd name="connsiteY27" fmla="*/ 149323 h 876895"/>
              <a:gd name="connsiteX28" fmla="*/ 614326 w 942035"/>
              <a:gd name="connsiteY28" fmla="*/ 86956 h 876895"/>
              <a:gd name="connsiteX29" fmla="*/ 566776 w 942035"/>
              <a:gd name="connsiteY29" fmla="*/ 39406 h 876895"/>
              <a:gd name="connsiteX30" fmla="*/ 350311 w 942035"/>
              <a:gd name="connsiteY30" fmla="*/ 0 h 876895"/>
              <a:gd name="connsiteX31" fmla="*/ 593047 w 942035"/>
              <a:gd name="connsiteY31" fmla="*/ 0 h 876895"/>
              <a:gd name="connsiteX32" fmla="*/ 653733 w 942035"/>
              <a:gd name="connsiteY32" fmla="*/ 60686 h 876895"/>
              <a:gd name="connsiteX33" fmla="*/ 653733 w 942035"/>
              <a:gd name="connsiteY33" fmla="*/ 149323 h 876895"/>
              <a:gd name="connsiteX34" fmla="*/ 678465 w 942035"/>
              <a:gd name="connsiteY34" fmla="*/ 183397 h 876895"/>
              <a:gd name="connsiteX35" fmla="*/ 826450 w 942035"/>
              <a:gd name="connsiteY35" fmla="*/ 183397 h 876895"/>
              <a:gd name="connsiteX36" fmla="*/ 942035 w 942035"/>
              <a:gd name="connsiteY36" fmla="*/ 298982 h 876895"/>
              <a:gd name="connsiteX37" fmla="*/ 942035 w 942035"/>
              <a:gd name="connsiteY37" fmla="*/ 761310 h 876895"/>
              <a:gd name="connsiteX38" fmla="*/ 826450 w 942035"/>
              <a:gd name="connsiteY38" fmla="*/ 876895 h 876895"/>
              <a:gd name="connsiteX39" fmla="*/ 115586 w 942035"/>
              <a:gd name="connsiteY39" fmla="*/ 876895 h 876895"/>
              <a:gd name="connsiteX40" fmla="*/ 0 w 942035"/>
              <a:gd name="connsiteY40" fmla="*/ 761310 h 876895"/>
              <a:gd name="connsiteX41" fmla="*/ 0 w 942035"/>
              <a:gd name="connsiteY41" fmla="*/ 298982 h 876895"/>
              <a:gd name="connsiteX42" fmla="*/ 115586 w 942035"/>
              <a:gd name="connsiteY42" fmla="*/ 183397 h 876895"/>
              <a:gd name="connsiteX43" fmla="*/ 263570 w 942035"/>
              <a:gd name="connsiteY43" fmla="*/ 183397 h 876895"/>
              <a:gd name="connsiteX44" fmla="*/ 289625 w 942035"/>
              <a:gd name="connsiteY44" fmla="*/ 149323 h 876895"/>
              <a:gd name="connsiteX45" fmla="*/ 289625 w 942035"/>
              <a:gd name="connsiteY45" fmla="*/ 60686 h 876895"/>
              <a:gd name="connsiteX46" fmla="*/ 350311 w 942035"/>
              <a:gd name="connsiteY46" fmla="*/ 0 h 87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42035" h="876895">
                <a:moveTo>
                  <a:pt x="396062" y="301954"/>
                </a:moveTo>
                <a:lnTo>
                  <a:pt x="396062" y="461202"/>
                </a:lnTo>
                <a:lnTo>
                  <a:pt x="236814" y="461202"/>
                </a:lnTo>
                <a:lnTo>
                  <a:pt x="236814" y="611114"/>
                </a:lnTo>
                <a:lnTo>
                  <a:pt x="396062" y="611114"/>
                </a:lnTo>
                <a:lnTo>
                  <a:pt x="396062" y="770362"/>
                </a:lnTo>
                <a:lnTo>
                  <a:pt x="545973" y="770362"/>
                </a:lnTo>
                <a:lnTo>
                  <a:pt x="545973" y="611114"/>
                </a:lnTo>
                <a:lnTo>
                  <a:pt x="705221" y="611114"/>
                </a:lnTo>
                <a:lnTo>
                  <a:pt x="705221" y="461202"/>
                </a:lnTo>
                <a:lnTo>
                  <a:pt x="545973" y="461202"/>
                </a:lnTo>
                <a:lnTo>
                  <a:pt x="545973" y="301954"/>
                </a:lnTo>
                <a:close/>
                <a:moveTo>
                  <a:pt x="634519" y="175948"/>
                </a:moveTo>
                <a:cubicBezTo>
                  <a:pt x="621894" y="175948"/>
                  <a:pt x="611659" y="186183"/>
                  <a:pt x="611659" y="198808"/>
                </a:cubicBezTo>
                <a:cubicBezTo>
                  <a:pt x="611659" y="211433"/>
                  <a:pt x="621894" y="221668"/>
                  <a:pt x="634519" y="221668"/>
                </a:cubicBezTo>
                <a:cubicBezTo>
                  <a:pt x="647144" y="221668"/>
                  <a:pt x="657379" y="211433"/>
                  <a:pt x="657379" y="198808"/>
                </a:cubicBezTo>
                <a:cubicBezTo>
                  <a:pt x="657379" y="186183"/>
                  <a:pt x="647144" y="175948"/>
                  <a:pt x="634519" y="175948"/>
                </a:cubicBezTo>
                <a:close/>
                <a:moveTo>
                  <a:pt x="307258" y="175948"/>
                </a:moveTo>
                <a:cubicBezTo>
                  <a:pt x="294633" y="175948"/>
                  <a:pt x="284398" y="186183"/>
                  <a:pt x="284398" y="198808"/>
                </a:cubicBezTo>
                <a:cubicBezTo>
                  <a:pt x="284398" y="211433"/>
                  <a:pt x="294633" y="221668"/>
                  <a:pt x="307258" y="221668"/>
                </a:cubicBezTo>
                <a:cubicBezTo>
                  <a:pt x="319883" y="221668"/>
                  <a:pt x="330118" y="211433"/>
                  <a:pt x="330118" y="198808"/>
                </a:cubicBezTo>
                <a:cubicBezTo>
                  <a:pt x="330118" y="186183"/>
                  <a:pt x="319883" y="175948"/>
                  <a:pt x="307258" y="175948"/>
                </a:cubicBezTo>
                <a:close/>
                <a:moveTo>
                  <a:pt x="376581" y="39406"/>
                </a:moveTo>
                <a:cubicBezTo>
                  <a:pt x="350320" y="39406"/>
                  <a:pt x="329031" y="60695"/>
                  <a:pt x="329031" y="86956"/>
                </a:cubicBezTo>
                <a:lnTo>
                  <a:pt x="329031" y="149323"/>
                </a:lnTo>
                <a:lnTo>
                  <a:pt x="353764" y="183397"/>
                </a:lnTo>
                <a:lnTo>
                  <a:pt x="588271" y="183397"/>
                </a:lnTo>
                <a:lnTo>
                  <a:pt x="614326" y="149323"/>
                </a:lnTo>
                <a:lnTo>
                  <a:pt x="614326" y="86956"/>
                </a:lnTo>
                <a:cubicBezTo>
                  <a:pt x="614326" y="60695"/>
                  <a:pt x="593037" y="39406"/>
                  <a:pt x="566776" y="39406"/>
                </a:cubicBezTo>
                <a:close/>
                <a:moveTo>
                  <a:pt x="350311" y="0"/>
                </a:moveTo>
                <a:lnTo>
                  <a:pt x="593047" y="0"/>
                </a:lnTo>
                <a:cubicBezTo>
                  <a:pt x="626563" y="0"/>
                  <a:pt x="653733" y="27170"/>
                  <a:pt x="653733" y="60686"/>
                </a:cubicBezTo>
                <a:lnTo>
                  <a:pt x="653733" y="149323"/>
                </a:lnTo>
                <a:lnTo>
                  <a:pt x="678465" y="183397"/>
                </a:lnTo>
                <a:lnTo>
                  <a:pt x="826450" y="183397"/>
                </a:lnTo>
                <a:cubicBezTo>
                  <a:pt x="890286" y="183397"/>
                  <a:pt x="942035" y="235146"/>
                  <a:pt x="942035" y="298982"/>
                </a:cubicBezTo>
                <a:lnTo>
                  <a:pt x="942035" y="761310"/>
                </a:lnTo>
                <a:cubicBezTo>
                  <a:pt x="942035" y="825146"/>
                  <a:pt x="890286" y="876895"/>
                  <a:pt x="826450" y="876895"/>
                </a:cubicBezTo>
                <a:lnTo>
                  <a:pt x="115586" y="876895"/>
                </a:lnTo>
                <a:cubicBezTo>
                  <a:pt x="51749" y="876895"/>
                  <a:pt x="0" y="825146"/>
                  <a:pt x="0" y="761310"/>
                </a:cubicBezTo>
                <a:lnTo>
                  <a:pt x="0" y="298982"/>
                </a:lnTo>
                <a:cubicBezTo>
                  <a:pt x="0" y="235146"/>
                  <a:pt x="51749" y="183397"/>
                  <a:pt x="115586" y="183397"/>
                </a:cubicBezTo>
                <a:lnTo>
                  <a:pt x="263570" y="183397"/>
                </a:lnTo>
                <a:lnTo>
                  <a:pt x="289625" y="149323"/>
                </a:lnTo>
                <a:lnTo>
                  <a:pt x="289625" y="60686"/>
                </a:lnTo>
                <a:cubicBezTo>
                  <a:pt x="289625" y="27170"/>
                  <a:pt x="316795" y="0"/>
                  <a:pt x="350311" y="0"/>
                </a:cubicBezTo>
                <a:close/>
              </a:path>
            </a:pathLst>
          </a:cu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4400" eaLnBrk="0" fontAlgn="base" hangingPunct="0">
              <a:spcBef>
                <a:spcPct val="0"/>
              </a:spcBef>
              <a:spcAft>
                <a:spcPct val="0"/>
              </a:spcAft>
            </a:pPr>
            <a:endParaRPr lang="en-US" sz="1800">
              <a:solidFill>
                <a:srgbClr val="505050"/>
              </a:solidFill>
              <a:latin typeface="Arial" charset="0"/>
            </a:endParaRPr>
          </a:p>
        </p:txBody>
      </p:sp>
      <p:sp>
        <p:nvSpPr>
          <p:cNvPr id="319" name="Freeform 318"/>
          <p:cNvSpPr/>
          <p:nvPr/>
        </p:nvSpPr>
        <p:spPr>
          <a:xfrm>
            <a:off x="8096887" y="2805772"/>
            <a:ext cx="438238" cy="318430"/>
          </a:xfrm>
          <a:custGeom>
            <a:avLst/>
            <a:gdLst/>
            <a:ahLst/>
            <a:cxnLst/>
            <a:rect l="l" t="t" r="r" b="b"/>
            <a:pathLst>
              <a:path w="1652587" h="1200794">
                <a:moveTo>
                  <a:pt x="314325" y="495300"/>
                </a:moveTo>
                <a:cubicBezTo>
                  <a:pt x="817562" y="700088"/>
                  <a:pt x="932657" y="628650"/>
                  <a:pt x="1381125" y="509588"/>
                </a:cubicBezTo>
                <a:lnTo>
                  <a:pt x="1381125" y="807244"/>
                </a:lnTo>
                <a:cubicBezTo>
                  <a:pt x="1163637" y="909637"/>
                  <a:pt x="734218" y="990601"/>
                  <a:pt x="314325" y="807244"/>
                </a:cubicBezTo>
                <a:close/>
                <a:moveTo>
                  <a:pt x="97631" y="402432"/>
                </a:moveTo>
                <a:lnTo>
                  <a:pt x="126206" y="535782"/>
                </a:lnTo>
                <a:lnTo>
                  <a:pt x="140493" y="664370"/>
                </a:lnTo>
                <a:lnTo>
                  <a:pt x="150018" y="716757"/>
                </a:lnTo>
                <a:lnTo>
                  <a:pt x="150018" y="1050132"/>
                </a:lnTo>
                <a:lnTo>
                  <a:pt x="176212" y="1143001"/>
                </a:lnTo>
                <a:cubicBezTo>
                  <a:pt x="141287" y="1204120"/>
                  <a:pt x="82549" y="1229519"/>
                  <a:pt x="0" y="1154907"/>
                </a:cubicBezTo>
                <a:lnTo>
                  <a:pt x="30956" y="1069182"/>
                </a:lnTo>
                <a:cubicBezTo>
                  <a:pt x="30162" y="1002507"/>
                  <a:pt x="29369" y="935832"/>
                  <a:pt x="28575" y="869157"/>
                </a:cubicBezTo>
                <a:lnTo>
                  <a:pt x="47625" y="831057"/>
                </a:lnTo>
                <a:lnTo>
                  <a:pt x="42862" y="638176"/>
                </a:lnTo>
                <a:lnTo>
                  <a:pt x="66675" y="609601"/>
                </a:lnTo>
                <a:cubicBezTo>
                  <a:pt x="67469" y="563564"/>
                  <a:pt x="68262" y="517526"/>
                  <a:pt x="69056" y="471489"/>
                </a:cubicBezTo>
                <a:lnTo>
                  <a:pt x="83343" y="461964"/>
                </a:lnTo>
                <a:close/>
                <a:moveTo>
                  <a:pt x="838200" y="0"/>
                </a:moveTo>
                <a:lnTo>
                  <a:pt x="909637" y="0"/>
                </a:lnTo>
                <a:lnTo>
                  <a:pt x="1652587" y="214313"/>
                </a:lnTo>
                <a:lnTo>
                  <a:pt x="900112" y="431006"/>
                </a:lnTo>
                <a:lnTo>
                  <a:pt x="821531" y="431006"/>
                </a:lnTo>
                <a:lnTo>
                  <a:pt x="7143" y="21907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320" name="Group 319"/>
          <p:cNvGrpSpPr>
            <a:grpSpLocks noChangeAspect="1"/>
          </p:cNvGrpSpPr>
          <p:nvPr/>
        </p:nvGrpSpPr>
        <p:grpSpPr bwMode="black">
          <a:xfrm>
            <a:off x="7432409" y="2849418"/>
            <a:ext cx="442086" cy="269213"/>
            <a:chOff x="10387012" y="4179358"/>
            <a:chExt cx="974726" cy="593725"/>
          </a:xfrm>
          <a:solidFill>
            <a:schemeClr val="bg1">
              <a:lumMod val="50000"/>
            </a:schemeClr>
          </a:solidFill>
        </p:grpSpPr>
        <p:sp>
          <p:nvSpPr>
            <p:cNvPr id="321"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600">
                <a:solidFill>
                  <a:srgbClr val="505050"/>
                </a:solidFill>
              </a:endParaRPr>
            </a:p>
          </p:txBody>
        </p:sp>
        <p:sp>
          <p:nvSpPr>
            <p:cNvPr id="32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600">
                <a:solidFill>
                  <a:srgbClr val="505050"/>
                </a:solidFill>
              </a:endParaRPr>
            </a:p>
          </p:txBody>
        </p:sp>
        <p:sp>
          <p:nvSpPr>
            <p:cNvPr id="323"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600">
                <a:solidFill>
                  <a:srgbClr val="505050"/>
                </a:solidFill>
              </a:endParaRPr>
            </a:p>
          </p:txBody>
        </p:sp>
        <p:sp>
          <p:nvSpPr>
            <p:cNvPr id="324"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600">
                <a:solidFill>
                  <a:srgbClr val="505050"/>
                </a:solidFill>
              </a:endParaRPr>
            </a:p>
          </p:txBody>
        </p:sp>
        <p:sp>
          <p:nvSpPr>
            <p:cNvPr id="325"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600">
                <a:solidFill>
                  <a:srgbClr val="505050"/>
                </a:solidFill>
              </a:endParaRPr>
            </a:p>
          </p:txBody>
        </p:sp>
      </p:grpSp>
      <p:sp>
        <p:nvSpPr>
          <p:cNvPr id="326" name="TextBox 325"/>
          <p:cNvSpPr txBox="1"/>
          <p:nvPr/>
        </p:nvSpPr>
        <p:spPr>
          <a:xfrm>
            <a:off x="7505867" y="3605644"/>
            <a:ext cx="830356"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Transportation</a:t>
            </a:r>
          </a:p>
        </p:txBody>
      </p:sp>
      <p:pic>
        <p:nvPicPr>
          <p:cNvPr id="328" name="Picture 327"/>
          <p:cNvPicPr>
            <a:picLocks noChangeAspect="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641231" y="3343150"/>
            <a:ext cx="642315" cy="321158"/>
          </a:xfrm>
          <a:prstGeom prst="rect">
            <a:avLst/>
          </a:prstGeom>
        </p:spPr>
      </p:pic>
      <p:sp>
        <p:nvSpPr>
          <p:cNvPr id="299" name="Freeform 18"/>
          <p:cNvSpPr>
            <a:spLocks noChangeAspect="1" noEditPoints="1"/>
          </p:cNvSpPr>
          <p:nvPr/>
        </p:nvSpPr>
        <p:spPr bwMode="black">
          <a:xfrm>
            <a:off x="10357560" y="3509672"/>
            <a:ext cx="299805" cy="3657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endParaRPr lang="en-US" sz="1600">
              <a:solidFill>
                <a:srgbClr val="505050"/>
              </a:solidFill>
            </a:endParaRPr>
          </a:p>
        </p:txBody>
      </p:sp>
      <p:sp>
        <p:nvSpPr>
          <p:cNvPr id="300" name="TextBox 299"/>
          <p:cNvSpPr txBox="1"/>
          <p:nvPr/>
        </p:nvSpPr>
        <p:spPr>
          <a:xfrm>
            <a:off x="4512063" y="2626079"/>
            <a:ext cx="755015" cy="307777"/>
          </a:xfrm>
          <a:prstGeom prst="rect">
            <a:avLst/>
          </a:prstGeom>
        </p:spPr>
        <p:txBody>
          <a:bodyPr vert="horz" wrap="none" lIns="0" tIns="0" rIns="0" bIns="0" rtlCol="0" anchor="t">
            <a:spAutoFit/>
          </a:bodyPr>
          <a:lstStyle>
            <a:defPPr>
              <a:defRPr lang="en-US"/>
            </a:defPPr>
            <a:lvl1pPr algn="ctr" defTabSz="1088105">
              <a:defRPr sz="1000">
                <a:solidFill>
                  <a:srgbClr val="505050"/>
                </a:solidFill>
                <a:ea typeface="Segoe UI" pitchFamily="34" charset="0"/>
                <a:cs typeface="Segoe UI" pitchFamily="34" charset="0"/>
              </a:defRPr>
            </a:lvl1pPr>
          </a:lstStyle>
          <a:p>
            <a:r>
              <a:rPr lang="en-US" dirty="0"/>
              <a:t>Data </a:t>
            </a:r>
            <a:br>
              <a:rPr lang="en-US" dirty="0"/>
            </a:br>
            <a:r>
              <a:rPr lang="en-US" dirty="0"/>
              <a:t>Management</a:t>
            </a:r>
          </a:p>
        </p:txBody>
      </p:sp>
      <p:pic>
        <p:nvPicPr>
          <p:cNvPr id="301" name="Picture 2" descr="C:\Users\mitchellg\AppData\Local\Microsoft\Windows\Temporary Internet Files\Content.Outlook\DRES7FCJ\Storage_white (2).png"/>
          <p:cNvPicPr>
            <a:picLocks noChangeAspect="1" noChangeArrowheads="1"/>
          </p:cNvPicPr>
          <p:nvPr/>
        </p:nvPicPr>
        <p:blipFill>
          <a:blip r:embed="rId11" cstate="print">
            <a:grayscl/>
            <a:extLst>
              <a:ext uri="{BEBA8EAE-BF5A-486C-A8C5-ECC9F3942E4B}">
                <a14:imgProps xmlns:a14="http://schemas.microsoft.com/office/drawing/2010/main">
                  <a14:imgLayer r:embed="rId12">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4677945" y="2297048"/>
            <a:ext cx="380242" cy="380242"/>
          </a:xfrm>
          <a:prstGeom prst="rect">
            <a:avLst/>
          </a:prstGeom>
          <a:noFill/>
        </p:spPr>
      </p:pic>
      <p:pic>
        <p:nvPicPr>
          <p:cNvPr id="302" name="Picture 2" descr="C:\Users\chrisw\Desktop\Cloud Services 3.png"/>
          <p:cNvPicPr>
            <a:picLocks noChangeAspect="1" noChangeArrowheads="1"/>
          </p:cNvPicPr>
          <p:nvPr/>
        </p:nvPicPr>
        <p:blipFill>
          <a:blip r:embed="rId13" cstate="print">
            <a:grayscl/>
            <a:extLst>
              <a:ext uri="{BEBA8EAE-BF5A-486C-A8C5-ECC9F3942E4B}">
                <a14:imgProps xmlns:a14="http://schemas.microsoft.com/office/drawing/2010/main">
                  <a14:imgLayer r:embed="rId1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bwMode="black">
          <a:xfrm>
            <a:off x="1471715" y="2673243"/>
            <a:ext cx="649373" cy="447755"/>
          </a:xfrm>
          <a:prstGeom prst="rect">
            <a:avLst/>
          </a:prstGeom>
          <a:noFill/>
          <a:extLst/>
        </p:spPr>
      </p:pic>
      <p:grpSp>
        <p:nvGrpSpPr>
          <p:cNvPr id="303" name="Group 302"/>
          <p:cNvGrpSpPr>
            <a:grpSpLocks noChangeAspect="1"/>
          </p:cNvGrpSpPr>
          <p:nvPr/>
        </p:nvGrpSpPr>
        <p:grpSpPr>
          <a:xfrm>
            <a:off x="1484497" y="2187080"/>
            <a:ext cx="421256" cy="201249"/>
            <a:chOff x="335107" y="1984056"/>
            <a:chExt cx="8623119" cy="4119564"/>
          </a:xfrm>
          <a:solidFill>
            <a:schemeClr val="bg1">
              <a:lumMod val="50000"/>
            </a:schemeClr>
          </a:solidFill>
        </p:grpSpPr>
        <p:sp>
          <p:nvSpPr>
            <p:cNvPr id="304" name="Freeform 303"/>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305" name="Man's Body"/>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06" name="Man's Body"/>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07" name="Man's Body"/>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11" name="Man's Body"/>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12" name="Man's Body"/>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13" name="Man's Body"/>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14" name="Freeform 313"/>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316" name="Freeform 315"/>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grpSp>
      <p:pic>
        <p:nvPicPr>
          <p:cNvPr id="317" name="Picture 316"/>
          <p:cNvPicPr>
            <a:picLocks noChangeAspect="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32423" y="3245456"/>
            <a:ext cx="642315" cy="321158"/>
          </a:xfrm>
          <a:prstGeom prst="rect">
            <a:avLst/>
          </a:prstGeom>
        </p:spPr>
      </p:pic>
      <p:sp>
        <p:nvSpPr>
          <p:cNvPr id="336" name="Freeform 335"/>
          <p:cNvSpPr/>
          <p:nvPr/>
        </p:nvSpPr>
        <p:spPr bwMode="auto">
          <a:xfrm>
            <a:off x="2119508" y="3250261"/>
            <a:ext cx="286722" cy="266896"/>
          </a:xfrm>
          <a:custGeom>
            <a:avLst/>
            <a:gdLst>
              <a:gd name="connsiteX0" fmla="*/ 396062 w 942035"/>
              <a:gd name="connsiteY0" fmla="*/ 301954 h 876895"/>
              <a:gd name="connsiteX1" fmla="*/ 396062 w 942035"/>
              <a:gd name="connsiteY1" fmla="*/ 461202 h 876895"/>
              <a:gd name="connsiteX2" fmla="*/ 236814 w 942035"/>
              <a:gd name="connsiteY2" fmla="*/ 461202 h 876895"/>
              <a:gd name="connsiteX3" fmla="*/ 236814 w 942035"/>
              <a:gd name="connsiteY3" fmla="*/ 611114 h 876895"/>
              <a:gd name="connsiteX4" fmla="*/ 396062 w 942035"/>
              <a:gd name="connsiteY4" fmla="*/ 611114 h 876895"/>
              <a:gd name="connsiteX5" fmla="*/ 396062 w 942035"/>
              <a:gd name="connsiteY5" fmla="*/ 770362 h 876895"/>
              <a:gd name="connsiteX6" fmla="*/ 545973 w 942035"/>
              <a:gd name="connsiteY6" fmla="*/ 770362 h 876895"/>
              <a:gd name="connsiteX7" fmla="*/ 545973 w 942035"/>
              <a:gd name="connsiteY7" fmla="*/ 611114 h 876895"/>
              <a:gd name="connsiteX8" fmla="*/ 705221 w 942035"/>
              <a:gd name="connsiteY8" fmla="*/ 611114 h 876895"/>
              <a:gd name="connsiteX9" fmla="*/ 705221 w 942035"/>
              <a:gd name="connsiteY9" fmla="*/ 461202 h 876895"/>
              <a:gd name="connsiteX10" fmla="*/ 545973 w 942035"/>
              <a:gd name="connsiteY10" fmla="*/ 461202 h 876895"/>
              <a:gd name="connsiteX11" fmla="*/ 545973 w 942035"/>
              <a:gd name="connsiteY11" fmla="*/ 301954 h 876895"/>
              <a:gd name="connsiteX12" fmla="*/ 634519 w 942035"/>
              <a:gd name="connsiteY12" fmla="*/ 175948 h 876895"/>
              <a:gd name="connsiteX13" fmla="*/ 611659 w 942035"/>
              <a:gd name="connsiteY13" fmla="*/ 198808 h 876895"/>
              <a:gd name="connsiteX14" fmla="*/ 634519 w 942035"/>
              <a:gd name="connsiteY14" fmla="*/ 221668 h 876895"/>
              <a:gd name="connsiteX15" fmla="*/ 657379 w 942035"/>
              <a:gd name="connsiteY15" fmla="*/ 198808 h 876895"/>
              <a:gd name="connsiteX16" fmla="*/ 634519 w 942035"/>
              <a:gd name="connsiteY16" fmla="*/ 175948 h 876895"/>
              <a:gd name="connsiteX17" fmla="*/ 307258 w 942035"/>
              <a:gd name="connsiteY17" fmla="*/ 175948 h 876895"/>
              <a:gd name="connsiteX18" fmla="*/ 284398 w 942035"/>
              <a:gd name="connsiteY18" fmla="*/ 198808 h 876895"/>
              <a:gd name="connsiteX19" fmla="*/ 307258 w 942035"/>
              <a:gd name="connsiteY19" fmla="*/ 221668 h 876895"/>
              <a:gd name="connsiteX20" fmla="*/ 330118 w 942035"/>
              <a:gd name="connsiteY20" fmla="*/ 198808 h 876895"/>
              <a:gd name="connsiteX21" fmla="*/ 307258 w 942035"/>
              <a:gd name="connsiteY21" fmla="*/ 175948 h 876895"/>
              <a:gd name="connsiteX22" fmla="*/ 376581 w 942035"/>
              <a:gd name="connsiteY22" fmla="*/ 39406 h 876895"/>
              <a:gd name="connsiteX23" fmla="*/ 329031 w 942035"/>
              <a:gd name="connsiteY23" fmla="*/ 86956 h 876895"/>
              <a:gd name="connsiteX24" fmla="*/ 329031 w 942035"/>
              <a:gd name="connsiteY24" fmla="*/ 149323 h 876895"/>
              <a:gd name="connsiteX25" fmla="*/ 353764 w 942035"/>
              <a:gd name="connsiteY25" fmla="*/ 183397 h 876895"/>
              <a:gd name="connsiteX26" fmla="*/ 588271 w 942035"/>
              <a:gd name="connsiteY26" fmla="*/ 183397 h 876895"/>
              <a:gd name="connsiteX27" fmla="*/ 614326 w 942035"/>
              <a:gd name="connsiteY27" fmla="*/ 149323 h 876895"/>
              <a:gd name="connsiteX28" fmla="*/ 614326 w 942035"/>
              <a:gd name="connsiteY28" fmla="*/ 86956 h 876895"/>
              <a:gd name="connsiteX29" fmla="*/ 566776 w 942035"/>
              <a:gd name="connsiteY29" fmla="*/ 39406 h 876895"/>
              <a:gd name="connsiteX30" fmla="*/ 350311 w 942035"/>
              <a:gd name="connsiteY30" fmla="*/ 0 h 876895"/>
              <a:gd name="connsiteX31" fmla="*/ 593047 w 942035"/>
              <a:gd name="connsiteY31" fmla="*/ 0 h 876895"/>
              <a:gd name="connsiteX32" fmla="*/ 653733 w 942035"/>
              <a:gd name="connsiteY32" fmla="*/ 60686 h 876895"/>
              <a:gd name="connsiteX33" fmla="*/ 653733 w 942035"/>
              <a:gd name="connsiteY33" fmla="*/ 149323 h 876895"/>
              <a:gd name="connsiteX34" fmla="*/ 678465 w 942035"/>
              <a:gd name="connsiteY34" fmla="*/ 183397 h 876895"/>
              <a:gd name="connsiteX35" fmla="*/ 826450 w 942035"/>
              <a:gd name="connsiteY35" fmla="*/ 183397 h 876895"/>
              <a:gd name="connsiteX36" fmla="*/ 942035 w 942035"/>
              <a:gd name="connsiteY36" fmla="*/ 298982 h 876895"/>
              <a:gd name="connsiteX37" fmla="*/ 942035 w 942035"/>
              <a:gd name="connsiteY37" fmla="*/ 761310 h 876895"/>
              <a:gd name="connsiteX38" fmla="*/ 826450 w 942035"/>
              <a:gd name="connsiteY38" fmla="*/ 876895 h 876895"/>
              <a:gd name="connsiteX39" fmla="*/ 115586 w 942035"/>
              <a:gd name="connsiteY39" fmla="*/ 876895 h 876895"/>
              <a:gd name="connsiteX40" fmla="*/ 0 w 942035"/>
              <a:gd name="connsiteY40" fmla="*/ 761310 h 876895"/>
              <a:gd name="connsiteX41" fmla="*/ 0 w 942035"/>
              <a:gd name="connsiteY41" fmla="*/ 298982 h 876895"/>
              <a:gd name="connsiteX42" fmla="*/ 115586 w 942035"/>
              <a:gd name="connsiteY42" fmla="*/ 183397 h 876895"/>
              <a:gd name="connsiteX43" fmla="*/ 263570 w 942035"/>
              <a:gd name="connsiteY43" fmla="*/ 183397 h 876895"/>
              <a:gd name="connsiteX44" fmla="*/ 289625 w 942035"/>
              <a:gd name="connsiteY44" fmla="*/ 149323 h 876895"/>
              <a:gd name="connsiteX45" fmla="*/ 289625 w 942035"/>
              <a:gd name="connsiteY45" fmla="*/ 60686 h 876895"/>
              <a:gd name="connsiteX46" fmla="*/ 350311 w 942035"/>
              <a:gd name="connsiteY46" fmla="*/ 0 h 87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42035" h="876895">
                <a:moveTo>
                  <a:pt x="396062" y="301954"/>
                </a:moveTo>
                <a:lnTo>
                  <a:pt x="396062" y="461202"/>
                </a:lnTo>
                <a:lnTo>
                  <a:pt x="236814" y="461202"/>
                </a:lnTo>
                <a:lnTo>
                  <a:pt x="236814" y="611114"/>
                </a:lnTo>
                <a:lnTo>
                  <a:pt x="396062" y="611114"/>
                </a:lnTo>
                <a:lnTo>
                  <a:pt x="396062" y="770362"/>
                </a:lnTo>
                <a:lnTo>
                  <a:pt x="545973" y="770362"/>
                </a:lnTo>
                <a:lnTo>
                  <a:pt x="545973" y="611114"/>
                </a:lnTo>
                <a:lnTo>
                  <a:pt x="705221" y="611114"/>
                </a:lnTo>
                <a:lnTo>
                  <a:pt x="705221" y="461202"/>
                </a:lnTo>
                <a:lnTo>
                  <a:pt x="545973" y="461202"/>
                </a:lnTo>
                <a:lnTo>
                  <a:pt x="545973" y="301954"/>
                </a:lnTo>
                <a:close/>
                <a:moveTo>
                  <a:pt x="634519" y="175948"/>
                </a:moveTo>
                <a:cubicBezTo>
                  <a:pt x="621894" y="175948"/>
                  <a:pt x="611659" y="186183"/>
                  <a:pt x="611659" y="198808"/>
                </a:cubicBezTo>
                <a:cubicBezTo>
                  <a:pt x="611659" y="211433"/>
                  <a:pt x="621894" y="221668"/>
                  <a:pt x="634519" y="221668"/>
                </a:cubicBezTo>
                <a:cubicBezTo>
                  <a:pt x="647144" y="221668"/>
                  <a:pt x="657379" y="211433"/>
                  <a:pt x="657379" y="198808"/>
                </a:cubicBezTo>
                <a:cubicBezTo>
                  <a:pt x="657379" y="186183"/>
                  <a:pt x="647144" y="175948"/>
                  <a:pt x="634519" y="175948"/>
                </a:cubicBezTo>
                <a:close/>
                <a:moveTo>
                  <a:pt x="307258" y="175948"/>
                </a:moveTo>
                <a:cubicBezTo>
                  <a:pt x="294633" y="175948"/>
                  <a:pt x="284398" y="186183"/>
                  <a:pt x="284398" y="198808"/>
                </a:cubicBezTo>
                <a:cubicBezTo>
                  <a:pt x="284398" y="211433"/>
                  <a:pt x="294633" y="221668"/>
                  <a:pt x="307258" y="221668"/>
                </a:cubicBezTo>
                <a:cubicBezTo>
                  <a:pt x="319883" y="221668"/>
                  <a:pt x="330118" y="211433"/>
                  <a:pt x="330118" y="198808"/>
                </a:cubicBezTo>
                <a:cubicBezTo>
                  <a:pt x="330118" y="186183"/>
                  <a:pt x="319883" y="175948"/>
                  <a:pt x="307258" y="175948"/>
                </a:cubicBezTo>
                <a:close/>
                <a:moveTo>
                  <a:pt x="376581" y="39406"/>
                </a:moveTo>
                <a:cubicBezTo>
                  <a:pt x="350320" y="39406"/>
                  <a:pt x="329031" y="60695"/>
                  <a:pt x="329031" y="86956"/>
                </a:cubicBezTo>
                <a:lnTo>
                  <a:pt x="329031" y="149323"/>
                </a:lnTo>
                <a:lnTo>
                  <a:pt x="353764" y="183397"/>
                </a:lnTo>
                <a:lnTo>
                  <a:pt x="588271" y="183397"/>
                </a:lnTo>
                <a:lnTo>
                  <a:pt x="614326" y="149323"/>
                </a:lnTo>
                <a:lnTo>
                  <a:pt x="614326" y="86956"/>
                </a:lnTo>
                <a:cubicBezTo>
                  <a:pt x="614326" y="60695"/>
                  <a:pt x="593037" y="39406"/>
                  <a:pt x="566776" y="39406"/>
                </a:cubicBezTo>
                <a:close/>
                <a:moveTo>
                  <a:pt x="350311" y="0"/>
                </a:moveTo>
                <a:lnTo>
                  <a:pt x="593047" y="0"/>
                </a:lnTo>
                <a:cubicBezTo>
                  <a:pt x="626563" y="0"/>
                  <a:pt x="653733" y="27170"/>
                  <a:pt x="653733" y="60686"/>
                </a:cubicBezTo>
                <a:lnTo>
                  <a:pt x="653733" y="149323"/>
                </a:lnTo>
                <a:lnTo>
                  <a:pt x="678465" y="183397"/>
                </a:lnTo>
                <a:lnTo>
                  <a:pt x="826450" y="183397"/>
                </a:lnTo>
                <a:cubicBezTo>
                  <a:pt x="890286" y="183397"/>
                  <a:pt x="942035" y="235146"/>
                  <a:pt x="942035" y="298982"/>
                </a:cubicBezTo>
                <a:lnTo>
                  <a:pt x="942035" y="761310"/>
                </a:lnTo>
                <a:cubicBezTo>
                  <a:pt x="942035" y="825146"/>
                  <a:pt x="890286" y="876895"/>
                  <a:pt x="826450" y="876895"/>
                </a:cubicBezTo>
                <a:lnTo>
                  <a:pt x="115586" y="876895"/>
                </a:lnTo>
                <a:cubicBezTo>
                  <a:pt x="51749" y="876895"/>
                  <a:pt x="0" y="825146"/>
                  <a:pt x="0" y="761310"/>
                </a:cubicBezTo>
                <a:lnTo>
                  <a:pt x="0" y="298982"/>
                </a:lnTo>
                <a:cubicBezTo>
                  <a:pt x="0" y="235146"/>
                  <a:pt x="51749" y="183397"/>
                  <a:pt x="115586" y="183397"/>
                </a:cubicBezTo>
                <a:lnTo>
                  <a:pt x="263570" y="183397"/>
                </a:lnTo>
                <a:lnTo>
                  <a:pt x="289625" y="149323"/>
                </a:lnTo>
                <a:lnTo>
                  <a:pt x="289625" y="60686"/>
                </a:lnTo>
                <a:cubicBezTo>
                  <a:pt x="289625" y="27170"/>
                  <a:pt x="316795" y="0"/>
                  <a:pt x="350311" y="0"/>
                </a:cubicBezTo>
                <a:close/>
              </a:path>
            </a:pathLst>
          </a:cu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4400" eaLnBrk="0" fontAlgn="base" hangingPunct="0">
              <a:spcBef>
                <a:spcPct val="0"/>
              </a:spcBef>
              <a:spcAft>
                <a:spcPct val="0"/>
              </a:spcAft>
            </a:pPr>
            <a:endParaRPr lang="en-US" sz="1800">
              <a:solidFill>
                <a:srgbClr val="505050"/>
              </a:solidFill>
              <a:latin typeface="Arial" charset="0"/>
            </a:endParaRPr>
          </a:p>
        </p:txBody>
      </p:sp>
      <p:pic>
        <p:nvPicPr>
          <p:cNvPr id="337" name="Picture 3" descr="\\MAGNUM\Projects\Microsoft\Cloud Power FY12\Design\Icons\PNGs\Storefront.png"/>
          <p:cNvPicPr>
            <a:picLocks noChangeAspect="1" noChangeArrowheads="1"/>
          </p:cNvPicPr>
          <p:nvPr/>
        </p:nvPicPr>
        <p:blipFill>
          <a:blip r:embed="rId15" cstate="print">
            <a:grayscl/>
            <a:extLst>
              <a:ext uri="{BEBA8EAE-BF5A-486C-A8C5-ECC9F3942E4B}">
                <a14:imgProps xmlns:a14="http://schemas.microsoft.com/office/drawing/2010/main">
                  <a14:imgLayer r:embed="rId16">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2408467" y="2641640"/>
            <a:ext cx="457200" cy="457200"/>
          </a:xfrm>
          <a:prstGeom prst="rect">
            <a:avLst/>
          </a:prstGeom>
          <a:noFill/>
        </p:spPr>
      </p:pic>
      <p:pic>
        <p:nvPicPr>
          <p:cNvPr id="338" name="Picture 4" descr="\\MAGNUM\Projects\Microsoft\Cloud Power FY12\Design\Icons\PNGs\Factory.png"/>
          <p:cNvPicPr>
            <a:picLocks noChangeAspect="1" noChangeArrowheads="1"/>
          </p:cNvPicPr>
          <p:nvPr/>
        </p:nvPicPr>
        <p:blipFill>
          <a:blip r:embed="rId17" cstate="print">
            <a:grayscl/>
            <a:extLst>
              <a:ext uri="{BEBA8EAE-BF5A-486C-A8C5-ECC9F3942E4B}">
                <a14:imgProps xmlns:a14="http://schemas.microsoft.com/office/drawing/2010/main">
                  <a14:imgLayer r:embed="rId18">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848118" y="2484897"/>
            <a:ext cx="457200" cy="457200"/>
          </a:xfrm>
          <a:prstGeom prst="rect">
            <a:avLst/>
          </a:prstGeom>
          <a:noFill/>
        </p:spPr>
      </p:pic>
      <p:pic>
        <p:nvPicPr>
          <p:cNvPr id="339" name="Picture 2" descr="\\MAGNUM\Projects\Microsoft\Cloud Power FY12\Design\Icons\PNGs\Electricity.png"/>
          <p:cNvPicPr>
            <a:picLocks noChangeAspect="1" noChangeArrowheads="1"/>
          </p:cNvPicPr>
          <p:nvPr/>
        </p:nvPicPr>
        <p:blipFill>
          <a:blip r:embed="rId19" cstate="print">
            <a:grayscl/>
            <a:extLst>
              <a:ext uri="{BEBA8EAE-BF5A-486C-A8C5-ECC9F3942E4B}">
                <a14:imgProps xmlns:a14="http://schemas.microsoft.com/office/drawing/2010/main">
                  <a14:imgLayer r:embed="rId20">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1387232" y="3338584"/>
            <a:ext cx="457200" cy="457200"/>
          </a:xfrm>
          <a:prstGeom prst="rect">
            <a:avLst/>
          </a:prstGeom>
          <a:noFill/>
        </p:spPr>
      </p:pic>
      <p:sp>
        <p:nvSpPr>
          <p:cNvPr id="340" name="TextBox 339"/>
          <p:cNvSpPr txBox="1"/>
          <p:nvPr/>
        </p:nvSpPr>
        <p:spPr>
          <a:xfrm>
            <a:off x="1313592" y="3811097"/>
            <a:ext cx="508152"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Incidents</a:t>
            </a:r>
          </a:p>
        </p:txBody>
      </p:sp>
      <p:sp>
        <p:nvSpPr>
          <p:cNvPr id="341" name="TextBox 340"/>
          <p:cNvSpPr txBox="1"/>
          <p:nvPr/>
        </p:nvSpPr>
        <p:spPr>
          <a:xfrm>
            <a:off x="863322" y="3587364"/>
            <a:ext cx="347852"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Traffic</a:t>
            </a:r>
          </a:p>
        </p:txBody>
      </p:sp>
      <p:sp>
        <p:nvSpPr>
          <p:cNvPr id="342" name="TextBox 341"/>
          <p:cNvSpPr txBox="1"/>
          <p:nvPr/>
        </p:nvSpPr>
        <p:spPr>
          <a:xfrm>
            <a:off x="2082438" y="3595120"/>
            <a:ext cx="370294"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Health</a:t>
            </a:r>
          </a:p>
        </p:txBody>
      </p:sp>
      <p:sp>
        <p:nvSpPr>
          <p:cNvPr id="343" name="TextBox 342"/>
          <p:cNvSpPr txBox="1"/>
          <p:nvPr/>
        </p:nvSpPr>
        <p:spPr>
          <a:xfrm>
            <a:off x="2357648" y="2992931"/>
            <a:ext cx="479298"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Business</a:t>
            </a:r>
          </a:p>
        </p:txBody>
      </p:sp>
      <p:sp>
        <p:nvSpPr>
          <p:cNvPr id="344" name="TextBox 343"/>
          <p:cNvSpPr txBox="1"/>
          <p:nvPr/>
        </p:nvSpPr>
        <p:spPr>
          <a:xfrm>
            <a:off x="836397" y="2873982"/>
            <a:ext cx="458459"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Industry</a:t>
            </a:r>
          </a:p>
        </p:txBody>
      </p:sp>
      <p:sp>
        <p:nvSpPr>
          <p:cNvPr id="345" name="TextBox 344"/>
          <p:cNvSpPr txBox="1"/>
          <p:nvPr/>
        </p:nvSpPr>
        <p:spPr>
          <a:xfrm>
            <a:off x="1472259" y="2413682"/>
            <a:ext cx="436017"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Citizens</a:t>
            </a:r>
          </a:p>
        </p:txBody>
      </p:sp>
      <p:sp>
        <p:nvSpPr>
          <p:cNvPr id="346" name="TextBox 345"/>
          <p:cNvSpPr txBox="1"/>
          <p:nvPr/>
        </p:nvSpPr>
        <p:spPr>
          <a:xfrm>
            <a:off x="2175572" y="2486733"/>
            <a:ext cx="423193"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Footfall</a:t>
            </a:r>
          </a:p>
        </p:txBody>
      </p:sp>
      <p:grpSp>
        <p:nvGrpSpPr>
          <p:cNvPr id="347" name="Group 346"/>
          <p:cNvGrpSpPr>
            <a:grpSpLocks noChangeAspect="1"/>
          </p:cNvGrpSpPr>
          <p:nvPr/>
        </p:nvGrpSpPr>
        <p:grpSpPr>
          <a:xfrm>
            <a:off x="2308332" y="2170450"/>
            <a:ext cx="186672" cy="287008"/>
            <a:chOff x="2868251" y="1951011"/>
            <a:chExt cx="1221836" cy="1878573"/>
          </a:xfrm>
          <a:solidFill>
            <a:schemeClr val="bg1">
              <a:lumMod val="50000"/>
            </a:schemeClr>
          </a:solidFill>
        </p:grpSpPr>
        <p:sp>
          <p:nvSpPr>
            <p:cNvPr id="348" name="Freeform 38"/>
            <p:cNvSpPr>
              <a:spLocks noEditPoints="1"/>
            </p:cNvSpPr>
            <p:nvPr/>
          </p:nvSpPr>
          <p:spPr bwMode="black">
            <a:xfrm rot="378314" flipH="1">
              <a:off x="2868251" y="3251394"/>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solidFill>
                  <a:schemeClr val="bg1">
                    <a:lumMod val="50000"/>
                  </a:schemeClr>
                </a:solidFill>
              </a:endParaRPr>
            </a:p>
          </p:txBody>
        </p:sp>
        <p:sp>
          <p:nvSpPr>
            <p:cNvPr id="349" name="Freeform 38"/>
            <p:cNvSpPr>
              <a:spLocks noEditPoints="1"/>
            </p:cNvSpPr>
            <p:nvPr/>
          </p:nvSpPr>
          <p:spPr bwMode="black">
            <a:xfrm rot="2155644">
              <a:off x="3387235" y="2917764"/>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solidFill>
                  <a:schemeClr val="bg1">
                    <a:lumMod val="50000"/>
                  </a:schemeClr>
                </a:solidFill>
              </a:endParaRPr>
            </a:p>
          </p:txBody>
        </p:sp>
        <p:grpSp>
          <p:nvGrpSpPr>
            <p:cNvPr id="350" name="Group 349"/>
            <p:cNvGrpSpPr/>
            <p:nvPr/>
          </p:nvGrpSpPr>
          <p:grpSpPr>
            <a:xfrm>
              <a:off x="3251311" y="1951011"/>
              <a:ext cx="838776" cy="939459"/>
              <a:chOff x="3226597" y="2005294"/>
              <a:chExt cx="966831" cy="1082885"/>
            </a:xfrm>
            <a:grpFill/>
          </p:grpSpPr>
          <p:sp>
            <p:nvSpPr>
              <p:cNvPr id="351" name="Freeform 38"/>
              <p:cNvSpPr>
                <a:spLocks noEditPoints="1"/>
              </p:cNvSpPr>
              <p:nvPr/>
            </p:nvSpPr>
            <p:spPr bwMode="black">
              <a:xfrm rot="378314" flipH="1">
                <a:off x="3226597" y="2509989"/>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solidFill>
                    <a:schemeClr val="bg1">
                      <a:lumMod val="50000"/>
                    </a:schemeClr>
                  </a:solidFill>
                </a:endParaRPr>
              </a:p>
            </p:txBody>
          </p:sp>
          <p:sp>
            <p:nvSpPr>
              <p:cNvPr id="352" name="Freeform 38"/>
              <p:cNvSpPr>
                <a:spLocks noEditPoints="1"/>
              </p:cNvSpPr>
              <p:nvPr/>
            </p:nvSpPr>
            <p:spPr bwMode="black">
              <a:xfrm rot="2155644">
                <a:off x="3825192" y="2005294"/>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solidFill>
                    <a:schemeClr val="bg1">
                      <a:lumMod val="50000"/>
                    </a:schemeClr>
                  </a:solidFill>
                </a:endParaRPr>
              </a:p>
            </p:txBody>
          </p:sp>
        </p:grpSp>
      </p:grpSp>
      <p:grpSp>
        <p:nvGrpSpPr>
          <p:cNvPr id="363" name="Group 362"/>
          <p:cNvGrpSpPr/>
          <p:nvPr/>
        </p:nvGrpSpPr>
        <p:grpSpPr>
          <a:xfrm>
            <a:off x="10080098" y="2196114"/>
            <a:ext cx="742320" cy="783049"/>
            <a:chOff x="5760840" y="2470790"/>
            <a:chExt cx="1103454" cy="1163997"/>
          </a:xfrm>
        </p:grpSpPr>
        <p:grpSp>
          <p:nvGrpSpPr>
            <p:cNvPr id="364" name="Group 363"/>
            <p:cNvGrpSpPr>
              <a:grpSpLocks/>
            </p:cNvGrpSpPr>
            <p:nvPr/>
          </p:nvGrpSpPr>
          <p:grpSpPr>
            <a:xfrm>
              <a:off x="5835818" y="2637004"/>
              <a:ext cx="965424" cy="843079"/>
              <a:chOff x="3576277" y="1473954"/>
              <a:chExt cx="4798544" cy="4260681"/>
            </a:xfrm>
            <a:solidFill>
              <a:schemeClr val="bg1">
                <a:lumMod val="50000"/>
              </a:schemeClr>
            </a:solidFill>
          </p:grpSpPr>
          <p:sp>
            <p:nvSpPr>
              <p:cNvPr id="385" name="Freeform 384"/>
              <p:cNvSpPr/>
              <p:nvPr/>
            </p:nvSpPr>
            <p:spPr bwMode="auto">
              <a:xfrm>
                <a:off x="4166794"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386" name="Freeform 385"/>
              <p:cNvSpPr/>
              <p:nvPr/>
            </p:nvSpPr>
            <p:spPr bwMode="auto">
              <a:xfrm flipH="1">
                <a:off x="6100719"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387" name="Freeform 386"/>
              <p:cNvSpPr/>
              <p:nvPr/>
            </p:nvSpPr>
            <p:spPr bwMode="auto">
              <a:xfrm flipV="1">
                <a:off x="4166794"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388" name="Freeform 387"/>
              <p:cNvSpPr/>
              <p:nvPr/>
            </p:nvSpPr>
            <p:spPr bwMode="auto">
              <a:xfrm flipH="1" flipV="1">
                <a:off x="6100719"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389" name="Freeform 388"/>
              <p:cNvSpPr/>
              <p:nvPr/>
            </p:nvSpPr>
            <p:spPr bwMode="auto">
              <a:xfrm rot="17954294">
                <a:off x="3288256"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390" name="Freeform 389"/>
              <p:cNvSpPr/>
              <p:nvPr/>
            </p:nvSpPr>
            <p:spPr bwMode="auto">
              <a:xfrm rot="3645706" flipH="1">
                <a:off x="6969782"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grpSp>
        <p:sp>
          <p:nvSpPr>
            <p:cNvPr id="365" name="Freeform 7"/>
            <p:cNvSpPr>
              <a:spLocks noEditPoints="1"/>
            </p:cNvSpPr>
            <p:nvPr/>
          </p:nvSpPr>
          <p:spPr bwMode="auto">
            <a:xfrm>
              <a:off x="6609086" y="2674774"/>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endParaRPr lang="en-US" sz="2400" kern="0" dirty="0">
                <a:ln>
                  <a:solidFill>
                    <a:srgbClr val="FFFFFF">
                      <a:alpha val="0"/>
                    </a:srgbClr>
                  </a:solidFill>
                </a:ln>
                <a:solidFill>
                  <a:srgbClr val="44546A"/>
                </a:solidFill>
              </a:endParaRPr>
            </a:p>
          </p:txBody>
        </p:sp>
        <p:sp>
          <p:nvSpPr>
            <p:cNvPr id="366" name="Freeform 138"/>
            <p:cNvSpPr>
              <a:spLocks noChangeAspect="1" noEditPoints="1"/>
            </p:cNvSpPr>
            <p:nvPr/>
          </p:nvSpPr>
          <p:spPr bwMode="black">
            <a:xfrm>
              <a:off x="6664759" y="2716842"/>
              <a:ext cx="143863" cy="176195"/>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ysClr val="window" lastClr="FFFFFF">
                <a:lumMod val="50000"/>
              </a:sysClr>
            </a:solidFill>
            <a:ln>
              <a:noFill/>
            </a:ln>
            <a:extLst/>
          </p:spPr>
          <p:txBody>
            <a:bodyPr vert="horz" wrap="square" lIns="91440" tIns="45720" rIns="91440" bIns="45720" numCol="1" anchor="t" anchorCtr="0" compatLnSpc="1">
              <a:prstTxWarp prst="textNoShape">
                <a:avLst/>
              </a:prstTxWarp>
              <a:noAutofit/>
            </a:bodyPr>
            <a:lstStyle/>
            <a:p>
              <a:pPr>
                <a:defRPr/>
              </a:pPr>
              <a:endParaRPr lang="en-US" sz="2000" kern="0">
                <a:ln>
                  <a:solidFill>
                    <a:srgbClr val="FFFFFF">
                      <a:alpha val="0"/>
                    </a:srgbClr>
                  </a:solidFill>
                </a:ln>
                <a:solidFill>
                  <a:srgbClr val="44546A"/>
                </a:solidFill>
              </a:endParaRPr>
            </a:p>
          </p:txBody>
        </p:sp>
        <p:sp>
          <p:nvSpPr>
            <p:cNvPr id="367" name="Freeform 7"/>
            <p:cNvSpPr>
              <a:spLocks noEditPoints="1"/>
            </p:cNvSpPr>
            <p:nvPr/>
          </p:nvSpPr>
          <p:spPr bwMode="auto">
            <a:xfrm>
              <a:off x="6605670" y="3146922"/>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368" name="Freeform 7"/>
            <p:cNvSpPr>
              <a:spLocks noEditPoints="1"/>
            </p:cNvSpPr>
            <p:nvPr/>
          </p:nvSpPr>
          <p:spPr bwMode="auto">
            <a:xfrm>
              <a:off x="5766963" y="317243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369" name="Freeform 7"/>
            <p:cNvSpPr>
              <a:spLocks noEditPoints="1"/>
            </p:cNvSpPr>
            <p:nvPr/>
          </p:nvSpPr>
          <p:spPr bwMode="auto">
            <a:xfrm>
              <a:off x="5760840" y="2689027"/>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370" name="Freeform 7"/>
            <p:cNvSpPr>
              <a:spLocks noEditPoints="1"/>
            </p:cNvSpPr>
            <p:nvPr/>
          </p:nvSpPr>
          <p:spPr bwMode="auto">
            <a:xfrm>
              <a:off x="6190926" y="247079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371" name="original cloud"/>
            <p:cNvSpPr>
              <a:spLocks noChangeAspect="1"/>
            </p:cNvSpPr>
            <p:nvPr/>
          </p:nvSpPr>
          <p:spPr bwMode="black">
            <a:xfrm>
              <a:off x="6232032" y="2546232"/>
              <a:ext cx="172996" cy="1051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50000"/>
              </a:schemeClr>
            </a:solidFill>
            <a:ln>
              <a:noFill/>
            </a:ln>
            <a:extLst/>
          </p:spPr>
          <p:txBody>
            <a:bodyPr vert="horz" wrap="square" lIns="121920" tIns="60960" rIns="121920" bIns="60960" numCol="1" anchor="t" anchorCtr="0" compatLnSpc="1">
              <a:prstTxWarp prst="textNoShape">
                <a:avLst/>
              </a:prstTxWarp>
              <a:noAutofit/>
            </a:bodyPr>
            <a:lstStyle/>
            <a:p>
              <a:pPr defTabSz="776791">
                <a:defRPr/>
              </a:pPr>
              <a:endParaRPr lang="en-US" sz="2000" kern="0" dirty="0">
                <a:ln>
                  <a:solidFill>
                    <a:srgbClr val="FFFFFF">
                      <a:alpha val="0"/>
                    </a:srgbClr>
                  </a:solidFill>
                </a:ln>
                <a:solidFill>
                  <a:srgbClr val="44546A"/>
                </a:solidFill>
              </a:endParaRPr>
            </a:p>
          </p:txBody>
        </p:sp>
        <p:sp>
          <p:nvSpPr>
            <p:cNvPr id="372" name="Freeform 7"/>
            <p:cNvSpPr>
              <a:spLocks noEditPoints="1"/>
            </p:cNvSpPr>
            <p:nvPr/>
          </p:nvSpPr>
          <p:spPr bwMode="auto">
            <a:xfrm>
              <a:off x="6190926" y="3378755"/>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grpSp>
          <p:nvGrpSpPr>
            <p:cNvPr id="373" name="Group 372"/>
            <p:cNvGrpSpPr/>
            <p:nvPr/>
          </p:nvGrpSpPr>
          <p:grpSpPr>
            <a:xfrm>
              <a:off x="6209498" y="3479631"/>
              <a:ext cx="218065" cy="67360"/>
              <a:chOff x="4888707" y="5496501"/>
              <a:chExt cx="2071733" cy="650674"/>
            </a:xfrm>
            <a:solidFill>
              <a:srgbClr val="7F7F7F"/>
            </a:solidFill>
          </p:grpSpPr>
          <p:sp>
            <p:nvSpPr>
              <p:cNvPr id="381" name="Freeform 61"/>
              <p:cNvSpPr>
                <a:spLocks/>
              </p:cNvSpPr>
              <p:nvPr/>
            </p:nvSpPr>
            <p:spPr bwMode="black">
              <a:xfrm rot="10800000">
                <a:off x="5227783" y="5496501"/>
                <a:ext cx="411263" cy="594652"/>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ln w="12700">
                <a:noFill/>
              </a:ln>
              <a:extLst/>
            </p:spPr>
            <p:txBody>
              <a:bodyPr vert="horz" wrap="square" lIns="91440" tIns="45720" rIns="91440" bIns="45720"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382" name="Freeform 20"/>
              <p:cNvSpPr>
                <a:spLocks noEditPoints="1"/>
              </p:cNvSpPr>
              <p:nvPr/>
            </p:nvSpPr>
            <p:spPr bwMode="black">
              <a:xfrm>
                <a:off x="5734595" y="5507339"/>
                <a:ext cx="839742" cy="58381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grpFill/>
              <a:ln w="12700">
                <a:noFill/>
              </a:ln>
              <a:extLst/>
            </p:spPr>
            <p:txBody>
              <a:bodyPr vert="horz" wrap="square" lIns="82305" tIns="41153" rIns="82305" bIns="41153"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383" name="Rounded Rectangle 4"/>
              <p:cNvSpPr/>
              <p:nvPr/>
            </p:nvSpPr>
            <p:spPr bwMode="auto">
              <a:xfrm>
                <a:off x="6657183" y="5507336"/>
                <a:ext cx="303257" cy="582786"/>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grpFill/>
              <a:ln w="12700">
                <a:noFill/>
              </a:ln>
              <a:extLst/>
            </p:spPr>
            <p:txBody>
              <a:bodyPr vert="horz" wrap="square" lIns="91440" tIns="45720" rIns="91440" bIns="45720" numCol="1" rtlCol="0" anchor="t" anchorCtr="0" compatLnSpc="1">
                <a:prstTxWarp prst="textNoShape">
                  <a:avLst/>
                </a:prstTxWarp>
                <a:noAutofit/>
              </a:bodyPr>
              <a:lstStyle/>
              <a:p>
                <a:pPr algn="ctr">
                  <a:defRPr/>
                </a:pPr>
                <a:endParaRPr lang="en-US" kern="0">
                  <a:ln>
                    <a:solidFill>
                      <a:srgbClr val="FFFFFF">
                        <a:alpha val="0"/>
                      </a:srgbClr>
                    </a:solidFill>
                  </a:ln>
                  <a:solidFill>
                    <a:srgbClr val="44546A"/>
                  </a:solidFill>
                </a:endParaRPr>
              </a:p>
            </p:txBody>
          </p:sp>
          <p:sp>
            <p:nvSpPr>
              <p:cNvPr id="384" name="Freeform 383"/>
              <p:cNvSpPr/>
              <p:nvPr/>
            </p:nvSpPr>
            <p:spPr>
              <a:xfrm>
                <a:off x="4888707" y="5854458"/>
                <a:ext cx="388142" cy="292717"/>
              </a:xfrm>
              <a:custGeom>
                <a:avLst/>
                <a:gdLst>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0 w 392906"/>
                  <a:gd name="connsiteY19"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4763 w 392906"/>
                  <a:gd name="connsiteY19" fmla="*/ 140494 h 300038"/>
                  <a:gd name="connsiteX20" fmla="*/ 0 w 392906"/>
                  <a:gd name="connsiteY20"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7890 w 392906"/>
                  <a:gd name="connsiteY19" fmla="*/ 142057 h 300038"/>
                  <a:gd name="connsiteX20" fmla="*/ 0 w 392906"/>
                  <a:gd name="connsiteY20" fmla="*/ 176213 h 300038"/>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9256"/>
                  <a:gd name="connsiteX1" fmla="*/ 132459 w 392906"/>
                  <a:gd name="connsiteY1" fmla="*/ 299256 h 299256"/>
                  <a:gd name="connsiteX2" fmla="*/ 157163 w 392906"/>
                  <a:gd name="connsiteY2" fmla="*/ 285786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6814" h="299256">
                    <a:moveTo>
                      <a:pt x="0" y="173868"/>
                    </a:moveTo>
                    <a:lnTo>
                      <a:pt x="132459" y="299256"/>
                    </a:lnTo>
                    <a:cubicBezTo>
                      <a:pt x="140694" y="294766"/>
                      <a:pt x="144700" y="290364"/>
                      <a:pt x="157945" y="288913"/>
                    </a:cubicBezTo>
                    <a:cubicBezTo>
                      <a:pt x="171190" y="287462"/>
                      <a:pt x="193675" y="288961"/>
                      <a:pt x="211931" y="290549"/>
                    </a:cubicBezTo>
                    <a:cubicBezTo>
                      <a:pt x="248311" y="279377"/>
                      <a:pt x="267535" y="266488"/>
                      <a:pt x="285114" y="256249"/>
                    </a:cubicBezTo>
                    <a:cubicBezTo>
                      <a:pt x="302693" y="246010"/>
                      <a:pt x="296819" y="197468"/>
                      <a:pt x="324560" y="179412"/>
                    </a:cubicBezTo>
                    <a:cubicBezTo>
                      <a:pt x="321076" y="163433"/>
                      <a:pt x="308212" y="159180"/>
                      <a:pt x="301601" y="159616"/>
                    </a:cubicBezTo>
                    <a:cubicBezTo>
                      <a:pt x="273074" y="148205"/>
                      <a:pt x="267116" y="247024"/>
                      <a:pt x="222275" y="219966"/>
                    </a:cubicBezTo>
                    <a:cubicBezTo>
                      <a:pt x="241530" y="188220"/>
                      <a:pt x="371414" y="64666"/>
                      <a:pt x="396814" y="27757"/>
                    </a:cubicBezTo>
                    <a:cubicBezTo>
                      <a:pt x="394645" y="9931"/>
                      <a:pt x="384660" y="702"/>
                      <a:pt x="362168" y="2418"/>
                    </a:cubicBezTo>
                    <a:cubicBezTo>
                      <a:pt x="318439" y="44487"/>
                      <a:pt x="238561" y="139759"/>
                      <a:pt x="231763" y="132532"/>
                    </a:cubicBezTo>
                    <a:cubicBezTo>
                      <a:pt x="224965" y="125305"/>
                      <a:pt x="256864" y="100734"/>
                      <a:pt x="265101" y="85689"/>
                    </a:cubicBezTo>
                    <a:cubicBezTo>
                      <a:pt x="278281" y="72255"/>
                      <a:pt x="251595" y="54132"/>
                      <a:pt x="238198" y="53987"/>
                    </a:cubicBezTo>
                    <a:cubicBezTo>
                      <a:pt x="221529" y="67481"/>
                      <a:pt x="195032" y="102304"/>
                      <a:pt x="190536" y="96032"/>
                    </a:cubicBezTo>
                    <a:cubicBezTo>
                      <a:pt x="186040" y="89760"/>
                      <a:pt x="219015" y="61094"/>
                      <a:pt x="220602" y="49188"/>
                    </a:cubicBezTo>
                    <a:cubicBezTo>
                      <a:pt x="227825" y="39166"/>
                      <a:pt x="208471" y="22892"/>
                      <a:pt x="193808" y="24595"/>
                    </a:cubicBezTo>
                    <a:cubicBezTo>
                      <a:pt x="181902" y="27770"/>
                      <a:pt x="151991" y="72419"/>
                      <a:pt x="145256" y="64330"/>
                    </a:cubicBezTo>
                    <a:cubicBezTo>
                      <a:pt x="138521" y="56241"/>
                      <a:pt x="169027" y="38370"/>
                      <a:pt x="167470" y="27648"/>
                    </a:cubicBezTo>
                    <a:cubicBezTo>
                      <a:pt x="168676" y="4362"/>
                      <a:pt x="153467" y="1399"/>
                      <a:pt x="135913" y="0"/>
                    </a:cubicBezTo>
                    <a:cubicBezTo>
                      <a:pt x="94638" y="49213"/>
                      <a:pt x="12865" y="126764"/>
                      <a:pt x="7890" y="139712"/>
                    </a:cubicBezTo>
                    <a:cubicBezTo>
                      <a:pt x="2915" y="152660"/>
                      <a:pt x="2630" y="162483"/>
                      <a:pt x="0" y="173868"/>
                    </a:cubicBezTo>
                    <a:close/>
                  </a:path>
                </a:pathLst>
              </a:custGeom>
              <a:grpFill/>
              <a:ln w="12700"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defRPr/>
                </a:pPr>
                <a:endParaRPr lang="en-US" kern="0" dirty="0" err="1">
                  <a:ln>
                    <a:solidFill>
                      <a:srgbClr val="FFFFFF">
                        <a:alpha val="0"/>
                      </a:srgbClr>
                    </a:solidFill>
                  </a:ln>
                  <a:solidFill>
                    <a:srgbClr val="44546A"/>
                  </a:solidFill>
                  <a:ea typeface="Segoe UI" pitchFamily="34" charset="0"/>
                  <a:cs typeface="Segoe UI" pitchFamily="34" charset="0"/>
                </a:endParaRPr>
              </a:p>
            </p:txBody>
          </p:sp>
        </p:grpSp>
        <p:pic>
          <p:nvPicPr>
            <p:cNvPr id="374" name="Picture 42"/>
            <p:cNvPicPr>
              <a:picLocks noChangeAspect="1"/>
            </p:cNvPicPr>
            <p:nvPr/>
          </p:nvPicPr>
          <p:blipFill>
            <a:blip r:embed="rId6" cstate="screen">
              <a:duotone>
                <a:prstClr val="black"/>
                <a:schemeClr val="accent5">
                  <a:tint val="45000"/>
                  <a:satMod val="400000"/>
                </a:scheme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tretch>
              <a:fillRect/>
            </a:stretch>
          </p:blipFill>
          <p:spPr bwMode="auto">
            <a:xfrm>
              <a:off x="5807405" y="2755642"/>
              <a:ext cx="162079" cy="122803"/>
            </a:xfrm>
            <a:prstGeom prst="rect">
              <a:avLst/>
            </a:prstGeom>
          </p:spPr>
        </p:pic>
        <p:grpSp>
          <p:nvGrpSpPr>
            <p:cNvPr id="375" name="Group 9"/>
            <p:cNvGrpSpPr>
              <a:grpSpLocks/>
            </p:cNvGrpSpPr>
            <p:nvPr/>
          </p:nvGrpSpPr>
          <p:grpSpPr bwMode="auto">
            <a:xfrm>
              <a:off x="5794575" y="3218649"/>
              <a:ext cx="190686" cy="156029"/>
              <a:chOff x="6940223" y="1895560"/>
              <a:chExt cx="721993" cy="641901"/>
            </a:xfrm>
            <a:solidFill>
              <a:schemeClr val="bg1">
                <a:lumMod val="95000"/>
              </a:schemeClr>
            </a:solidFill>
          </p:grpSpPr>
          <p:cxnSp>
            <p:nvCxnSpPr>
              <p:cNvPr id="377" name="Straight Connector 10"/>
              <p:cNvCxnSpPr/>
              <p:nvPr/>
            </p:nvCxnSpPr>
            <p:spPr>
              <a:xfrm flipV="1">
                <a:off x="7247609" y="1895560"/>
                <a:ext cx="294081" cy="641901"/>
              </a:xfrm>
              <a:prstGeom prst="line">
                <a:avLst/>
              </a:prstGeom>
              <a:grpFill/>
              <a:ln w="38100" cap="rnd" cmpd="sng" algn="ctr">
                <a:solidFill>
                  <a:srgbClr val="7F7F7F"/>
                </a:solidFill>
                <a:prstDash val="sysDot"/>
              </a:ln>
              <a:effectLst/>
            </p:spPr>
          </p:cxnSp>
          <p:grpSp>
            <p:nvGrpSpPr>
              <p:cNvPr id="378" name="Group 11"/>
              <p:cNvGrpSpPr>
                <a:grpSpLocks/>
              </p:cNvGrpSpPr>
              <p:nvPr/>
            </p:nvGrpSpPr>
            <p:grpSpPr bwMode="auto">
              <a:xfrm>
                <a:off x="6940223" y="2011636"/>
                <a:ext cx="721993" cy="430704"/>
                <a:chOff x="6997583" y="1705969"/>
                <a:chExt cx="1039555" cy="620144"/>
              </a:xfrm>
              <a:grpFill/>
            </p:grpSpPr>
            <p:pic>
              <p:nvPicPr>
                <p:cNvPr id="379" name="Picture 47" descr="C:\Users\sakuu\Documents\Ballmer MGX 2011\Tile Icons\Calendar.png"/>
                <p:cNvPicPr>
                  <a:picLocks noChangeAspect="1" noChangeArrowheads="1"/>
                </p:cNvPicPr>
                <p:nvPr/>
              </p:nvPicPr>
              <p:blipFill>
                <a:blip r:embed="rId8" cstate="screen">
                  <a:duotone>
                    <a:prstClr val="black"/>
                    <a:schemeClr val="accent5">
                      <a:tint val="45000"/>
                      <a:satMod val="400000"/>
                    </a:schemeClr>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black">
                <a:xfrm>
                  <a:off x="7458341" y="1774201"/>
                  <a:ext cx="578797" cy="551912"/>
                </a:xfrm>
                <a:prstGeom prst="rect">
                  <a:avLst/>
                </a:prstGeom>
                <a:grpFill/>
                <a:extLst>
                  <a:ext uri="{909E8E84-426E-40dd-AFC4-6F175D3DCCD1}">
                    <a14:hiddenFill xmlns:a14="http://schemas.microsoft.com/office/drawing/2010/main" xmlns="">
                      <a:solidFill>
                        <a:srgbClr val="FFFFFF"/>
                      </a:solidFill>
                    </a14:hiddenFill>
                  </a:ext>
                </a:extLst>
              </p:spPr>
            </p:pic>
            <p:sp>
              <p:nvSpPr>
                <p:cNvPr id="380" name="Freeform 113"/>
                <p:cNvSpPr>
                  <a:spLocks noEditPoints="1"/>
                </p:cNvSpPr>
                <p:nvPr/>
              </p:nvSpPr>
              <p:spPr bwMode="black">
                <a:xfrm>
                  <a:off x="6997583" y="1705969"/>
                  <a:ext cx="424935" cy="48747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7F7F7F"/>
                </a:solidFill>
                <a:ln>
                  <a:noFill/>
                </a:ln>
                <a:extLst/>
              </p:spPr>
              <p:txBody>
                <a:bodyPr/>
                <a:lstStyle/>
                <a:p>
                  <a:pPr defTabSz="914400">
                    <a:defRPr/>
                  </a:pPr>
                  <a:endParaRPr lang="en-US" sz="1050" kern="0">
                    <a:solidFill>
                      <a:srgbClr val="000000"/>
                    </a:solidFill>
                  </a:endParaRPr>
                </a:p>
              </p:txBody>
            </p:sp>
          </p:grpSp>
        </p:grpSp>
        <p:sp>
          <p:nvSpPr>
            <p:cNvPr id="376" name="Freeform 73"/>
            <p:cNvSpPr>
              <a:spLocks noEditPoints="1"/>
            </p:cNvSpPr>
            <p:nvPr/>
          </p:nvSpPr>
          <p:spPr bwMode="black">
            <a:xfrm>
              <a:off x="6646247" y="3186281"/>
              <a:ext cx="185208" cy="17476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lumMod val="50000"/>
              </a:schemeClr>
            </a:solidFill>
            <a:ln w="9525">
              <a:noFill/>
              <a:round/>
              <a:headEnd/>
              <a:tailEnd/>
            </a:ln>
          </p:spPr>
          <p:txBody>
            <a:bodyPr/>
            <a:lstStyle/>
            <a:p>
              <a:pPr algn="ctr" defTabSz="1088105"/>
              <a:endParaRPr lang="en-US" sz="2200">
                <a:ln>
                  <a:solidFill>
                    <a:srgbClr val="505050">
                      <a:alpha val="0"/>
                    </a:srgbClr>
                  </a:solidFill>
                </a:ln>
                <a:solidFill>
                  <a:srgbClr val="505050"/>
                </a:solidFill>
              </a:endParaRPr>
            </a:p>
          </p:txBody>
        </p:sp>
      </p:grpSp>
      <p:grpSp>
        <p:nvGrpSpPr>
          <p:cNvPr id="391" name="Group 390"/>
          <p:cNvGrpSpPr>
            <a:grpSpLocks noChangeAspect="1"/>
          </p:cNvGrpSpPr>
          <p:nvPr/>
        </p:nvGrpSpPr>
        <p:grpSpPr>
          <a:xfrm>
            <a:off x="10252968" y="2475578"/>
            <a:ext cx="421256" cy="201249"/>
            <a:chOff x="335107" y="1984056"/>
            <a:chExt cx="8623119" cy="4119564"/>
          </a:xfrm>
          <a:solidFill>
            <a:schemeClr val="bg1">
              <a:lumMod val="50000"/>
            </a:schemeClr>
          </a:solidFill>
        </p:grpSpPr>
        <p:sp>
          <p:nvSpPr>
            <p:cNvPr id="392" name="Freeform 391"/>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393" name="Man's Body"/>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94" name="Man's Body"/>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95" name="Man's Body"/>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96" name="Man's Body"/>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97" name="Man's Body"/>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98" name="Man's Body"/>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99" name="Freeform 398"/>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400" name="Freeform 399"/>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grpSp>
      <p:sp>
        <p:nvSpPr>
          <p:cNvPr id="184" name="Text Placeholder 6"/>
          <p:cNvSpPr txBox="1">
            <a:spLocks/>
          </p:cNvSpPr>
          <p:nvPr/>
        </p:nvSpPr>
        <p:spPr>
          <a:xfrm>
            <a:off x="8389559"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dirty="0"/>
              <a:t>Solution Storyboard</a:t>
            </a:r>
          </a:p>
        </p:txBody>
      </p:sp>
    </p:spTree>
    <p:extLst>
      <p:ext uri="{BB962C8B-B14F-4D97-AF65-F5344CB8AC3E}">
        <p14:creationId xmlns:p14="http://schemas.microsoft.com/office/powerpoint/2010/main" val="3842188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ity Insights</a:t>
            </a:r>
            <a:endParaRPr lang="en-IN" dirty="0"/>
          </a:p>
        </p:txBody>
      </p:sp>
      <p:sp>
        <p:nvSpPr>
          <p:cNvPr id="5" name="Slide Number Placeholder 4"/>
          <p:cNvSpPr>
            <a:spLocks noGrp="1"/>
          </p:cNvSpPr>
          <p:nvPr>
            <p:ph type="sldNum" sz="quarter" idx="4294967295"/>
          </p:nvPr>
        </p:nvSpPr>
        <p:spPr>
          <a:xfrm>
            <a:off x="11430001" y="6478588"/>
            <a:ext cx="761998" cy="379413"/>
          </a:xfrm>
          <a:prstGeom prst="rect">
            <a:avLst/>
          </a:prstGeom>
        </p:spPr>
        <p:txBody>
          <a:bodyPr/>
          <a:lstStyle/>
          <a:p>
            <a:pPr>
              <a:defRPr/>
            </a:pPr>
            <a:fld id="{6A4C1A4A-E5E6-4CC1-B72C-A20A4EB3E2D2}" type="slidenum">
              <a:rPr lang="en-US" sz="1800" kern="0" smtClean="0">
                <a:solidFill>
                  <a:srgbClr val="505050"/>
                </a:solidFill>
              </a:rPr>
              <a:pPr>
                <a:defRPr/>
              </a:pPr>
              <a:t>16</a:t>
            </a:fld>
            <a:endParaRPr lang="en-US" sz="1800" kern="0" dirty="0">
              <a:solidFill>
                <a:srgbClr val="505050"/>
              </a:solidFill>
            </a:endParaRPr>
          </a:p>
        </p:txBody>
      </p:sp>
      <p:grpSp>
        <p:nvGrpSpPr>
          <p:cNvPr id="31" name="Group 30"/>
          <p:cNvGrpSpPr/>
          <p:nvPr/>
        </p:nvGrpSpPr>
        <p:grpSpPr>
          <a:xfrm>
            <a:off x="4202391" y="2826994"/>
            <a:ext cx="1896154" cy="1195703"/>
            <a:chOff x="297534" y="1312953"/>
            <a:chExt cx="1896154" cy="1195703"/>
          </a:xfrm>
        </p:grpSpPr>
        <p:grpSp>
          <p:nvGrpSpPr>
            <p:cNvPr id="28" name="Group 27"/>
            <p:cNvGrpSpPr/>
            <p:nvPr/>
          </p:nvGrpSpPr>
          <p:grpSpPr>
            <a:xfrm>
              <a:off x="297534" y="1312953"/>
              <a:ext cx="1592922" cy="961432"/>
              <a:chOff x="97654" y="1817834"/>
              <a:chExt cx="2838836" cy="1750989"/>
            </a:xfrm>
          </p:grpSpPr>
          <p:sp>
            <p:nvSpPr>
              <p:cNvPr id="105" name="Oval 104"/>
              <p:cNvSpPr/>
              <p:nvPr/>
            </p:nvSpPr>
            <p:spPr>
              <a:xfrm>
                <a:off x="97654" y="1817834"/>
                <a:ext cx="2838836" cy="175098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endParaRPr lang="en-US" sz="1200" kern="0" dirty="0" err="1">
                  <a:solidFill>
                    <a:prstClr val="white"/>
                  </a:solidFill>
                </a:endParaRPr>
              </a:p>
            </p:txBody>
          </p:sp>
          <p:sp>
            <p:nvSpPr>
              <p:cNvPr id="106" name="Freeform 105"/>
              <p:cNvSpPr/>
              <p:nvPr/>
            </p:nvSpPr>
            <p:spPr>
              <a:xfrm>
                <a:off x="793927" y="2308405"/>
                <a:ext cx="594455" cy="47272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7F7F7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defRPr/>
                </a:pPr>
                <a:endParaRPr lang="en-US" sz="1799"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ound Same Side Corner Rectangle 2"/>
              <p:cNvSpPr/>
              <p:nvPr/>
            </p:nvSpPr>
            <p:spPr>
              <a:xfrm>
                <a:off x="392298" y="2320739"/>
                <a:ext cx="257829" cy="480859"/>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ctr" defTabSz="1088105">
                  <a:defRPr/>
                </a:pPr>
                <a:endParaRPr lang="en-US" sz="1200" kern="0">
                  <a:solidFill>
                    <a:prstClr val="white"/>
                  </a:solidFill>
                </a:endParaRPr>
              </a:p>
            </p:txBody>
          </p:sp>
          <p:sp>
            <p:nvSpPr>
              <p:cNvPr id="108" name="Freeform 107"/>
              <p:cNvSpPr>
                <a:spLocks noChangeAspect="1"/>
              </p:cNvSpPr>
              <p:nvPr/>
            </p:nvSpPr>
            <p:spPr bwMode="auto">
              <a:xfrm>
                <a:off x="2041235" y="2334828"/>
                <a:ext cx="584817" cy="407786"/>
              </a:xfrm>
              <a:custGeom>
                <a:avLst/>
                <a:gdLst>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1944920 w 4250373"/>
                  <a:gd name="connsiteY108" fmla="*/ 474006 h 3382171"/>
                  <a:gd name="connsiteX109" fmla="*/ 1994308 w 4250373"/>
                  <a:gd name="connsiteY109" fmla="*/ 424618 h 3382171"/>
                  <a:gd name="connsiteX110" fmla="*/ 1994308 w 4250373"/>
                  <a:gd name="connsiteY110" fmla="*/ 154163 h 3382171"/>
                  <a:gd name="connsiteX111" fmla="*/ 722896 w 4250373"/>
                  <a:gd name="connsiteY111" fmla="*/ 104775 h 3382171"/>
                  <a:gd name="connsiteX112" fmla="*/ 576301 w 4250373"/>
                  <a:gd name="connsiteY112" fmla="*/ 0 h 3382171"/>
                  <a:gd name="connsiteX113" fmla="*/ 2091515 w 4250373"/>
                  <a:gd name="connsiteY113" fmla="*/ 0 h 3382171"/>
                  <a:gd name="connsiteX114" fmla="*/ 2168933 w 4250373"/>
                  <a:gd name="connsiteY114" fmla="*/ 77418 h 3382171"/>
                  <a:gd name="connsiteX115" fmla="*/ 2168933 w 4250373"/>
                  <a:gd name="connsiteY115" fmla="*/ 501363 h 3382171"/>
                  <a:gd name="connsiteX116" fmla="*/ 2091515 w 4250373"/>
                  <a:gd name="connsiteY116" fmla="*/ 578781 h 3382171"/>
                  <a:gd name="connsiteX117" fmla="*/ 1535838 w 4250373"/>
                  <a:gd name="connsiteY117" fmla="*/ 578781 h 3382171"/>
                  <a:gd name="connsiteX118" fmla="*/ 1535838 w 4250373"/>
                  <a:gd name="connsiteY118" fmla="*/ 1055029 h 3382171"/>
                  <a:gd name="connsiteX119" fmla="*/ 2583508 w 4250373"/>
                  <a:gd name="connsiteY119" fmla="*/ 1055029 h 3382171"/>
                  <a:gd name="connsiteX120" fmla="*/ 2623911 w 4250373"/>
                  <a:gd name="connsiteY120" fmla="*/ 475594 h 3382171"/>
                  <a:gd name="connsiteX121" fmla="*/ 2671536 w 4250373"/>
                  <a:gd name="connsiteY121" fmla="*/ 426381 h 3382171"/>
                  <a:gd name="connsiteX122" fmla="*/ 3339873 w 4250373"/>
                  <a:gd name="connsiteY122" fmla="*/ 418443 h 3382171"/>
                  <a:gd name="connsiteX123" fmla="*/ 3327420 w 4250373"/>
                  <a:gd name="connsiteY123" fmla="*/ 1055029 h 3382171"/>
                  <a:gd name="connsiteX124" fmla="*/ 3504752 w 4250373"/>
                  <a:gd name="connsiteY124" fmla="*/ 1055029 h 3382171"/>
                  <a:gd name="connsiteX125" fmla="*/ 3740691 w 4250373"/>
                  <a:gd name="connsiteY125" fmla="*/ 1290968 h 3382171"/>
                  <a:gd name="connsiteX126" fmla="*/ 3740691 w 4250373"/>
                  <a:gd name="connsiteY126" fmla="*/ 2355081 h 3382171"/>
                  <a:gd name="connsiteX127" fmla="*/ 4250373 w 4250373"/>
                  <a:gd name="connsiteY127" fmla="*/ 2862875 h 3382171"/>
                  <a:gd name="connsiteX128" fmla="*/ 4245831 w 4250373"/>
                  <a:gd name="connsiteY128" fmla="*/ 2862877 h 3382171"/>
                  <a:gd name="connsiteX129" fmla="*/ 4245831 w 4250373"/>
                  <a:gd name="connsiteY129" fmla="*/ 3282908 h 3382171"/>
                  <a:gd name="connsiteX130" fmla="*/ 4146568 w 4250373"/>
                  <a:gd name="connsiteY130" fmla="*/ 3382171 h 3382171"/>
                  <a:gd name="connsiteX131" fmla="*/ 102439 w 4250373"/>
                  <a:gd name="connsiteY131" fmla="*/ 3382171 h 3382171"/>
                  <a:gd name="connsiteX132" fmla="*/ 3176 w 4250373"/>
                  <a:gd name="connsiteY132" fmla="*/ 3282908 h 3382171"/>
                  <a:gd name="connsiteX133" fmla="*/ 3176 w 4250373"/>
                  <a:gd name="connsiteY133" fmla="*/ 2864144 h 3382171"/>
                  <a:gd name="connsiteX134" fmla="*/ 0 w 4250373"/>
                  <a:gd name="connsiteY134" fmla="*/ 2864145 h 3382171"/>
                  <a:gd name="connsiteX135" fmla="*/ 3176 w 4250373"/>
                  <a:gd name="connsiteY135" fmla="*/ 2861005 h 3382171"/>
                  <a:gd name="connsiteX136" fmla="*/ 3176 w 4250373"/>
                  <a:gd name="connsiteY136" fmla="*/ 2860970 h 3382171"/>
                  <a:gd name="connsiteX137" fmla="*/ 3211 w 4250373"/>
                  <a:gd name="connsiteY137" fmla="*/ 2860970 h 3382171"/>
                  <a:gd name="connsiteX138" fmla="*/ 511811 w 4250373"/>
                  <a:gd name="connsiteY138" fmla="*/ 2358050 h 3382171"/>
                  <a:gd name="connsiteX139" fmla="*/ 512859 w 4250373"/>
                  <a:gd name="connsiteY139" fmla="*/ 2358048 h 3382171"/>
                  <a:gd name="connsiteX140" fmla="*/ 512859 w 4250373"/>
                  <a:gd name="connsiteY140" fmla="*/ 1290968 h 3382171"/>
                  <a:gd name="connsiteX141" fmla="*/ 748798 w 4250373"/>
                  <a:gd name="connsiteY141" fmla="*/ 1055029 h 3382171"/>
                  <a:gd name="connsiteX142" fmla="*/ 1131978 w 4250373"/>
                  <a:gd name="connsiteY142" fmla="*/ 1055029 h 3382171"/>
                  <a:gd name="connsiteX143" fmla="*/ 1131978 w 4250373"/>
                  <a:gd name="connsiteY143" fmla="*/ 578781 h 3382171"/>
                  <a:gd name="connsiteX144" fmla="*/ 576301 w 4250373"/>
                  <a:gd name="connsiteY144" fmla="*/ 578781 h 3382171"/>
                  <a:gd name="connsiteX145" fmla="*/ 498883 w 4250373"/>
                  <a:gd name="connsiteY145" fmla="*/ 501363 h 3382171"/>
                  <a:gd name="connsiteX146" fmla="*/ 498883 w 4250373"/>
                  <a:gd name="connsiteY146" fmla="*/ 77418 h 3382171"/>
                  <a:gd name="connsiteX147" fmla="*/ 576301 w 4250373"/>
                  <a:gd name="connsiteY147"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1944920 w 4250373"/>
                  <a:gd name="connsiteY108" fmla="*/ 474006 h 3382171"/>
                  <a:gd name="connsiteX109" fmla="*/ 1994308 w 4250373"/>
                  <a:gd name="connsiteY109" fmla="*/ 424618 h 3382171"/>
                  <a:gd name="connsiteX110" fmla="*/ 722896 w 4250373"/>
                  <a:gd name="connsiteY110" fmla="*/ 104775 h 3382171"/>
                  <a:gd name="connsiteX111" fmla="*/ 576301 w 4250373"/>
                  <a:gd name="connsiteY111" fmla="*/ 0 h 3382171"/>
                  <a:gd name="connsiteX112" fmla="*/ 2091515 w 4250373"/>
                  <a:gd name="connsiteY112" fmla="*/ 0 h 3382171"/>
                  <a:gd name="connsiteX113" fmla="*/ 2168933 w 4250373"/>
                  <a:gd name="connsiteY113" fmla="*/ 77418 h 3382171"/>
                  <a:gd name="connsiteX114" fmla="*/ 2168933 w 4250373"/>
                  <a:gd name="connsiteY114" fmla="*/ 501363 h 3382171"/>
                  <a:gd name="connsiteX115" fmla="*/ 2091515 w 4250373"/>
                  <a:gd name="connsiteY115" fmla="*/ 578781 h 3382171"/>
                  <a:gd name="connsiteX116" fmla="*/ 1535838 w 4250373"/>
                  <a:gd name="connsiteY116" fmla="*/ 578781 h 3382171"/>
                  <a:gd name="connsiteX117" fmla="*/ 1535838 w 4250373"/>
                  <a:gd name="connsiteY117" fmla="*/ 1055029 h 3382171"/>
                  <a:gd name="connsiteX118" fmla="*/ 2583508 w 4250373"/>
                  <a:gd name="connsiteY118" fmla="*/ 1055029 h 3382171"/>
                  <a:gd name="connsiteX119" fmla="*/ 2623911 w 4250373"/>
                  <a:gd name="connsiteY119" fmla="*/ 475594 h 3382171"/>
                  <a:gd name="connsiteX120" fmla="*/ 2671536 w 4250373"/>
                  <a:gd name="connsiteY120" fmla="*/ 426381 h 3382171"/>
                  <a:gd name="connsiteX121" fmla="*/ 3339873 w 4250373"/>
                  <a:gd name="connsiteY121" fmla="*/ 418443 h 3382171"/>
                  <a:gd name="connsiteX122" fmla="*/ 3327420 w 4250373"/>
                  <a:gd name="connsiteY122" fmla="*/ 1055029 h 3382171"/>
                  <a:gd name="connsiteX123" fmla="*/ 3504752 w 4250373"/>
                  <a:gd name="connsiteY123" fmla="*/ 1055029 h 3382171"/>
                  <a:gd name="connsiteX124" fmla="*/ 3740691 w 4250373"/>
                  <a:gd name="connsiteY124" fmla="*/ 1290968 h 3382171"/>
                  <a:gd name="connsiteX125" fmla="*/ 3740691 w 4250373"/>
                  <a:gd name="connsiteY125" fmla="*/ 2355081 h 3382171"/>
                  <a:gd name="connsiteX126" fmla="*/ 4250373 w 4250373"/>
                  <a:gd name="connsiteY126" fmla="*/ 2862875 h 3382171"/>
                  <a:gd name="connsiteX127" fmla="*/ 4245831 w 4250373"/>
                  <a:gd name="connsiteY127" fmla="*/ 2862877 h 3382171"/>
                  <a:gd name="connsiteX128" fmla="*/ 4245831 w 4250373"/>
                  <a:gd name="connsiteY128" fmla="*/ 3282908 h 3382171"/>
                  <a:gd name="connsiteX129" fmla="*/ 4146568 w 4250373"/>
                  <a:gd name="connsiteY129" fmla="*/ 3382171 h 3382171"/>
                  <a:gd name="connsiteX130" fmla="*/ 102439 w 4250373"/>
                  <a:gd name="connsiteY130" fmla="*/ 3382171 h 3382171"/>
                  <a:gd name="connsiteX131" fmla="*/ 3176 w 4250373"/>
                  <a:gd name="connsiteY131" fmla="*/ 3282908 h 3382171"/>
                  <a:gd name="connsiteX132" fmla="*/ 3176 w 4250373"/>
                  <a:gd name="connsiteY132" fmla="*/ 2864144 h 3382171"/>
                  <a:gd name="connsiteX133" fmla="*/ 0 w 4250373"/>
                  <a:gd name="connsiteY133" fmla="*/ 2864145 h 3382171"/>
                  <a:gd name="connsiteX134" fmla="*/ 3176 w 4250373"/>
                  <a:gd name="connsiteY134" fmla="*/ 2861005 h 3382171"/>
                  <a:gd name="connsiteX135" fmla="*/ 3176 w 4250373"/>
                  <a:gd name="connsiteY135" fmla="*/ 2860970 h 3382171"/>
                  <a:gd name="connsiteX136" fmla="*/ 3211 w 4250373"/>
                  <a:gd name="connsiteY136" fmla="*/ 2860970 h 3382171"/>
                  <a:gd name="connsiteX137" fmla="*/ 511811 w 4250373"/>
                  <a:gd name="connsiteY137" fmla="*/ 2358050 h 3382171"/>
                  <a:gd name="connsiteX138" fmla="*/ 512859 w 4250373"/>
                  <a:gd name="connsiteY138" fmla="*/ 2358048 h 3382171"/>
                  <a:gd name="connsiteX139" fmla="*/ 512859 w 4250373"/>
                  <a:gd name="connsiteY139" fmla="*/ 1290968 h 3382171"/>
                  <a:gd name="connsiteX140" fmla="*/ 748798 w 4250373"/>
                  <a:gd name="connsiteY140" fmla="*/ 1055029 h 3382171"/>
                  <a:gd name="connsiteX141" fmla="*/ 1131978 w 4250373"/>
                  <a:gd name="connsiteY141" fmla="*/ 1055029 h 3382171"/>
                  <a:gd name="connsiteX142" fmla="*/ 1131978 w 4250373"/>
                  <a:gd name="connsiteY142" fmla="*/ 578781 h 3382171"/>
                  <a:gd name="connsiteX143" fmla="*/ 576301 w 4250373"/>
                  <a:gd name="connsiteY143" fmla="*/ 578781 h 3382171"/>
                  <a:gd name="connsiteX144" fmla="*/ 498883 w 4250373"/>
                  <a:gd name="connsiteY144" fmla="*/ 501363 h 3382171"/>
                  <a:gd name="connsiteX145" fmla="*/ 498883 w 4250373"/>
                  <a:gd name="connsiteY145" fmla="*/ 77418 h 3382171"/>
                  <a:gd name="connsiteX146" fmla="*/ 576301 w 4250373"/>
                  <a:gd name="connsiteY146"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1944920 w 4250373"/>
                  <a:gd name="connsiteY108" fmla="*/ 474006 h 3382171"/>
                  <a:gd name="connsiteX109" fmla="*/ 722896 w 4250373"/>
                  <a:gd name="connsiteY109" fmla="*/ 104775 h 3382171"/>
                  <a:gd name="connsiteX110" fmla="*/ 576301 w 4250373"/>
                  <a:gd name="connsiteY110" fmla="*/ 0 h 3382171"/>
                  <a:gd name="connsiteX111" fmla="*/ 2091515 w 4250373"/>
                  <a:gd name="connsiteY111" fmla="*/ 0 h 3382171"/>
                  <a:gd name="connsiteX112" fmla="*/ 2168933 w 4250373"/>
                  <a:gd name="connsiteY112" fmla="*/ 77418 h 3382171"/>
                  <a:gd name="connsiteX113" fmla="*/ 2168933 w 4250373"/>
                  <a:gd name="connsiteY113" fmla="*/ 501363 h 3382171"/>
                  <a:gd name="connsiteX114" fmla="*/ 2091515 w 4250373"/>
                  <a:gd name="connsiteY114" fmla="*/ 578781 h 3382171"/>
                  <a:gd name="connsiteX115" fmla="*/ 1535838 w 4250373"/>
                  <a:gd name="connsiteY115" fmla="*/ 578781 h 3382171"/>
                  <a:gd name="connsiteX116" fmla="*/ 1535838 w 4250373"/>
                  <a:gd name="connsiteY116" fmla="*/ 1055029 h 3382171"/>
                  <a:gd name="connsiteX117" fmla="*/ 2583508 w 4250373"/>
                  <a:gd name="connsiteY117" fmla="*/ 1055029 h 3382171"/>
                  <a:gd name="connsiteX118" fmla="*/ 2623911 w 4250373"/>
                  <a:gd name="connsiteY118" fmla="*/ 475594 h 3382171"/>
                  <a:gd name="connsiteX119" fmla="*/ 2671536 w 4250373"/>
                  <a:gd name="connsiteY119" fmla="*/ 426381 h 3382171"/>
                  <a:gd name="connsiteX120" fmla="*/ 3339873 w 4250373"/>
                  <a:gd name="connsiteY120" fmla="*/ 418443 h 3382171"/>
                  <a:gd name="connsiteX121" fmla="*/ 3327420 w 4250373"/>
                  <a:gd name="connsiteY121" fmla="*/ 1055029 h 3382171"/>
                  <a:gd name="connsiteX122" fmla="*/ 3504752 w 4250373"/>
                  <a:gd name="connsiteY122" fmla="*/ 1055029 h 3382171"/>
                  <a:gd name="connsiteX123" fmla="*/ 3740691 w 4250373"/>
                  <a:gd name="connsiteY123" fmla="*/ 1290968 h 3382171"/>
                  <a:gd name="connsiteX124" fmla="*/ 3740691 w 4250373"/>
                  <a:gd name="connsiteY124" fmla="*/ 2355081 h 3382171"/>
                  <a:gd name="connsiteX125" fmla="*/ 4250373 w 4250373"/>
                  <a:gd name="connsiteY125" fmla="*/ 2862875 h 3382171"/>
                  <a:gd name="connsiteX126" fmla="*/ 4245831 w 4250373"/>
                  <a:gd name="connsiteY126" fmla="*/ 2862877 h 3382171"/>
                  <a:gd name="connsiteX127" fmla="*/ 4245831 w 4250373"/>
                  <a:gd name="connsiteY127" fmla="*/ 3282908 h 3382171"/>
                  <a:gd name="connsiteX128" fmla="*/ 4146568 w 4250373"/>
                  <a:gd name="connsiteY128" fmla="*/ 3382171 h 3382171"/>
                  <a:gd name="connsiteX129" fmla="*/ 102439 w 4250373"/>
                  <a:gd name="connsiteY129" fmla="*/ 3382171 h 3382171"/>
                  <a:gd name="connsiteX130" fmla="*/ 3176 w 4250373"/>
                  <a:gd name="connsiteY130" fmla="*/ 3282908 h 3382171"/>
                  <a:gd name="connsiteX131" fmla="*/ 3176 w 4250373"/>
                  <a:gd name="connsiteY131" fmla="*/ 2864144 h 3382171"/>
                  <a:gd name="connsiteX132" fmla="*/ 0 w 4250373"/>
                  <a:gd name="connsiteY132" fmla="*/ 2864145 h 3382171"/>
                  <a:gd name="connsiteX133" fmla="*/ 3176 w 4250373"/>
                  <a:gd name="connsiteY133" fmla="*/ 2861005 h 3382171"/>
                  <a:gd name="connsiteX134" fmla="*/ 3176 w 4250373"/>
                  <a:gd name="connsiteY134" fmla="*/ 2860970 h 3382171"/>
                  <a:gd name="connsiteX135" fmla="*/ 3211 w 4250373"/>
                  <a:gd name="connsiteY135" fmla="*/ 2860970 h 3382171"/>
                  <a:gd name="connsiteX136" fmla="*/ 511811 w 4250373"/>
                  <a:gd name="connsiteY136" fmla="*/ 2358050 h 3382171"/>
                  <a:gd name="connsiteX137" fmla="*/ 512859 w 4250373"/>
                  <a:gd name="connsiteY137" fmla="*/ 2358048 h 3382171"/>
                  <a:gd name="connsiteX138" fmla="*/ 512859 w 4250373"/>
                  <a:gd name="connsiteY138" fmla="*/ 1290968 h 3382171"/>
                  <a:gd name="connsiteX139" fmla="*/ 748798 w 4250373"/>
                  <a:gd name="connsiteY139" fmla="*/ 1055029 h 3382171"/>
                  <a:gd name="connsiteX140" fmla="*/ 1131978 w 4250373"/>
                  <a:gd name="connsiteY140" fmla="*/ 1055029 h 3382171"/>
                  <a:gd name="connsiteX141" fmla="*/ 1131978 w 4250373"/>
                  <a:gd name="connsiteY141" fmla="*/ 578781 h 3382171"/>
                  <a:gd name="connsiteX142" fmla="*/ 576301 w 4250373"/>
                  <a:gd name="connsiteY142" fmla="*/ 578781 h 3382171"/>
                  <a:gd name="connsiteX143" fmla="*/ 498883 w 4250373"/>
                  <a:gd name="connsiteY143" fmla="*/ 501363 h 3382171"/>
                  <a:gd name="connsiteX144" fmla="*/ 498883 w 4250373"/>
                  <a:gd name="connsiteY144" fmla="*/ 77418 h 3382171"/>
                  <a:gd name="connsiteX145" fmla="*/ 576301 w 4250373"/>
                  <a:gd name="connsiteY145"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722896 w 4250373"/>
                  <a:gd name="connsiteY108" fmla="*/ 104775 h 3382171"/>
                  <a:gd name="connsiteX109" fmla="*/ 576301 w 4250373"/>
                  <a:gd name="connsiteY109" fmla="*/ 0 h 3382171"/>
                  <a:gd name="connsiteX110" fmla="*/ 2091515 w 4250373"/>
                  <a:gd name="connsiteY110" fmla="*/ 0 h 3382171"/>
                  <a:gd name="connsiteX111" fmla="*/ 2168933 w 4250373"/>
                  <a:gd name="connsiteY111" fmla="*/ 77418 h 3382171"/>
                  <a:gd name="connsiteX112" fmla="*/ 2168933 w 4250373"/>
                  <a:gd name="connsiteY112" fmla="*/ 501363 h 3382171"/>
                  <a:gd name="connsiteX113" fmla="*/ 2091515 w 4250373"/>
                  <a:gd name="connsiteY113" fmla="*/ 578781 h 3382171"/>
                  <a:gd name="connsiteX114" fmla="*/ 1535838 w 4250373"/>
                  <a:gd name="connsiteY114" fmla="*/ 578781 h 3382171"/>
                  <a:gd name="connsiteX115" fmla="*/ 1535838 w 4250373"/>
                  <a:gd name="connsiteY115" fmla="*/ 1055029 h 3382171"/>
                  <a:gd name="connsiteX116" fmla="*/ 2583508 w 4250373"/>
                  <a:gd name="connsiteY116" fmla="*/ 1055029 h 3382171"/>
                  <a:gd name="connsiteX117" fmla="*/ 2623911 w 4250373"/>
                  <a:gd name="connsiteY117" fmla="*/ 475594 h 3382171"/>
                  <a:gd name="connsiteX118" fmla="*/ 2671536 w 4250373"/>
                  <a:gd name="connsiteY118" fmla="*/ 426381 h 3382171"/>
                  <a:gd name="connsiteX119" fmla="*/ 3339873 w 4250373"/>
                  <a:gd name="connsiteY119" fmla="*/ 418443 h 3382171"/>
                  <a:gd name="connsiteX120" fmla="*/ 3327420 w 4250373"/>
                  <a:gd name="connsiteY120" fmla="*/ 1055029 h 3382171"/>
                  <a:gd name="connsiteX121" fmla="*/ 3504752 w 4250373"/>
                  <a:gd name="connsiteY121" fmla="*/ 1055029 h 3382171"/>
                  <a:gd name="connsiteX122" fmla="*/ 3740691 w 4250373"/>
                  <a:gd name="connsiteY122" fmla="*/ 1290968 h 3382171"/>
                  <a:gd name="connsiteX123" fmla="*/ 3740691 w 4250373"/>
                  <a:gd name="connsiteY123" fmla="*/ 2355081 h 3382171"/>
                  <a:gd name="connsiteX124" fmla="*/ 4250373 w 4250373"/>
                  <a:gd name="connsiteY124" fmla="*/ 2862875 h 3382171"/>
                  <a:gd name="connsiteX125" fmla="*/ 4245831 w 4250373"/>
                  <a:gd name="connsiteY125" fmla="*/ 2862877 h 3382171"/>
                  <a:gd name="connsiteX126" fmla="*/ 4245831 w 4250373"/>
                  <a:gd name="connsiteY126" fmla="*/ 3282908 h 3382171"/>
                  <a:gd name="connsiteX127" fmla="*/ 4146568 w 4250373"/>
                  <a:gd name="connsiteY127" fmla="*/ 3382171 h 3382171"/>
                  <a:gd name="connsiteX128" fmla="*/ 102439 w 4250373"/>
                  <a:gd name="connsiteY128" fmla="*/ 3382171 h 3382171"/>
                  <a:gd name="connsiteX129" fmla="*/ 3176 w 4250373"/>
                  <a:gd name="connsiteY129" fmla="*/ 3282908 h 3382171"/>
                  <a:gd name="connsiteX130" fmla="*/ 3176 w 4250373"/>
                  <a:gd name="connsiteY130" fmla="*/ 2864144 h 3382171"/>
                  <a:gd name="connsiteX131" fmla="*/ 0 w 4250373"/>
                  <a:gd name="connsiteY131" fmla="*/ 2864145 h 3382171"/>
                  <a:gd name="connsiteX132" fmla="*/ 3176 w 4250373"/>
                  <a:gd name="connsiteY132" fmla="*/ 2861005 h 3382171"/>
                  <a:gd name="connsiteX133" fmla="*/ 3176 w 4250373"/>
                  <a:gd name="connsiteY133" fmla="*/ 2860970 h 3382171"/>
                  <a:gd name="connsiteX134" fmla="*/ 3211 w 4250373"/>
                  <a:gd name="connsiteY134" fmla="*/ 2860970 h 3382171"/>
                  <a:gd name="connsiteX135" fmla="*/ 511811 w 4250373"/>
                  <a:gd name="connsiteY135" fmla="*/ 2358050 h 3382171"/>
                  <a:gd name="connsiteX136" fmla="*/ 512859 w 4250373"/>
                  <a:gd name="connsiteY136" fmla="*/ 2358048 h 3382171"/>
                  <a:gd name="connsiteX137" fmla="*/ 512859 w 4250373"/>
                  <a:gd name="connsiteY137" fmla="*/ 1290968 h 3382171"/>
                  <a:gd name="connsiteX138" fmla="*/ 748798 w 4250373"/>
                  <a:gd name="connsiteY138" fmla="*/ 1055029 h 3382171"/>
                  <a:gd name="connsiteX139" fmla="*/ 1131978 w 4250373"/>
                  <a:gd name="connsiteY139" fmla="*/ 1055029 h 3382171"/>
                  <a:gd name="connsiteX140" fmla="*/ 1131978 w 4250373"/>
                  <a:gd name="connsiteY140" fmla="*/ 578781 h 3382171"/>
                  <a:gd name="connsiteX141" fmla="*/ 576301 w 4250373"/>
                  <a:gd name="connsiteY141" fmla="*/ 578781 h 3382171"/>
                  <a:gd name="connsiteX142" fmla="*/ 498883 w 4250373"/>
                  <a:gd name="connsiteY142" fmla="*/ 501363 h 3382171"/>
                  <a:gd name="connsiteX143" fmla="*/ 498883 w 4250373"/>
                  <a:gd name="connsiteY143" fmla="*/ 77418 h 3382171"/>
                  <a:gd name="connsiteX144" fmla="*/ 576301 w 4250373"/>
                  <a:gd name="connsiteY144"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722896 w 4250373"/>
                  <a:gd name="connsiteY108" fmla="*/ 104775 h 3382171"/>
                  <a:gd name="connsiteX109" fmla="*/ 576301 w 4250373"/>
                  <a:gd name="connsiteY109" fmla="*/ 0 h 3382171"/>
                  <a:gd name="connsiteX110" fmla="*/ 2091515 w 4250373"/>
                  <a:gd name="connsiteY110" fmla="*/ 0 h 3382171"/>
                  <a:gd name="connsiteX111" fmla="*/ 2168933 w 4250373"/>
                  <a:gd name="connsiteY111" fmla="*/ 77418 h 3382171"/>
                  <a:gd name="connsiteX112" fmla="*/ 2168933 w 4250373"/>
                  <a:gd name="connsiteY112" fmla="*/ 501363 h 3382171"/>
                  <a:gd name="connsiteX113" fmla="*/ 1535838 w 4250373"/>
                  <a:gd name="connsiteY113" fmla="*/ 578781 h 3382171"/>
                  <a:gd name="connsiteX114" fmla="*/ 1535838 w 4250373"/>
                  <a:gd name="connsiteY114" fmla="*/ 1055029 h 3382171"/>
                  <a:gd name="connsiteX115" fmla="*/ 2583508 w 4250373"/>
                  <a:gd name="connsiteY115" fmla="*/ 1055029 h 3382171"/>
                  <a:gd name="connsiteX116" fmla="*/ 2623911 w 4250373"/>
                  <a:gd name="connsiteY116" fmla="*/ 475594 h 3382171"/>
                  <a:gd name="connsiteX117" fmla="*/ 2671536 w 4250373"/>
                  <a:gd name="connsiteY117" fmla="*/ 426381 h 3382171"/>
                  <a:gd name="connsiteX118" fmla="*/ 3339873 w 4250373"/>
                  <a:gd name="connsiteY118" fmla="*/ 418443 h 3382171"/>
                  <a:gd name="connsiteX119" fmla="*/ 3327420 w 4250373"/>
                  <a:gd name="connsiteY119" fmla="*/ 1055029 h 3382171"/>
                  <a:gd name="connsiteX120" fmla="*/ 3504752 w 4250373"/>
                  <a:gd name="connsiteY120" fmla="*/ 1055029 h 3382171"/>
                  <a:gd name="connsiteX121" fmla="*/ 3740691 w 4250373"/>
                  <a:gd name="connsiteY121" fmla="*/ 1290968 h 3382171"/>
                  <a:gd name="connsiteX122" fmla="*/ 3740691 w 4250373"/>
                  <a:gd name="connsiteY122" fmla="*/ 2355081 h 3382171"/>
                  <a:gd name="connsiteX123" fmla="*/ 4250373 w 4250373"/>
                  <a:gd name="connsiteY123" fmla="*/ 2862875 h 3382171"/>
                  <a:gd name="connsiteX124" fmla="*/ 4245831 w 4250373"/>
                  <a:gd name="connsiteY124" fmla="*/ 2862877 h 3382171"/>
                  <a:gd name="connsiteX125" fmla="*/ 4245831 w 4250373"/>
                  <a:gd name="connsiteY125" fmla="*/ 3282908 h 3382171"/>
                  <a:gd name="connsiteX126" fmla="*/ 4146568 w 4250373"/>
                  <a:gd name="connsiteY126" fmla="*/ 3382171 h 3382171"/>
                  <a:gd name="connsiteX127" fmla="*/ 102439 w 4250373"/>
                  <a:gd name="connsiteY127" fmla="*/ 3382171 h 3382171"/>
                  <a:gd name="connsiteX128" fmla="*/ 3176 w 4250373"/>
                  <a:gd name="connsiteY128" fmla="*/ 3282908 h 3382171"/>
                  <a:gd name="connsiteX129" fmla="*/ 3176 w 4250373"/>
                  <a:gd name="connsiteY129" fmla="*/ 2864144 h 3382171"/>
                  <a:gd name="connsiteX130" fmla="*/ 0 w 4250373"/>
                  <a:gd name="connsiteY130" fmla="*/ 2864145 h 3382171"/>
                  <a:gd name="connsiteX131" fmla="*/ 3176 w 4250373"/>
                  <a:gd name="connsiteY131" fmla="*/ 2861005 h 3382171"/>
                  <a:gd name="connsiteX132" fmla="*/ 3176 w 4250373"/>
                  <a:gd name="connsiteY132" fmla="*/ 2860970 h 3382171"/>
                  <a:gd name="connsiteX133" fmla="*/ 3211 w 4250373"/>
                  <a:gd name="connsiteY133" fmla="*/ 2860970 h 3382171"/>
                  <a:gd name="connsiteX134" fmla="*/ 511811 w 4250373"/>
                  <a:gd name="connsiteY134" fmla="*/ 2358050 h 3382171"/>
                  <a:gd name="connsiteX135" fmla="*/ 512859 w 4250373"/>
                  <a:gd name="connsiteY135" fmla="*/ 2358048 h 3382171"/>
                  <a:gd name="connsiteX136" fmla="*/ 512859 w 4250373"/>
                  <a:gd name="connsiteY136" fmla="*/ 1290968 h 3382171"/>
                  <a:gd name="connsiteX137" fmla="*/ 748798 w 4250373"/>
                  <a:gd name="connsiteY137" fmla="*/ 1055029 h 3382171"/>
                  <a:gd name="connsiteX138" fmla="*/ 1131978 w 4250373"/>
                  <a:gd name="connsiteY138" fmla="*/ 1055029 h 3382171"/>
                  <a:gd name="connsiteX139" fmla="*/ 1131978 w 4250373"/>
                  <a:gd name="connsiteY139" fmla="*/ 578781 h 3382171"/>
                  <a:gd name="connsiteX140" fmla="*/ 576301 w 4250373"/>
                  <a:gd name="connsiteY140" fmla="*/ 578781 h 3382171"/>
                  <a:gd name="connsiteX141" fmla="*/ 498883 w 4250373"/>
                  <a:gd name="connsiteY141" fmla="*/ 501363 h 3382171"/>
                  <a:gd name="connsiteX142" fmla="*/ 498883 w 4250373"/>
                  <a:gd name="connsiteY142" fmla="*/ 77418 h 3382171"/>
                  <a:gd name="connsiteX143" fmla="*/ 576301 w 4250373"/>
                  <a:gd name="connsiteY143"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722896 w 4250373"/>
                  <a:gd name="connsiteY108" fmla="*/ 104775 h 3382171"/>
                  <a:gd name="connsiteX109" fmla="*/ 576301 w 4250373"/>
                  <a:gd name="connsiteY109" fmla="*/ 0 h 3382171"/>
                  <a:gd name="connsiteX110" fmla="*/ 2091515 w 4250373"/>
                  <a:gd name="connsiteY110" fmla="*/ 0 h 3382171"/>
                  <a:gd name="connsiteX111" fmla="*/ 2168933 w 4250373"/>
                  <a:gd name="connsiteY111" fmla="*/ 77418 h 3382171"/>
                  <a:gd name="connsiteX112" fmla="*/ 1535838 w 4250373"/>
                  <a:gd name="connsiteY112" fmla="*/ 578781 h 3382171"/>
                  <a:gd name="connsiteX113" fmla="*/ 1535838 w 4250373"/>
                  <a:gd name="connsiteY113" fmla="*/ 1055029 h 3382171"/>
                  <a:gd name="connsiteX114" fmla="*/ 2583508 w 4250373"/>
                  <a:gd name="connsiteY114" fmla="*/ 1055029 h 3382171"/>
                  <a:gd name="connsiteX115" fmla="*/ 2623911 w 4250373"/>
                  <a:gd name="connsiteY115" fmla="*/ 475594 h 3382171"/>
                  <a:gd name="connsiteX116" fmla="*/ 2671536 w 4250373"/>
                  <a:gd name="connsiteY116" fmla="*/ 426381 h 3382171"/>
                  <a:gd name="connsiteX117" fmla="*/ 3339873 w 4250373"/>
                  <a:gd name="connsiteY117" fmla="*/ 418443 h 3382171"/>
                  <a:gd name="connsiteX118" fmla="*/ 3327420 w 4250373"/>
                  <a:gd name="connsiteY118" fmla="*/ 1055029 h 3382171"/>
                  <a:gd name="connsiteX119" fmla="*/ 3504752 w 4250373"/>
                  <a:gd name="connsiteY119" fmla="*/ 1055029 h 3382171"/>
                  <a:gd name="connsiteX120" fmla="*/ 3740691 w 4250373"/>
                  <a:gd name="connsiteY120" fmla="*/ 1290968 h 3382171"/>
                  <a:gd name="connsiteX121" fmla="*/ 3740691 w 4250373"/>
                  <a:gd name="connsiteY121" fmla="*/ 2355081 h 3382171"/>
                  <a:gd name="connsiteX122" fmla="*/ 4250373 w 4250373"/>
                  <a:gd name="connsiteY122" fmla="*/ 2862875 h 3382171"/>
                  <a:gd name="connsiteX123" fmla="*/ 4245831 w 4250373"/>
                  <a:gd name="connsiteY123" fmla="*/ 2862877 h 3382171"/>
                  <a:gd name="connsiteX124" fmla="*/ 4245831 w 4250373"/>
                  <a:gd name="connsiteY124" fmla="*/ 3282908 h 3382171"/>
                  <a:gd name="connsiteX125" fmla="*/ 4146568 w 4250373"/>
                  <a:gd name="connsiteY125" fmla="*/ 3382171 h 3382171"/>
                  <a:gd name="connsiteX126" fmla="*/ 102439 w 4250373"/>
                  <a:gd name="connsiteY126" fmla="*/ 3382171 h 3382171"/>
                  <a:gd name="connsiteX127" fmla="*/ 3176 w 4250373"/>
                  <a:gd name="connsiteY127" fmla="*/ 3282908 h 3382171"/>
                  <a:gd name="connsiteX128" fmla="*/ 3176 w 4250373"/>
                  <a:gd name="connsiteY128" fmla="*/ 2864144 h 3382171"/>
                  <a:gd name="connsiteX129" fmla="*/ 0 w 4250373"/>
                  <a:gd name="connsiteY129" fmla="*/ 2864145 h 3382171"/>
                  <a:gd name="connsiteX130" fmla="*/ 3176 w 4250373"/>
                  <a:gd name="connsiteY130" fmla="*/ 2861005 h 3382171"/>
                  <a:gd name="connsiteX131" fmla="*/ 3176 w 4250373"/>
                  <a:gd name="connsiteY131" fmla="*/ 2860970 h 3382171"/>
                  <a:gd name="connsiteX132" fmla="*/ 3211 w 4250373"/>
                  <a:gd name="connsiteY132" fmla="*/ 2860970 h 3382171"/>
                  <a:gd name="connsiteX133" fmla="*/ 511811 w 4250373"/>
                  <a:gd name="connsiteY133" fmla="*/ 2358050 h 3382171"/>
                  <a:gd name="connsiteX134" fmla="*/ 512859 w 4250373"/>
                  <a:gd name="connsiteY134" fmla="*/ 2358048 h 3382171"/>
                  <a:gd name="connsiteX135" fmla="*/ 512859 w 4250373"/>
                  <a:gd name="connsiteY135" fmla="*/ 1290968 h 3382171"/>
                  <a:gd name="connsiteX136" fmla="*/ 748798 w 4250373"/>
                  <a:gd name="connsiteY136" fmla="*/ 1055029 h 3382171"/>
                  <a:gd name="connsiteX137" fmla="*/ 1131978 w 4250373"/>
                  <a:gd name="connsiteY137" fmla="*/ 1055029 h 3382171"/>
                  <a:gd name="connsiteX138" fmla="*/ 1131978 w 4250373"/>
                  <a:gd name="connsiteY138" fmla="*/ 578781 h 3382171"/>
                  <a:gd name="connsiteX139" fmla="*/ 576301 w 4250373"/>
                  <a:gd name="connsiteY139" fmla="*/ 578781 h 3382171"/>
                  <a:gd name="connsiteX140" fmla="*/ 498883 w 4250373"/>
                  <a:gd name="connsiteY140" fmla="*/ 501363 h 3382171"/>
                  <a:gd name="connsiteX141" fmla="*/ 498883 w 4250373"/>
                  <a:gd name="connsiteY141" fmla="*/ 77418 h 3382171"/>
                  <a:gd name="connsiteX142" fmla="*/ 576301 w 4250373"/>
                  <a:gd name="connsiteY142"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722896 w 4250373"/>
                  <a:gd name="connsiteY108" fmla="*/ 104775 h 3382171"/>
                  <a:gd name="connsiteX109" fmla="*/ 576301 w 4250373"/>
                  <a:gd name="connsiteY109" fmla="*/ 0 h 3382171"/>
                  <a:gd name="connsiteX110" fmla="*/ 2091515 w 4250373"/>
                  <a:gd name="connsiteY110" fmla="*/ 0 h 3382171"/>
                  <a:gd name="connsiteX111" fmla="*/ 1535838 w 4250373"/>
                  <a:gd name="connsiteY111" fmla="*/ 578781 h 3382171"/>
                  <a:gd name="connsiteX112" fmla="*/ 1535838 w 4250373"/>
                  <a:gd name="connsiteY112" fmla="*/ 1055029 h 3382171"/>
                  <a:gd name="connsiteX113" fmla="*/ 2583508 w 4250373"/>
                  <a:gd name="connsiteY113" fmla="*/ 1055029 h 3382171"/>
                  <a:gd name="connsiteX114" fmla="*/ 2623911 w 4250373"/>
                  <a:gd name="connsiteY114" fmla="*/ 475594 h 3382171"/>
                  <a:gd name="connsiteX115" fmla="*/ 2671536 w 4250373"/>
                  <a:gd name="connsiteY115" fmla="*/ 426381 h 3382171"/>
                  <a:gd name="connsiteX116" fmla="*/ 3339873 w 4250373"/>
                  <a:gd name="connsiteY116" fmla="*/ 418443 h 3382171"/>
                  <a:gd name="connsiteX117" fmla="*/ 3327420 w 4250373"/>
                  <a:gd name="connsiteY117" fmla="*/ 1055029 h 3382171"/>
                  <a:gd name="connsiteX118" fmla="*/ 3504752 w 4250373"/>
                  <a:gd name="connsiteY118" fmla="*/ 1055029 h 3382171"/>
                  <a:gd name="connsiteX119" fmla="*/ 3740691 w 4250373"/>
                  <a:gd name="connsiteY119" fmla="*/ 1290968 h 3382171"/>
                  <a:gd name="connsiteX120" fmla="*/ 3740691 w 4250373"/>
                  <a:gd name="connsiteY120" fmla="*/ 2355081 h 3382171"/>
                  <a:gd name="connsiteX121" fmla="*/ 4250373 w 4250373"/>
                  <a:gd name="connsiteY121" fmla="*/ 2862875 h 3382171"/>
                  <a:gd name="connsiteX122" fmla="*/ 4245831 w 4250373"/>
                  <a:gd name="connsiteY122" fmla="*/ 2862877 h 3382171"/>
                  <a:gd name="connsiteX123" fmla="*/ 4245831 w 4250373"/>
                  <a:gd name="connsiteY123" fmla="*/ 3282908 h 3382171"/>
                  <a:gd name="connsiteX124" fmla="*/ 4146568 w 4250373"/>
                  <a:gd name="connsiteY124" fmla="*/ 3382171 h 3382171"/>
                  <a:gd name="connsiteX125" fmla="*/ 102439 w 4250373"/>
                  <a:gd name="connsiteY125" fmla="*/ 3382171 h 3382171"/>
                  <a:gd name="connsiteX126" fmla="*/ 3176 w 4250373"/>
                  <a:gd name="connsiteY126" fmla="*/ 3282908 h 3382171"/>
                  <a:gd name="connsiteX127" fmla="*/ 3176 w 4250373"/>
                  <a:gd name="connsiteY127" fmla="*/ 2864144 h 3382171"/>
                  <a:gd name="connsiteX128" fmla="*/ 0 w 4250373"/>
                  <a:gd name="connsiteY128" fmla="*/ 2864145 h 3382171"/>
                  <a:gd name="connsiteX129" fmla="*/ 3176 w 4250373"/>
                  <a:gd name="connsiteY129" fmla="*/ 2861005 h 3382171"/>
                  <a:gd name="connsiteX130" fmla="*/ 3176 w 4250373"/>
                  <a:gd name="connsiteY130" fmla="*/ 2860970 h 3382171"/>
                  <a:gd name="connsiteX131" fmla="*/ 3211 w 4250373"/>
                  <a:gd name="connsiteY131" fmla="*/ 2860970 h 3382171"/>
                  <a:gd name="connsiteX132" fmla="*/ 511811 w 4250373"/>
                  <a:gd name="connsiteY132" fmla="*/ 2358050 h 3382171"/>
                  <a:gd name="connsiteX133" fmla="*/ 512859 w 4250373"/>
                  <a:gd name="connsiteY133" fmla="*/ 2358048 h 3382171"/>
                  <a:gd name="connsiteX134" fmla="*/ 512859 w 4250373"/>
                  <a:gd name="connsiteY134" fmla="*/ 1290968 h 3382171"/>
                  <a:gd name="connsiteX135" fmla="*/ 748798 w 4250373"/>
                  <a:gd name="connsiteY135" fmla="*/ 1055029 h 3382171"/>
                  <a:gd name="connsiteX136" fmla="*/ 1131978 w 4250373"/>
                  <a:gd name="connsiteY136" fmla="*/ 1055029 h 3382171"/>
                  <a:gd name="connsiteX137" fmla="*/ 1131978 w 4250373"/>
                  <a:gd name="connsiteY137" fmla="*/ 578781 h 3382171"/>
                  <a:gd name="connsiteX138" fmla="*/ 576301 w 4250373"/>
                  <a:gd name="connsiteY138" fmla="*/ 578781 h 3382171"/>
                  <a:gd name="connsiteX139" fmla="*/ 498883 w 4250373"/>
                  <a:gd name="connsiteY139" fmla="*/ 501363 h 3382171"/>
                  <a:gd name="connsiteX140" fmla="*/ 498883 w 4250373"/>
                  <a:gd name="connsiteY140" fmla="*/ 77418 h 3382171"/>
                  <a:gd name="connsiteX141" fmla="*/ 576301 w 4250373"/>
                  <a:gd name="connsiteY141" fmla="*/ 0 h 3382171"/>
                  <a:gd name="connsiteX0" fmla="*/ 1629417 w 4250373"/>
                  <a:gd name="connsiteY0" fmla="*/ 3012419 h 3382171"/>
                  <a:gd name="connsiteX1" fmla="*/ 1579411 w 4250373"/>
                  <a:gd name="connsiteY1" fmla="*/ 3062425 h 3382171"/>
                  <a:gd name="connsiteX2" fmla="*/ 1629417 w 4250373"/>
                  <a:gd name="connsiteY2" fmla="*/ 3112430 h 3382171"/>
                  <a:gd name="connsiteX3" fmla="*/ 2622323 w 4250373"/>
                  <a:gd name="connsiteY3" fmla="*/ 3112431 h 3382171"/>
                  <a:gd name="connsiteX4" fmla="*/ 2672329 w 4250373"/>
                  <a:gd name="connsiteY4" fmla="*/ 3062425 h 3382171"/>
                  <a:gd name="connsiteX5" fmla="*/ 2672330 w 4250373"/>
                  <a:gd name="connsiteY5" fmla="*/ 3062425 h 3382171"/>
                  <a:gd name="connsiteX6" fmla="*/ 2622324 w 4250373"/>
                  <a:gd name="connsiteY6" fmla="*/ 3012419 h 3382171"/>
                  <a:gd name="connsiteX7" fmla="*/ 1629417 w 4250373"/>
                  <a:gd name="connsiteY7" fmla="*/ 3012419 h 3382171"/>
                  <a:gd name="connsiteX8" fmla="*/ 3267642 w 4250373"/>
                  <a:gd name="connsiteY8" fmla="*/ 2095377 h 3382171"/>
                  <a:gd name="connsiteX9" fmla="*/ 3235256 w 4250373"/>
                  <a:gd name="connsiteY9" fmla="*/ 2127763 h 3382171"/>
                  <a:gd name="connsiteX10" fmla="*/ 3235256 w 4250373"/>
                  <a:gd name="connsiteY10" fmla="*/ 2279945 h 3382171"/>
                  <a:gd name="connsiteX11" fmla="*/ 3267642 w 4250373"/>
                  <a:gd name="connsiteY11" fmla="*/ 2312331 h 3382171"/>
                  <a:gd name="connsiteX12" fmla="*/ 3397182 w 4250373"/>
                  <a:gd name="connsiteY12" fmla="*/ 2312331 h 3382171"/>
                  <a:gd name="connsiteX13" fmla="*/ 3429568 w 4250373"/>
                  <a:gd name="connsiteY13" fmla="*/ 2279945 h 3382171"/>
                  <a:gd name="connsiteX14" fmla="*/ 3429568 w 4250373"/>
                  <a:gd name="connsiteY14" fmla="*/ 2127763 h 3382171"/>
                  <a:gd name="connsiteX15" fmla="*/ 3397182 w 4250373"/>
                  <a:gd name="connsiteY15" fmla="*/ 2095377 h 3382171"/>
                  <a:gd name="connsiteX16" fmla="*/ 3267642 w 4250373"/>
                  <a:gd name="connsiteY16" fmla="*/ 2095377 h 3382171"/>
                  <a:gd name="connsiteX17" fmla="*/ 2939029 w 4250373"/>
                  <a:gd name="connsiteY17" fmla="*/ 2095377 h 3382171"/>
                  <a:gd name="connsiteX18" fmla="*/ 2906643 w 4250373"/>
                  <a:gd name="connsiteY18" fmla="*/ 2127763 h 3382171"/>
                  <a:gd name="connsiteX19" fmla="*/ 2906643 w 4250373"/>
                  <a:gd name="connsiteY19" fmla="*/ 2279945 h 3382171"/>
                  <a:gd name="connsiteX20" fmla="*/ 2939029 w 4250373"/>
                  <a:gd name="connsiteY20" fmla="*/ 2312331 h 3382171"/>
                  <a:gd name="connsiteX21" fmla="*/ 3068569 w 4250373"/>
                  <a:gd name="connsiteY21" fmla="*/ 2312331 h 3382171"/>
                  <a:gd name="connsiteX22" fmla="*/ 3100955 w 4250373"/>
                  <a:gd name="connsiteY22" fmla="*/ 2279945 h 3382171"/>
                  <a:gd name="connsiteX23" fmla="*/ 3100955 w 4250373"/>
                  <a:gd name="connsiteY23" fmla="*/ 2127763 h 3382171"/>
                  <a:gd name="connsiteX24" fmla="*/ 3068569 w 4250373"/>
                  <a:gd name="connsiteY24" fmla="*/ 2095377 h 3382171"/>
                  <a:gd name="connsiteX25" fmla="*/ 2939029 w 4250373"/>
                  <a:gd name="connsiteY25" fmla="*/ 2095377 h 3382171"/>
                  <a:gd name="connsiteX26" fmla="*/ 2615179 w 4250373"/>
                  <a:gd name="connsiteY26" fmla="*/ 2095377 h 3382171"/>
                  <a:gd name="connsiteX27" fmla="*/ 2582793 w 4250373"/>
                  <a:gd name="connsiteY27" fmla="*/ 2127763 h 3382171"/>
                  <a:gd name="connsiteX28" fmla="*/ 2582793 w 4250373"/>
                  <a:gd name="connsiteY28" fmla="*/ 2279945 h 3382171"/>
                  <a:gd name="connsiteX29" fmla="*/ 2615179 w 4250373"/>
                  <a:gd name="connsiteY29" fmla="*/ 2312331 h 3382171"/>
                  <a:gd name="connsiteX30" fmla="*/ 2744719 w 4250373"/>
                  <a:gd name="connsiteY30" fmla="*/ 2312331 h 3382171"/>
                  <a:gd name="connsiteX31" fmla="*/ 2777105 w 4250373"/>
                  <a:gd name="connsiteY31" fmla="*/ 2279945 h 3382171"/>
                  <a:gd name="connsiteX32" fmla="*/ 2777105 w 4250373"/>
                  <a:gd name="connsiteY32" fmla="*/ 2127763 h 3382171"/>
                  <a:gd name="connsiteX33" fmla="*/ 2744719 w 4250373"/>
                  <a:gd name="connsiteY33" fmla="*/ 2095377 h 3382171"/>
                  <a:gd name="connsiteX34" fmla="*/ 2615179 w 4250373"/>
                  <a:gd name="connsiteY34" fmla="*/ 2095377 h 3382171"/>
                  <a:gd name="connsiteX35" fmla="*/ 2615179 w 4250373"/>
                  <a:gd name="connsiteY35" fmla="*/ 1784755 h 3382171"/>
                  <a:gd name="connsiteX36" fmla="*/ 2582793 w 4250373"/>
                  <a:gd name="connsiteY36" fmla="*/ 1817141 h 3382171"/>
                  <a:gd name="connsiteX37" fmla="*/ 2582793 w 4250373"/>
                  <a:gd name="connsiteY37" fmla="*/ 1969323 h 3382171"/>
                  <a:gd name="connsiteX38" fmla="*/ 2615179 w 4250373"/>
                  <a:gd name="connsiteY38" fmla="*/ 2001709 h 3382171"/>
                  <a:gd name="connsiteX39" fmla="*/ 2744719 w 4250373"/>
                  <a:gd name="connsiteY39" fmla="*/ 2001709 h 3382171"/>
                  <a:gd name="connsiteX40" fmla="*/ 2777105 w 4250373"/>
                  <a:gd name="connsiteY40" fmla="*/ 1969323 h 3382171"/>
                  <a:gd name="connsiteX41" fmla="*/ 2777105 w 4250373"/>
                  <a:gd name="connsiteY41" fmla="*/ 1817141 h 3382171"/>
                  <a:gd name="connsiteX42" fmla="*/ 2744719 w 4250373"/>
                  <a:gd name="connsiteY42" fmla="*/ 1784755 h 3382171"/>
                  <a:gd name="connsiteX43" fmla="*/ 2615179 w 4250373"/>
                  <a:gd name="connsiteY43" fmla="*/ 1784755 h 3382171"/>
                  <a:gd name="connsiteX44" fmla="*/ 3267642 w 4250373"/>
                  <a:gd name="connsiteY44" fmla="*/ 1784754 h 3382171"/>
                  <a:gd name="connsiteX45" fmla="*/ 3235256 w 4250373"/>
                  <a:gd name="connsiteY45" fmla="*/ 1817140 h 3382171"/>
                  <a:gd name="connsiteX46" fmla="*/ 3235256 w 4250373"/>
                  <a:gd name="connsiteY46" fmla="*/ 1969322 h 3382171"/>
                  <a:gd name="connsiteX47" fmla="*/ 3267642 w 4250373"/>
                  <a:gd name="connsiteY47" fmla="*/ 2001708 h 3382171"/>
                  <a:gd name="connsiteX48" fmla="*/ 3397182 w 4250373"/>
                  <a:gd name="connsiteY48" fmla="*/ 2001708 h 3382171"/>
                  <a:gd name="connsiteX49" fmla="*/ 3429568 w 4250373"/>
                  <a:gd name="connsiteY49" fmla="*/ 1969322 h 3382171"/>
                  <a:gd name="connsiteX50" fmla="*/ 3429568 w 4250373"/>
                  <a:gd name="connsiteY50" fmla="*/ 1817140 h 3382171"/>
                  <a:gd name="connsiteX51" fmla="*/ 3397182 w 4250373"/>
                  <a:gd name="connsiteY51" fmla="*/ 1784754 h 3382171"/>
                  <a:gd name="connsiteX52" fmla="*/ 3267642 w 4250373"/>
                  <a:gd name="connsiteY52" fmla="*/ 1784754 h 3382171"/>
                  <a:gd name="connsiteX53" fmla="*/ 2939029 w 4250373"/>
                  <a:gd name="connsiteY53" fmla="*/ 1784754 h 3382171"/>
                  <a:gd name="connsiteX54" fmla="*/ 2906643 w 4250373"/>
                  <a:gd name="connsiteY54" fmla="*/ 1817140 h 3382171"/>
                  <a:gd name="connsiteX55" fmla="*/ 2906643 w 4250373"/>
                  <a:gd name="connsiteY55" fmla="*/ 1969322 h 3382171"/>
                  <a:gd name="connsiteX56" fmla="*/ 2939029 w 4250373"/>
                  <a:gd name="connsiteY56" fmla="*/ 2001708 h 3382171"/>
                  <a:gd name="connsiteX57" fmla="*/ 3068569 w 4250373"/>
                  <a:gd name="connsiteY57" fmla="*/ 2001708 h 3382171"/>
                  <a:gd name="connsiteX58" fmla="*/ 3100955 w 4250373"/>
                  <a:gd name="connsiteY58" fmla="*/ 1969322 h 3382171"/>
                  <a:gd name="connsiteX59" fmla="*/ 3100955 w 4250373"/>
                  <a:gd name="connsiteY59" fmla="*/ 1817140 h 3382171"/>
                  <a:gd name="connsiteX60" fmla="*/ 3068569 w 4250373"/>
                  <a:gd name="connsiteY60" fmla="*/ 1784754 h 3382171"/>
                  <a:gd name="connsiteX61" fmla="*/ 2939029 w 4250373"/>
                  <a:gd name="connsiteY61" fmla="*/ 1784754 h 3382171"/>
                  <a:gd name="connsiteX62" fmla="*/ 3267642 w 4250373"/>
                  <a:gd name="connsiteY62" fmla="*/ 1474132 h 3382171"/>
                  <a:gd name="connsiteX63" fmla="*/ 3235256 w 4250373"/>
                  <a:gd name="connsiteY63" fmla="*/ 1506518 h 3382171"/>
                  <a:gd name="connsiteX64" fmla="*/ 3235256 w 4250373"/>
                  <a:gd name="connsiteY64" fmla="*/ 1658700 h 3382171"/>
                  <a:gd name="connsiteX65" fmla="*/ 3267642 w 4250373"/>
                  <a:gd name="connsiteY65" fmla="*/ 1691086 h 3382171"/>
                  <a:gd name="connsiteX66" fmla="*/ 3397182 w 4250373"/>
                  <a:gd name="connsiteY66" fmla="*/ 1691086 h 3382171"/>
                  <a:gd name="connsiteX67" fmla="*/ 3429568 w 4250373"/>
                  <a:gd name="connsiteY67" fmla="*/ 1658700 h 3382171"/>
                  <a:gd name="connsiteX68" fmla="*/ 3429568 w 4250373"/>
                  <a:gd name="connsiteY68" fmla="*/ 1506518 h 3382171"/>
                  <a:gd name="connsiteX69" fmla="*/ 3397182 w 4250373"/>
                  <a:gd name="connsiteY69" fmla="*/ 1474132 h 3382171"/>
                  <a:gd name="connsiteX70" fmla="*/ 3267642 w 4250373"/>
                  <a:gd name="connsiteY70" fmla="*/ 1474132 h 3382171"/>
                  <a:gd name="connsiteX71" fmla="*/ 2630648 w 4250373"/>
                  <a:gd name="connsiteY71" fmla="*/ 1474132 h 3382171"/>
                  <a:gd name="connsiteX72" fmla="*/ 2598262 w 4250373"/>
                  <a:gd name="connsiteY72" fmla="*/ 1506518 h 3382171"/>
                  <a:gd name="connsiteX73" fmla="*/ 2598262 w 4250373"/>
                  <a:gd name="connsiteY73" fmla="*/ 1658700 h 3382171"/>
                  <a:gd name="connsiteX74" fmla="*/ 2630648 w 4250373"/>
                  <a:gd name="connsiteY74" fmla="*/ 1691086 h 3382171"/>
                  <a:gd name="connsiteX75" fmla="*/ 2760188 w 4250373"/>
                  <a:gd name="connsiteY75" fmla="*/ 1691086 h 3382171"/>
                  <a:gd name="connsiteX76" fmla="*/ 2792574 w 4250373"/>
                  <a:gd name="connsiteY76" fmla="*/ 1658700 h 3382171"/>
                  <a:gd name="connsiteX77" fmla="*/ 2792574 w 4250373"/>
                  <a:gd name="connsiteY77" fmla="*/ 1506518 h 3382171"/>
                  <a:gd name="connsiteX78" fmla="*/ 2760188 w 4250373"/>
                  <a:gd name="connsiteY78" fmla="*/ 1474132 h 3382171"/>
                  <a:gd name="connsiteX79" fmla="*/ 2630648 w 4250373"/>
                  <a:gd name="connsiteY79" fmla="*/ 1474132 h 3382171"/>
                  <a:gd name="connsiteX80" fmla="*/ 2939029 w 4250373"/>
                  <a:gd name="connsiteY80" fmla="*/ 1474131 h 3382171"/>
                  <a:gd name="connsiteX81" fmla="*/ 2906643 w 4250373"/>
                  <a:gd name="connsiteY81" fmla="*/ 1506517 h 3382171"/>
                  <a:gd name="connsiteX82" fmla="*/ 2906643 w 4250373"/>
                  <a:gd name="connsiteY82" fmla="*/ 1658699 h 3382171"/>
                  <a:gd name="connsiteX83" fmla="*/ 2939029 w 4250373"/>
                  <a:gd name="connsiteY83" fmla="*/ 1691085 h 3382171"/>
                  <a:gd name="connsiteX84" fmla="*/ 3068569 w 4250373"/>
                  <a:gd name="connsiteY84" fmla="*/ 1691085 h 3382171"/>
                  <a:gd name="connsiteX85" fmla="*/ 3100955 w 4250373"/>
                  <a:gd name="connsiteY85" fmla="*/ 1658699 h 3382171"/>
                  <a:gd name="connsiteX86" fmla="*/ 3100955 w 4250373"/>
                  <a:gd name="connsiteY86" fmla="*/ 1506517 h 3382171"/>
                  <a:gd name="connsiteX87" fmla="*/ 3068569 w 4250373"/>
                  <a:gd name="connsiteY87" fmla="*/ 1474131 h 3382171"/>
                  <a:gd name="connsiteX88" fmla="*/ 2939029 w 4250373"/>
                  <a:gd name="connsiteY88" fmla="*/ 1474131 h 3382171"/>
                  <a:gd name="connsiteX89" fmla="*/ 858205 w 4250373"/>
                  <a:gd name="connsiteY89" fmla="*/ 1474131 h 3382171"/>
                  <a:gd name="connsiteX90" fmla="*/ 718502 w 4250373"/>
                  <a:gd name="connsiteY90" fmla="*/ 1613834 h 3382171"/>
                  <a:gd name="connsiteX91" fmla="*/ 718502 w 4250373"/>
                  <a:gd name="connsiteY91" fmla="*/ 2172628 h 3382171"/>
                  <a:gd name="connsiteX92" fmla="*/ 858205 w 4250373"/>
                  <a:gd name="connsiteY92" fmla="*/ 2312331 h 3382171"/>
                  <a:gd name="connsiteX93" fmla="*/ 2214720 w 4250373"/>
                  <a:gd name="connsiteY93" fmla="*/ 2312331 h 3382171"/>
                  <a:gd name="connsiteX94" fmla="*/ 2354423 w 4250373"/>
                  <a:gd name="connsiteY94" fmla="*/ 2172628 h 3382171"/>
                  <a:gd name="connsiteX95" fmla="*/ 2354423 w 4250373"/>
                  <a:gd name="connsiteY95" fmla="*/ 1613834 h 3382171"/>
                  <a:gd name="connsiteX96" fmla="*/ 2214720 w 4250373"/>
                  <a:gd name="connsiteY96" fmla="*/ 1474131 h 3382171"/>
                  <a:gd name="connsiteX97" fmla="*/ 858205 w 4250373"/>
                  <a:gd name="connsiteY97" fmla="*/ 1474131 h 3382171"/>
                  <a:gd name="connsiteX98" fmla="*/ 3252670 w 4250373"/>
                  <a:gd name="connsiteY98" fmla="*/ 531326 h 3382171"/>
                  <a:gd name="connsiteX99" fmla="*/ 2791662 w 4250373"/>
                  <a:gd name="connsiteY99" fmla="*/ 532461 h 3382171"/>
                  <a:gd name="connsiteX100" fmla="*/ 2777626 w 4250373"/>
                  <a:gd name="connsiteY100" fmla="*/ 582042 h 3382171"/>
                  <a:gd name="connsiteX101" fmla="*/ 2716779 w 4250373"/>
                  <a:gd name="connsiteY101" fmla="*/ 1233013 h 3382171"/>
                  <a:gd name="connsiteX102" fmla="*/ 3199247 w 4250373"/>
                  <a:gd name="connsiteY102" fmla="*/ 1239182 h 3382171"/>
                  <a:gd name="connsiteX103" fmla="*/ 3252670 w 4250373"/>
                  <a:gd name="connsiteY103" fmla="*/ 531326 h 3382171"/>
                  <a:gd name="connsiteX104" fmla="*/ 722896 w 4250373"/>
                  <a:gd name="connsiteY104" fmla="*/ 104775 h 3382171"/>
                  <a:gd name="connsiteX105" fmla="*/ 673508 w 4250373"/>
                  <a:gd name="connsiteY105" fmla="*/ 154163 h 3382171"/>
                  <a:gd name="connsiteX106" fmla="*/ 673508 w 4250373"/>
                  <a:gd name="connsiteY106" fmla="*/ 424618 h 3382171"/>
                  <a:gd name="connsiteX107" fmla="*/ 722896 w 4250373"/>
                  <a:gd name="connsiteY107" fmla="*/ 474006 h 3382171"/>
                  <a:gd name="connsiteX108" fmla="*/ 722896 w 4250373"/>
                  <a:gd name="connsiteY108" fmla="*/ 104775 h 3382171"/>
                  <a:gd name="connsiteX109" fmla="*/ 576301 w 4250373"/>
                  <a:gd name="connsiteY109" fmla="*/ 0 h 3382171"/>
                  <a:gd name="connsiteX110" fmla="*/ 1535838 w 4250373"/>
                  <a:gd name="connsiteY110" fmla="*/ 578781 h 3382171"/>
                  <a:gd name="connsiteX111" fmla="*/ 1535838 w 4250373"/>
                  <a:gd name="connsiteY111" fmla="*/ 1055029 h 3382171"/>
                  <a:gd name="connsiteX112" fmla="*/ 2583508 w 4250373"/>
                  <a:gd name="connsiteY112" fmla="*/ 1055029 h 3382171"/>
                  <a:gd name="connsiteX113" fmla="*/ 2623911 w 4250373"/>
                  <a:gd name="connsiteY113" fmla="*/ 475594 h 3382171"/>
                  <a:gd name="connsiteX114" fmla="*/ 2671536 w 4250373"/>
                  <a:gd name="connsiteY114" fmla="*/ 426381 h 3382171"/>
                  <a:gd name="connsiteX115" fmla="*/ 3339873 w 4250373"/>
                  <a:gd name="connsiteY115" fmla="*/ 418443 h 3382171"/>
                  <a:gd name="connsiteX116" fmla="*/ 3327420 w 4250373"/>
                  <a:gd name="connsiteY116" fmla="*/ 1055029 h 3382171"/>
                  <a:gd name="connsiteX117" fmla="*/ 3504752 w 4250373"/>
                  <a:gd name="connsiteY117" fmla="*/ 1055029 h 3382171"/>
                  <a:gd name="connsiteX118" fmla="*/ 3740691 w 4250373"/>
                  <a:gd name="connsiteY118" fmla="*/ 1290968 h 3382171"/>
                  <a:gd name="connsiteX119" fmla="*/ 3740691 w 4250373"/>
                  <a:gd name="connsiteY119" fmla="*/ 2355081 h 3382171"/>
                  <a:gd name="connsiteX120" fmla="*/ 4250373 w 4250373"/>
                  <a:gd name="connsiteY120" fmla="*/ 2862875 h 3382171"/>
                  <a:gd name="connsiteX121" fmla="*/ 4245831 w 4250373"/>
                  <a:gd name="connsiteY121" fmla="*/ 2862877 h 3382171"/>
                  <a:gd name="connsiteX122" fmla="*/ 4245831 w 4250373"/>
                  <a:gd name="connsiteY122" fmla="*/ 3282908 h 3382171"/>
                  <a:gd name="connsiteX123" fmla="*/ 4146568 w 4250373"/>
                  <a:gd name="connsiteY123" fmla="*/ 3382171 h 3382171"/>
                  <a:gd name="connsiteX124" fmla="*/ 102439 w 4250373"/>
                  <a:gd name="connsiteY124" fmla="*/ 3382171 h 3382171"/>
                  <a:gd name="connsiteX125" fmla="*/ 3176 w 4250373"/>
                  <a:gd name="connsiteY125" fmla="*/ 3282908 h 3382171"/>
                  <a:gd name="connsiteX126" fmla="*/ 3176 w 4250373"/>
                  <a:gd name="connsiteY126" fmla="*/ 2864144 h 3382171"/>
                  <a:gd name="connsiteX127" fmla="*/ 0 w 4250373"/>
                  <a:gd name="connsiteY127" fmla="*/ 2864145 h 3382171"/>
                  <a:gd name="connsiteX128" fmla="*/ 3176 w 4250373"/>
                  <a:gd name="connsiteY128" fmla="*/ 2861005 h 3382171"/>
                  <a:gd name="connsiteX129" fmla="*/ 3176 w 4250373"/>
                  <a:gd name="connsiteY129" fmla="*/ 2860970 h 3382171"/>
                  <a:gd name="connsiteX130" fmla="*/ 3211 w 4250373"/>
                  <a:gd name="connsiteY130" fmla="*/ 2860970 h 3382171"/>
                  <a:gd name="connsiteX131" fmla="*/ 511811 w 4250373"/>
                  <a:gd name="connsiteY131" fmla="*/ 2358050 h 3382171"/>
                  <a:gd name="connsiteX132" fmla="*/ 512859 w 4250373"/>
                  <a:gd name="connsiteY132" fmla="*/ 2358048 h 3382171"/>
                  <a:gd name="connsiteX133" fmla="*/ 512859 w 4250373"/>
                  <a:gd name="connsiteY133" fmla="*/ 1290968 h 3382171"/>
                  <a:gd name="connsiteX134" fmla="*/ 748798 w 4250373"/>
                  <a:gd name="connsiteY134" fmla="*/ 1055029 h 3382171"/>
                  <a:gd name="connsiteX135" fmla="*/ 1131978 w 4250373"/>
                  <a:gd name="connsiteY135" fmla="*/ 1055029 h 3382171"/>
                  <a:gd name="connsiteX136" fmla="*/ 1131978 w 4250373"/>
                  <a:gd name="connsiteY136" fmla="*/ 578781 h 3382171"/>
                  <a:gd name="connsiteX137" fmla="*/ 576301 w 4250373"/>
                  <a:gd name="connsiteY137" fmla="*/ 578781 h 3382171"/>
                  <a:gd name="connsiteX138" fmla="*/ 498883 w 4250373"/>
                  <a:gd name="connsiteY138" fmla="*/ 501363 h 3382171"/>
                  <a:gd name="connsiteX139" fmla="*/ 498883 w 4250373"/>
                  <a:gd name="connsiteY139" fmla="*/ 77418 h 3382171"/>
                  <a:gd name="connsiteX140" fmla="*/ 576301 w 4250373"/>
                  <a:gd name="connsiteY140" fmla="*/ 0 h 3382171"/>
                  <a:gd name="connsiteX0" fmla="*/ 1629417 w 4250373"/>
                  <a:gd name="connsiteY0" fmla="*/ 2935002 h 3304754"/>
                  <a:gd name="connsiteX1" fmla="*/ 1579411 w 4250373"/>
                  <a:gd name="connsiteY1" fmla="*/ 2985008 h 3304754"/>
                  <a:gd name="connsiteX2" fmla="*/ 1629417 w 4250373"/>
                  <a:gd name="connsiteY2" fmla="*/ 3035013 h 3304754"/>
                  <a:gd name="connsiteX3" fmla="*/ 2622323 w 4250373"/>
                  <a:gd name="connsiteY3" fmla="*/ 3035014 h 3304754"/>
                  <a:gd name="connsiteX4" fmla="*/ 2672329 w 4250373"/>
                  <a:gd name="connsiteY4" fmla="*/ 2985008 h 3304754"/>
                  <a:gd name="connsiteX5" fmla="*/ 2672330 w 4250373"/>
                  <a:gd name="connsiteY5" fmla="*/ 2985008 h 3304754"/>
                  <a:gd name="connsiteX6" fmla="*/ 2622324 w 4250373"/>
                  <a:gd name="connsiteY6" fmla="*/ 2935002 h 3304754"/>
                  <a:gd name="connsiteX7" fmla="*/ 1629417 w 4250373"/>
                  <a:gd name="connsiteY7" fmla="*/ 2935002 h 3304754"/>
                  <a:gd name="connsiteX8" fmla="*/ 3267642 w 4250373"/>
                  <a:gd name="connsiteY8" fmla="*/ 2017960 h 3304754"/>
                  <a:gd name="connsiteX9" fmla="*/ 3235256 w 4250373"/>
                  <a:gd name="connsiteY9" fmla="*/ 2050346 h 3304754"/>
                  <a:gd name="connsiteX10" fmla="*/ 3235256 w 4250373"/>
                  <a:gd name="connsiteY10" fmla="*/ 2202528 h 3304754"/>
                  <a:gd name="connsiteX11" fmla="*/ 3267642 w 4250373"/>
                  <a:gd name="connsiteY11" fmla="*/ 2234914 h 3304754"/>
                  <a:gd name="connsiteX12" fmla="*/ 3397182 w 4250373"/>
                  <a:gd name="connsiteY12" fmla="*/ 2234914 h 3304754"/>
                  <a:gd name="connsiteX13" fmla="*/ 3429568 w 4250373"/>
                  <a:gd name="connsiteY13" fmla="*/ 2202528 h 3304754"/>
                  <a:gd name="connsiteX14" fmla="*/ 3429568 w 4250373"/>
                  <a:gd name="connsiteY14" fmla="*/ 2050346 h 3304754"/>
                  <a:gd name="connsiteX15" fmla="*/ 3397182 w 4250373"/>
                  <a:gd name="connsiteY15" fmla="*/ 2017960 h 3304754"/>
                  <a:gd name="connsiteX16" fmla="*/ 3267642 w 4250373"/>
                  <a:gd name="connsiteY16" fmla="*/ 2017960 h 3304754"/>
                  <a:gd name="connsiteX17" fmla="*/ 2939029 w 4250373"/>
                  <a:gd name="connsiteY17" fmla="*/ 2017960 h 3304754"/>
                  <a:gd name="connsiteX18" fmla="*/ 2906643 w 4250373"/>
                  <a:gd name="connsiteY18" fmla="*/ 2050346 h 3304754"/>
                  <a:gd name="connsiteX19" fmla="*/ 2906643 w 4250373"/>
                  <a:gd name="connsiteY19" fmla="*/ 2202528 h 3304754"/>
                  <a:gd name="connsiteX20" fmla="*/ 2939029 w 4250373"/>
                  <a:gd name="connsiteY20" fmla="*/ 2234914 h 3304754"/>
                  <a:gd name="connsiteX21" fmla="*/ 3068569 w 4250373"/>
                  <a:gd name="connsiteY21" fmla="*/ 2234914 h 3304754"/>
                  <a:gd name="connsiteX22" fmla="*/ 3100955 w 4250373"/>
                  <a:gd name="connsiteY22" fmla="*/ 2202528 h 3304754"/>
                  <a:gd name="connsiteX23" fmla="*/ 3100955 w 4250373"/>
                  <a:gd name="connsiteY23" fmla="*/ 2050346 h 3304754"/>
                  <a:gd name="connsiteX24" fmla="*/ 3068569 w 4250373"/>
                  <a:gd name="connsiteY24" fmla="*/ 2017960 h 3304754"/>
                  <a:gd name="connsiteX25" fmla="*/ 2939029 w 4250373"/>
                  <a:gd name="connsiteY25" fmla="*/ 2017960 h 3304754"/>
                  <a:gd name="connsiteX26" fmla="*/ 2615179 w 4250373"/>
                  <a:gd name="connsiteY26" fmla="*/ 2017960 h 3304754"/>
                  <a:gd name="connsiteX27" fmla="*/ 2582793 w 4250373"/>
                  <a:gd name="connsiteY27" fmla="*/ 2050346 h 3304754"/>
                  <a:gd name="connsiteX28" fmla="*/ 2582793 w 4250373"/>
                  <a:gd name="connsiteY28" fmla="*/ 2202528 h 3304754"/>
                  <a:gd name="connsiteX29" fmla="*/ 2615179 w 4250373"/>
                  <a:gd name="connsiteY29" fmla="*/ 2234914 h 3304754"/>
                  <a:gd name="connsiteX30" fmla="*/ 2744719 w 4250373"/>
                  <a:gd name="connsiteY30" fmla="*/ 2234914 h 3304754"/>
                  <a:gd name="connsiteX31" fmla="*/ 2777105 w 4250373"/>
                  <a:gd name="connsiteY31" fmla="*/ 2202528 h 3304754"/>
                  <a:gd name="connsiteX32" fmla="*/ 2777105 w 4250373"/>
                  <a:gd name="connsiteY32" fmla="*/ 2050346 h 3304754"/>
                  <a:gd name="connsiteX33" fmla="*/ 2744719 w 4250373"/>
                  <a:gd name="connsiteY33" fmla="*/ 2017960 h 3304754"/>
                  <a:gd name="connsiteX34" fmla="*/ 2615179 w 4250373"/>
                  <a:gd name="connsiteY34" fmla="*/ 2017960 h 3304754"/>
                  <a:gd name="connsiteX35" fmla="*/ 2615179 w 4250373"/>
                  <a:gd name="connsiteY35" fmla="*/ 1707338 h 3304754"/>
                  <a:gd name="connsiteX36" fmla="*/ 2582793 w 4250373"/>
                  <a:gd name="connsiteY36" fmla="*/ 1739724 h 3304754"/>
                  <a:gd name="connsiteX37" fmla="*/ 2582793 w 4250373"/>
                  <a:gd name="connsiteY37" fmla="*/ 1891906 h 3304754"/>
                  <a:gd name="connsiteX38" fmla="*/ 2615179 w 4250373"/>
                  <a:gd name="connsiteY38" fmla="*/ 1924292 h 3304754"/>
                  <a:gd name="connsiteX39" fmla="*/ 2744719 w 4250373"/>
                  <a:gd name="connsiteY39" fmla="*/ 1924292 h 3304754"/>
                  <a:gd name="connsiteX40" fmla="*/ 2777105 w 4250373"/>
                  <a:gd name="connsiteY40" fmla="*/ 1891906 h 3304754"/>
                  <a:gd name="connsiteX41" fmla="*/ 2777105 w 4250373"/>
                  <a:gd name="connsiteY41" fmla="*/ 1739724 h 3304754"/>
                  <a:gd name="connsiteX42" fmla="*/ 2744719 w 4250373"/>
                  <a:gd name="connsiteY42" fmla="*/ 1707338 h 3304754"/>
                  <a:gd name="connsiteX43" fmla="*/ 2615179 w 4250373"/>
                  <a:gd name="connsiteY43" fmla="*/ 1707338 h 3304754"/>
                  <a:gd name="connsiteX44" fmla="*/ 3267642 w 4250373"/>
                  <a:gd name="connsiteY44" fmla="*/ 1707337 h 3304754"/>
                  <a:gd name="connsiteX45" fmla="*/ 3235256 w 4250373"/>
                  <a:gd name="connsiteY45" fmla="*/ 1739723 h 3304754"/>
                  <a:gd name="connsiteX46" fmla="*/ 3235256 w 4250373"/>
                  <a:gd name="connsiteY46" fmla="*/ 1891905 h 3304754"/>
                  <a:gd name="connsiteX47" fmla="*/ 3267642 w 4250373"/>
                  <a:gd name="connsiteY47" fmla="*/ 1924291 h 3304754"/>
                  <a:gd name="connsiteX48" fmla="*/ 3397182 w 4250373"/>
                  <a:gd name="connsiteY48" fmla="*/ 1924291 h 3304754"/>
                  <a:gd name="connsiteX49" fmla="*/ 3429568 w 4250373"/>
                  <a:gd name="connsiteY49" fmla="*/ 1891905 h 3304754"/>
                  <a:gd name="connsiteX50" fmla="*/ 3429568 w 4250373"/>
                  <a:gd name="connsiteY50" fmla="*/ 1739723 h 3304754"/>
                  <a:gd name="connsiteX51" fmla="*/ 3397182 w 4250373"/>
                  <a:gd name="connsiteY51" fmla="*/ 1707337 h 3304754"/>
                  <a:gd name="connsiteX52" fmla="*/ 3267642 w 4250373"/>
                  <a:gd name="connsiteY52" fmla="*/ 1707337 h 3304754"/>
                  <a:gd name="connsiteX53" fmla="*/ 2939029 w 4250373"/>
                  <a:gd name="connsiteY53" fmla="*/ 1707337 h 3304754"/>
                  <a:gd name="connsiteX54" fmla="*/ 2906643 w 4250373"/>
                  <a:gd name="connsiteY54" fmla="*/ 1739723 h 3304754"/>
                  <a:gd name="connsiteX55" fmla="*/ 2906643 w 4250373"/>
                  <a:gd name="connsiteY55" fmla="*/ 1891905 h 3304754"/>
                  <a:gd name="connsiteX56" fmla="*/ 2939029 w 4250373"/>
                  <a:gd name="connsiteY56" fmla="*/ 1924291 h 3304754"/>
                  <a:gd name="connsiteX57" fmla="*/ 3068569 w 4250373"/>
                  <a:gd name="connsiteY57" fmla="*/ 1924291 h 3304754"/>
                  <a:gd name="connsiteX58" fmla="*/ 3100955 w 4250373"/>
                  <a:gd name="connsiteY58" fmla="*/ 1891905 h 3304754"/>
                  <a:gd name="connsiteX59" fmla="*/ 3100955 w 4250373"/>
                  <a:gd name="connsiteY59" fmla="*/ 1739723 h 3304754"/>
                  <a:gd name="connsiteX60" fmla="*/ 3068569 w 4250373"/>
                  <a:gd name="connsiteY60" fmla="*/ 1707337 h 3304754"/>
                  <a:gd name="connsiteX61" fmla="*/ 2939029 w 4250373"/>
                  <a:gd name="connsiteY61" fmla="*/ 1707337 h 3304754"/>
                  <a:gd name="connsiteX62" fmla="*/ 3267642 w 4250373"/>
                  <a:gd name="connsiteY62" fmla="*/ 1396715 h 3304754"/>
                  <a:gd name="connsiteX63" fmla="*/ 3235256 w 4250373"/>
                  <a:gd name="connsiteY63" fmla="*/ 1429101 h 3304754"/>
                  <a:gd name="connsiteX64" fmla="*/ 3235256 w 4250373"/>
                  <a:gd name="connsiteY64" fmla="*/ 1581283 h 3304754"/>
                  <a:gd name="connsiteX65" fmla="*/ 3267642 w 4250373"/>
                  <a:gd name="connsiteY65" fmla="*/ 1613669 h 3304754"/>
                  <a:gd name="connsiteX66" fmla="*/ 3397182 w 4250373"/>
                  <a:gd name="connsiteY66" fmla="*/ 1613669 h 3304754"/>
                  <a:gd name="connsiteX67" fmla="*/ 3429568 w 4250373"/>
                  <a:gd name="connsiteY67" fmla="*/ 1581283 h 3304754"/>
                  <a:gd name="connsiteX68" fmla="*/ 3429568 w 4250373"/>
                  <a:gd name="connsiteY68" fmla="*/ 1429101 h 3304754"/>
                  <a:gd name="connsiteX69" fmla="*/ 3397182 w 4250373"/>
                  <a:gd name="connsiteY69" fmla="*/ 1396715 h 3304754"/>
                  <a:gd name="connsiteX70" fmla="*/ 3267642 w 4250373"/>
                  <a:gd name="connsiteY70" fmla="*/ 1396715 h 3304754"/>
                  <a:gd name="connsiteX71" fmla="*/ 2630648 w 4250373"/>
                  <a:gd name="connsiteY71" fmla="*/ 1396715 h 3304754"/>
                  <a:gd name="connsiteX72" fmla="*/ 2598262 w 4250373"/>
                  <a:gd name="connsiteY72" fmla="*/ 1429101 h 3304754"/>
                  <a:gd name="connsiteX73" fmla="*/ 2598262 w 4250373"/>
                  <a:gd name="connsiteY73" fmla="*/ 1581283 h 3304754"/>
                  <a:gd name="connsiteX74" fmla="*/ 2630648 w 4250373"/>
                  <a:gd name="connsiteY74" fmla="*/ 1613669 h 3304754"/>
                  <a:gd name="connsiteX75" fmla="*/ 2760188 w 4250373"/>
                  <a:gd name="connsiteY75" fmla="*/ 1613669 h 3304754"/>
                  <a:gd name="connsiteX76" fmla="*/ 2792574 w 4250373"/>
                  <a:gd name="connsiteY76" fmla="*/ 1581283 h 3304754"/>
                  <a:gd name="connsiteX77" fmla="*/ 2792574 w 4250373"/>
                  <a:gd name="connsiteY77" fmla="*/ 1429101 h 3304754"/>
                  <a:gd name="connsiteX78" fmla="*/ 2760188 w 4250373"/>
                  <a:gd name="connsiteY78" fmla="*/ 1396715 h 3304754"/>
                  <a:gd name="connsiteX79" fmla="*/ 2630648 w 4250373"/>
                  <a:gd name="connsiteY79" fmla="*/ 1396715 h 3304754"/>
                  <a:gd name="connsiteX80" fmla="*/ 2939029 w 4250373"/>
                  <a:gd name="connsiteY80" fmla="*/ 1396714 h 3304754"/>
                  <a:gd name="connsiteX81" fmla="*/ 2906643 w 4250373"/>
                  <a:gd name="connsiteY81" fmla="*/ 1429100 h 3304754"/>
                  <a:gd name="connsiteX82" fmla="*/ 2906643 w 4250373"/>
                  <a:gd name="connsiteY82" fmla="*/ 1581282 h 3304754"/>
                  <a:gd name="connsiteX83" fmla="*/ 2939029 w 4250373"/>
                  <a:gd name="connsiteY83" fmla="*/ 1613668 h 3304754"/>
                  <a:gd name="connsiteX84" fmla="*/ 3068569 w 4250373"/>
                  <a:gd name="connsiteY84" fmla="*/ 1613668 h 3304754"/>
                  <a:gd name="connsiteX85" fmla="*/ 3100955 w 4250373"/>
                  <a:gd name="connsiteY85" fmla="*/ 1581282 h 3304754"/>
                  <a:gd name="connsiteX86" fmla="*/ 3100955 w 4250373"/>
                  <a:gd name="connsiteY86" fmla="*/ 1429100 h 3304754"/>
                  <a:gd name="connsiteX87" fmla="*/ 3068569 w 4250373"/>
                  <a:gd name="connsiteY87" fmla="*/ 1396714 h 3304754"/>
                  <a:gd name="connsiteX88" fmla="*/ 2939029 w 4250373"/>
                  <a:gd name="connsiteY88" fmla="*/ 1396714 h 3304754"/>
                  <a:gd name="connsiteX89" fmla="*/ 858205 w 4250373"/>
                  <a:gd name="connsiteY89" fmla="*/ 1396714 h 3304754"/>
                  <a:gd name="connsiteX90" fmla="*/ 718502 w 4250373"/>
                  <a:gd name="connsiteY90" fmla="*/ 1536417 h 3304754"/>
                  <a:gd name="connsiteX91" fmla="*/ 718502 w 4250373"/>
                  <a:gd name="connsiteY91" fmla="*/ 2095211 h 3304754"/>
                  <a:gd name="connsiteX92" fmla="*/ 858205 w 4250373"/>
                  <a:gd name="connsiteY92" fmla="*/ 2234914 h 3304754"/>
                  <a:gd name="connsiteX93" fmla="*/ 2214720 w 4250373"/>
                  <a:gd name="connsiteY93" fmla="*/ 2234914 h 3304754"/>
                  <a:gd name="connsiteX94" fmla="*/ 2354423 w 4250373"/>
                  <a:gd name="connsiteY94" fmla="*/ 2095211 h 3304754"/>
                  <a:gd name="connsiteX95" fmla="*/ 2354423 w 4250373"/>
                  <a:gd name="connsiteY95" fmla="*/ 1536417 h 3304754"/>
                  <a:gd name="connsiteX96" fmla="*/ 2214720 w 4250373"/>
                  <a:gd name="connsiteY96" fmla="*/ 1396714 h 3304754"/>
                  <a:gd name="connsiteX97" fmla="*/ 858205 w 4250373"/>
                  <a:gd name="connsiteY97" fmla="*/ 1396714 h 3304754"/>
                  <a:gd name="connsiteX98" fmla="*/ 3252670 w 4250373"/>
                  <a:gd name="connsiteY98" fmla="*/ 453909 h 3304754"/>
                  <a:gd name="connsiteX99" fmla="*/ 2791662 w 4250373"/>
                  <a:gd name="connsiteY99" fmla="*/ 455044 h 3304754"/>
                  <a:gd name="connsiteX100" fmla="*/ 2777626 w 4250373"/>
                  <a:gd name="connsiteY100" fmla="*/ 504625 h 3304754"/>
                  <a:gd name="connsiteX101" fmla="*/ 2716779 w 4250373"/>
                  <a:gd name="connsiteY101" fmla="*/ 1155596 h 3304754"/>
                  <a:gd name="connsiteX102" fmla="*/ 3199247 w 4250373"/>
                  <a:gd name="connsiteY102" fmla="*/ 1161765 h 3304754"/>
                  <a:gd name="connsiteX103" fmla="*/ 3252670 w 4250373"/>
                  <a:gd name="connsiteY103" fmla="*/ 453909 h 3304754"/>
                  <a:gd name="connsiteX104" fmla="*/ 722896 w 4250373"/>
                  <a:gd name="connsiteY104" fmla="*/ 27358 h 3304754"/>
                  <a:gd name="connsiteX105" fmla="*/ 673508 w 4250373"/>
                  <a:gd name="connsiteY105" fmla="*/ 76746 h 3304754"/>
                  <a:gd name="connsiteX106" fmla="*/ 673508 w 4250373"/>
                  <a:gd name="connsiteY106" fmla="*/ 347201 h 3304754"/>
                  <a:gd name="connsiteX107" fmla="*/ 722896 w 4250373"/>
                  <a:gd name="connsiteY107" fmla="*/ 396589 h 3304754"/>
                  <a:gd name="connsiteX108" fmla="*/ 722896 w 4250373"/>
                  <a:gd name="connsiteY108" fmla="*/ 27358 h 3304754"/>
                  <a:gd name="connsiteX109" fmla="*/ 498883 w 4250373"/>
                  <a:gd name="connsiteY109" fmla="*/ 1 h 3304754"/>
                  <a:gd name="connsiteX110" fmla="*/ 1535838 w 4250373"/>
                  <a:gd name="connsiteY110" fmla="*/ 501364 h 3304754"/>
                  <a:gd name="connsiteX111" fmla="*/ 1535838 w 4250373"/>
                  <a:gd name="connsiteY111" fmla="*/ 977612 h 3304754"/>
                  <a:gd name="connsiteX112" fmla="*/ 2583508 w 4250373"/>
                  <a:gd name="connsiteY112" fmla="*/ 977612 h 3304754"/>
                  <a:gd name="connsiteX113" fmla="*/ 2623911 w 4250373"/>
                  <a:gd name="connsiteY113" fmla="*/ 398177 h 3304754"/>
                  <a:gd name="connsiteX114" fmla="*/ 2671536 w 4250373"/>
                  <a:gd name="connsiteY114" fmla="*/ 348964 h 3304754"/>
                  <a:gd name="connsiteX115" fmla="*/ 3339873 w 4250373"/>
                  <a:gd name="connsiteY115" fmla="*/ 341026 h 3304754"/>
                  <a:gd name="connsiteX116" fmla="*/ 3327420 w 4250373"/>
                  <a:gd name="connsiteY116" fmla="*/ 977612 h 3304754"/>
                  <a:gd name="connsiteX117" fmla="*/ 3504752 w 4250373"/>
                  <a:gd name="connsiteY117" fmla="*/ 977612 h 3304754"/>
                  <a:gd name="connsiteX118" fmla="*/ 3740691 w 4250373"/>
                  <a:gd name="connsiteY118" fmla="*/ 1213551 h 3304754"/>
                  <a:gd name="connsiteX119" fmla="*/ 3740691 w 4250373"/>
                  <a:gd name="connsiteY119" fmla="*/ 2277664 h 3304754"/>
                  <a:gd name="connsiteX120" fmla="*/ 4250373 w 4250373"/>
                  <a:gd name="connsiteY120" fmla="*/ 2785458 h 3304754"/>
                  <a:gd name="connsiteX121" fmla="*/ 4245831 w 4250373"/>
                  <a:gd name="connsiteY121" fmla="*/ 2785460 h 3304754"/>
                  <a:gd name="connsiteX122" fmla="*/ 4245831 w 4250373"/>
                  <a:gd name="connsiteY122" fmla="*/ 3205491 h 3304754"/>
                  <a:gd name="connsiteX123" fmla="*/ 4146568 w 4250373"/>
                  <a:gd name="connsiteY123" fmla="*/ 3304754 h 3304754"/>
                  <a:gd name="connsiteX124" fmla="*/ 102439 w 4250373"/>
                  <a:gd name="connsiteY124" fmla="*/ 3304754 h 3304754"/>
                  <a:gd name="connsiteX125" fmla="*/ 3176 w 4250373"/>
                  <a:gd name="connsiteY125" fmla="*/ 3205491 h 3304754"/>
                  <a:gd name="connsiteX126" fmla="*/ 3176 w 4250373"/>
                  <a:gd name="connsiteY126" fmla="*/ 2786727 h 3304754"/>
                  <a:gd name="connsiteX127" fmla="*/ 0 w 4250373"/>
                  <a:gd name="connsiteY127" fmla="*/ 2786728 h 3304754"/>
                  <a:gd name="connsiteX128" fmla="*/ 3176 w 4250373"/>
                  <a:gd name="connsiteY128" fmla="*/ 2783588 h 3304754"/>
                  <a:gd name="connsiteX129" fmla="*/ 3176 w 4250373"/>
                  <a:gd name="connsiteY129" fmla="*/ 2783553 h 3304754"/>
                  <a:gd name="connsiteX130" fmla="*/ 3211 w 4250373"/>
                  <a:gd name="connsiteY130" fmla="*/ 2783553 h 3304754"/>
                  <a:gd name="connsiteX131" fmla="*/ 511811 w 4250373"/>
                  <a:gd name="connsiteY131" fmla="*/ 2280633 h 3304754"/>
                  <a:gd name="connsiteX132" fmla="*/ 512859 w 4250373"/>
                  <a:gd name="connsiteY132" fmla="*/ 2280631 h 3304754"/>
                  <a:gd name="connsiteX133" fmla="*/ 512859 w 4250373"/>
                  <a:gd name="connsiteY133" fmla="*/ 1213551 h 3304754"/>
                  <a:gd name="connsiteX134" fmla="*/ 748798 w 4250373"/>
                  <a:gd name="connsiteY134" fmla="*/ 977612 h 3304754"/>
                  <a:gd name="connsiteX135" fmla="*/ 1131978 w 4250373"/>
                  <a:gd name="connsiteY135" fmla="*/ 977612 h 3304754"/>
                  <a:gd name="connsiteX136" fmla="*/ 1131978 w 4250373"/>
                  <a:gd name="connsiteY136" fmla="*/ 501364 h 3304754"/>
                  <a:gd name="connsiteX137" fmla="*/ 576301 w 4250373"/>
                  <a:gd name="connsiteY137" fmla="*/ 501364 h 3304754"/>
                  <a:gd name="connsiteX138" fmla="*/ 498883 w 4250373"/>
                  <a:gd name="connsiteY138" fmla="*/ 423946 h 3304754"/>
                  <a:gd name="connsiteX139" fmla="*/ 498883 w 4250373"/>
                  <a:gd name="connsiteY139" fmla="*/ 1 h 3304754"/>
                  <a:gd name="connsiteX0" fmla="*/ 1629417 w 4250373"/>
                  <a:gd name="connsiteY0" fmla="*/ 2907643 h 3277395"/>
                  <a:gd name="connsiteX1" fmla="*/ 1579411 w 4250373"/>
                  <a:gd name="connsiteY1" fmla="*/ 2957649 h 3277395"/>
                  <a:gd name="connsiteX2" fmla="*/ 1629417 w 4250373"/>
                  <a:gd name="connsiteY2" fmla="*/ 3007654 h 3277395"/>
                  <a:gd name="connsiteX3" fmla="*/ 2622323 w 4250373"/>
                  <a:gd name="connsiteY3" fmla="*/ 3007655 h 3277395"/>
                  <a:gd name="connsiteX4" fmla="*/ 2672329 w 4250373"/>
                  <a:gd name="connsiteY4" fmla="*/ 2957649 h 3277395"/>
                  <a:gd name="connsiteX5" fmla="*/ 2672330 w 4250373"/>
                  <a:gd name="connsiteY5" fmla="*/ 2957649 h 3277395"/>
                  <a:gd name="connsiteX6" fmla="*/ 2622324 w 4250373"/>
                  <a:gd name="connsiteY6" fmla="*/ 2907643 h 3277395"/>
                  <a:gd name="connsiteX7" fmla="*/ 1629417 w 4250373"/>
                  <a:gd name="connsiteY7" fmla="*/ 2907643 h 3277395"/>
                  <a:gd name="connsiteX8" fmla="*/ 3267642 w 4250373"/>
                  <a:gd name="connsiteY8" fmla="*/ 1990601 h 3277395"/>
                  <a:gd name="connsiteX9" fmla="*/ 3235256 w 4250373"/>
                  <a:gd name="connsiteY9" fmla="*/ 2022987 h 3277395"/>
                  <a:gd name="connsiteX10" fmla="*/ 3235256 w 4250373"/>
                  <a:gd name="connsiteY10" fmla="*/ 2175169 h 3277395"/>
                  <a:gd name="connsiteX11" fmla="*/ 3267642 w 4250373"/>
                  <a:gd name="connsiteY11" fmla="*/ 2207555 h 3277395"/>
                  <a:gd name="connsiteX12" fmla="*/ 3397182 w 4250373"/>
                  <a:gd name="connsiteY12" fmla="*/ 2207555 h 3277395"/>
                  <a:gd name="connsiteX13" fmla="*/ 3429568 w 4250373"/>
                  <a:gd name="connsiteY13" fmla="*/ 2175169 h 3277395"/>
                  <a:gd name="connsiteX14" fmla="*/ 3429568 w 4250373"/>
                  <a:gd name="connsiteY14" fmla="*/ 2022987 h 3277395"/>
                  <a:gd name="connsiteX15" fmla="*/ 3397182 w 4250373"/>
                  <a:gd name="connsiteY15" fmla="*/ 1990601 h 3277395"/>
                  <a:gd name="connsiteX16" fmla="*/ 3267642 w 4250373"/>
                  <a:gd name="connsiteY16" fmla="*/ 1990601 h 3277395"/>
                  <a:gd name="connsiteX17" fmla="*/ 2939029 w 4250373"/>
                  <a:gd name="connsiteY17" fmla="*/ 1990601 h 3277395"/>
                  <a:gd name="connsiteX18" fmla="*/ 2906643 w 4250373"/>
                  <a:gd name="connsiteY18" fmla="*/ 2022987 h 3277395"/>
                  <a:gd name="connsiteX19" fmla="*/ 2906643 w 4250373"/>
                  <a:gd name="connsiteY19" fmla="*/ 2175169 h 3277395"/>
                  <a:gd name="connsiteX20" fmla="*/ 2939029 w 4250373"/>
                  <a:gd name="connsiteY20" fmla="*/ 2207555 h 3277395"/>
                  <a:gd name="connsiteX21" fmla="*/ 3068569 w 4250373"/>
                  <a:gd name="connsiteY21" fmla="*/ 2207555 h 3277395"/>
                  <a:gd name="connsiteX22" fmla="*/ 3100955 w 4250373"/>
                  <a:gd name="connsiteY22" fmla="*/ 2175169 h 3277395"/>
                  <a:gd name="connsiteX23" fmla="*/ 3100955 w 4250373"/>
                  <a:gd name="connsiteY23" fmla="*/ 2022987 h 3277395"/>
                  <a:gd name="connsiteX24" fmla="*/ 3068569 w 4250373"/>
                  <a:gd name="connsiteY24" fmla="*/ 1990601 h 3277395"/>
                  <a:gd name="connsiteX25" fmla="*/ 2939029 w 4250373"/>
                  <a:gd name="connsiteY25" fmla="*/ 1990601 h 3277395"/>
                  <a:gd name="connsiteX26" fmla="*/ 2615179 w 4250373"/>
                  <a:gd name="connsiteY26" fmla="*/ 1990601 h 3277395"/>
                  <a:gd name="connsiteX27" fmla="*/ 2582793 w 4250373"/>
                  <a:gd name="connsiteY27" fmla="*/ 2022987 h 3277395"/>
                  <a:gd name="connsiteX28" fmla="*/ 2582793 w 4250373"/>
                  <a:gd name="connsiteY28" fmla="*/ 2175169 h 3277395"/>
                  <a:gd name="connsiteX29" fmla="*/ 2615179 w 4250373"/>
                  <a:gd name="connsiteY29" fmla="*/ 2207555 h 3277395"/>
                  <a:gd name="connsiteX30" fmla="*/ 2744719 w 4250373"/>
                  <a:gd name="connsiteY30" fmla="*/ 2207555 h 3277395"/>
                  <a:gd name="connsiteX31" fmla="*/ 2777105 w 4250373"/>
                  <a:gd name="connsiteY31" fmla="*/ 2175169 h 3277395"/>
                  <a:gd name="connsiteX32" fmla="*/ 2777105 w 4250373"/>
                  <a:gd name="connsiteY32" fmla="*/ 2022987 h 3277395"/>
                  <a:gd name="connsiteX33" fmla="*/ 2744719 w 4250373"/>
                  <a:gd name="connsiteY33" fmla="*/ 1990601 h 3277395"/>
                  <a:gd name="connsiteX34" fmla="*/ 2615179 w 4250373"/>
                  <a:gd name="connsiteY34" fmla="*/ 1990601 h 3277395"/>
                  <a:gd name="connsiteX35" fmla="*/ 2615179 w 4250373"/>
                  <a:gd name="connsiteY35" fmla="*/ 1679979 h 3277395"/>
                  <a:gd name="connsiteX36" fmla="*/ 2582793 w 4250373"/>
                  <a:gd name="connsiteY36" fmla="*/ 1712365 h 3277395"/>
                  <a:gd name="connsiteX37" fmla="*/ 2582793 w 4250373"/>
                  <a:gd name="connsiteY37" fmla="*/ 1864547 h 3277395"/>
                  <a:gd name="connsiteX38" fmla="*/ 2615179 w 4250373"/>
                  <a:gd name="connsiteY38" fmla="*/ 1896933 h 3277395"/>
                  <a:gd name="connsiteX39" fmla="*/ 2744719 w 4250373"/>
                  <a:gd name="connsiteY39" fmla="*/ 1896933 h 3277395"/>
                  <a:gd name="connsiteX40" fmla="*/ 2777105 w 4250373"/>
                  <a:gd name="connsiteY40" fmla="*/ 1864547 h 3277395"/>
                  <a:gd name="connsiteX41" fmla="*/ 2777105 w 4250373"/>
                  <a:gd name="connsiteY41" fmla="*/ 1712365 h 3277395"/>
                  <a:gd name="connsiteX42" fmla="*/ 2744719 w 4250373"/>
                  <a:gd name="connsiteY42" fmla="*/ 1679979 h 3277395"/>
                  <a:gd name="connsiteX43" fmla="*/ 2615179 w 4250373"/>
                  <a:gd name="connsiteY43" fmla="*/ 1679979 h 3277395"/>
                  <a:gd name="connsiteX44" fmla="*/ 3267642 w 4250373"/>
                  <a:gd name="connsiteY44" fmla="*/ 1679978 h 3277395"/>
                  <a:gd name="connsiteX45" fmla="*/ 3235256 w 4250373"/>
                  <a:gd name="connsiteY45" fmla="*/ 1712364 h 3277395"/>
                  <a:gd name="connsiteX46" fmla="*/ 3235256 w 4250373"/>
                  <a:gd name="connsiteY46" fmla="*/ 1864546 h 3277395"/>
                  <a:gd name="connsiteX47" fmla="*/ 3267642 w 4250373"/>
                  <a:gd name="connsiteY47" fmla="*/ 1896932 h 3277395"/>
                  <a:gd name="connsiteX48" fmla="*/ 3397182 w 4250373"/>
                  <a:gd name="connsiteY48" fmla="*/ 1896932 h 3277395"/>
                  <a:gd name="connsiteX49" fmla="*/ 3429568 w 4250373"/>
                  <a:gd name="connsiteY49" fmla="*/ 1864546 h 3277395"/>
                  <a:gd name="connsiteX50" fmla="*/ 3429568 w 4250373"/>
                  <a:gd name="connsiteY50" fmla="*/ 1712364 h 3277395"/>
                  <a:gd name="connsiteX51" fmla="*/ 3397182 w 4250373"/>
                  <a:gd name="connsiteY51" fmla="*/ 1679978 h 3277395"/>
                  <a:gd name="connsiteX52" fmla="*/ 3267642 w 4250373"/>
                  <a:gd name="connsiteY52" fmla="*/ 1679978 h 3277395"/>
                  <a:gd name="connsiteX53" fmla="*/ 2939029 w 4250373"/>
                  <a:gd name="connsiteY53" fmla="*/ 1679978 h 3277395"/>
                  <a:gd name="connsiteX54" fmla="*/ 2906643 w 4250373"/>
                  <a:gd name="connsiteY54" fmla="*/ 1712364 h 3277395"/>
                  <a:gd name="connsiteX55" fmla="*/ 2906643 w 4250373"/>
                  <a:gd name="connsiteY55" fmla="*/ 1864546 h 3277395"/>
                  <a:gd name="connsiteX56" fmla="*/ 2939029 w 4250373"/>
                  <a:gd name="connsiteY56" fmla="*/ 1896932 h 3277395"/>
                  <a:gd name="connsiteX57" fmla="*/ 3068569 w 4250373"/>
                  <a:gd name="connsiteY57" fmla="*/ 1896932 h 3277395"/>
                  <a:gd name="connsiteX58" fmla="*/ 3100955 w 4250373"/>
                  <a:gd name="connsiteY58" fmla="*/ 1864546 h 3277395"/>
                  <a:gd name="connsiteX59" fmla="*/ 3100955 w 4250373"/>
                  <a:gd name="connsiteY59" fmla="*/ 1712364 h 3277395"/>
                  <a:gd name="connsiteX60" fmla="*/ 3068569 w 4250373"/>
                  <a:gd name="connsiteY60" fmla="*/ 1679978 h 3277395"/>
                  <a:gd name="connsiteX61" fmla="*/ 2939029 w 4250373"/>
                  <a:gd name="connsiteY61" fmla="*/ 1679978 h 3277395"/>
                  <a:gd name="connsiteX62" fmla="*/ 3267642 w 4250373"/>
                  <a:gd name="connsiteY62" fmla="*/ 1369356 h 3277395"/>
                  <a:gd name="connsiteX63" fmla="*/ 3235256 w 4250373"/>
                  <a:gd name="connsiteY63" fmla="*/ 1401742 h 3277395"/>
                  <a:gd name="connsiteX64" fmla="*/ 3235256 w 4250373"/>
                  <a:gd name="connsiteY64" fmla="*/ 1553924 h 3277395"/>
                  <a:gd name="connsiteX65" fmla="*/ 3267642 w 4250373"/>
                  <a:gd name="connsiteY65" fmla="*/ 1586310 h 3277395"/>
                  <a:gd name="connsiteX66" fmla="*/ 3397182 w 4250373"/>
                  <a:gd name="connsiteY66" fmla="*/ 1586310 h 3277395"/>
                  <a:gd name="connsiteX67" fmla="*/ 3429568 w 4250373"/>
                  <a:gd name="connsiteY67" fmla="*/ 1553924 h 3277395"/>
                  <a:gd name="connsiteX68" fmla="*/ 3429568 w 4250373"/>
                  <a:gd name="connsiteY68" fmla="*/ 1401742 h 3277395"/>
                  <a:gd name="connsiteX69" fmla="*/ 3397182 w 4250373"/>
                  <a:gd name="connsiteY69" fmla="*/ 1369356 h 3277395"/>
                  <a:gd name="connsiteX70" fmla="*/ 3267642 w 4250373"/>
                  <a:gd name="connsiteY70" fmla="*/ 1369356 h 3277395"/>
                  <a:gd name="connsiteX71" fmla="*/ 2630648 w 4250373"/>
                  <a:gd name="connsiteY71" fmla="*/ 1369356 h 3277395"/>
                  <a:gd name="connsiteX72" fmla="*/ 2598262 w 4250373"/>
                  <a:gd name="connsiteY72" fmla="*/ 1401742 h 3277395"/>
                  <a:gd name="connsiteX73" fmla="*/ 2598262 w 4250373"/>
                  <a:gd name="connsiteY73" fmla="*/ 1553924 h 3277395"/>
                  <a:gd name="connsiteX74" fmla="*/ 2630648 w 4250373"/>
                  <a:gd name="connsiteY74" fmla="*/ 1586310 h 3277395"/>
                  <a:gd name="connsiteX75" fmla="*/ 2760188 w 4250373"/>
                  <a:gd name="connsiteY75" fmla="*/ 1586310 h 3277395"/>
                  <a:gd name="connsiteX76" fmla="*/ 2792574 w 4250373"/>
                  <a:gd name="connsiteY76" fmla="*/ 1553924 h 3277395"/>
                  <a:gd name="connsiteX77" fmla="*/ 2792574 w 4250373"/>
                  <a:gd name="connsiteY77" fmla="*/ 1401742 h 3277395"/>
                  <a:gd name="connsiteX78" fmla="*/ 2760188 w 4250373"/>
                  <a:gd name="connsiteY78" fmla="*/ 1369356 h 3277395"/>
                  <a:gd name="connsiteX79" fmla="*/ 2630648 w 4250373"/>
                  <a:gd name="connsiteY79" fmla="*/ 1369356 h 3277395"/>
                  <a:gd name="connsiteX80" fmla="*/ 2939029 w 4250373"/>
                  <a:gd name="connsiteY80" fmla="*/ 1369355 h 3277395"/>
                  <a:gd name="connsiteX81" fmla="*/ 2906643 w 4250373"/>
                  <a:gd name="connsiteY81" fmla="*/ 1401741 h 3277395"/>
                  <a:gd name="connsiteX82" fmla="*/ 2906643 w 4250373"/>
                  <a:gd name="connsiteY82" fmla="*/ 1553923 h 3277395"/>
                  <a:gd name="connsiteX83" fmla="*/ 2939029 w 4250373"/>
                  <a:gd name="connsiteY83" fmla="*/ 1586309 h 3277395"/>
                  <a:gd name="connsiteX84" fmla="*/ 3068569 w 4250373"/>
                  <a:gd name="connsiteY84" fmla="*/ 1586309 h 3277395"/>
                  <a:gd name="connsiteX85" fmla="*/ 3100955 w 4250373"/>
                  <a:gd name="connsiteY85" fmla="*/ 1553923 h 3277395"/>
                  <a:gd name="connsiteX86" fmla="*/ 3100955 w 4250373"/>
                  <a:gd name="connsiteY86" fmla="*/ 1401741 h 3277395"/>
                  <a:gd name="connsiteX87" fmla="*/ 3068569 w 4250373"/>
                  <a:gd name="connsiteY87" fmla="*/ 1369355 h 3277395"/>
                  <a:gd name="connsiteX88" fmla="*/ 2939029 w 4250373"/>
                  <a:gd name="connsiteY88" fmla="*/ 1369355 h 3277395"/>
                  <a:gd name="connsiteX89" fmla="*/ 858205 w 4250373"/>
                  <a:gd name="connsiteY89" fmla="*/ 1369355 h 3277395"/>
                  <a:gd name="connsiteX90" fmla="*/ 718502 w 4250373"/>
                  <a:gd name="connsiteY90" fmla="*/ 1509058 h 3277395"/>
                  <a:gd name="connsiteX91" fmla="*/ 718502 w 4250373"/>
                  <a:gd name="connsiteY91" fmla="*/ 2067852 h 3277395"/>
                  <a:gd name="connsiteX92" fmla="*/ 858205 w 4250373"/>
                  <a:gd name="connsiteY92" fmla="*/ 2207555 h 3277395"/>
                  <a:gd name="connsiteX93" fmla="*/ 2214720 w 4250373"/>
                  <a:gd name="connsiteY93" fmla="*/ 2207555 h 3277395"/>
                  <a:gd name="connsiteX94" fmla="*/ 2354423 w 4250373"/>
                  <a:gd name="connsiteY94" fmla="*/ 2067852 h 3277395"/>
                  <a:gd name="connsiteX95" fmla="*/ 2354423 w 4250373"/>
                  <a:gd name="connsiteY95" fmla="*/ 1509058 h 3277395"/>
                  <a:gd name="connsiteX96" fmla="*/ 2214720 w 4250373"/>
                  <a:gd name="connsiteY96" fmla="*/ 1369355 h 3277395"/>
                  <a:gd name="connsiteX97" fmla="*/ 858205 w 4250373"/>
                  <a:gd name="connsiteY97" fmla="*/ 1369355 h 3277395"/>
                  <a:gd name="connsiteX98" fmla="*/ 3252670 w 4250373"/>
                  <a:gd name="connsiteY98" fmla="*/ 426550 h 3277395"/>
                  <a:gd name="connsiteX99" fmla="*/ 2791662 w 4250373"/>
                  <a:gd name="connsiteY99" fmla="*/ 427685 h 3277395"/>
                  <a:gd name="connsiteX100" fmla="*/ 2777626 w 4250373"/>
                  <a:gd name="connsiteY100" fmla="*/ 477266 h 3277395"/>
                  <a:gd name="connsiteX101" fmla="*/ 2716779 w 4250373"/>
                  <a:gd name="connsiteY101" fmla="*/ 1128237 h 3277395"/>
                  <a:gd name="connsiteX102" fmla="*/ 3199247 w 4250373"/>
                  <a:gd name="connsiteY102" fmla="*/ 1134406 h 3277395"/>
                  <a:gd name="connsiteX103" fmla="*/ 3252670 w 4250373"/>
                  <a:gd name="connsiteY103" fmla="*/ 426550 h 3277395"/>
                  <a:gd name="connsiteX104" fmla="*/ 722896 w 4250373"/>
                  <a:gd name="connsiteY104" fmla="*/ -1 h 3277395"/>
                  <a:gd name="connsiteX105" fmla="*/ 673508 w 4250373"/>
                  <a:gd name="connsiteY105" fmla="*/ 49387 h 3277395"/>
                  <a:gd name="connsiteX106" fmla="*/ 673508 w 4250373"/>
                  <a:gd name="connsiteY106" fmla="*/ 319842 h 3277395"/>
                  <a:gd name="connsiteX107" fmla="*/ 722896 w 4250373"/>
                  <a:gd name="connsiteY107" fmla="*/ 369230 h 3277395"/>
                  <a:gd name="connsiteX108" fmla="*/ 722896 w 4250373"/>
                  <a:gd name="connsiteY108" fmla="*/ -1 h 3277395"/>
                  <a:gd name="connsiteX109" fmla="*/ 498883 w 4250373"/>
                  <a:gd name="connsiteY109" fmla="*/ 396587 h 3277395"/>
                  <a:gd name="connsiteX110" fmla="*/ 1535838 w 4250373"/>
                  <a:gd name="connsiteY110" fmla="*/ 474005 h 3277395"/>
                  <a:gd name="connsiteX111" fmla="*/ 1535838 w 4250373"/>
                  <a:gd name="connsiteY111" fmla="*/ 950253 h 3277395"/>
                  <a:gd name="connsiteX112" fmla="*/ 2583508 w 4250373"/>
                  <a:gd name="connsiteY112" fmla="*/ 950253 h 3277395"/>
                  <a:gd name="connsiteX113" fmla="*/ 2623911 w 4250373"/>
                  <a:gd name="connsiteY113" fmla="*/ 370818 h 3277395"/>
                  <a:gd name="connsiteX114" fmla="*/ 2671536 w 4250373"/>
                  <a:gd name="connsiteY114" fmla="*/ 321605 h 3277395"/>
                  <a:gd name="connsiteX115" fmla="*/ 3339873 w 4250373"/>
                  <a:gd name="connsiteY115" fmla="*/ 313667 h 3277395"/>
                  <a:gd name="connsiteX116" fmla="*/ 3327420 w 4250373"/>
                  <a:gd name="connsiteY116" fmla="*/ 950253 h 3277395"/>
                  <a:gd name="connsiteX117" fmla="*/ 3504752 w 4250373"/>
                  <a:gd name="connsiteY117" fmla="*/ 950253 h 3277395"/>
                  <a:gd name="connsiteX118" fmla="*/ 3740691 w 4250373"/>
                  <a:gd name="connsiteY118" fmla="*/ 1186192 h 3277395"/>
                  <a:gd name="connsiteX119" fmla="*/ 3740691 w 4250373"/>
                  <a:gd name="connsiteY119" fmla="*/ 2250305 h 3277395"/>
                  <a:gd name="connsiteX120" fmla="*/ 4250373 w 4250373"/>
                  <a:gd name="connsiteY120" fmla="*/ 2758099 h 3277395"/>
                  <a:gd name="connsiteX121" fmla="*/ 4245831 w 4250373"/>
                  <a:gd name="connsiteY121" fmla="*/ 2758101 h 3277395"/>
                  <a:gd name="connsiteX122" fmla="*/ 4245831 w 4250373"/>
                  <a:gd name="connsiteY122" fmla="*/ 3178132 h 3277395"/>
                  <a:gd name="connsiteX123" fmla="*/ 4146568 w 4250373"/>
                  <a:gd name="connsiteY123" fmla="*/ 3277395 h 3277395"/>
                  <a:gd name="connsiteX124" fmla="*/ 102439 w 4250373"/>
                  <a:gd name="connsiteY124" fmla="*/ 3277395 h 3277395"/>
                  <a:gd name="connsiteX125" fmla="*/ 3176 w 4250373"/>
                  <a:gd name="connsiteY125" fmla="*/ 3178132 h 3277395"/>
                  <a:gd name="connsiteX126" fmla="*/ 3176 w 4250373"/>
                  <a:gd name="connsiteY126" fmla="*/ 2759368 h 3277395"/>
                  <a:gd name="connsiteX127" fmla="*/ 0 w 4250373"/>
                  <a:gd name="connsiteY127" fmla="*/ 2759369 h 3277395"/>
                  <a:gd name="connsiteX128" fmla="*/ 3176 w 4250373"/>
                  <a:gd name="connsiteY128" fmla="*/ 2756229 h 3277395"/>
                  <a:gd name="connsiteX129" fmla="*/ 3176 w 4250373"/>
                  <a:gd name="connsiteY129" fmla="*/ 2756194 h 3277395"/>
                  <a:gd name="connsiteX130" fmla="*/ 3211 w 4250373"/>
                  <a:gd name="connsiteY130" fmla="*/ 2756194 h 3277395"/>
                  <a:gd name="connsiteX131" fmla="*/ 511811 w 4250373"/>
                  <a:gd name="connsiteY131" fmla="*/ 2253274 h 3277395"/>
                  <a:gd name="connsiteX132" fmla="*/ 512859 w 4250373"/>
                  <a:gd name="connsiteY132" fmla="*/ 2253272 h 3277395"/>
                  <a:gd name="connsiteX133" fmla="*/ 512859 w 4250373"/>
                  <a:gd name="connsiteY133" fmla="*/ 1186192 h 3277395"/>
                  <a:gd name="connsiteX134" fmla="*/ 748798 w 4250373"/>
                  <a:gd name="connsiteY134" fmla="*/ 950253 h 3277395"/>
                  <a:gd name="connsiteX135" fmla="*/ 1131978 w 4250373"/>
                  <a:gd name="connsiteY135" fmla="*/ 950253 h 3277395"/>
                  <a:gd name="connsiteX136" fmla="*/ 1131978 w 4250373"/>
                  <a:gd name="connsiteY136" fmla="*/ 474005 h 3277395"/>
                  <a:gd name="connsiteX137" fmla="*/ 576301 w 4250373"/>
                  <a:gd name="connsiteY137" fmla="*/ 474005 h 3277395"/>
                  <a:gd name="connsiteX138" fmla="*/ 498883 w 4250373"/>
                  <a:gd name="connsiteY138" fmla="*/ 396587 h 3277395"/>
                  <a:gd name="connsiteX0" fmla="*/ 1629417 w 4250373"/>
                  <a:gd name="connsiteY0" fmla="*/ 2907645 h 3277397"/>
                  <a:gd name="connsiteX1" fmla="*/ 1579411 w 4250373"/>
                  <a:gd name="connsiteY1" fmla="*/ 2957651 h 3277397"/>
                  <a:gd name="connsiteX2" fmla="*/ 1629417 w 4250373"/>
                  <a:gd name="connsiteY2" fmla="*/ 3007656 h 3277397"/>
                  <a:gd name="connsiteX3" fmla="*/ 2622323 w 4250373"/>
                  <a:gd name="connsiteY3" fmla="*/ 3007657 h 3277397"/>
                  <a:gd name="connsiteX4" fmla="*/ 2672329 w 4250373"/>
                  <a:gd name="connsiteY4" fmla="*/ 2957651 h 3277397"/>
                  <a:gd name="connsiteX5" fmla="*/ 2672330 w 4250373"/>
                  <a:gd name="connsiteY5" fmla="*/ 2957651 h 3277397"/>
                  <a:gd name="connsiteX6" fmla="*/ 2622324 w 4250373"/>
                  <a:gd name="connsiteY6" fmla="*/ 2907645 h 3277397"/>
                  <a:gd name="connsiteX7" fmla="*/ 1629417 w 4250373"/>
                  <a:gd name="connsiteY7" fmla="*/ 2907645 h 3277397"/>
                  <a:gd name="connsiteX8" fmla="*/ 3267642 w 4250373"/>
                  <a:gd name="connsiteY8" fmla="*/ 1990603 h 3277397"/>
                  <a:gd name="connsiteX9" fmla="*/ 3235256 w 4250373"/>
                  <a:gd name="connsiteY9" fmla="*/ 2022989 h 3277397"/>
                  <a:gd name="connsiteX10" fmla="*/ 3235256 w 4250373"/>
                  <a:gd name="connsiteY10" fmla="*/ 2175171 h 3277397"/>
                  <a:gd name="connsiteX11" fmla="*/ 3267642 w 4250373"/>
                  <a:gd name="connsiteY11" fmla="*/ 2207557 h 3277397"/>
                  <a:gd name="connsiteX12" fmla="*/ 3397182 w 4250373"/>
                  <a:gd name="connsiteY12" fmla="*/ 2207557 h 3277397"/>
                  <a:gd name="connsiteX13" fmla="*/ 3429568 w 4250373"/>
                  <a:gd name="connsiteY13" fmla="*/ 2175171 h 3277397"/>
                  <a:gd name="connsiteX14" fmla="*/ 3429568 w 4250373"/>
                  <a:gd name="connsiteY14" fmla="*/ 2022989 h 3277397"/>
                  <a:gd name="connsiteX15" fmla="*/ 3397182 w 4250373"/>
                  <a:gd name="connsiteY15" fmla="*/ 1990603 h 3277397"/>
                  <a:gd name="connsiteX16" fmla="*/ 3267642 w 4250373"/>
                  <a:gd name="connsiteY16" fmla="*/ 1990603 h 3277397"/>
                  <a:gd name="connsiteX17" fmla="*/ 2939029 w 4250373"/>
                  <a:gd name="connsiteY17" fmla="*/ 1990603 h 3277397"/>
                  <a:gd name="connsiteX18" fmla="*/ 2906643 w 4250373"/>
                  <a:gd name="connsiteY18" fmla="*/ 2022989 h 3277397"/>
                  <a:gd name="connsiteX19" fmla="*/ 2906643 w 4250373"/>
                  <a:gd name="connsiteY19" fmla="*/ 2175171 h 3277397"/>
                  <a:gd name="connsiteX20" fmla="*/ 2939029 w 4250373"/>
                  <a:gd name="connsiteY20" fmla="*/ 2207557 h 3277397"/>
                  <a:gd name="connsiteX21" fmla="*/ 3068569 w 4250373"/>
                  <a:gd name="connsiteY21" fmla="*/ 2207557 h 3277397"/>
                  <a:gd name="connsiteX22" fmla="*/ 3100955 w 4250373"/>
                  <a:gd name="connsiteY22" fmla="*/ 2175171 h 3277397"/>
                  <a:gd name="connsiteX23" fmla="*/ 3100955 w 4250373"/>
                  <a:gd name="connsiteY23" fmla="*/ 2022989 h 3277397"/>
                  <a:gd name="connsiteX24" fmla="*/ 3068569 w 4250373"/>
                  <a:gd name="connsiteY24" fmla="*/ 1990603 h 3277397"/>
                  <a:gd name="connsiteX25" fmla="*/ 2939029 w 4250373"/>
                  <a:gd name="connsiteY25" fmla="*/ 1990603 h 3277397"/>
                  <a:gd name="connsiteX26" fmla="*/ 2615179 w 4250373"/>
                  <a:gd name="connsiteY26" fmla="*/ 1990603 h 3277397"/>
                  <a:gd name="connsiteX27" fmla="*/ 2582793 w 4250373"/>
                  <a:gd name="connsiteY27" fmla="*/ 2022989 h 3277397"/>
                  <a:gd name="connsiteX28" fmla="*/ 2582793 w 4250373"/>
                  <a:gd name="connsiteY28" fmla="*/ 2175171 h 3277397"/>
                  <a:gd name="connsiteX29" fmla="*/ 2615179 w 4250373"/>
                  <a:gd name="connsiteY29" fmla="*/ 2207557 h 3277397"/>
                  <a:gd name="connsiteX30" fmla="*/ 2744719 w 4250373"/>
                  <a:gd name="connsiteY30" fmla="*/ 2207557 h 3277397"/>
                  <a:gd name="connsiteX31" fmla="*/ 2777105 w 4250373"/>
                  <a:gd name="connsiteY31" fmla="*/ 2175171 h 3277397"/>
                  <a:gd name="connsiteX32" fmla="*/ 2777105 w 4250373"/>
                  <a:gd name="connsiteY32" fmla="*/ 2022989 h 3277397"/>
                  <a:gd name="connsiteX33" fmla="*/ 2744719 w 4250373"/>
                  <a:gd name="connsiteY33" fmla="*/ 1990603 h 3277397"/>
                  <a:gd name="connsiteX34" fmla="*/ 2615179 w 4250373"/>
                  <a:gd name="connsiteY34" fmla="*/ 1990603 h 3277397"/>
                  <a:gd name="connsiteX35" fmla="*/ 2615179 w 4250373"/>
                  <a:gd name="connsiteY35" fmla="*/ 1679981 h 3277397"/>
                  <a:gd name="connsiteX36" fmla="*/ 2582793 w 4250373"/>
                  <a:gd name="connsiteY36" fmla="*/ 1712367 h 3277397"/>
                  <a:gd name="connsiteX37" fmla="*/ 2582793 w 4250373"/>
                  <a:gd name="connsiteY37" fmla="*/ 1864549 h 3277397"/>
                  <a:gd name="connsiteX38" fmla="*/ 2615179 w 4250373"/>
                  <a:gd name="connsiteY38" fmla="*/ 1896935 h 3277397"/>
                  <a:gd name="connsiteX39" fmla="*/ 2744719 w 4250373"/>
                  <a:gd name="connsiteY39" fmla="*/ 1896935 h 3277397"/>
                  <a:gd name="connsiteX40" fmla="*/ 2777105 w 4250373"/>
                  <a:gd name="connsiteY40" fmla="*/ 1864549 h 3277397"/>
                  <a:gd name="connsiteX41" fmla="*/ 2777105 w 4250373"/>
                  <a:gd name="connsiteY41" fmla="*/ 1712367 h 3277397"/>
                  <a:gd name="connsiteX42" fmla="*/ 2744719 w 4250373"/>
                  <a:gd name="connsiteY42" fmla="*/ 1679981 h 3277397"/>
                  <a:gd name="connsiteX43" fmla="*/ 2615179 w 4250373"/>
                  <a:gd name="connsiteY43" fmla="*/ 1679981 h 3277397"/>
                  <a:gd name="connsiteX44" fmla="*/ 3267642 w 4250373"/>
                  <a:gd name="connsiteY44" fmla="*/ 1679980 h 3277397"/>
                  <a:gd name="connsiteX45" fmla="*/ 3235256 w 4250373"/>
                  <a:gd name="connsiteY45" fmla="*/ 1712366 h 3277397"/>
                  <a:gd name="connsiteX46" fmla="*/ 3235256 w 4250373"/>
                  <a:gd name="connsiteY46" fmla="*/ 1864548 h 3277397"/>
                  <a:gd name="connsiteX47" fmla="*/ 3267642 w 4250373"/>
                  <a:gd name="connsiteY47" fmla="*/ 1896934 h 3277397"/>
                  <a:gd name="connsiteX48" fmla="*/ 3397182 w 4250373"/>
                  <a:gd name="connsiteY48" fmla="*/ 1896934 h 3277397"/>
                  <a:gd name="connsiteX49" fmla="*/ 3429568 w 4250373"/>
                  <a:gd name="connsiteY49" fmla="*/ 1864548 h 3277397"/>
                  <a:gd name="connsiteX50" fmla="*/ 3429568 w 4250373"/>
                  <a:gd name="connsiteY50" fmla="*/ 1712366 h 3277397"/>
                  <a:gd name="connsiteX51" fmla="*/ 3397182 w 4250373"/>
                  <a:gd name="connsiteY51" fmla="*/ 1679980 h 3277397"/>
                  <a:gd name="connsiteX52" fmla="*/ 3267642 w 4250373"/>
                  <a:gd name="connsiteY52" fmla="*/ 1679980 h 3277397"/>
                  <a:gd name="connsiteX53" fmla="*/ 2939029 w 4250373"/>
                  <a:gd name="connsiteY53" fmla="*/ 1679980 h 3277397"/>
                  <a:gd name="connsiteX54" fmla="*/ 2906643 w 4250373"/>
                  <a:gd name="connsiteY54" fmla="*/ 1712366 h 3277397"/>
                  <a:gd name="connsiteX55" fmla="*/ 2906643 w 4250373"/>
                  <a:gd name="connsiteY55" fmla="*/ 1864548 h 3277397"/>
                  <a:gd name="connsiteX56" fmla="*/ 2939029 w 4250373"/>
                  <a:gd name="connsiteY56" fmla="*/ 1896934 h 3277397"/>
                  <a:gd name="connsiteX57" fmla="*/ 3068569 w 4250373"/>
                  <a:gd name="connsiteY57" fmla="*/ 1896934 h 3277397"/>
                  <a:gd name="connsiteX58" fmla="*/ 3100955 w 4250373"/>
                  <a:gd name="connsiteY58" fmla="*/ 1864548 h 3277397"/>
                  <a:gd name="connsiteX59" fmla="*/ 3100955 w 4250373"/>
                  <a:gd name="connsiteY59" fmla="*/ 1712366 h 3277397"/>
                  <a:gd name="connsiteX60" fmla="*/ 3068569 w 4250373"/>
                  <a:gd name="connsiteY60" fmla="*/ 1679980 h 3277397"/>
                  <a:gd name="connsiteX61" fmla="*/ 2939029 w 4250373"/>
                  <a:gd name="connsiteY61" fmla="*/ 1679980 h 3277397"/>
                  <a:gd name="connsiteX62" fmla="*/ 3267642 w 4250373"/>
                  <a:gd name="connsiteY62" fmla="*/ 1369358 h 3277397"/>
                  <a:gd name="connsiteX63" fmla="*/ 3235256 w 4250373"/>
                  <a:gd name="connsiteY63" fmla="*/ 1401744 h 3277397"/>
                  <a:gd name="connsiteX64" fmla="*/ 3235256 w 4250373"/>
                  <a:gd name="connsiteY64" fmla="*/ 1553926 h 3277397"/>
                  <a:gd name="connsiteX65" fmla="*/ 3267642 w 4250373"/>
                  <a:gd name="connsiteY65" fmla="*/ 1586312 h 3277397"/>
                  <a:gd name="connsiteX66" fmla="*/ 3397182 w 4250373"/>
                  <a:gd name="connsiteY66" fmla="*/ 1586312 h 3277397"/>
                  <a:gd name="connsiteX67" fmla="*/ 3429568 w 4250373"/>
                  <a:gd name="connsiteY67" fmla="*/ 1553926 h 3277397"/>
                  <a:gd name="connsiteX68" fmla="*/ 3429568 w 4250373"/>
                  <a:gd name="connsiteY68" fmla="*/ 1401744 h 3277397"/>
                  <a:gd name="connsiteX69" fmla="*/ 3397182 w 4250373"/>
                  <a:gd name="connsiteY69" fmla="*/ 1369358 h 3277397"/>
                  <a:gd name="connsiteX70" fmla="*/ 3267642 w 4250373"/>
                  <a:gd name="connsiteY70" fmla="*/ 1369358 h 3277397"/>
                  <a:gd name="connsiteX71" fmla="*/ 2630648 w 4250373"/>
                  <a:gd name="connsiteY71" fmla="*/ 1369358 h 3277397"/>
                  <a:gd name="connsiteX72" fmla="*/ 2598262 w 4250373"/>
                  <a:gd name="connsiteY72" fmla="*/ 1401744 h 3277397"/>
                  <a:gd name="connsiteX73" fmla="*/ 2598262 w 4250373"/>
                  <a:gd name="connsiteY73" fmla="*/ 1553926 h 3277397"/>
                  <a:gd name="connsiteX74" fmla="*/ 2630648 w 4250373"/>
                  <a:gd name="connsiteY74" fmla="*/ 1586312 h 3277397"/>
                  <a:gd name="connsiteX75" fmla="*/ 2760188 w 4250373"/>
                  <a:gd name="connsiteY75" fmla="*/ 1586312 h 3277397"/>
                  <a:gd name="connsiteX76" fmla="*/ 2792574 w 4250373"/>
                  <a:gd name="connsiteY76" fmla="*/ 1553926 h 3277397"/>
                  <a:gd name="connsiteX77" fmla="*/ 2792574 w 4250373"/>
                  <a:gd name="connsiteY77" fmla="*/ 1401744 h 3277397"/>
                  <a:gd name="connsiteX78" fmla="*/ 2760188 w 4250373"/>
                  <a:gd name="connsiteY78" fmla="*/ 1369358 h 3277397"/>
                  <a:gd name="connsiteX79" fmla="*/ 2630648 w 4250373"/>
                  <a:gd name="connsiteY79" fmla="*/ 1369358 h 3277397"/>
                  <a:gd name="connsiteX80" fmla="*/ 2939029 w 4250373"/>
                  <a:gd name="connsiteY80" fmla="*/ 1369357 h 3277397"/>
                  <a:gd name="connsiteX81" fmla="*/ 2906643 w 4250373"/>
                  <a:gd name="connsiteY81" fmla="*/ 1401743 h 3277397"/>
                  <a:gd name="connsiteX82" fmla="*/ 2906643 w 4250373"/>
                  <a:gd name="connsiteY82" fmla="*/ 1553925 h 3277397"/>
                  <a:gd name="connsiteX83" fmla="*/ 2939029 w 4250373"/>
                  <a:gd name="connsiteY83" fmla="*/ 1586311 h 3277397"/>
                  <a:gd name="connsiteX84" fmla="*/ 3068569 w 4250373"/>
                  <a:gd name="connsiteY84" fmla="*/ 1586311 h 3277397"/>
                  <a:gd name="connsiteX85" fmla="*/ 3100955 w 4250373"/>
                  <a:gd name="connsiteY85" fmla="*/ 1553925 h 3277397"/>
                  <a:gd name="connsiteX86" fmla="*/ 3100955 w 4250373"/>
                  <a:gd name="connsiteY86" fmla="*/ 1401743 h 3277397"/>
                  <a:gd name="connsiteX87" fmla="*/ 3068569 w 4250373"/>
                  <a:gd name="connsiteY87" fmla="*/ 1369357 h 3277397"/>
                  <a:gd name="connsiteX88" fmla="*/ 2939029 w 4250373"/>
                  <a:gd name="connsiteY88" fmla="*/ 1369357 h 3277397"/>
                  <a:gd name="connsiteX89" fmla="*/ 858205 w 4250373"/>
                  <a:gd name="connsiteY89" fmla="*/ 1369357 h 3277397"/>
                  <a:gd name="connsiteX90" fmla="*/ 718502 w 4250373"/>
                  <a:gd name="connsiteY90" fmla="*/ 1509060 h 3277397"/>
                  <a:gd name="connsiteX91" fmla="*/ 718502 w 4250373"/>
                  <a:gd name="connsiteY91" fmla="*/ 2067854 h 3277397"/>
                  <a:gd name="connsiteX92" fmla="*/ 858205 w 4250373"/>
                  <a:gd name="connsiteY92" fmla="*/ 2207557 h 3277397"/>
                  <a:gd name="connsiteX93" fmla="*/ 2214720 w 4250373"/>
                  <a:gd name="connsiteY93" fmla="*/ 2207557 h 3277397"/>
                  <a:gd name="connsiteX94" fmla="*/ 2354423 w 4250373"/>
                  <a:gd name="connsiteY94" fmla="*/ 2067854 h 3277397"/>
                  <a:gd name="connsiteX95" fmla="*/ 2354423 w 4250373"/>
                  <a:gd name="connsiteY95" fmla="*/ 1509060 h 3277397"/>
                  <a:gd name="connsiteX96" fmla="*/ 2214720 w 4250373"/>
                  <a:gd name="connsiteY96" fmla="*/ 1369357 h 3277397"/>
                  <a:gd name="connsiteX97" fmla="*/ 858205 w 4250373"/>
                  <a:gd name="connsiteY97" fmla="*/ 1369357 h 3277397"/>
                  <a:gd name="connsiteX98" fmla="*/ 3252670 w 4250373"/>
                  <a:gd name="connsiteY98" fmla="*/ 426552 h 3277397"/>
                  <a:gd name="connsiteX99" fmla="*/ 2791662 w 4250373"/>
                  <a:gd name="connsiteY99" fmla="*/ 427687 h 3277397"/>
                  <a:gd name="connsiteX100" fmla="*/ 2777626 w 4250373"/>
                  <a:gd name="connsiteY100" fmla="*/ 477268 h 3277397"/>
                  <a:gd name="connsiteX101" fmla="*/ 2716779 w 4250373"/>
                  <a:gd name="connsiteY101" fmla="*/ 1128239 h 3277397"/>
                  <a:gd name="connsiteX102" fmla="*/ 3199247 w 4250373"/>
                  <a:gd name="connsiteY102" fmla="*/ 1134408 h 3277397"/>
                  <a:gd name="connsiteX103" fmla="*/ 3252670 w 4250373"/>
                  <a:gd name="connsiteY103" fmla="*/ 426552 h 3277397"/>
                  <a:gd name="connsiteX104" fmla="*/ 722896 w 4250373"/>
                  <a:gd name="connsiteY104" fmla="*/ 1 h 3277397"/>
                  <a:gd name="connsiteX105" fmla="*/ 673508 w 4250373"/>
                  <a:gd name="connsiteY105" fmla="*/ 49389 h 3277397"/>
                  <a:gd name="connsiteX106" fmla="*/ 673508 w 4250373"/>
                  <a:gd name="connsiteY106" fmla="*/ 319844 h 3277397"/>
                  <a:gd name="connsiteX107" fmla="*/ 722896 w 4250373"/>
                  <a:gd name="connsiteY107" fmla="*/ 369232 h 3277397"/>
                  <a:gd name="connsiteX108" fmla="*/ 722896 w 4250373"/>
                  <a:gd name="connsiteY108" fmla="*/ 1 h 3277397"/>
                  <a:gd name="connsiteX109" fmla="*/ 576301 w 4250373"/>
                  <a:gd name="connsiteY109" fmla="*/ 474007 h 3277397"/>
                  <a:gd name="connsiteX110" fmla="*/ 1535838 w 4250373"/>
                  <a:gd name="connsiteY110" fmla="*/ 474007 h 3277397"/>
                  <a:gd name="connsiteX111" fmla="*/ 1535838 w 4250373"/>
                  <a:gd name="connsiteY111" fmla="*/ 950255 h 3277397"/>
                  <a:gd name="connsiteX112" fmla="*/ 2583508 w 4250373"/>
                  <a:gd name="connsiteY112" fmla="*/ 950255 h 3277397"/>
                  <a:gd name="connsiteX113" fmla="*/ 2623911 w 4250373"/>
                  <a:gd name="connsiteY113" fmla="*/ 370820 h 3277397"/>
                  <a:gd name="connsiteX114" fmla="*/ 2671536 w 4250373"/>
                  <a:gd name="connsiteY114" fmla="*/ 321607 h 3277397"/>
                  <a:gd name="connsiteX115" fmla="*/ 3339873 w 4250373"/>
                  <a:gd name="connsiteY115" fmla="*/ 313669 h 3277397"/>
                  <a:gd name="connsiteX116" fmla="*/ 3327420 w 4250373"/>
                  <a:gd name="connsiteY116" fmla="*/ 950255 h 3277397"/>
                  <a:gd name="connsiteX117" fmla="*/ 3504752 w 4250373"/>
                  <a:gd name="connsiteY117" fmla="*/ 950255 h 3277397"/>
                  <a:gd name="connsiteX118" fmla="*/ 3740691 w 4250373"/>
                  <a:gd name="connsiteY118" fmla="*/ 1186194 h 3277397"/>
                  <a:gd name="connsiteX119" fmla="*/ 3740691 w 4250373"/>
                  <a:gd name="connsiteY119" fmla="*/ 2250307 h 3277397"/>
                  <a:gd name="connsiteX120" fmla="*/ 4250373 w 4250373"/>
                  <a:gd name="connsiteY120" fmla="*/ 2758101 h 3277397"/>
                  <a:gd name="connsiteX121" fmla="*/ 4245831 w 4250373"/>
                  <a:gd name="connsiteY121" fmla="*/ 2758103 h 3277397"/>
                  <a:gd name="connsiteX122" fmla="*/ 4245831 w 4250373"/>
                  <a:gd name="connsiteY122" fmla="*/ 3178134 h 3277397"/>
                  <a:gd name="connsiteX123" fmla="*/ 4146568 w 4250373"/>
                  <a:gd name="connsiteY123" fmla="*/ 3277397 h 3277397"/>
                  <a:gd name="connsiteX124" fmla="*/ 102439 w 4250373"/>
                  <a:gd name="connsiteY124" fmla="*/ 3277397 h 3277397"/>
                  <a:gd name="connsiteX125" fmla="*/ 3176 w 4250373"/>
                  <a:gd name="connsiteY125" fmla="*/ 3178134 h 3277397"/>
                  <a:gd name="connsiteX126" fmla="*/ 3176 w 4250373"/>
                  <a:gd name="connsiteY126" fmla="*/ 2759370 h 3277397"/>
                  <a:gd name="connsiteX127" fmla="*/ 0 w 4250373"/>
                  <a:gd name="connsiteY127" fmla="*/ 2759371 h 3277397"/>
                  <a:gd name="connsiteX128" fmla="*/ 3176 w 4250373"/>
                  <a:gd name="connsiteY128" fmla="*/ 2756231 h 3277397"/>
                  <a:gd name="connsiteX129" fmla="*/ 3176 w 4250373"/>
                  <a:gd name="connsiteY129" fmla="*/ 2756196 h 3277397"/>
                  <a:gd name="connsiteX130" fmla="*/ 3211 w 4250373"/>
                  <a:gd name="connsiteY130" fmla="*/ 2756196 h 3277397"/>
                  <a:gd name="connsiteX131" fmla="*/ 511811 w 4250373"/>
                  <a:gd name="connsiteY131" fmla="*/ 2253276 h 3277397"/>
                  <a:gd name="connsiteX132" fmla="*/ 512859 w 4250373"/>
                  <a:gd name="connsiteY132" fmla="*/ 2253274 h 3277397"/>
                  <a:gd name="connsiteX133" fmla="*/ 512859 w 4250373"/>
                  <a:gd name="connsiteY133" fmla="*/ 1186194 h 3277397"/>
                  <a:gd name="connsiteX134" fmla="*/ 748798 w 4250373"/>
                  <a:gd name="connsiteY134" fmla="*/ 950255 h 3277397"/>
                  <a:gd name="connsiteX135" fmla="*/ 1131978 w 4250373"/>
                  <a:gd name="connsiteY135" fmla="*/ 950255 h 3277397"/>
                  <a:gd name="connsiteX136" fmla="*/ 1131978 w 4250373"/>
                  <a:gd name="connsiteY136" fmla="*/ 474007 h 3277397"/>
                  <a:gd name="connsiteX137" fmla="*/ 576301 w 4250373"/>
                  <a:gd name="connsiteY137" fmla="*/ 474007 h 3277397"/>
                  <a:gd name="connsiteX0" fmla="*/ 1629417 w 4250373"/>
                  <a:gd name="connsiteY0" fmla="*/ 2907643 h 3277395"/>
                  <a:gd name="connsiteX1" fmla="*/ 1579411 w 4250373"/>
                  <a:gd name="connsiteY1" fmla="*/ 2957649 h 3277395"/>
                  <a:gd name="connsiteX2" fmla="*/ 1629417 w 4250373"/>
                  <a:gd name="connsiteY2" fmla="*/ 3007654 h 3277395"/>
                  <a:gd name="connsiteX3" fmla="*/ 2622323 w 4250373"/>
                  <a:gd name="connsiteY3" fmla="*/ 3007655 h 3277395"/>
                  <a:gd name="connsiteX4" fmla="*/ 2672329 w 4250373"/>
                  <a:gd name="connsiteY4" fmla="*/ 2957649 h 3277395"/>
                  <a:gd name="connsiteX5" fmla="*/ 2672330 w 4250373"/>
                  <a:gd name="connsiteY5" fmla="*/ 2957649 h 3277395"/>
                  <a:gd name="connsiteX6" fmla="*/ 2622324 w 4250373"/>
                  <a:gd name="connsiteY6" fmla="*/ 2907643 h 3277395"/>
                  <a:gd name="connsiteX7" fmla="*/ 1629417 w 4250373"/>
                  <a:gd name="connsiteY7" fmla="*/ 2907643 h 3277395"/>
                  <a:gd name="connsiteX8" fmla="*/ 3267642 w 4250373"/>
                  <a:gd name="connsiteY8" fmla="*/ 1990601 h 3277395"/>
                  <a:gd name="connsiteX9" fmla="*/ 3235256 w 4250373"/>
                  <a:gd name="connsiteY9" fmla="*/ 2022987 h 3277395"/>
                  <a:gd name="connsiteX10" fmla="*/ 3235256 w 4250373"/>
                  <a:gd name="connsiteY10" fmla="*/ 2175169 h 3277395"/>
                  <a:gd name="connsiteX11" fmla="*/ 3267642 w 4250373"/>
                  <a:gd name="connsiteY11" fmla="*/ 2207555 h 3277395"/>
                  <a:gd name="connsiteX12" fmla="*/ 3397182 w 4250373"/>
                  <a:gd name="connsiteY12" fmla="*/ 2207555 h 3277395"/>
                  <a:gd name="connsiteX13" fmla="*/ 3429568 w 4250373"/>
                  <a:gd name="connsiteY13" fmla="*/ 2175169 h 3277395"/>
                  <a:gd name="connsiteX14" fmla="*/ 3429568 w 4250373"/>
                  <a:gd name="connsiteY14" fmla="*/ 2022987 h 3277395"/>
                  <a:gd name="connsiteX15" fmla="*/ 3397182 w 4250373"/>
                  <a:gd name="connsiteY15" fmla="*/ 1990601 h 3277395"/>
                  <a:gd name="connsiteX16" fmla="*/ 3267642 w 4250373"/>
                  <a:gd name="connsiteY16" fmla="*/ 1990601 h 3277395"/>
                  <a:gd name="connsiteX17" fmla="*/ 2939029 w 4250373"/>
                  <a:gd name="connsiteY17" fmla="*/ 1990601 h 3277395"/>
                  <a:gd name="connsiteX18" fmla="*/ 2906643 w 4250373"/>
                  <a:gd name="connsiteY18" fmla="*/ 2022987 h 3277395"/>
                  <a:gd name="connsiteX19" fmla="*/ 2906643 w 4250373"/>
                  <a:gd name="connsiteY19" fmla="*/ 2175169 h 3277395"/>
                  <a:gd name="connsiteX20" fmla="*/ 2939029 w 4250373"/>
                  <a:gd name="connsiteY20" fmla="*/ 2207555 h 3277395"/>
                  <a:gd name="connsiteX21" fmla="*/ 3068569 w 4250373"/>
                  <a:gd name="connsiteY21" fmla="*/ 2207555 h 3277395"/>
                  <a:gd name="connsiteX22" fmla="*/ 3100955 w 4250373"/>
                  <a:gd name="connsiteY22" fmla="*/ 2175169 h 3277395"/>
                  <a:gd name="connsiteX23" fmla="*/ 3100955 w 4250373"/>
                  <a:gd name="connsiteY23" fmla="*/ 2022987 h 3277395"/>
                  <a:gd name="connsiteX24" fmla="*/ 3068569 w 4250373"/>
                  <a:gd name="connsiteY24" fmla="*/ 1990601 h 3277395"/>
                  <a:gd name="connsiteX25" fmla="*/ 2939029 w 4250373"/>
                  <a:gd name="connsiteY25" fmla="*/ 1990601 h 3277395"/>
                  <a:gd name="connsiteX26" fmla="*/ 2615179 w 4250373"/>
                  <a:gd name="connsiteY26" fmla="*/ 1990601 h 3277395"/>
                  <a:gd name="connsiteX27" fmla="*/ 2582793 w 4250373"/>
                  <a:gd name="connsiteY27" fmla="*/ 2022987 h 3277395"/>
                  <a:gd name="connsiteX28" fmla="*/ 2582793 w 4250373"/>
                  <a:gd name="connsiteY28" fmla="*/ 2175169 h 3277395"/>
                  <a:gd name="connsiteX29" fmla="*/ 2615179 w 4250373"/>
                  <a:gd name="connsiteY29" fmla="*/ 2207555 h 3277395"/>
                  <a:gd name="connsiteX30" fmla="*/ 2744719 w 4250373"/>
                  <a:gd name="connsiteY30" fmla="*/ 2207555 h 3277395"/>
                  <a:gd name="connsiteX31" fmla="*/ 2777105 w 4250373"/>
                  <a:gd name="connsiteY31" fmla="*/ 2175169 h 3277395"/>
                  <a:gd name="connsiteX32" fmla="*/ 2777105 w 4250373"/>
                  <a:gd name="connsiteY32" fmla="*/ 2022987 h 3277395"/>
                  <a:gd name="connsiteX33" fmla="*/ 2744719 w 4250373"/>
                  <a:gd name="connsiteY33" fmla="*/ 1990601 h 3277395"/>
                  <a:gd name="connsiteX34" fmla="*/ 2615179 w 4250373"/>
                  <a:gd name="connsiteY34" fmla="*/ 1990601 h 3277395"/>
                  <a:gd name="connsiteX35" fmla="*/ 2615179 w 4250373"/>
                  <a:gd name="connsiteY35" fmla="*/ 1679979 h 3277395"/>
                  <a:gd name="connsiteX36" fmla="*/ 2582793 w 4250373"/>
                  <a:gd name="connsiteY36" fmla="*/ 1712365 h 3277395"/>
                  <a:gd name="connsiteX37" fmla="*/ 2582793 w 4250373"/>
                  <a:gd name="connsiteY37" fmla="*/ 1864547 h 3277395"/>
                  <a:gd name="connsiteX38" fmla="*/ 2615179 w 4250373"/>
                  <a:gd name="connsiteY38" fmla="*/ 1896933 h 3277395"/>
                  <a:gd name="connsiteX39" fmla="*/ 2744719 w 4250373"/>
                  <a:gd name="connsiteY39" fmla="*/ 1896933 h 3277395"/>
                  <a:gd name="connsiteX40" fmla="*/ 2777105 w 4250373"/>
                  <a:gd name="connsiteY40" fmla="*/ 1864547 h 3277395"/>
                  <a:gd name="connsiteX41" fmla="*/ 2777105 w 4250373"/>
                  <a:gd name="connsiteY41" fmla="*/ 1712365 h 3277395"/>
                  <a:gd name="connsiteX42" fmla="*/ 2744719 w 4250373"/>
                  <a:gd name="connsiteY42" fmla="*/ 1679979 h 3277395"/>
                  <a:gd name="connsiteX43" fmla="*/ 2615179 w 4250373"/>
                  <a:gd name="connsiteY43" fmla="*/ 1679979 h 3277395"/>
                  <a:gd name="connsiteX44" fmla="*/ 3267642 w 4250373"/>
                  <a:gd name="connsiteY44" fmla="*/ 1679978 h 3277395"/>
                  <a:gd name="connsiteX45" fmla="*/ 3235256 w 4250373"/>
                  <a:gd name="connsiteY45" fmla="*/ 1712364 h 3277395"/>
                  <a:gd name="connsiteX46" fmla="*/ 3235256 w 4250373"/>
                  <a:gd name="connsiteY46" fmla="*/ 1864546 h 3277395"/>
                  <a:gd name="connsiteX47" fmla="*/ 3267642 w 4250373"/>
                  <a:gd name="connsiteY47" fmla="*/ 1896932 h 3277395"/>
                  <a:gd name="connsiteX48" fmla="*/ 3397182 w 4250373"/>
                  <a:gd name="connsiteY48" fmla="*/ 1896932 h 3277395"/>
                  <a:gd name="connsiteX49" fmla="*/ 3429568 w 4250373"/>
                  <a:gd name="connsiteY49" fmla="*/ 1864546 h 3277395"/>
                  <a:gd name="connsiteX50" fmla="*/ 3429568 w 4250373"/>
                  <a:gd name="connsiteY50" fmla="*/ 1712364 h 3277395"/>
                  <a:gd name="connsiteX51" fmla="*/ 3397182 w 4250373"/>
                  <a:gd name="connsiteY51" fmla="*/ 1679978 h 3277395"/>
                  <a:gd name="connsiteX52" fmla="*/ 3267642 w 4250373"/>
                  <a:gd name="connsiteY52" fmla="*/ 1679978 h 3277395"/>
                  <a:gd name="connsiteX53" fmla="*/ 2939029 w 4250373"/>
                  <a:gd name="connsiteY53" fmla="*/ 1679978 h 3277395"/>
                  <a:gd name="connsiteX54" fmla="*/ 2906643 w 4250373"/>
                  <a:gd name="connsiteY54" fmla="*/ 1712364 h 3277395"/>
                  <a:gd name="connsiteX55" fmla="*/ 2906643 w 4250373"/>
                  <a:gd name="connsiteY55" fmla="*/ 1864546 h 3277395"/>
                  <a:gd name="connsiteX56" fmla="*/ 2939029 w 4250373"/>
                  <a:gd name="connsiteY56" fmla="*/ 1896932 h 3277395"/>
                  <a:gd name="connsiteX57" fmla="*/ 3068569 w 4250373"/>
                  <a:gd name="connsiteY57" fmla="*/ 1896932 h 3277395"/>
                  <a:gd name="connsiteX58" fmla="*/ 3100955 w 4250373"/>
                  <a:gd name="connsiteY58" fmla="*/ 1864546 h 3277395"/>
                  <a:gd name="connsiteX59" fmla="*/ 3100955 w 4250373"/>
                  <a:gd name="connsiteY59" fmla="*/ 1712364 h 3277395"/>
                  <a:gd name="connsiteX60" fmla="*/ 3068569 w 4250373"/>
                  <a:gd name="connsiteY60" fmla="*/ 1679978 h 3277395"/>
                  <a:gd name="connsiteX61" fmla="*/ 2939029 w 4250373"/>
                  <a:gd name="connsiteY61" fmla="*/ 1679978 h 3277395"/>
                  <a:gd name="connsiteX62" fmla="*/ 3267642 w 4250373"/>
                  <a:gd name="connsiteY62" fmla="*/ 1369356 h 3277395"/>
                  <a:gd name="connsiteX63" fmla="*/ 3235256 w 4250373"/>
                  <a:gd name="connsiteY63" fmla="*/ 1401742 h 3277395"/>
                  <a:gd name="connsiteX64" fmla="*/ 3235256 w 4250373"/>
                  <a:gd name="connsiteY64" fmla="*/ 1553924 h 3277395"/>
                  <a:gd name="connsiteX65" fmla="*/ 3267642 w 4250373"/>
                  <a:gd name="connsiteY65" fmla="*/ 1586310 h 3277395"/>
                  <a:gd name="connsiteX66" fmla="*/ 3397182 w 4250373"/>
                  <a:gd name="connsiteY66" fmla="*/ 1586310 h 3277395"/>
                  <a:gd name="connsiteX67" fmla="*/ 3429568 w 4250373"/>
                  <a:gd name="connsiteY67" fmla="*/ 1553924 h 3277395"/>
                  <a:gd name="connsiteX68" fmla="*/ 3429568 w 4250373"/>
                  <a:gd name="connsiteY68" fmla="*/ 1401742 h 3277395"/>
                  <a:gd name="connsiteX69" fmla="*/ 3397182 w 4250373"/>
                  <a:gd name="connsiteY69" fmla="*/ 1369356 h 3277395"/>
                  <a:gd name="connsiteX70" fmla="*/ 3267642 w 4250373"/>
                  <a:gd name="connsiteY70" fmla="*/ 1369356 h 3277395"/>
                  <a:gd name="connsiteX71" fmla="*/ 2630648 w 4250373"/>
                  <a:gd name="connsiteY71" fmla="*/ 1369356 h 3277395"/>
                  <a:gd name="connsiteX72" fmla="*/ 2598262 w 4250373"/>
                  <a:gd name="connsiteY72" fmla="*/ 1401742 h 3277395"/>
                  <a:gd name="connsiteX73" fmla="*/ 2598262 w 4250373"/>
                  <a:gd name="connsiteY73" fmla="*/ 1553924 h 3277395"/>
                  <a:gd name="connsiteX74" fmla="*/ 2630648 w 4250373"/>
                  <a:gd name="connsiteY74" fmla="*/ 1586310 h 3277395"/>
                  <a:gd name="connsiteX75" fmla="*/ 2760188 w 4250373"/>
                  <a:gd name="connsiteY75" fmla="*/ 1586310 h 3277395"/>
                  <a:gd name="connsiteX76" fmla="*/ 2792574 w 4250373"/>
                  <a:gd name="connsiteY76" fmla="*/ 1553924 h 3277395"/>
                  <a:gd name="connsiteX77" fmla="*/ 2792574 w 4250373"/>
                  <a:gd name="connsiteY77" fmla="*/ 1401742 h 3277395"/>
                  <a:gd name="connsiteX78" fmla="*/ 2760188 w 4250373"/>
                  <a:gd name="connsiteY78" fmla="*/ 1369356 h 3277395"/>
                  <a:gd name="connsiteX79" fmla="*/ 2630648 w 4250373"/>
                  <a:gd name="connsiteY79" fmla="*/ 1369356 h 3277395"/>
                  <a:gd name="connsiteX80" fmla="*/ 2939029 w 4250373"/>
                  <a:gd name="connsiteY80" fmla="*/ 1369355 h 3277395"/>
                  <a:gd name="connsiteX81" fmla="*/ 2906643 w 4250373"/>
                  <a:gd name="connsiteY81" fmla="*/ 1401741 h 3277395"/>
                  <a:gd name="connsiteX82" fmla="*/ 2906643 w 4250373"/>
                  <a:gd name="connsiteY82" fmla="*/ 1553923 h 3277395"/>
                  <a:gd name="connsiteX83" fmla="*/ 2939029 w 4250373"/>
                  <a:gd name="connsiteY83" fmla="*/ 1586309 h 3277395"/>
                  <a:gd name="connsiteX84" fmla="*/ 3068569 w 4250373"/>
                  <a:gd name="connsiteY84" fmla="*/ 1586309 h 3277395"/>
                  <a:gd name="connsiteX85" fmla="*/ 3100955 w 4250373"/>
                  <a:gd name="connsiteY85" fmla="*/ 1553923 h 3277395"/>
                  <a:gd name="connsiteX86" fmla="*/ 3100955 w 4250373"/>
                  <a:gd name="connsiteY86" fmla="*/ 1401741 h 3277395"/>
                  <a:gd name="connsiteX87" fmla="*/ 3068569 w 4250373"/>
                  <a:gd name="connsiteY87" fmla="*/ 1369355 h 3277395"/>
                  <a:gd name="connsiteX88" fmla="*/ 2939029 w 4250373"/>
                  <a:gd name="connsiteY88" fmla="*/ 1369355 h 3277395"/>
                  <a:gd name="connsiteX89" fmla="*/ 858205 w 4250373"/>
                  <a:gd name="connsiteY89" fmla="*/ 1369355 h 3277395"/>
                  <a:gd name="connsiteX90" fmla="*/ 718502 w 4250373"/>
                  <a:gd name="connsiteY90" fmla="*/ 1509058 h 3277395"/>
                  <a:gd name="connsiteX91" fmla="*/ 718502 w 4250373"/>
                  <a:gd name="connsiteY91" fmla="*/ 2067852 h 3277395"/>
                  <a:gd name="connsiteX92" fmla="*/ 858205 w 4250373"/>
                  <a:gd name="connsiteY92" fmla="*/ 2207555 h 3277395"/>
                  <a:gd name="connsiteX93" fmla="*/ 2214720 w 4250373"/>
                  <a:gd name="connsiteY93" fmla="*/ 2207555 h 3277395"/>
                  <a:gd name="connsiteX94" fmla="*/ 2354423 w 4250373"/>
                  <a:gd name="connsiteY94" fmla="*/ 2067852 h 3277395"/>
                  <a:gd name="connsiteX95" fmla="*/ 2354423 w 4250373"/>
                  <a:gd name="connsiteY95" fmla="*/ 1509058 h 3277395"/>
                  <a:gd name="connsiteX96" fmla="*/ 2214720 w 4250373"/>
                  <a:gd name="connsiteY96" fmla="*/ 1369355 h 3277395"/>
                  <a:gd name="connsiteX97" fmla="*/ 858205 w 4250373"/>
                  <a:gd name="connsiteY97" fmla="*/ 1369355 h 3277395"/>
                  <a:gd name="connsiteX98" fmla="*/ 3252670 w 4250373"/>
                  <a:gd name="connsiteY98" fmla="*/ 426550 h 3277395"/>
                  <a:gd name="connsiteX99" fmla="*/ 2791662 w 4250373"/>
                  <a:gd name="connsiteY99" fmla="*/ 427685 h 3277395"/>
                  <a:gd name="connsiteX100" fmla="*/ 2777626 w 4250373"/>
                  <a:gd name="connsiteY100" fmla="*/ 477266 h 3277395"/>
                  <a:gd name="connsiteX101" fmla="*/ 2716779 w 4250373"/>
                  <a:gd name="connsiteY101" fmla="*/ 1128237 h 3277395"/>
                  <a:gd name="connsiteX102" fmla="*/ 3199247 w 4250373"/>
                  <a:gd name="connsiteY102" fmla="*/ 1134406 h 3277395"/>
                  <a:gd name="connsiteX103" fmla="*/ 3252670 w 4250373"/>
                  <a:gd name="connsiteY103" fmla="*/ 426550 h 3277395"/>
                  <a:gd name="connsiteX104" fmla="*/ 722896 w 4250373"/>
                  <a:gd name="connsiteY104" fmla="*/ -1 h 3277395"/>
                  <a:gd name="connsiteX105" fmla="*/ 673508 w 4250373"/>
                  <a:gd name="connsiteY105" fmla="*/ 49387 h 3277395"/>
                  <a:gd name="connsiteX106" fmla="*/ 673508 w 4250373"/>
                  <a:gd name="connsiteY106" fmla="*/ 319842 h 3277395"/>
                  <a:gd name="connsiteX107" fmla="*/ 722896 w 4250373"/>
                  <a:gd name="connsiteY107" fmla="*/ 369230 h 3277395"/>
                  <a:gd name="connsiteX108" fmla="*/ 722896 w 4250373"/>
                  <a:gd name="connsiteY108" fmla="*/ -1 h 3277395"/>
                  <a:gd name="connsiteX109" fmla="*/ 1131978 w 4250373"/>
                  <a:gd name="connsiteY109" fmla="*/ 474005 h 3277395"/>
                  <a:gd name="connsiteX110" fmla="*/ 1535838 w 4250373"/>
                  <a:gd name="connsiteY110" fmla="*/ 474005 h 3277395"/>
                  <a:gd name="connsiteX111" fmla="*/ 1535838 w 4250373"/>
                  <a:gd name="connsiteY111" fmla="*/ 950253 h 3277395"/>
                  <a:gd name="connsiteX112" fmla="*/ 2583508 w 4250373"/>
                  <a:gd name="connsiteY112" fmla="*/ 950253 h 3277395"/>
                  <a:gd name="connsiteX113" fmla="*/ 2623911 w 4250373"/>
                  <a:gd name="connsiteY113" fmla="*/ 370818 h 3277395"/>
                  <a:gd name="connsiteX114" fmla="*/ 2671536 w 4250373"/>
                  <a:gd name="connsiteY114" fmla="*/ 321605 h 3277395"/>
                  <a:gd name="connsiteX115" fmla="*/ 3339873 w 4250373"/>
                  <a:gd name="connsiteY115" fmla="*/ 313667 h 3277395"/>
                  <a:gd name="connsiteX116" fmla="*/ 3327420 w 4250373"/>
                  <a:gd name="connsiteY116" fmla="*/ 950253 h 3277395"/>
                  <a:gd name="connsiteX117" fmla="*/ 3504752 w 4250373"/>
                  <a:gd name="connsiteY117" fmla="*/ 950253 h 3277395"/>
                  <a:gd name="connsiteX118" fmla="*/ 3740691 w 4250373"/>
                  <a:gd name="connsiteY118" fmla="*/ 1186192 h 3277395"/>
                  <a:gd name="connsiteX119" fmla="*/ 3740691 w 4250373"/>
                  <a:gd name="connsiteY119" fmla="*/ 2250305 h 3277395"/>
                  <a:gd name="connsiteX120" fmla="*/ 4250373 w 4250373"/>
                  <a:gd name="connsiteY120" fmla="*/ 2758099 h 3277395"/>
                  <a:gd name="connsiteX121" fmla="*/ 4245831 w 4250373"/>
                  <a:gd name="connsiteY121" fmla="*/ 2758101 h 3277395"/>
                  <a:gd name="connsiteX122" fmla="*/ 4245831 w 4250373"/>
                  <a:gd name="connsiteY122" fmla="*/ 3178132 h 3277395"/>
                  <a:gd name="connsiteX123" fmla="*/ 4146568 w 4250373"/>
                  <a:gd name="connsiteY123" fmla="*/ 3277395 h 3277395"/>
                  <a:gd name="connsiteX124" fmla="*/ 102439 w 4250373"/>
                  <a:gd name="connsiteY124" fmla="*/ 3277395 h 3277395"/>
                  <a:gd name="connsiteX125" fmla="*/ 3176 w 4250373"/>
                  <a:gd name="connsiteY125" fmla="*/ 3178132 h 3277395"/>
                  <a:gd name="connsiteX126" fmla="*/ 3176 w 4250373"/>
                  <a:gd name="connsiteY126" fmla="*/ 2759368 h 3277395"/>
                  <a:gd name="connsiteX127" fmla="*/ 0 w 4250373"/>
                  <a:gd name="connsiteY127" fmla="*/ 2759369 h 3277395"/>
                  <a:gd name="connsiteX128" fmla="*/ 3176 w 4250373"/>
                  <a:gd name="connsiteY128" fmla="*/ 2756229 h 3277395"/>
                  <a:gd name="connsiteX129" fmla="*/ 3176 w 4250373"/>
                  <a:gd name="connsiteY129" fmla="*/ 2756194 h 3277395"/>
                  <a:gd name="connsiteX130" fmla="*/ 3211 w 4250373"/>
                  <a:gd name="connsiteY130" fmla="*/ 2756194 h 3277395"/>
                  <a:gd name="connsiteX131" fmla="*/ 511811 w 4250373"/>
                  <a:gd name="connsiteY131" fmla="*/ 2253274 h 3277395"/>
                  <a:gd name="connsiteX132" fmla="*/ 512859 w 4250373"/>
                  <a:gd name="connsiteY132" fmla="*/ 2253272 h 3277395"/>
                  <a:gd name="connsiteX133" fmla="*/ 512859 w 4250373"/>
                  <a:gd name="connsiteY133" fmla="*/ 1186192 h 3277395"/>
                  <a:gd name="connsiteX134" fmla="*/ 748798 w 4250373"/>
                  <a:gd name="connsiteY134" fmla="*/ 950253 h 3277395"/>
                  <a:gd name="connsiteX135" fmla="*/ 1131978 w 4250373"/>
                  <a:gd name="connsiteY135" fmla="*/ 950253 h 3277395"/>
                  <a:gd name="connsiteX136" fmla="*/ 1131978 w 4250373"/>
                  <a:gd name="connsiteY136" fmla="*/ 474005 h 3277395"/>
                  <a:gd name="connsiteX0" fmla="*/ 1629417 w 4250373"/>
                  <a:gd name="connsiteY0" fmla="*/ 2907645 h 3277397"/>
                  <a:gd name="connsiteX1" fmla="*/ 1579411 w 4250373"/>
                  <a:gd name="connsiteY1" fmla="*/ 2957651 h 3277397"/>
                  <a:gd name="connsiteX2" fmla="*/ 1629417 w 4250373"/>
                  <a:gd name="connsiteY2" fmla="*/ 3007656 h 3277397"/>
                  <a:gd name="connsiteX3" fmla="*/ 2622323 w 4250373"/>
                  <a:gd name="connsiteY3" fmla="*/ 3007657 h 3277397"/>
                  <a:gd name="connsiteX4" fmla="*/ 2672329 w 4250373"/>
                  <a:gd name="connsiteY4" fmla="*/ 2957651 h 3277397"/>
                  <a:gd name="connsiteX5" fmla="*/ 2672330 w 4250373"/>
                  <a:gd name="connsiteY5" fmla="*/ 2957651 h 3277397"/>
                  <a:gd name="connsiteX6" fmla="*/ 2622324 w 4250373"/>
                  <a:gd name="connsiteY6" fmla="*/ 2907645 h 3277397"/>
                  <a:gd name="connsiteX7" fmla="*/ 1629417 w 4250373"/>
                  <a:gd name="connsiteY7" fmla="*/ 2907645 h 3277397"/>
                  <a:gd name="connsiteX8" fmla="*/ 3267642 w 4250373"/>
                  <a:gd name="connsiteY8" fmla="*/ 1990603 h 3277397"/>
                  <a:gd name="connsiteX9" fmla="*/ 3235256 w 4250373"/>
                  <a:gd name="connsiteY9" fmla="*/ 2022989 h 3277397"/>
                  <a:gd name="connsiteX10" fmla="*/ 3235256 w 4250373"/>
                  <a:gd name="connsiteY10" fmla="*/ 2175171 h 3277397"/>
                  <a:gd name="connsiteX11" fmla="*/ 3267642 w 4250373"/>
                  <a:gd name="connsiteY11" fmla="*/ 2207557 h 3277397"/>
                  <a:gd name="connsiteX12" fmla="*/ 3397182 w 4250373"/>
                  <a:gd name="connsiteY12" fmla="*/ 2207557 h 3277397"/>
                  <a:gd name="connsiteX13" fmla="*/ 3429568 w 4250373"/>
                  <a:gd name="connsiteY13" fmla="*/ 2175171 h 3277397"/>
                  <a:gd name="connsiteX14" fmla="*/ 3429568 w 4250373"/>
                  <a:gd name="connsiteY14" fmla="*/ 2022989 h 3277397"/>
                  <a:gd name="connsiteX15" fmla="*/ 3397182 w 4250373"/>
                  <a:gd name="connsiteY15" fmla="*/ 1990603 h 3277397"/>
                  <a:gd name="connsiteX16" fmla="*/ 3267642 w 4250373"/>
                  <a:gd name="connsiteY16" fmla="*/ 1990603 h 3277397"/>
                  <a:gd name="connsiteX17" fmla="*/ 2939029 w 4250373"/>
                  <a:gd name="connsiteY17" fmla="*/ 1990603 h 3277397"/>
                  <a:gd name="connsiteX18" fmla="*/ 2906643 w 4250373"/>
                  <a:gd name="connsiteY18" fmla="*/ 2022989 h 3277397"/>
                  <a:gd name="connsiteX19" fmla="*/ 2906643 w 4250373"/>
                  <a:gd name="connsiteY19" fmla="*/ 2175171 h 3277397"/>
                  <a:gd name="connsiteX20" fmla="*/ 2939029 w 4250373"/>
                  <a:gd name="connsiteY20" fmla="*/ 2207557 h 3277397"/>
                  <a:gd name="connsiteX21" fmla="*/ 3068569 w 4250373"/>
                  <a:gd name="connsiteY21" fmla="*/ 2207557 h 3277397"/>
                  <a:gd name="connsiteX22" fmla="*/ 3100955 w 4250373"/>
                  <a:gd name="connsiteY22" fmla="*/ 2175171 h 3277397"/>
                  <a:gd name="connsiteX23" fmla="*/ 3100955 w 4250373"/>
                  <a:gd name="connsiteY23" fmla="*/ 2022989 h 3277397"/>
                  <a:gd name="connsiteX24" fmla="*/ 3068569 w 4250373"/>
                  <a:gd name="connsiteY24" fmla="*/ 1990603 h 3277397"/>
                  <a:gd name="connsiteX25" fmla="*/ 2939029 w 4250373"/>
                  <a:gd name="connsiteY25" fmla="*/ 1990603 h 3277397"/>
                  <a:gd name="connsiteX26" fmla="*/ 2615179 w 4250373"/>
                  <a:gd name="connsiteY26" fmla="*/ 1990603 h 3277397"/>
                  <a:gd name="connsiteX27" fmla="*/ 2582793 w 4250373"/>
                  <a:gd name="connsiteY27" fmla="*/ 2022989 h 3277397"/>
                  <a:gd name="connsiteX28" fmla="*/ 2582793 w 4250373"/>
                  <a:gd name="connsiteY28" fmla="*/ 2175171 h 3277397"/>
                  <a:gd name="connsiteX29" fmla="*/ 2615179 w 4250373"/>
                  <a:gd name="connsiteY29" fmla="*/ 2207557 h 3277397"/>
                  <a:gd name="connsiteX30" fmla="*/ 2744719 w 4250373"/>
                  <a:gd name="connsiteY30" fmla="*/ 2207557 h 3277397"/>
                  <a:gd name="connsiteX31" fmla="*/ 2777105 w 4250373"/>
                  <a:gd name="connsiteY31" fmla="*/ 2175171 h 3277397"/>
                  <a:gd name="connsiteX32" fmla="*/ 2777105 w 4250373"/>
                  <a:gd name="connsiteY32" fmla="*/ 2022989 h 3277397"/>
                  <a:gd name="connsiteX33" fmla="*/ 2744719 w 4250373"/>
                  <a:gd name="connsiteY33" fmla="*/ 1990603 h 3277397"/>
                  <a:gd name="connsiteX34" fmla="*/ 2615179 w 4250373"/>
                  <a:gd name="connsiteY34" fmla="*/ 1990603 h 3277397"/>
                  <a:gd name="connsiteX35" fmla="*/ 2615179 w 4250373"/>
                  <a:gd name="connsiteY35" fmla="*/ 1679981 h 3277397"/>
                  <a:gd name="connsiteX36" fmla="*/ 2582793 w 4250373"/>
                  <a:gd name="connsiteY36" fmla="*/ 1712367 h 3277397"/>
                  <a:gd name="connsiteX37" fmla="*/ 2582793 w 4250373"/>
                  <a:gd name="connsiteY37" fmla="*/ 1864549 h 3277397"/>
                  <a:gd name="connsiteX38" fmla="*/ 2615179 w 4250373"/>
                  <a:gd name="connsiteY38" fmla="*/ 1896935 h 3277397"/>
                  <a:gd name="connsiteX39" fmla="*/ 2744719 w 4250373"/>
                  <a:gd name="connsiteY39" fmla="*/ 1896935 h 3277397"/>
                  <a:gd name="connsiteX40" fmla="*/ 2777105 w 4250373"/>
                  <a:gd name="connsiteY40" fmla="*/ 1864549 h 3277397"/>
                  <a:gd name="connsiteX41" fmla="*/ 2777105 w 4250373"/>
                  <a:gd name="connsiteY41" fmla="*/ 1712367 h 3277397"/>
                  <a:gd name="connsiteX42" fmla="*/ 2744719 w 4250373"/>
                  <a:gd name="connsiteY42" fmla="*/ 1679981 h 3277397"/>
                  <a:gd name="connsiteX43" fmla="*/ 2615179 w 4250373"/>
                  <a:gd name="connsiteY43" fmla="*/ 1679981 h 3277397"/>
                  <a:gd name="connsiteX44" fmla="*/ 3267642 w 4250373"/>
                  <a:gd name="connsiteY44" fmla="*/ 1679980 h 3277397"/>
                  <a:gd name="connsiteX45" fmla="*/ 3235256 w 4250373"/>
                  <a:gd name="connsiteY45" fmla="*/ 1712366 h 3277397"/>
                  <a:gd name="connsiteX46" fmla="*/ 3235256 w 4250373"/>
                  <a:gd name="connsiteY46" fmla="*/ 1864548 h 3277397"/>
                  <a:gd name="connsiteX47" fmla="*/ 3267642 w 4250373"/>
                  <a:gd name="connsiteY47" fmla="*/ 1896934 h 3277397"/>
                  <a:gd name="connsiteX48" fmla="*/ 3397182 w 4250373"/>
                  <a:gd name="connsiteY48" fmla="*/ 1896934 h 3277397"/>
                  <a:gd name="connsiteX49" fmla="*/ 3429568 w 4250373"/>
                  <a:gd name="connsiteY49" fmla="*/ 1864548 h 3277397"/>
                  <a:gd name="connsiteX50" fmla="*/ 3429568 w 4250373"/>
                  <a:gd name="connsiteY50" fmla="*/ 1712366 h 3277397"/>
                  <a:gd name="connsiteX51" fmla="*/ 3397182 w 4250373"/>
                  <a:gd name="connsiteY51" fmla="*/ 1679980 h 3277397"/>
                  <a:gd name="connsiteX52" fmla="*/ 3267642 w 4250373"/>
                  <a:gd name="connsiteY52" fmla="*/ 1679980 h 3277397"/>
                  <a:gd name="connsiteX53" fmla="*/ 2939029 w 4250373"/>
                  <a:gd name="connsiteY53" fmla="*/ 1679980 h 3277397"/>
                  <a:gd name="connsiteX54" fmla="*/ 2906643 w 4250373"/>
                  <a:gd name="connsiteY54" fmla="*/ 1712366 h 3277397"/>
                  <a:gd name="connsiteX55" fmla="*/ 2906643 w 4250373"/>
                  <a:gd name="connsiteY55" fmla="*/ 1864548 h 3277397"/>
                  <a:gd name="connsiteX56" fmla="*/ 2939029 w 4250373"/>
                  <a:gd name="connsiteY56" fmla="*/ 1896934 h 3277397"/>
                  <a:gd name="connsiteX57" fmla="*/ 3068569 w 4250373"/>
                  <a:gd name="connsiteY57" fmla="*/ 1896934 h 3277397"/>
                  <a:gd name="connsiteX58" fmla="*/ 3100955 w 4250373"/>
                  <a:gd name="connsiteY58" fmla="*/ 1864548 h 3277397"/>
                  <a:gd name="connsiteX59" fmla="*/ 3100955 w 4250373"/>
                  <a:gd name="connsiteY59" fmla="*/ 1712366 h 3277397"/>
                  <a:gd name="connsiteX60" fmla="*/ 3068569 w 4250373"/>
                  <a:gd name="connsiteY60" fmla="*/ 1679980 h 3277397"/>
                  <a:gd name="connsiteX61" fmla="*/ 2939029 w 4250373"/>
                  <a:gd name="connsiteY61" fmla="*/ 1679980 h 3277397"/>
                  <a:gd name="connsiteX62" fmla="*/ 3267642 w 4250373"/>
                  <a:gd name="connsiteY62" fmla="*/ 1369358 h 3277397"/>
                  <a:gd name="connsiteX63" fmla="*/ 3235256 w 4250373"/>
                  <a:gd name="connsiteY63" fmla="*/ 1401744 h 3277397"/>
                  <a:gd name="connsiteX64" fmla="*/ 3235256 w 4250373"/>
                  <a:gd name="connsiteY64" fmla="*/ 1553926 h 3277397"/>
                  <a:gd name="connsiteX65" fmla="*/ 3267642 w 4250373"/>
                  <a:gd name="connsiteY65" fmla="*/ 1586312 h 3277397"/>
                  <a:gd name="connsiteX66" fmla="*/ 3397182 w 4250373"/>
                  <a:gd name="connsiteY66" fmla="*/ 1586312 h 3277397"/>
                  <a:gd name="connsiteX67" fmla="*/ 3429568 w 4250373"/>
                  <a:gd name="connsiteY67" fmla="*/ 1553926 h 3277397"/>
                  <a:gd name="connsiteX68" fmla="*/ 3429568 w 4250373"/>
                  <a:gd name="connsiteY68" fmla="*/ 1401744 h 3277397"/>
                  <a:gd name="connsiteX69" fmla="*/ 3397182 w 4250373"/>
                  <a:gd name="connsiteY69" fmla="*/ 1369358 h 3277397"/>
                  <a:gd name="connsiteX70" fmla="*/ 3267642 w 4250373"/>
                  <a:gd name="connsiteY70" fmla="*/ 1369358 h 3277397"/>
                  <a:gd name="connsiteX71" fmla="*/ 2630648 w 4250373"/>
                  <a:gd name="connsiteY71" fmla="*/ 1369358 h 3277397"/>
                  <a:gd name="connsiteX72" fmla="*/ 2598262 w 4250373"/>
                  <a:gd name="connsiteY72" fmla="*/ 1401744 h 3277397"/>
                  <a:gd name="connsiteX73" fmla="*/ 2598262 w 4250373"/>
                  <a:gd name="connsiteY73" fmla="*/ 1553926 h 3277397"/>
                  <a:gd name="connsiteX74" fmla="*/ 2630648 w 4250373"/>
                  <a:gd name="connsiteY74" fmla="*/ 1586312 h 3277397"/>
                  <a:gd name="connsiteX75" fmla="*/ 2760188 w 4250373"/>
                  <a:gd name="connsiteY75" fmla="*/ 1586312 h 3277397"/>
                  <a:gd name="connsiteX76" fmla="*/ 2792574 w 4250373"/>
                  <a:gd name="connsiteY76" fmla="*/ 1553926 h 3277397"/>
                  <a:gd name="connsiteX77" fmla="*/ 2792574 w 4250373"/>
                  <a:gd name="connsiteY77" fmla="*/ 1401744 h 3277397"/>
                  <a:gd name="connsiteX78" fmla="*/ 2760188 w 4250373"/>
                  <a:gd name="connsiteY78" fmla="*/ 1369358 h 3277397"/>
                  <a:gd name="connsiteX79" fmla="*/ 2630648 w 4250373"/>
                  <a:gd name="connsiteY79" fmla="*/ 1369358 h 3277397"/>
                  <a:gd name="connsiteX80" fmla="*/ 2939029 w 4250373"/>
                  <a:gd name="connsiteY80" fmla="*/ 1369357 h 3277397"/>
                  <a:gd name="connsiteX81" fmla="*/ 2906643 w 4250373"/>
                  <a:gd name="connsiteY81" fmla="*/ 1401743 h 3277397"/>
                  <a:gd name="connsiteX82" fmla="*/ 2906643 w 4250373"/>
                  <a:gd name="connsiteY82" fmla="*/ 1553925 h 3277397"/>
                  <a:gd name="connsiteX83" fmla="*/ 2939029 w 4250373"/>
                  <a:gd name="connsiteY83" fmla="*/ 1586311 h 3277397"/>
                  <a:gd name="connsiteX84" fmla="*/ 3068569 w 4250373"/>
                  <a:gd name="connsiteY84" fmla="*/ 1586311 h 3277397"/>
                  <a:gd name="connsiteX85" fmla="*/ 3100955 w 4250373"/>
                  <a:gd name="connsiteY85" fmla="*/ 1553925 h 3277397"/>
                  <a:gd name="connsiteX86" fmla="*/ 3100955 w 4250373"/>
                  <a:gd name="connsiteY86" fmla="*/ 1401743 h 3277397"/>
                  <a:gd name="connsiteX87" fmla="*/ 3068569 w 4250373"/>
                  <a:gd name="connsiteY87" fmla="*/ 1369357 h 3277397"/>
                  <a:gd name="connsiteX88" fmla="*/ 2939029 w 4250373"/>
                  <a:gd name="connsiteY88" fmla="*/ 1369357 h 3277397"/>
                  <a:gd name="connsiteX89" fmla="*/ 858205 w 4250373"/>
                  <a:gd name="connsiteY89" fmla="*/ 1369357 h 3277397"/>
                  <a:gd name="connsiteX90" fmla="*/ 718502 w 4250373"/>
                  <a:gd name="connsiteY90" fmla="*/ 1509060 h 3277397"/>
                  <a:gd name="connsiteX91" fmla="*/ 718502 w 4250373"/>
                  <a:gd name="connsiteY91" fmla="*/ 2067854 h 3277397"/>
                  <a:gd name="connsiteX92" fmla="*/ 858205 w 4250373"/>
                  <a:gd name="connsiteY92" fmla="*/ 2207557 h 3277397"/>
                  <a:gd name="connsiteX93" fmla="*/ 2214720 w 4250373"/>
                  <a:gd name="connsiteY93" fmla="*/ 2207557 h 3277397"/>
                  <a:gd name="connsiteX94" fmla="*/ 2354423 w 4250373"/>
                  <a:gd name="connsiteY94" fmla="*/ 2067854 h 3277397"/>
                  <a:gd name="connsiteX95" fmla="*/ 2354423 w 4250373"/>
                  <a:gd name="connsiteY95" fmla="*/ 1509060 h 3277397"/>
                  <a:gd name="connsiteX96" fmla="*/ 2214720 w 4250373"/>
                  <a:gd name="connsiteY96" fmla="*/ 1369357 h 3277397"/>
                  <a:gd name="connsiteX97" fmla="*/ 858205 w 4250373"/>
                  <a:gd name="connsiteY97" fmla="*/ 1369357 h 3277397"/>
                  <a:gd name="connsiteX98" fmla="*/ 3252670 w 4250373"/>
                  <a:gd name="connsiteY98" fmla="*/ 426552 h 3277397"/>
                  <a:gd name="connsiteX99" fmla="*/ 2791662 w 4250373"/>
                  <a:gd name="connsiteY99" fmla="*/ 427687 h 3277397"/>
                  <a:gd name="connsiteX100" fmla="*/ 2777626 w 4250373"/>
                  <a:gd name="connsiteY100" fmla="*/ 477268 h 3277397"/>
                  <a:gd name="connsiteX101" fmla="*/ 2716779 w 4250373"/>
                  <a:gd name="connsiteY101" fmla="*/ 1128239 h 3277397"/>
                  <a:gd name="connsiteX102" fmla="*/ 3199247 w 4250373"/>
                  <a:gd name="connsiteY102" fmla="*/ 1134408 h 3277397"/>
                  <a:gd name="connsiteX103" fmla="*/ 3252670 w 4250373"/>
                  <a:gd name="connsiteY103" fmla="*/ 426552 h 3277397"/>
                  <a:gd name="connsiteX104" fmla="*/ 722896 w 4250373"/>
                  <a:gd name="connsiteY104" fmla="*/ 1 h 3277397"/>
                  <a:gd name="connsiteX105" fmla="*/ 673508 w 4250373"/>
                  <a:gd name="connsiteY105" fmla="*/ 49389 h 3277397"/>
                  <a:gd name="connsiteX106" fmla="*/ 673508 w 4250373"/>
                  <a:gd name="connsiteY106" fmla="*/ 319844 h 3277397"/>
                  <a:gd name="connsiteX107" fmla="*/ 722896 w 4250373"/>
                  <a:gd name="connsiteY107" fmla="*/ 369232 h 3277397"/>
                  <a:gd name="connsiteX108" fmla="*/ 722896 w 4250373"/>
                  <a:gd name="connsiteY108" fmla="*/ 1 h 3277397"/>
                  <a:gd name="connsiteX109" fmla="*/ 1131978 w 4250373"/>
                  <a:gd name="connsiteY109" fmla="*/ 950255 h 3277397"/>
                  <a:gd name="connsiteX110" fmla="*/ 1535838 w 4250373"/>
                  <a:gd name="connsiteY110" fmla="*/ 474007 h 3277397"/>
                  <a:gd name="connsiteX111" fmla="*/ 1535838 w 4250373"/>
                  <a:gd name="connsiteY111" fmla="*/ 950255 h 3277397"/>
                  <a:gd name="connsiteX112" fmla="*/ 2583508 w 4250373"/>
                  <a:gd name="connsiteY112" fmla="*/ 950255 h 3277397"/>
                  <a:gd name="connsiteX113" fmla="*/ 2623911 w 4250373"/>
                  <a:gd name="connsiteY113" fmla="*/ 370820 h 3277397"/>
                  <a:gd name="connsiteX114" fmla="*/ 2671536 w 4250373"/>
                  <a:gd name="connsiteY114" fmla="*/ 321607 h 3277397"/>
                  <a:gd name="connsiteX115" fmla="*/ 3339873 w 4250373"/>
                  <a:gd name="connsiteY115" fmla="*/ 313669 h 3277397"/>
                  <a:gd name="connsiteX116" fmla="*/ 3327420 w 4250373"/>
                  <a:gd name="connsiteY116" fmla="*/ 950255 h 3277397"/>
                  <a:gd name="connsiteX117" fmla="*/ 3504752 w 4250373"/>
                  <a:gd name="connsiteY117" fmla="*/ 950255 h 3277397"/>
                  <a:gd name="connsiteX118" fmla="*/ 3740691 w 4250373"/>
                  <a:gd name="connsiteY118" fmla="*/ 1186194 h 3277397"/>
                  <a:gd name="connsiteX119" fmla="*/ 3740691 w 4250373"/>
                  <a:gd name="connsiteY119" fmla="*/ 2250307 h 3277397"/>
                  <a:gd name="connsiteX120" fmla="*/ 4250373 w 4250373"/>
                  <a:gd name="connsiteY120" fmla="*/ 2758101 h 3277397"/>
                  <a:gd name="connsiteX121" fmla="*/ 4245831 w 4250373"/>
                  <a:gd name="connsiteY121" fmla="*/ 2758103 h 3277397"/>
                  <a:gd name="connsiteX122" fmla="*/ 4245831 w 4250373"/>
                  <a:gd name="connsiteY122" fmla="*/ 3178134 h 3277397"/>
                  <a:gd name="connsiteX123" fmla="*/ 4146568 w 4250373"/>
                  <a:gd name="connsiteY123" fmla="*/ 3277397 h 3277397"/>
                  <a:gd name="connsiteX124" fmla="*/ 102439 w 4250373"/>
                  <a:gd name="connsiteY124" fmla="*/ 3277397 h 3277397"/>
                  <a:gd name="connsiteX125" fmla="*/ 3176 w 4250373"/>
                  <a:gd name="connsiteY125" fmla="*/ 3178134 h 3277397"/>
                  <a:gd name="connsiteX126" fmla="*/ 3176 w 4250373"/>
                  <a:gd name="connsiteY126" fmla="*/ 2759370 h 3277397"/>
                  <a:gd name="connsiteX127" fmla="*/ 0 w 4250373"/>
                  <a:gd name="connsiteY127" fmla="*/ 2759371 h 3277397"/>
                  <a:gd name="connsiteX128" fmla="*/ 3176 w 4250373"/>
                  <a:gd name="connsiteY128" fmla="*/ 2756231 h 3277397"/>
                  <a:gd name="connsiteX129" fmla="*/ 3176 w 4250373"/>
                  <a:gd name="connsiteY129" fmla="*/ 2756196 h 3277397"/>
                  <a:gd name="connsiteX130" fmla="*/ 3211 w 4250373"/>
                  <a:gd name="connsiteY130" fmla="*/ 2756196 h 3277397"/>
                  <a:gd name="connsiteX131" fmla="*/ 511811 w 4250373"/>
                  <a:gd name="connsiteY131" fmla="*/ 2253276 h 3277397"/>
                  <a:gd name="connsiteX132" fmla="*/ 512859 w 4250373"/>
                  <a:gd name="connsiteY132" fmla="*/ 2253274 h 3277397"/>
                  <a:gd name="connsiteX133" fmla="*/ 512859 w 4250373"/>
                  <a:gd name="connsiteY133" fmla="*/ 1186194 h 3277397"/>
                  <a:gd name="connsiteX134" fmla="*/ 748798 w 4250373"/>
                  <a:gd name="connsiteY134" fmla="*/ 950255 h 3277397"/>
                  <a:gd name="connsiteX135" fmla="*/ 1131978 w 4250373"/>
                  <a:gd name="connsiteY135" fmla="*/ 950255 h 3277397"/>
                  <a:gd name="connsiteX0" fmla="*/ 1629417 w 4250373"/>
                  <a:gd name="connsiteY0" fmla="*/ 2907643 h 3277395"/>
                  <a:gd name="connsiteX1" fmla="*/ 1579411 w 4250373"/>
                  <a:gd name="connsiteY1" fmla="*/ 2957649 h 3277395"/>
                  <a:gd name="connsiteX2" fmla="*/ 1629417 w 4250373"/>
                  <a:gd name="connsiteY2" fmla="*/ 3007654 h 3277395"/>
                  <a:gd name="connsiteX3" fmla="*/ 2622323 w 4250373"/>
                  <a:gd name="connsiteY3" fmla="*/ 3007655 h 3277395"/>
                  <a:gd name="connsiteX4" fmla="*/ 2672329 w 4250373"/>
                  <a:gd name="connsiteY4" fmla="*/ 2957649 h 3277395"/>
                  <a:gd name="connsiteX5" fmla="*/ 2672330 w 4250373"/>
                  <a:gd name="connsiteY5" fmla="*/ 2957649 h 3277395"/>
                  <a:gd name="connsiteX6" fmla="*/ 2622324 w 4250373"/>
                  <a:gd name="connsiteY6" fmla="*/ 2907643 h 3277395"/>
                  <a:gd name="connsiteX7" fmla="*/ 1629417 w 4250373"/>
                  <a:gd name="connsiteY7" fmla="*/ 2907643 h 3277395"/>
                  <a:gd name="connsiteX8" fmla="*/ 3267642 w 4250373"/>
                  <a:gd name="connsiteY8" fmla="*/ 1990601 h 3277395"/>
                  <a:gd name="connsiteX9" fmla="*/ 3235256 w 4250373"/>
                  <a:gd name="connsiteY9" fmla="*/ 2022987 h 3277395"/>
                  <a:gd name="connsiteX10" fmla="*/ 3235256 w 4250373"/>
                  <a:gd name="connsiteY10" fmla="*/ 2175169 h 3277395"/>
                  <a:gd name="connsiteX11" fmla="*/ 3267642 w 4250373"/>
                  <a:gd name="connsiteY11" fmla="*/ 2207555 h 3277395"/>
                  <a:gd name="connsiteX12" fmla="*/ 3397182 w 4250373"/>
                  <a:gd name="connsiteY12" fmla="*/ 2207555 h 3277395"/>
                  <a:gd name="connsiteX13" fmla="*/ 3429568 w 4250373"/>
                  <a:gd name="connsiteY13" fmla="*/ 2175169 h 3277395"/>
                  <a:gd name="connsiteX14" fmla="*/ 3429568 w 4250373"/>
                  <a:gd name="connsiteY14" fmla="*/ 2022987 h 3277395"/>
                  <a:gd name="connsiteX15" fmla="*/ 3397182 w 4250373"/>
                  <a:gd name="connsiteY15" fmla="*/ 1990601 h 3277395"/>
                  <a:gd name="connsiteX16" fmla="*/ 3267642 w 4250373"/>
                  <a:gd name="connsiteY16" fmla="*/ 1990601 h 3277395"/>
                  <a:gd name="connsiteX17" fmla="*/ 2939029 w 4250373"/>
                  <a:gd name="connsiteY17" fmla="*/ 1990601 h 3277395"/>
                  <a:gd name="connsiteX18" fmla="*/ 2906643 w 4250373"/>
                  <a:gd name="connsiteY18" fmla="*/ 2022987 h 3277395"/>
                  <a:gd name="connsiteX19" fmla="*/ 2906643 w 4250373"/>
                  <a:gd name="connsiteY19" fmla="*/ 2175169 h 3277395"/>
                  <a:gd name="connsiteX20" fmla="*/ 2939029 w 4250373"/>
                  <a:gd name="connsiteY20" fmla="*/ 2207555 h 3277395"/>
                  <a:gd name="connsiteX21" fmla="*/ 3068569 w 4250373"/>
                  <a:gd name="connsiteY21" fmla="*/ 2207555 h 3277395"/>
                  <a:gd name="connsiteX22" fmla="*/ 3100955 w 4250373"/>
                  <a:gd name="connsiteY22" fmla="*/ 2175169 h 3277395"/>
                  <a:gd name="connsiteX23" fmla="*/ 3100955 w 4250373"/>
                  <a:gd name="connsiteY23" fmla="*/ 2022987 h 3277395"/>
                  <a:gd name="connsiteX24" fmla="*/ 3068569 w 4250373"/>
                  <a:gd name="connsiteY24" fmla="*/ 1990601 h 3277395"/>
                  <a:gd name="connsiteX25" fmla="*/ 2939029 w 4250373"/>
                  <a:gd name="connsiteY25" fmla="*/ 1990601 h 3277395"/>
                  <a:gd name="connsiteX26" fmla="*/ 2615179 w 4250373"/>
                  <a:gd name="connsiteY26" fmla="*/ 1990601 h 3277395"/>
                  <a:gd name="connsiteX27" fmla="*/ 2582793 w 4250373"/>
                  <a:gd name="connsiteY27" fmla="*/ 2022987 h 3277395"/>
                  <a:gd name="connsiteX28" fmla="*/ 2582793 w 4250373"/>
                  <a:gd name="connsiteY28" fmla="*/ 2175169 h 3277395"/>
                  <a:gd name="connsiteX29" fmla="*/ 2615179 w 4250373"/>
                  <a:gd name="connsiteY29" fmla="*/ 2207555 h 3277395"/>
                  <a:gd name="connsiteX30" fmla="*/ 2744719 w 4250373"/>
                  <a:gd name="connsiteY30" fmla="*/ 2207555 h 3277395"/>
                  <a:gd name="connsiteX31" fmla="*/ 2777105 w 4250373"/>
                  <a:gd name="connsiteY31" fmla="*/ 2175169 h 3277395"/>
                  <a:gd name="connsiteX32" fmla="*/ 2777105 w 4250373"/>
                  <a:gd name="connsiteY32" fmla="*/ 2022987 h 3277395"/>
                  <a:gd name="connsiteX33" fmla="*/ 2744719 w 4250373"/>
                  <a:gd name="connsiteY33" fmla="*/ 1990601 h 3277395"/>
                  <a:gd name="connsiteX34" fmla="*/ 2615179 w 4250373"/>
                  <a:gd name="connsiteY34" fmla="*/ 1990601 h 3277395"/>
                  <a:gd name="connsiteX35" fmla="*/ 2615179 w 4250373"/>
                  <a:gd name="connsiteY35" fmla="*/ 1679979 h 3277395"/>
                  <a:gd name="connsiteX36" fmla="*/ 2582793 w 4250373"/>
                  <a:gd name="connsiteY36" fmla="*/ 1712365 h 3277395"/>
                  <a:gd name="connsiteX37" fmla="*/ 2582793 w 4250373"/>
                  <a:gd name="connsiteY37" fmla="*/ 1864547 h 3277395"/>
                  <a:gd name="connsiteX38" fmla="*/ 2615179 w 4250373"/>
                  <a:gd name="connsiteY38" fmla="*/ 1896933 h 3277395"/>
                  <a:gd name="connsiteX39" fmla="*/ 2744719 w 4250373"/>
                  <a:gd name="connsiteY39" fmla="*/ 1896933 h 3277395"/>
                  <a:gd name="connsiteX40" fmla="*/ 2777105 w 4250373"/>
                  <a:gd name="connsiteY40" fmla="*/ 1864547 h 3277395"/>
                  <a:gd name="connsiteX41" fmla="*/ 2777105 w 4250373"/>
                  <a:gd name="connsiteY41" fmla="*/ 1712365 h 3277395"/>
                  <a:gd name="connsiteX42" fmla="*/ 2744719 w 4250373"/>
                  <a:gd name="connsiteY42" fmla="*/ 1679979 h 3277395"/>
                  <a:gd name="connsiteX43" fmla="*/ 2615179 w 4250373"/>
                  <a:gd name="connsiteY43" fmla="*/ 1679979 h 3277395"/>
                  <a:gd name="connsiteX44" fmla="*/ 3267642 w 4250373"/>
                  <a:gd name="connsiteY44" fmla="*/ 1679978 h 3277395"/>
                  <a:gd name="connsiteX45" fmla="*/ 3235256 w 4250373"/>
                  <a:gd name="connsiteY45" fmla="*/ 1712364 h 3277395"/>
                  <a:gd name="connsiteX46" fmla="*/ 3235256 w 4250373"/>
                  <a:gd name="connsiteY46" fmla="*/ 1864546 h 3277395"/>
                  <a:gd name="connsiteX47" fmla="*/ 3267642 w 4250373"/>
                  <a:gd name="connsiteY47" fmla="*/ 1896932 h 3277395"/>
                  <a:gd name="connsiteX48" fmla="*/ 3397182 w 4250373"/>
                  <a:gd name="connsiteY48" fmla="*/ 1896932 h 3277395"/>
                  <a:gd name="connsiteX49" fmla="*/ 3429568 w 4250373"/>
                  <a:gd name="connsiteY49" fmla="*/ 1864546 h 3277395"/>
                  <a:gd name="connsiteX50" fmla="*/ 3429568 w 4250373"/>
                  <a:gd name="connsiteY50" fmla="*/ 1712364 h 3277395"/>
                  <a:gd name="connsiteX51" fmla="*/ 3397182 w 4250373"/>
                  <a:gd name="connsiteY51" fmla="*/ 1679978 h 3277395"/>
                  <a:gd name="connsiteX52" fmla="*/ 3267642 w 4250373"/>
                  <a:gd name="connsiteY52" fmla="*/ 1679978 h 3277395"/>
                  <a:gd name="connsiteX53" fmla="*/ 2939029 w 4250373"/>
                  <a:gd name="connsiteY53" fmla="*/ 1679978 h 3277395"/>
                  <a:gd name="connsiteX54" fmla="*/ 2906643 w 4250373"/>
                  <a:gd name="connsiteY54" fmla="*/ 1712364 h 3277395"/>
                  <a:gd name="connsiteX55" fmla="*/ 2906643 w 4250373"/>
                  <a:gd name="connsiteY55" fmla="*/ 1864546 h 3277395"/>
                  <a:gd name="connsiteX56" fmla="*/ 2939029 w 4250373"/>
                  <a:gd name="connsiteY56" fmla="*/ 1896932 h 3277395"/>
                  <a:gd name="connsiteX57" fmla="*/ 3068569 w 4250373"/>
                  <a:gd name="connsiteY57" fmla="*/ 1896932 h 3277395"/>
                  <a:gd name="connsiteX58" fmla="*/ 3100955 w 4250373"/>
                  <a:gd name="connsiteY58" fmla="*/ 1864546 h 3277395"/>
                  <a:gd name="connsiteX59" fmla="*/ 3100955 w 4250373"/>
                  <a:gd name="connsiteY59" fmla="*/ 1712364 h 3277395"/>
                  <a:gd name="connsiteX60" fmla="*/ 3068569 w 4250373"/>
                  <a:gd name="connsiteY60" fmla="*/ 1679978 h 3277395"/>
                  <a:gd name="connsiteX61" fmla="*/ 2939029 w 4250373"/>
                  <a:gd name="connsiteY61" fmla="*/ 1679978 h 3277395"/>
                  <a:gd name="connsiteX62" fmla="*/ 3267642 w 4250373"/>
                  <a:gd name="connsiteY62" fmla="*/ 1369356 h 3277395"/>
                  <a:gd name="connsiteX63" fmla="*/ 3235256 w 4250373"/>
                  <a:gd name="connsiteY63" fmla="*/ 1401742 h 3277395"/>
                  <a:gd name="connsiteX64" fmla="*/ 3235256 w 4250373"/>
                  <a:gd name="connsiteY64" fmla="*/ 1553924 h 3277395"/>
                  <a:gd name="connsiteX65" fmla="*/ 3267642 w 4250373"/>
                  <a:gd name="connsiteY65" fmla="*/ 1586310 h 3277395"/>
                  <a:gd name="connsiteX66" fmla="*/ 3397182 w 4250373"/>
                  <a:gd name="connsiteY66" fmla="*/ 1586310 h 3277395"/>
                  <a:gd name="connsiteX67" fmla="*/ 3429568 w 4250373"/>
                  <a:gd name="connsiteY67" fmla="*/ 1553924 h 3277395"/>
                  <a:gd name="connsiteX68" fmla="*/ 3429568 w 4250373"/>
                  <a:gd name="connsiteY68" fmla="*/ 1401742 h 3277395"/>
                  <a:gd name="connsiteX69" fmla="*/ 3397182 w 4250373"/>
                  <a:gd name="connsiteY69" fmla="*/ 1369356 h 3277395"/>
                  <a:gd name="connsiteX70" fmla="*/ 3267642 w 4250373"/>
                  <a:gd name="connsiteY70" fmla="*/ 1369356 h 3277395"/>
                  <a:gd name="connsiteX71" fmla="*/ 2630648 w 4250373"/>
                  <a:gd name="connsiteY71" fmla="*/ 1369356 h 3277395"/>
                  <a:gd name="connsiteX72" fmla="*/ 2598262 w 4250373"/>
                  <a:gd name="connsiteY72" fmla="*/ 1401742 h 3277395"/>
                  <a:gd name="connsiteX73" fmla="*/ 2598262 w 4250373"/>
                  <a:gd name="connsiteY73" fmla="*/ 1553924 h 3277395"/>
                  <a:gd name="connsiteX74" fmla="*/ 2630648 w 4250373"/>
                  <a:gd name="connsiteY74" fmla="*/ 1586310 h 3277395"/>
                  <a:gd name="connsiteX75" fmla="*/ 2760188 w 4250373"/>
                  <a:gd name="connsiteY75" fmla="*/ 1586310 h 3277395"/>
                  <a:gd name="connsiteX76" fmla="*/ 2792574 w 4250373"/>
                  <a:gd name="connsiteY76" fmla="*/ 1553924 h 3277395"/>
                  <a:gd name="connsiteX77" fmla="*/ 2792574 w 4250373"/>
                  <a:gd name="connsiteY77" fmla="*/ 1401742 h 3277395"/>
                  <a:gd name="connsiteX78" fmla="*/ 2760188 w 4250373"/>
                  <a:gd name="connsiteY78" fmla="*/ 1369356 h 3277395"/>
                  <a:gd name="connsiteX79" fmla="*/ 2630648 w 4250373"/>
                  <a:gd name="connsiteY79" fmla="*/ 1369356 h 3277395"/>
                  <a:gd name="connsiteX80" fmla="*/ 2939029 w 4250373"/>
                  <a:gd name="connsiteY80" fmla="*/ 1369355 h 3277395"/>
                  <a:gd name="connsiteX81" fmla="*/ 2906643 w 4250373"/>
                  <a:gd name="connsiteY81" fmla="*/ 1401741 h 3277395"/>
                  <a:gd name="connsiteX82" fmla="*/ 2906643 w 4250373"/>
                  <a:gd name="connsiteY82" fmla="*/ 1553923 h 3277395"/>
                  <a:gd name="connsiteX83" fmla="*/ 2939029 w 4250373"/>
                  <a:gd name="connsiteY83" fmla="*/ 1586309 h 3277395"/>
                  <a:gd name="connsiteX84" fmla="*/ 3068569 w 4250373"/>
                  <a:gd name="connsiteY84" fmla="*/ 1586309 h 3277395"/>
                  <a:gd name="connsiteX85" fmla="*/ 3100955 w 4250373"/>
                  <a:gd name="connsiteY85" fmla="*/ 1553923 h 3277395"/>
                  <a:gd name="connsiteX86" fmla="*/ 3100955 w 4250373"/>
                  <a:gd name="connsiteY86" fmla="*/ 1401741 h 3277395"/>
                  <a:gd name="connsiteX87" fmla="*/ 3068569 w 4250373"/>
                  <a:gd name="connsiteY87" fmla="*/ 1369355 h 3277395"/>
                  <a:gd name="connsiteX88" fmla="*/ 2939029 w 4250373"/>
                  <a:gd name="connsiteY88" fmla="*/ 1369355 h 3277395"/>
                  <a:gd name="connsiteX89" fmla="*/ 858205 w 4250373"/>
                  <a:gd name="connsiteY89" fmla="*/ 1369355 h 3277395"/>
                  <a:gd name="connsiteX90" fmla="*/ 718502 w 4250373"/>
                  <a:gd name="connsiteY90" fmla="*/ 1509058 h 3277395"/>
                  <a:gd name="connsiteX91" fmla="*/ 718502 w 4250373"/>
                  <a:gd name="connsiteY91" fmla="*/ 2067852 h 3277395"/>
                  <a:gd name="connsiteX92" fmla="*/ 858205 w 4250373"/>
                  <a:gd name="connsiteY92" fmla="*/ 2207555 h 3277395"/>
                  <a:gd name="connsiteX93" fmla="*/ 2214720 w 4250373"/>
                  <a:gd name="connsiteY93" fmla="*/ 2207555 h 3277395"/>
                  <a:gd name="connsiteX94" fmla="*/ 2354423 w 4250373"/>
                  <a:gd name="connsiteY94" fmla="*/ 2067852 h 3277395"/>
                  <a:gd name="connsiteX95" fmla="*/ 2354423 w 4250373"/>
                  <a:gd name="connsiteY95" fmla="*/ 1509058 h 3277395"/>
                  <a:gd name="connsiteX96" fmla="*/ 2214720 w 4250373"/>
                  <a:gd name="connsiteY96" fmla="*/ 1369355 h 3277395"/>
                  <a:gd name="connsiteX97" fmla="*/ 858205 w 4250373"/>
                  <a:gd name="connsiteY97" fmla="*/ 1369355 h 3277395"/>
                  <a:gd name="connsiteX98" fmla="*/ 3252670 w 4250373"/>
                  <a:gd name="connsiteY98" fmla="*/ 426550 h 3277395"/>
                  <a:gd name="connsiteX99" fmla="*/ 2791662 w 4250373"/>
                  <a:gd name="connsiteY99" fmla="*/ 427685 h 3277395"/>
                  <a:gd name="connsiteX100" fmla="*/ 2777626 w 4250373"/>
                  <a:gd name="connsiteY100" fmla="*/ 477266 h 3277395"/>
                  <a:gd name="connsiteX101" fmla="*/ 2716779 w 4250373"/>
                  <a:gd name="connsiteY101" fmla="*/ 1128237 h 3277395"/>
                  <a:gd name="connsiteX102" fmla="*/ 3199247 w 4250373"/>
                  <a:gd name="connsiteY102" fmla="*/ 1134406 h 3277395"/>
                  <a:gd name="connsiteX103" fmla="*/ 3252670 w 4250373"/>
                  <a:gd name="connsiteY103" fmla="*/ 426550 h 3277395"/>
                  <a:gd name="connsiteX104" fmla="*/ 722896 w 4250373"/>
                  <a:gd name="connsiteY104" fmla="*/ -1 h 3277395"/>
                  <a:gd name="connsiteX105" fmla="*/ 673508 w 4250373"/>
                  <a:gd name="connsiteY105" fmla="*/ 49387 h 3277395"/>
                  <a:gd name="connsiteX106" fmla="*/ 673508 w 4250373"/>
                  <a:gd name="connsiteY106" fmla="*/ 319842 h 3277395"/>
                  <a:gd name="connsiteX107" fmla="*/ 722896 w 4250373"/>
                  <a:gd name="connsiteY107" fmla="*/ -1 h 3277395"/>
                  <a:gd name="connsiteX108" fmla="*/ 1131978 w 4250373"/>
                  <a:gd name="connsiteY108" fmla="*/ 950253 h 3277395"/>
                  <a:gd name="connsiteX109" fmla="*/ 1535838 w 4250373"/>
                  <a:gd name="connsiteY109" fmla="*/ 474005 h 3277395"/>
                  <a:gd name="connsiteX110" fmla="*/ 1535838 w 4250373"/>
                  <a:gd name="connsiteY110" fmla="*/ 950253 h 3277395"/>
                  <a:gd name="connsiteX111" fmla="*/ 2583508 w 4250373"/>
                  <a:gd name="connsiteY111" fmla="*/ 950253 h 3277395"/>
                  <a:gd name="connsiteX112" fmla="*/ 2623911 w 4250373"/>
                  <a:gd name="connsiteY112" fmla="*/ 370818 h 3277395"/>
                  <a:gd name="connsiteX113" fmla="*/ 2671536 w 4250373"/>
                  <a:gd name="connsiteY113" fmla="*/ 321605 h 3277395"/>
                  <a:gd name="connsiteX114" fmla="*/ 3339873 w 4250373"/>
                  <a:gd name="connsiteY114" fmla="*/ 313667 h 3277395"/>
                  <a:gd name="connsiteX115" fmla="*/ 3327420 w 4250373"/>
                  <a:gd name="connsiteY115" fmla="*/ 950253 h 3277395"/>
                  <a:gd name="connsiteX116" fmla="*/ 3504752 w 4250373"/>
                  <a:gd name="connsiteY116" fmla="*/ 950253 h 3277395"/>
                  <a:gd name="connsiteX117" fmla="*/ 3740691 w 4250373"/>
                  <a:gd name="connsiteY117" fmla="*/ 1186192 h 3277395"/>
                  <a:gd name="connsiteX118" fmla="*/ 3740691 w 4250373"/>
                  <a:gd name="connsiteY118" fmla="*/ 2250305 h 3277395"/>
                  <a:gd name="connsiteX119" fmla="*/ 4250373 w 4250373"/>
                  <a:gd name="connsiteY119" fmla="*/ 2758099 h 3277395"/>
                  <a:gd name="connsiteX120" fmla="*/ 4245831 w 4250373"/>
                  <a:gd name="connsiteY120" fmla="*/ 2758101 h 3277395"/>
                  <a:gd name="connsiteX121" fmla="*/ 4245831 w 4250373"/>
                  <a:gd name="connsiteY121" fmla="*/ 3178132 h 3277395"/>
                  <a:gd name="connsiteX122" fmla="*/ 4146568 w 4250373"/>
                  <a:gd name="connsiteY122" fmla="*/ 3277395 h 3277395"/>
                  <a:gd name="connsiteX123" fmla="*/ 102439 w 4250373"/>
                  <a:gd name="connsiteY123" fmla="*/ 3277395 h 3277395"/>
                  <a:gd name="connsiteX124" fmla="*/ 3176 w 4250373"/>
                  <a:gd name="connsiteY124" fmla="*/ 3178132 h 3277395"/>
                  <a:gd name="connsiteX125" fmla="*/ 3176 w 4250373"/>
                  <a:gd name="connsiteY125" fmla="*/ 2759368 h 3277395"/>
                  <a:gd name="connsiteX126" fmla="*/ 0 w 4250373"/>
                  <a:gd name="connsiteY126" fmla="*/ 2759369 h 3277395"/>
                  <a:gd name="connsiteX127" fmla="*/ 3176 w 4250373"/>
                  <a:gd name="connsiteY127" fmla="*/ 2756229 h 3277395"/>
                  <a:gd name="connsiteX128" fmla="*/ 3176 w 4250373"/>
                  <a:gd name="connsiteY128" fmla="*/ 2756194 h 3277395"/>
                  <a:gd name="connsiteX129" fmla="*/ 3211 w 4250373"/>
                  <a:gd name="connsiteY129" fmla="*/ 2756194 h 3277395"/>
                  <a:gd name="connsiteX130" fmla="*/ 511811 w 4250373"/>
                  <a:gd name="connsiteY130" fmla="*/ 2253274 h 3277395"/>
                  <a:gd name="connsiteX131" fmla="*/ 512859 w 4250373"/>
                  <a:gd name="connsiteY131" fmla="*/ 2253272 h 3277395"/>
                  <a:gd name="connsiteX132" fmla="*/ 512859 w 4250373"/>
                  <a:gd name="connsiteY132" fmla="*/ 1186192 h 3277395"/>
                  <a:gd name="connsiteX133" fmla="*/ 748798 w 4250373"/>
                  <a:gd name="connsiteY133" fmla="*/ 950253 h 3277395"/>
                  <a:gd name="connsiteX134" fmla="*/ 1131978 w 4250373"/>
                  <a:gd name="connsiteY134" fmla="*/ 950253 h 3277395"/>
                  <a:gd name="connsiteX0" fmla="*/ 1629417 w 4250373"/>
                  <a:gd name="connsiteY0" fmla="*/ 2907645 h 3277397"/>
                  <a:gd name="connsiteX1" fmla="*/ 1579411 w 4250373"/>
                  <a:gd name="connsiteY1" fmla="*/ 2957651 h 3277397"/>
                  <a:gd name="connsiteX2" fmla="*/ 1629417 w 4250373"/>
                  <a:gd name="connsiteY2" fmla="*/ 3007656 h 3277397"/>
                  <a:gd name="connsiteX3" fmla="*/ 2622323 w 4250373"/>
                  <a:gd name="connsiteY3" fmla="*/ 3007657 h 3277397"/>
                  <a:gd name="connsiteX4" fmla="*/ 2672329 w 4250373"/>
                  <a:gd name="connsiteY4" fmla="*/ 2957651 h 3277397"/>
                  <a:gd name="connsiteX5" fmla="*/ 2672330 w 4250373"/>
                  <a:gd name="connsiteY5" fmla="*/ 2957651 h 3277397"/>
                  <a:gd name="connsiteX6" fmla="*/ 2622324 w 4250373"/>
                  <a:gd name="connsiteY6" fmla="*/ 2907645 h 3277397"/>
                  <a:gd name="connsiteX7" fmla="*/ 1629417 w 4250373"/>
                  <a:gd name="connsiteY7" fmla="*/ 2907645 h 3277397"/>
                  <a:gd name="connsiteX8" fmla="*/ 3267642 w 4250373"/>
                  <a:gd name="connsiteY8" fmla="*/ 1990603 h 3277397"/>
                  <a:gd name="connsiteX9" fmla="*/ 3235256 w 4250373"/>
                  <a:gd name="connsiteY9" fmla="*/ 2022989 h 3277397"/>
                  <a:gd name="connsiteX10" fmla="*/ 3235256 w 4250373"/>
                  <a:gd name="connsiteY10" fmla="*/ 2175171 h 3277397"/>
                  <a:gd name="connsiteX11" fmla="*/ 3267642 w 4250373"/>
                  <a:gd name="connsiteY11" fmla="*/ 2207557 h 3277397"/>
                  <a:gd name="connsiteX12" fmla="*/ 3397182 w 4250373"/>
                  <a:gd name="connsiteY12" fmla="*/ 2207557 h 3277397"/>
                  <a:gd name="connsiteX13" fmla="*/ 3429568 w 4250373"/>
                  <a:gd name="connsiteY13" fmla="*/ 2175171 h 3277397"/>
                  <a:gd name="connsiteX14" fmla="*/ 3429568 w 4250373"/>
                  <a:gd name="connsiteY14" fmla="*/ 2022989 h 3277397"/>
                  <a:gd name="connsiteX15" fmla="*/ 3397182 w 4250373"/>
                  <a:gd name="connsiteY15" fmla="*/ 1990603 h 3277397"/>
                  <a:gd name="connsiteX16" fmla="*/ 3267642 w 4250373"/>
                  <a:gd name="connsiteY16" fmla="*/ 1990603 h 3277397"/>
                  <a:gd name="connsiteX17" fmla="*/ 2939029 w 4250373"/>
                  <a:gd name="connsiteY17" fmla="*/ 1990603 h 3277397"/>
                  <a:gd name="connsiteX18" fmla="*/ 2906643 w 4250373"/>
                  <a:gd name="connsiteY18" fmla="*/ 2022989 h 3277397"/>
                  <a:gd name="connsiteX19" fmla="*/ 2906643 w 4250373"/>
                  <a:gd name="connsiteY19" fmla="*/ 2175171 h 3277397"/>
                  <a:gd name="connsiteX20" fmla="*/ 2939029 w 4250373"/>
                  <a:gd name="connsiteY20" fmla="*/ 2207557 h 3277397"/>
                  <a:gd name="connsiteX21" fmla="*/ 3068569 w 4250373"/>
                  <a:gd name="connsiteY21" fmla="*/ 2207557 h 3277397"/>
                  <a:gd name="connsiteX22" fmla="*/ 3100955 w 4250373"/>
                  <a:gd name="connsiteY22" fmla="*/ 2175171 h 3277397"/>
                  <a:gd name="connsiteX23" fmla="*/ 3100955 w 4250373"/>
                  <a:gd name="connsiteY23" fmla="*/ 2022989 h 3277397"/>
                  <a:gd name="connsiteX24" fmla="*/ 3068569 w 4250373"/>
                  <a:gd name="connsiteY24" fmla="*/ 1990603 h 3277397"/>
                  <a:gd name="connsiteX25" fmla="*/ 2939029 w 4250373"/>
                  <a:gd name="connsiteY25" fmla="*/ 1990603 h 3277397"/>
                  <a:gd name="connsiteX26" fmla="*/ 2615179 w 4250373"/>
                  <a:gd name="connsiteY26" fmla="*/ 1990603 h 3277397"/>
                  <a:gd name="connsiteX27" fmla="*/ 2582793 w 4250373"/>
                  <a:gd name="connsiteY27" fmla="*/ 2022989 h 3277397"/>
                  <a:gd name="connsiteX28" fmla="*/ 2582793 w 4250373"/>
                  <a:gd name="connsiteY28" fmla="*/ 2175171 h 3277397"/>
                  <a:gd name="connsiteX29" fmla="*/ 2615179 w 4250373"/>
                  <a:gd name="connsiteY29" fmla="*/ 2207557 h 3277397"/>
                  <a:gd name="connsiteX30" fmla="*/ 2744719 w 4250373"/>
                  <a:gd name="connsiteY30" fmla="*/ 2207557 h 3277397"/>
                  <a:gd name="connsiteX31" fmla="*/ 2777105 w 4250373"/>
                  <a:gd name="connsiteY31" fmla="*/ 2175171 h 3277397"/>
                  <a:gd name="connsiteX32" fmla="*/ 2777105 w 4250373"/>
                  <a:gd name="connsiteY32" fmla="*/ 2022989 h 3277397"/>
                  <a:gd name="connsiteX33" fmla="*/ 2744719 w 4250373"/>
                  <a:gd name="connsiteY33" fmla="*/ 1990603 h 3277397"/>
                  <a:gd name="connsiteX34" fmla="*/ 2615179 w 4250373"/>
                  <a:gd name="connsiteY34" fmla="*/ 1990603 h 3277397"/>
                  <a:gd name="connsiteX35" fmla="*/ 2615179 w 4250373"/>
                  <a:gd name="connsiteY35" fmla="*/ 1679981 h 3277397"/>
                  <a:gd name="connsiteX36" fmla="*/ 2582793 w 4250373"/>
                  <a:gd name="connsiteY36" fmla="*/ 1712367 h 3277397"/>
                  <a:gd name="connsiteX37" fmla="*/ 2582793 w 4250373"/>
                  <a:gd name="connsiteY37" fmla="*/ 1864549 h 3277397"/>
                  <a:gd name="connsiteX38" fmla="*/ 2615179 w 4250373"/>
                  <a:gd name="connsiteY38" fmla="*/ 1896935 h 3277397"/>
                  <a:gd name="connsiteX39" fmla="*/ 2744719 w 4250373"/>
                  <a:gd name="connsiteY39" fmla="*/ 1896935 h 3277397"/>
                  <a:gd name="connsiteX40" fmla="*/ 2777105 w 4250373"/>
                  <a:gd name="connsiteY40" fmla="*/ 1864549 h 3277397"/>
                  <a:gd name="connsiteX41" fmla="*/ 2777105 w 4250373"/>
                  <a:gd name="connsiteY41" fmla="*/ 1712367 h 3277397"/>
                  <a:gd name="connsiteX42" fmla="*/ 2744719 w 4250373"/>
                  <a:gd name="connsiteY42" fmla="*/ 1679981 h 3277397"/>
                  <a:gd name="connsiteX43" fmla="*/ 2615179 w 4250373"/>
                  <a:gd name="connsiteY43" fmla="*/ 1679981 h 3277397"/>
                  <a:gd name="connsiteX44" fmla="*/ 3267642 w 4250373"/>
                  <a:gd name="connsiteY44" fmla="*/ 1679980 h 3277397"/>
                  <a:gd name="connsiteX45" fmla="*/ 3235256 w 4250373"/>
                  <a:gd name="connsiteY45" fmla="*/ 1712366 h 3277397"/>
                  <a:gd name="connsiteX46" fmla="*/ 3235256 w 4250373"/>
                  <a:gd name="connsiteY46" fmla="*/ 1864548 h 3277397"/>
                  <a:gd name="connsiteX47" fmla="*/ 3267642 w 4250373"/>
                  <a:gd name="connsiteY47" fmla="*/ 1896934 h 3277397"/>
                  <a:gd name="connsiteX48" fmla="*/ 3397182 w 4250373"/>
                  <a:gd name="connsiteY48" fmla="*/ 1896934 h 3277397"/>
                  <a:gd name="connsiteX49" fmla="*/ 3429568 w 4250373"/>
                  <a:gd name="connsiteY49" fmla="*/ 1864548 h 3277397"/>
                  <a:gd name="connsiteX50" fmla="*/ 3429568 w 4250373"/>
                  <a:gd name="connsiteY50" fmla="*/ 1712366 h 3277397"/>
                  <a:gd name="connsiteX51" fmla="*/ 3397182 w 4250373"/>
                  <a:gd name="connsiteY51" fmla="*/ 1679980 h 3277397"/>
                  <a:gd name="connsiteX52" fmla="*/ 3267642 w 4250373"/>
                  <a:gd name="connsiteY52" fmla="*/ 1679980 h 3277397"/>
                  <a:gd name="connsiteX53" fmla="*/ 2939029 w 4250373"/>
                  <a:gd name="connsiteY53" fmla="*/ 1679980 h 3277397"/>
                  <a:gd name="connsiteX54" fmla="*/ 2906643 w 4250373"/>
                  <a:gd name="connsiteY54" fmla="*/ 1712366 h 3277397"/>
                  <a:gd name="connsiteX55" fmla="*/ 2906643 w 4250373"/>
                  <a:gd name="connsiteY55" fmla="*/ 1864548 h 3277397"/>
                  <a:gd name="connsiteX56" fmla="*/ 2939029 w 4250373"/>
                  <a:gd name="connsiteY56" fmla="*/ 1896934 h 3277397"/>
                  <a:gd name="connsiteX57" fmla="*/ 3068569 w 4250373"/>
                  <a:gd name="connsiteY57" fmla="*/ 1896934 h 3277397"/>
                  <a:gd name="connsiteX58" fmla="*/ 3100955 w 4250373"/>
                  <a:gd name="connsiteY58" fmla="*/ 1864548 h 3277397"/>
                  <a:gd name="connsiteX59" fmla="*/ 3100955 w 4250373"/>
                  <a:gd name="connsiteY59" fmla="*/ 1712366 h 3277397"/>
                  <a:gd name="connsiteX60" fmla="*/ 3068569 w 4250373"/>
                  <a:gd name="connsiteY60" fmla="*/ 1679980 h 3277397"/>
                  <a:gd name="connsiteX61" fmla="*/ 2939029 w 4250373"/>
                  <a:gd name="connsiteY61" fmla="*/ 1679980 h 3277397"/>
                  <a:gd name="connsiteX62" fmla="*/ 3267642 w 4250373"/>
                  <a:gd name="connsiteY62" fmla="*/ 1369358 h 3277397"/>
                  <a:gd name="connsiteX63" fmla="*/ 3235256 w 4250373"/>
                  <a:gd name="connsiteY63" fmla="*/ 1401744 h 3277397"/>
                  <a:gd name="connsiteX64" fmla="*/ 3235256 w 4250373"/>
                  <a:gd name="connsiteY64" fmla="*/ 1553926 h 3277397"/>
                  <a:gd name="connsiteX65" fmla="*/ 3267642 w 4250373"/>
                  <a:gd name="connsiteY65" fmla="*/ 1586312 h 3277397"/>
                  <a:gd name="connsiteX66" fmla="*/ 3397182 w 4250373"/>
                  <a:gd name="connsiteY66" fmla="*/ 1586312 h 3277397"/>
                  <a:gd name="connsiteX67" fmla="*/ 3429568 w 4250373"/>
                  <a:gd name="connsiteY67" fmla="*/ 1553926 h 3277397"/>
                  <a:gd name="connsiteX68" fmla="*/ 3429568 w 4250373"/>
                  <a:gd name="connsiteY68" fmla="*/ 1401744 h 3277397"/>
                  <a:gd name="connsiteX69" fmla="*/ 3397182 w 4250373"/>
                  <a:gd name="connsiteY69" fmla="*/ 1369358 h 3277397"/>
                  <a:gd name="connsiteX70" fmla="*/ 3267642 w 4250373"/>
                  <a:gd name="connsiteY70" fmla="*/ 1369358 h 3277397"/>
                  <a:gd name="connsiteX71" fmla="*/ 2630648 w 4250373"/>
                  <a:gd name="connsiteY71" fmla="*/ 1369358 h 3277397"/>
                  <a:gd name="connsiteX72" fmla="*/ 2598262 w 4250373"/>
                  <a:gd name="connsiteY72" fmla="*/ 1401744 h 3277397"/>
                  <a:gd name="connsiteX73" fmla="*/ 2598262 w 4250373"/>
                  <a:gd name="connsiteY73" fmla="*/ 1553926 h 3277397"/>
                  <a:gd name="connsiteX74" fmla="*/ 2630648 w 4250373"/>
                  <a:gd name="connsiteY74" fmla="*/ 1586312 h 3277397"/>
                  <a:gd name="connsiteX75" fmla="*/ 2760188 w 4250373"/>
                  <a:gd name="connsiteY75" fmla="*/ 1586312 h 3277397"/>
                  <a:gd name="connsiteX76" fmla="*/ 2792574 w 4250373"/>
                  <a:gd name="connsiteY76" fmla="*/ 1553926 h 3277397"/>
                  <a:gd name="connsiteX77" fmla="*/ 2792574 w 4250373"/>
                  <a:gd name="connsiteY77" fmla="*/ 1401744 h 3277397"/>
                  <a:gd name="connsiteX78" fmla="*/ 2760188 w 4250373"/>
                  <a:gd name="connsiteY78" fmla="*/ 1369358 h 3277397"/>
                  <a:gd name="connsiteX79" fmla="*/ 2630648 w 4250373"/>
                  <a:gd name="connsiteY79" fmla="*/ 1369358 h 3277397"/>
                  <a:gd name="connsiteX80" fmla="*/ 2939029 w 4250373"/>
                  <a:gd name="connsiteY80" fmla="*/ 1369357 h 3277397"/>
                  <a:gd name="connsiteX81" fmla="*/ 2906643 w 4250373"/>
                  <a:gd name="connsiteY81" fmla="*/ 1401743 h 3277397"/>
                  <a:gd name="connsiteX82" fmla="*/ 2906643 w 4250373"/>
                  <a:gd name="connsiteY82" fmla="*/ 1553925 h 3277397"/>
                  <a:gd name="connsiteX83" fmla="*/ 2939029 w 4250373"/>
                  <a:gd name="connsiteY83" fmla="*/ 1586311 h 3277397"/>
                  <a:gd name="connsiteX84" fmla="*/ 3068569 w 4250373"/>
                  <a:gd name="connsiteY84" fmla="*/ 1586311 h 3277397"/>
                  <a:gd name="connsiteX85" fmla="*/ 3100955 w 4250373"/>
                  <a:gd name="connsiteY85" fmla="*/ 1553925 h 3277397"/>
                  <a:gd name="connsiteX86" fmla="*/ 3100955 w 4250373"/>
                  <a:gd name="connsiteY86" fmla="*/ 1401743 h 3277397"/>
                  <a:gd name="connsiteX87" fmla="*/ 3068569 w 4250373"/>
                  <a:gd name="connsiteY87" fmla="*/ 1369357 h 3277397"/>
                  <a:gd name="connsiteX88" fmla="*/ 2939029 w 4250373"/>
                  <a:gd name="connsiteY88" fmla="*/ 1369357 h 3277397"/>
                  <a:gd name="connsiteX89" fmla="*/ 858205 w 4250373"/>
                  <a:gd name="connsiteY89" fmla="*/ 1369357 h 3277397"/>
                  <a:gd name="connsiteX90" fmla="*/ 718502 w 4250373"/>
                  <a:gd name="connsiteY90" fmla="*/ 1509060 h 3277397"/>
                  <a:gd name="connsiteX91" fmla="*/ 718502 w 4250373"/>
                  <a:gd name="connsiteY91" fmla="*/ 2067854 h 3277397"/>
                  <a:gd name="connsiteX92" fmla="*/ 858205 w 4250373"/>
                  <a:gd name="connsiteY92" fmla="*/ 2207557 h 3277397"/>
                  <a:gd name="connsiteX93" fmla="*/ 2214720 w 4250373"/>
                  <a:gd name="connsiteY93" fmla="*/ 2207557 h 3277397"/>
                  <a:gd name="connsiteX94" fmla="*/ 2354423 w 4250373"/>
                  <a:gd name="connsiteY94" fmla="*/ 2067854 h 3277397"/>
                  <a:gd name="connsiteX95" fmla="*/ 2354423 w 4250373"/>
                  <a:gd name="connsiteY95" fmla="*/ 1509060 h 3277397"/>
                  <a:gd name="connsiteX96" fmla="*/ 2214720 w 4250373"/>
                  <a:gd name="connsiteY96" fmla="*/ 1369357 h 3277397"/>
                  <a:gd name="connsiteX97" fmla="*/ 858205 w 4250373"/>
                  <a:gd name="connsiteY97" fmla="*/ 1369357 h 3277397"/>
                  <a:gd name="connsiteX98" fmla="*/ 3252670 w 4250373"/>
                  <a:gd name="connsiteY98" fmla="*/ 426552 h 3277397"/>
                  <a:gd name="connsiteX99" fmla="*/ 2791662 w 4250373"/>
                  <a:gd name="connsiteY99" fmla="*/ 427687 h 3277397"/>
                  <a:gd name="connsiteX100" fmla="*/ 2777626 w 4250373"/>
                  <a:gd name="connsiteY100" fmla="*/ 477268 h 3277397"/>
                  <a:gd name="connsiteX101" fmla="*/ 2716779 w 4250373"/>
                  <a:gd name="connsiteY101" fmla="*/ 1128239 h 3277397"/>
                  <a:gd name="connsiteX102" fmla="*/ 3199247 w 4250373"/>
                  <a:gd name="connsiteY102" fmla="*/ 1134408 h 3277397"/>
                  <a:gd name="connsiteX103" fmla="*/ 3252670 w 4250373"/>
                  <a:gd name="connsiteY103" fmla="*/ 426552 h 3277397"/>
                  <a:gd name="connsiteX104" fmla="*/ 722896 w 4250373"/>
                  <a:gd name="connsiteY104" fmla="*/ 1 h 3277397"/>
                  <a:gd name="connsiteX105" fmla="*/ 673508 w 4250373"/>
                  <a:gd name="connsiteY105" fmla="*/ 49389 h 3277397"/>
                  <a:gd name="connsiteX106" fmla="*/ 722896 w 4250373"/>
                  <a:gd name="connsiteY106" fmla="*/ 1 h 3277397"/>
                  <a:gd name="connsiteX107" fmla="*/ 1131978 w 4250373"/>
                  <a:gd name="connsiteY107" fmla="*/ 950255 h 3277397"/>
                  <a:gd name="connsiteX108" fmla="*/ 1535838 w 4250373"/>
                  <a:gd name="connsiteY108" fmla="*/ 474007 h 3277397"/>
                  <a:gd name="connsiteX109" fmla="*/ 1535838 w 4250373"/>
                  <a:gd name="connsiteY109" fmla="*/ 950255 h 3277397"/>
                  <a:gd name="connsiteX110" fmla="*/ 2583508 w 4250373"/>
                  <a:gd name="connsiteY110" fmla="*/ 950255 h 3277397"/>
                  <a:gd name="connsiteX111" fmla="*/ 2623911 w 4250373"/>
                  <a:gd name="connsiteY111" fmla="*/ 370820 h 3277397"/>
                  <a:gd name="connsiteX112" fmla="*/ 2671536 w 4250373"/>
                  <a:gd name="connsiteY112" fmla="*/ 321607 h 3277397"/>
                  <a:gd name="connsiteX113" fmla="*/ 3339873 w 4250373"/>
                  <a:gd name="connsiteY113" fmla="*/ 313669 h 3277397"/>
                  <a:gd name="connsiteX114" fmla="*/ 3327420 w 4250373"/>
                  <a:gd name="connsiteY114" fmla="*/ 950255 h 3277397"/>
                  <a:gd name="connsiteX115" fmla="*/ 3504752 w 4250373"/>
                  <a:gd name="connsiteY115" fmla="*/ 950255 h 3277397"/>
                  <a:gd name="connsiteX116" fmla="*/ 3740691 w 4250373"/>
                  <a:gd name="connsiteY116" fmla="*/ 1186194 h 3277397"/>
                  <a:gd name="connsiteX117" fmla="*/ 3740691 w 4250373"/>
                  <a:gd name="connsiteY117" fmla="*/ 2250307 h 3277397"/>
                  <a:gd name="connsiteX118" fmla="*/ 4250373 w 4250373"/>
                  <a:gd name="connsiteY118" fmla="*/ 2758101 h 3277397"/>
                  <a:gd name="connsiteX119" fmla="*/ 4245831 w 4250373"/>
                  <a:gd name="connsiteY119" fmla="*/ 2758103 h 3277397"/>
                  <a:gd name="connsiteX120" fmla="*/ 4245831 w 4250373"/>
                  <a:gd name="connsiteY120" fmla="*/ 3178134 h 3277397"/>
                  <a:gd name="connsiteX121" fmla="*/ 4146568 w 4250373"/>
                  <a:gd name="connsiteY121" fmla="*/ 3277397 h 3277397"/>
                  <a:gd name="connsiteX122" fmla="*/ 102439 w 4250373"/>
                  <a:gd name="connsiteY122" fmla="*/ 3277397 h 3277397"/>
                  <a:gd name="connsiteX123" fmla="*/ 3176 w 4250373"/>
                  <a:gd name="connsiteY123" fmla="*/ 3178134 h 3277397"/>
                  <a:gd name="connsiteX124" fmla="*/ 3176 w 4250373"/>
                  <a:gd name="connsiteY124" fmla="*/ 2759370 h 3277397"/>
                  <a:gd name="connsiteX125" fmla="*/ 0 w 4250373"/>
                  <a:gd name="connsiteY125" fmla="*/ 2759371 h 3277397"/>
                  <a:gd name="connsiteX126" fmla="*/ 3176 w 4250373"/>
                  <a:gd name="connsiteY126" fmla="*/ 2756231 h 3277397"/>
                  <a:gd name="connsiteX127" fmla="*/ 3176 w 4250373"/>
                  <a:gd name="connsiteY127" fmla="*/ 2756196 h 3277397"/>
                  <a:gd name="connsiteX128" fmla="*/ 3211 w 4250373"/>
                  <a:gd name="connsiteY128" fmla="*/ 2756196 h 3277397"/>
                  <a:gd name="connsiteX129" fmla="*/ 511811 w 4250373"/>
                  <a:gd name="connsiteY129" fmla="*/ 2253276 h 3277397"/>
                  <a:gd name="connsiteX130" fmla="*/ 512859 w 4250373"/>
                  <a:gd name="connsiteY130" fmla="*/ 2253274 h 3277397"/>
                  <a:gd name="connsiteX131" fmla="*/ 512859 w 4250373"/>
                  <a:gd name="connsiteY131" fmla="*/ 1186194 h 3277397"/>
                  <a:gd name="connsiteX132" fmla="*/ 748798 w 4250373"/>
                  <a:gd name="connsiteY132" fmla="*/ 950255 h 3277397"/>
                  <a:gd name="connsiteX133" fmla="*/ 1131978 w 4250373"/>
                  <a:gd name="connsiteY133" fmla="*/ 950255 h 3277397"/>
                  <a:gd name="connsiteX0" fmla="*/ 1629417 w 4250373"/>
                  <a:gd name="connsiteY0" fmla="*/ 2593977 h 2963729"/>
                  <a:gd name="connsiteX1" fmla="*/ 1579411 w 4250373"/>
                  <a:gd name="connsiteY1" fmla="*/ 2643983 h 2963729"/>
                  <a:gd name="connsiteX2" fmla="*/ 1629417 w 4250373"/>
                  <a:gd name="connsiteY2" fmla="*/ 2693988 h 2963729"/>
                  <a:gd name="connsiteX3" fmla="*/ 2622323 w 4250373"/>
                  <a:gd name="connsiteY3" fmla="*/ 2693989 h 2963729"/>
                  <a:gd name="connsiteX4" fmla="*/ 2672329 w 4250373"/>
                  <a:gd name="connsiteY4" fmla="*/ 2643983 h 2963729"/>
                  <a:gd name="connsiteX5" fmla="*/ 2672330 w 4250373"/>
                  <a:gd name="connsiteY5" fmla="*/ 2643983 h 2963729"/>
                  <a:gd name="connsiteX6" fmla="*/ 2622324 w 4250373"/>
                  <a:gd name="connsiteY6" fmla="*/ 2593977 h 2963729"/>
                  <a:gd name="connsiteX7" fmla="*/ 1629417 w 4250373"/>
                  <a:gd name="connsiteY7" fmla="*/ 2593977 h 2963729"/>
                  <a:gd name="connsiteX8" fmla="*/ 3267642 w 4250373"/>
                  <a:gd name="connsiteY8" fmla="*/ 1676935 h 2963729"/>
                  <a:gd name="connsiteX9" fmla="*/ 3235256 w 4250373"/>
                  <a:gd name="connsiteY9" fmla="*/ 1709321 h 2963729"/>
                  <a:gd name="connsiteX10" fmla="*/ 3235256 w 4250373"/>
                  <a:gd name="connsiteY10" fmla="*/ 1861503 h 2963729"/>
                  <a:gd name="connsiteX11" fmla="*/ 3267642 w 4250373"/>
                  <a:gd name="connsiteY11" fmla="*/ 1893889 h 2963729"/>
                  <a:gd name="connsiteX12" fmla="*/ 3397182 w 4250373"/>
                  <a:gd name="connsiteY12" fmla="*/ 1893889 h 2963729"/>
                  <a:gd name="connsiteX13" fmla="*/ 3429568 w 4250373"/>
                  <a:gd name="connsiteY13" fmla="*/ 1861503 h 2963729"/>
                  <a:gd name="connsiteX14" fmla="*/ 3429568 w 4250373"/>
                  <a:gd name="connsiteY14" fmla="*/ 1709321 h 2963729"/>
                  <a:gd name="connsiteX15" fmla="*/ 3397182 w 4250373"/>
                  <a:gd name="connsiteY15" fmla="*/ 1676935 h 2963729"/>
                  <a:gd name="connsiteX16" fmla="*/ 3267642 w 4250373"/>
                  <a:gd name="connsiteY16" fmla="*/ 1676935 h 2963729"/>
                  <a:gd name="connsiteX17" fmla="*/ 2939029 w 4250373"/>
                  <a:gd name="connsiteY17" fmla="*/ 1676935 h 2963729"/>
                  <a:gd name="connsiteX18" fmla="*/ 2906643 w 4250373"/>
                  <a:gd name="connsiteY18" fmla="*/ 1709321 h 2963729"/>
                  <a:gd name="connsiteX19" fmla="*/ 2906643 w 4250373"/>
                  <a:gd name="connsiteY19" fmla="*/ 1861503 h 2963729"/>
                  <a:gd name="connsiteX20" fmla="*/ 2939029 w 4250373"/>
                  <a:gd name="connsiteY20" fmla="*/ 1893889 h 2963729"/>
                  <a:gd name="connsiteX21" fmla="*/ 3068569 w 4250373"/>
                  <a:gd name="connsiteY21" fmla="*/ 1893889 h 2963729"/>
                  <a:gd name="connsiteX22" fmla="*/ 3100955 w 4250373"/>
                  <a:gd name="connsiteY22" fmla="*/ 1861503 h 2963729"/>
                  <a:gd name="connsiteX23" fmla="*/ 3100955 w 4250373"/>
                  <a:gd name="connsiteY23" fmla="*/ 1709321 h 2963729"/>
                  <a:gd name="connsiteX24" fmla="*/ 3068569 w 4250373"/>
                  <a:gd name="connsiteY24" fmla="*/ 1676935 h 2963729"/>
                  <a:gd name="connsiteX25" fmla="*/ 2939029 w 4250373"/>
                  <a:gd name="connsiteY25" fmla="*/ 1676935 h 2963729"/>
                  <a:gd name="connsiteX26" fmla="*/ 2615179 w 4250373"/>
                  <a:gd name="connsiteY26" fmla="*/ 1676935 h 2963729"/>
                  <a:gd name="connsiteX27" fmla="*/ 2582793 w 4250373"/>
                  <a:gd name="connsiteY27" fmla="*/ 1709321 h 2963729"/>
                  <a:gd name="connsiteX28" fmla="*/ 2582793 w 4250373"/>
                  <a:gd name="connsiteY28" fmla="*/ 1861503 h 2963729"/>
                  <a:gd name="connsiteX29" fmla="*/ 2615179 w 4250373"/>
                  <a:gd name="connsiteY29" fmla="*/ 1893889 h 2963729"/>
                  <a:gd name="connsiteX30" fmla="*/ 2744719 w 4250373"/>
                  <a:gd name="connsiteY30" fmla="*/ 1893889 h 2963729"/>
                  <a:gd name="connsiteX31" fmla="*/ 2777105 w 4250373"/>
                  <a:gd name="connsiteY31" fmla="*/ 1861503 h 2963729"/>
                  <a:gd name="connsiteX32" fmla="*/ 2777105 w 4250373"/>
                  <a:gd name="connsiteY32" fmla="*/ 1709321 h 2963729"/>
                  <a:gd name="connsiteX33" fmla="*/ 2744719 w 4250373"/>
                  <a:gd name="connsiteY33" fmla="*/ 1676935 h 2963729"/>
                  <a:gd name="connsiteX34" fmla="*/ 2615179 w 4250373"/>
                  <a:gd name="connsiteY34" fmla="*/ 1676935 h 2963729"/>
                  <a:gd name="connsiteX35" fmla="*/ 2615179 w 4250373"/>
                  <a:gd name="connsiteY35" fmla="*/ 1366313 h 2963729"/>
                  <a:gd name="connsiteX36" fmla="*/ 2582793 w 4250373"/>
                  <a:gd name="connsiteY36" fmla="*/ 1398699 h 2963729"/>
                  <a:gd name="connsiteX37" fmla="*/ 2582793 w 4250373"/>
                  <a:gd name="connsiteY37" fmla="*/ 1550881 h 2963729"/>
                  <a:gd name="connsiteX38" fmla="*/ 2615179 w 4250373"/>
                  <a:gd name="connsiteY38" fmla="*/ 1583267 h 2963729"/>
                  <a:gd name="connsiteX39" fmla="*/ 2744719 w 4250373"/>
                  <a:gd name="connsiteY39" fmla="*/ 1583267 h 2963729"/>
                  <a:gd name="connsiteX40" fmla="*/ 2777105 w 4250373"/>
                  <a:gd name="connsiteY40" fmla="*/ 1550881 h 2963729"/>
                  <a:gd name="connsiteX41" fmla="*/ 2777105 w 4250373"/>
                  <a:gd name="connsiteY41" fmla="*/ 1398699 h 2963729"/>
                  <a:gd name="connsiteX42" fmla="*/ 2744719 w 4250373"/>
                  <a:gd name="connsiteY42" fmla="*/ 1366313 h 2963729"/>
                  <a:gd name="connsiteX43" fmla="*/ 2615179 w 4250373"/>
                  <a:gd name="connsiteY43" fmla="*/ 1366313 h 2963729"/>
                  <a:gd name="connsiteX44" fmla="*/ 3267642 w 4250373"/>
                  <a:gd name="connsiteY44" fmla="*/ 1366312 h 2963729"/>
                  <a:gd name="connsiteX45" fmla="*/ 3235256 w 4250373"/>
                  <a:gd name="connsiteY45" fmla="*/ 1398698 h 2963729"/>
                  <a:gd name="connsiteX46" fmla="*/ 3235256 w 4250373"/>
                  <a:gd name="connsiteY46" fmla="*/ 1550880 h 2963729"/>
                  <a:gd name="connsiteX47" fmla="*/ 3267642 w 4250373"/>
                  <a:gd name="connsiteY47" fmla="*/ 1583266 h 2963729"/>
                  <a:gd name="connsiteX48" fmla="*/ 3397182 w 4250373"/>
                  <a:gd name="connsiteY48" fmla="*/ 1583266 h 2963729"/>
                  <a:gd name="connsiteX49" fmla="*/ 3429568 w 4250373"/>
                  <a:gd name="connsiteY49" fmla="*/ 1550880 h 2963729"/>
                  <a:gd name="connsiteX50" fmla="*/ 3429568 w 4250373"/>
                  <a:gd name="connsiteY50" fmla="*/ 1398698 h 2963729"/>
                  <a:gd name="connsiteX51" fmla="*/ 3397182 w 4250373"/>
                  <a:gd name="connsiteY51" fmla="*/ 1366312 h 2963729"/>
                  <a:gd name="connsiteX52" fmla="*/ 3267642 w 4250373"/>
                  <a:gd name="connsiteY52" fmla="*/ 1366312 h 2963729"/>
                  <a:gd name="connsiteX53" fmla="*/ 2939029 w 4250373"/>
                  <a:gd name="connsiteY53" fmla="*/ 1366312 h 2963729"/>
                  <a:gd name="connsiteX54" fmla="*/ 2906643 w 4250373"/>
                  <a:gd name="connsiteY54" fmla="*/ 1398698 h 2963729"/>
                  <a:gd name="connsiteX55" fmla="*/ 2906643 w 4250373"/>
                  <a:gd name="connsiteY55" fmla="*/ 1550880 h 2963729"/>
                  <a:gd name="connsiteX56" fmla="*/ 2939029 w 4250373"/>
                  <a:gd name="connsiteY56" fmla="*/ 1583266 h 2963729"/>
                  <a:gd name="connsiteX57" fmla="*/ 3068569 w 4250373"/>
                  <a:gd name="connsiteY57" fmla="*/ 1583266 h 2963729"/>
                  <a:gd name="connsiteX58" fmla="*/ 3100955 w 4250373"/>
                  <a:gd name="connsiteY58" fmla="*/ 1550880 h 2963729"/>
                  <a:gd name="connsiteX59" fmla="*/ 3100955 w 4250373"/>
                  <a:gd name="connsiteY59" fmla="*/ 1398698 h 2963729"/>
                  <a:gd name="connsiteX60" fmla="*/ 3068569 w 4250373"/>
                  <a:gd name="connsiteY60" fmla="*/ 1366312 h 2963729"/>
                  <a:gd name="connsiteX61" fmla="*/ 2939029 w 4250373"/>
                  <a:gd name="connsiteY61" fmla="*/ 1366312 h 2963729"/>
                  <a:gd name="connsiteX62" fmla="*/ 3267642 w 4250373"/>
                  <a:gd name="connsiteY62" fmla="*/ 1055690 h 2963729"/>
                  <a:gd name="connsiteX63" fmla="*/ 3235256 w 4250373"/>
                  <a:gd name="connsiteY63" fmla="*/ 1088076 h 2963729"/>
                  <a:gd name="connsiteX64" fmla="*/ 3235256 w 4250373"/>
                  <a:gd name="connsiteY64" fmla="*/ 1240258 h 2963729"/>
                  <a:gd name="connsiteX65" fmla="*/ 3267642 w 4250373"/>
                  <a:gd name="connsiteY65" fmla="*/ 1272644 h 2963729"/>
                  <a:gd name="connsiteX66" fmla="*/ 3397182 w 4250373"/>
                  <a:gd name="connsiteY66" fmla="*/ 1272644 h 2963729"/>
                  <a:gd name="connsiteX67" fmla="*/ 3429568 w 4250373"/>
                  <a:gd name="connsiteY67" fmla="*/ 1240258 h 2963729"/>
                  <a:gd name="connsiteX68" fmla="*/ 3429568 w 4250373"/>
                  <a:gd name="connsiteY68" fmla="*/ 1088076 h 2963729"/>
                  <a:gd name="connsiteX69" fmla="*/ 3397182 w 4250373"/>
                  <a:gd name="connsiteY69" fmla="*/ 1055690 h 2963729"/>
                  <a:gd name="connsiteX70" fmla="*/ 3267642 w 4250373"/>
                  <a:gd name="connsiteY70" fmla="*/ 1055690 h 2963729"/>
                  <a:gd name="connsiteX71" fmla="*/ 2630648 w 4250373"/>
                  <a:gd name="connsiteY71" fmla="*/ 1055690 h 2963729"/>
                  <a:gd name="connsiteX72" fmla="*/ 2598262 w 4250373"/>
                  <a:gd name="connsiteY72" fmla="*/ 1088076 h 2963729"/>
                  <a:gd name="connsiteX73" fmla="*/ 2598262 w 4250373"/>
                  <a:gd name="connsiteY73" fmla="*/ 1240258 h 2963729"/>
                  <a:gd name="connsiteX74" fmla="*/ 2630648 w 4250373"/>
                  <a:gd name="connsiteY74" fmla="*/ 1272644 h 2963729"/>
                  <a:gd name="connsiteX75" fmla="*/ 2760188 w 4250373"/>
                  <a:gd name="connsiteY75" fmla="*/ 1272644 h 2963729"/>
                  <a:gd name="connsiteX76" fmla="*/ 2792574 w 4250373"/>
                  <a:gd name="connsiteY76" fmla="*/ 1240258 h 2963729"/>
                  <a:gd name="connsiteX77" fmla="*/ 2792574 w 4250373"/>
                  <a:gd name="connsiteY77" fmla="*/ 1088076 h 2963729"/>
                  <a:gd name="connsiteX78" fmla="*/ 2760188 w 4250373"/>
                  <a:gd name="connsiteY78" fmla="*/ 1055690 h 2963729"/>
                  <a:gd name="connsiteX79" fmla="*/ 2630648 w 4250373"/>
                  <a:gd name="connsiteY79" fmla="*/ 1055690 h 2963729"/>
                  <a:gd name="connsiteX80" fmla="*/ 2939029 w 4250373"/>
                  <a:gd name="connsiteY80" fmla="*/ 1055689 h 2963729"/>
                  <a:gd name="connsiteX81" fmla="*/ 2906643 w 4250373"/>
                  <a:gd name="connsiteY81" fmla="*/ 1088075 h 2963729"/>
                  <a:gd name="connsiteX82" fmla="*/ 2906643 w 4250373"/>
                  <a:gd name="connsiteY82" fmla="*/ 1240257 h 2963729"/>
                  <a:gd name="connsiteX83" fmla="*/ 2939029 w 4250373"/>
                  <a:gd name="connsiteY83" fmla="*/ 1272643 h 2963729"/>
                  <a:gd name="connsiteX84" fmla="*/ 3068569 w 4250373"/>
                  <a:gd name="connsiteY84" fmla="*/ 1272643 h 2963729"/>
                  <a:gd name="connsiteX85" fmla="*/ 3100955 w 4250373"/>
                  <a:gd name="connsiteY85" fmla="*/ 1240257 h 2963729"/>
                  <a:gd name="connsiteX86" fmla="*/ 3100955 w 4250373"/>
                  <a:gd name="connsiteY86" fmla="*/ 1088075 h 2963729"/>
                  <a:gd name="connsiteX87" fmla="*/ 3068569 w 4250373"/>
                  <a:gd name="connsiteY87" fmla="*/ 1055689 h 2963729"/>
                  <a:gd name="connsiteX88" fmla="*/ 2939029 w 4250373"/>
                  <a:gd name="connsiteY88" fmla="*/ 1055689 h 2963729"/>
                  <a:gd name="connsiteX89" fmla="*/ 858205 w 4250373"/>
                  <a:gd name="connsiteY89" fmla="*/ 1055689 h 2963729"/>
                  <a:gd name="connsiteX90" fmla="*/ 718502 w 4250373"/>
                  <a:gd name="connsiteY90" fmla="*/ 1195392 h 2963729"/>
                  <a:gd name="connsiteX91" fmla="*/ 718502 w 4250373"/>
                  <a:gd name="connsiteY91" fmla="*/ 1754186 h 2963729"/>
                  <a:gd name="connsiteX92" fmla="*/ 858205 w 4250373"/>
                  <a:gd name="connsiteY92" fmla="*/ 1893889 h 2963729"/>
                  <a:gd name="connsiteX93" fmla="*/ 2214720 w 4250373"/>
                  <a:gd name="connsiteY93" fmla="*/ 1893889 h 2963729"/>
                  <a:gd name="connsiteX94" fmla="*/ 2354423 w 4250373"/>
                  <a:gd name="connsiteY94" fmla="*/ 1754186 h 2963729"/>
                  <a:gd name="connsiteX95" fmla="*/ 2354423 w 4250373"/>
                  <a:gd name="connsiteY95" fmla="*/ 1195392 h 2963729"/>
                  <a:gd name="connsiteX96" fmla="*/ 2214720 w 4250373"/>
                  <a:gd name="connsiteY96" fmla="*/ 1055689 h 2963729"/>
                  <a:gd name="connsiteX97" fmla="*/ 858205 w 4250373"/>
                  <a:gd name="connsiteY97" fmla="*/ 1055689 h 2963729"/>
                  <a:gd name="connsiteX98" fmla="*/ 3252670 w 4250373"/>
                  <a:gd name="connsiteY98" fmla="*/ 112884 h 2963729"/>
                  <a:gd name="connsiteX99" fmla="*/ 2791662 w 4250373"/>
                  <a:gd name="connsiteY99" fmla="*/ 114019 h 2963729"/>
                  <a:gd name="connsiteX100" fmla="*/ 2777626 w 4250373"/>
                  <a:gd name="connsiteY100" fmla="*/ 163600 h 2963729"/>
                  <a:gd name="connsiteX101" fmla="*/ 2716779 w 4250373"/>
                  <a:gd name="connsiteY101" fmla="*/ 814571 h 2963729"/>
                  <a:gd name="connsiteX102" fmla="*/ 3199247 w 4250373"/>
                  <a:gd name="connsiteY102" fmla="*/ 820740 h 2963729"/>
                  <a:gd name="connsiteX103" fmla="*/ 3252670 w 4250373"/>
                  <a:gd name="connsiteY103" fmla="*/ 112884 h 2963729"/>
                  <a:gd name="connsiteX104" fmla="*/ 1131978 w 4250373"/>
                  <a:gd name="connsiteY104" fmla="*/ 636587 h 2963729"/>
                  <a:gd name="connsiteX105" fmla="*/ 1535838 w 4250373"/>
                  <a:gd name="connsiteY105" fmla="*/ 160339 h 2963729"/>
                  <a:gd name="connsiteX106" fmla="*/ 1535838 w 4250373"/>
                  <a:gd name="connsiteY106" fmla="*/ 636587 h 2963729"/>
                  <a:gd name="connsiteX107" fmla="*/ 2583508 w 4250373"/>
                  <a:gd name="connsiteY107" fmla="*/ 636587 h 2963729"/>
                  <a:gd name="connsiteX108" fmla="*/ 2623911 w 4250373"/>
                  <a:gd name="connsiteY108" fmla="*/ 57152 h 2963729"/>
                  <a:gd name="connsiteX109" fmla="*/ 2671536 w 4250373"/>
                  <a:gd name="connsiteY109" fmla="*/ 7939 h 2963729"/>
                  <a:gd name="connsiteX110" fmla="*/ 3339873 w 4250373"/>
                  <a:gd name="connsiteY110" fmla="*/ 1 h 2963729"/>
                  <a:gd name="connsiteX111" fmla="*/ 3327420 w 4250373"/>
                  <a:gd name="connsiteY111" fmla="*/ 636587 h 2963729"/>
                  <a:gd name="connsiteX112" fmla="*/ 3504752 w 4250373"/>
                  <a:gd name="connsiteY112" fmla="*/ 636587 h 2963729"/>
                  <a:gd name="connsiteX113" fmla="*/ 3740691 w 4250373"/>
                  <a:gd name="connsiteY113" fmla="*/ 872526 h 2963729"/>
                  <a:gd name="connsiteX114" fmla="*/ 3740691 w 4250373"/>
                  <a:gd name="connsiteY114" fmla="*/ 1936639 h 2963729"/>
                  <a:gd name="connsiteX115" fmla="*/ 4250373 w 4250373"/>
                  <a:gd name="connsiteY115" fmla="*/ 2444433 h 2963729"/>
                  <a:gd name="connsiteX116" fmla="*/ 4245831 w 4250373"/>
                  <a:gd name="connsiteY116" fmla="*/ 2444435 h 2963729"/>
                  <a:gd name="connsiteX117" fmla="*/ 4245831 w 4250373"/>
                  <a:gd name="connsiteY117" fmla="*/ 2864466 h 2963729"/>
                  <a:gd name="connsiteX118" fmla="*/ 4146568 w 4250373"/>
                  <a:gd name="connsiteY118" fmla="*/ 2963729 h 2963729"/>
                  <a:gd name="connsiteX119" fmla="*/ 102439 w 4250373"/>
                  <a:gd name="connsiteY119" fmla="*/ 2963729 h 2963729"/>
                  <a:gd name="connsiteX120" fmla="*/ 3176 w 4250373"/>
                  <a:gd name="connsiteY120" fmla="*/ 2864466 h 2963729"/>
                  <a:gd name="connsiteX121" fmla="*/ 3176 w 4250373"/>
                  <a:gd name="connsiteY121" fmla="*/ 2445702 h 2963729"/>
                  <a:gd name="connsiteX122" fmla="*/ 0 w 4250373"/>
                  <a:gd name="connsiteY122" fmla="*/ 2445703 h 2963729"/>
                  <a:gd name="connsiteX123" fmla="*/ 3176 w 4250373"/>
                  <a:gd name="connsiteY123" fmla="*/ 2442563 h 2963729"/>
                  <a:gd name="connsiteX124" fmla="*/ 3176 w 4250373"/>
                  <a:gd name="connsiteY124" fmla="*/ 2442528 h 2963729"/>
                  <a:gd name="connsiteX125" fmla="*/ 3211 w 4250373"/>
                  <a:gd name="connsiteY125" fmla="*/ 2442528 h 2963729"/>
                  <a:gd name="connsiteX126" fmla="*/ 511811 w 4250373"/>
                  <a:gd name="connsiteY126" fmla="*/ 1939608 h 2963729"/>
                  <a:gd name="connsiteX127" fmla="*/ 512859 w 4250373"/>
                  <a:gd name="connsiteY127" fmla="*/ 1939606 h 2963729"/>
                  <a:gd name="connsiteX128" fmla="*/ 512859 w 4250373"/>
                  <a:gd name="connsiteY128" fmla="*/ 872526 h 2963729"/>
                  <a:gd name="connsiteX129" fmla="*/ 748798 w 4250373"/>
                  <a:gd name="connsiteY129" fmla="*/ 636587 h 2963729"/>
                  <a:gd name="connsiteX130" fmla="*/ 1131978 w 4250373"/>
                  <a:gd name="connsiteY130" fmla="*/ 636587 h 2963729"/>
                  <a:gd name="connsiteX0" fmla="*/ 1629417 w 4250373"/>
                  <a:gd name="connsiteY0" fmla="*/ 2593975 h 2963727"/>
                  <a:gd name="connsiteX1" fmla="*/ 1579411 w 4250373"/>
                  <a:gd name="connsiteY1" fmla="*/ 2643981 h 2963727"/>
                  <a:gd name="connsiteX2" fmla="*/ 1629417 w 4250373"/>
                  <a:gd name="connsiteY2" fmla="*/ 2693986 h 2963727"/>
                  <a:gd name="connsiteX3" fmla="*/ 2622323 w 4250373"/>
                  <a:gd name="connsiteY3" fmla="*/ 2693987 h 2963727"/>
                  <a:gd name="connsiteX4" fmla="*/ 2672329 w 4250373"/>
                  <a:gd name="connsiteY4" fmla="*/ 2643981 h 2963727"/>
                  <a:gd name="connsiteX5" fmla="*/ 2672330 w 4250373"/>
                  <a:gd name="connsiteY5" fmla="*/ 2643981 h 2963727"/>
                  <a:gd name="connsiteX6" fmla="*/ 2622324 w 4250373"/>
                  <a:gd name="connsiteY6" fmla="*/ 2593975 h 2963727"/>
                  <a:gd name="connsiteX7" fmla="*/ 1629417 w 4250373"/>
                  <a:gd name="connsiteY7" fmla="*/ 2593975 h 2963727"/>
                  <a:gd name="connsiteX8" fmla="*/ 3267642 w 4250373"/>
                  <a:gd name="connsiteY8" fmla="*/ 1676933 h 2963727"/>
                  <a:gd name="connsiteX9" fmla="*/ 3235256 w 4250373"/>
                  <a:gd name="connsiteY9" fmla="*/ 1709319 h 2963727"/>
                  <a:gd name="connsiteX10" fmla="*/ 3235256 w 4250373"/>
                  <a:gd name="connsiteY10" fmla="*/ 1861501 h 2963727"/>
                  <a:gd name="connsiteX11" fmla="*/ 3267642 w 4250373"/>
                  <a:gd name="connsiteY11" fmla="*/ 1893887 h 2963727"/>
                  <a:gd name="connsiteX12" fmla="*/ 3397182 w 4250373"/>
                  <a:gd name="connsiteY12" fmla="*/ 1893887 h 2963727"/>
                  <a:gd name="connsiteX13" fmla="*/ 3429568 w 4250373"/>
                  <a:gd name="connsiteY13" fmla="*/ 1861501 h 2963727"/>
                  <a:gd name="connsiteX14" fmla="*/ 3429568 w 4250373"/>
                  <a:gd name="connsiteY14" fmla="*/ 1709319 h 2963727"/>
                  <a:gd name="connsiteX15" fmla="*/ 3397182 w 4250373"/>
                  <a:gd name="connsiteY15" fmla="*/ 1676933 h 2963727"/>
                  <a:gd name="connsiteX16" fmla="*/ 3267642 w 4250373"/>
                  <a:gd name="connsiteY16" fmla="*/ 1676933 h 2963727"/>
                  <a:gd name="connsiteX17" fmla="*/ 2939029 w 4250373"/>
                  <a:gd name="connsiteY17" fmla="*/ 1676933 h 2963727"/>
                  <a:gd name="connsiteX18" fmla="*/ 2906643 w 4250373"/>
                  <a:gd name="connsiteY18" fmla="*/ 1709319 h 2963727"/>
                  <a:gd name="connsiteX19" fmla="*/ 2906643 w 4250373"/>
                  <a:gd name="connsiteY19" fmla="*/ 1861501 h 2963727"/>
                  <a:gd name="connsiteX20" fmla="*/ 2939029 w 4250373"/>
                  <a:gd name="connsiteY20" fmla="*/ 1893887 h 2963727"/>
                  <a:gd name="connsiteX21" fmla="*/ 3068569 w 4250373"/>
                  <a:gd name="connsiteY21" fmla="*/ 1893887 h 2963727"/>
                  <a:gd name="connsiteX22" fmla="*/ 3100955 w 4250373"/>
                  <a:gd name="connsiteY22" fmla="*/ 1861501 h 2963727"/>
                  <a:gd name="connsiteX23" fmla="*/ 3100955 w 4250373"/>
                  <a:gd name="connsiteY23" fmla="*/ 1709319 h 2963727"/>
                  <a:gd name="connsiteX24" fmla="*/ 3068569 w 4250373"/>
                  <a:gd name="connsiteY24" fmla="*/ 1676933 h 2963727"/>
                  <a:gd name="connsiteX25" fmla="*/ 2939029 w 4250373"/>
                  <a:gd name="connsiteY25" fmla="*/ 1676933 h 2963727"/>
                  <a:gd name="connsiteX26" fmla="*/ 2615179 w 4250373"/>
                  <a:gd name="connsiteY26" fmla="*/ 1676933 h 2963727"/>
                  <a:gd name="connsiteX27" fmla="*/ 2582793 w 4250373"/>
                  <a:gd name="connsiteY27" fmla="*/ 1709319 h 2963727"/>
                  <a:gd name="connsiteX28" fmla="*/ 2582793 w 4250373"/>
                  <a:gd name="connsiteY28" fmla="*/ 1861501 h 2963727"/>
                  <a:gd name="connsiteX29" fmla="*/ 2615179 w 4250373"/>
                  <a:gd name="connsiteY29" fmla="*/ 1893887 h 2963727"/>
                  <a:gd name="connsiteX30" fmla="*/ 2744719 w 4250373"/>
                  <a:gd name="connsiteY30" fmla="*/ 1893887 h 2963727"/>
                  <a:gd name="connsiteX31" fmla="*/ 2777105 w 4250373"/>
                  <a:gd name="connsiteY31" fmla="*/ 1861501 h 2963727"/>
                  <a:gd name="connsiteX32" fmla="*/ 2777105 w 4250373"/>
                  <a:gd name="connsiteY32" fmla="*/ 1709319 h 2963727"/>
                  <a:gd name="connsiteX33" fmla="*/ 2744719 w 4250373"/>
                  <a:gd name="connsiteY33" fmla="*/ 1676933 h 2963727"/>
                  <a:gd name="connsiteX34" fmla="*/ 2615179 w 4250373"/>
                  <a:gd name="connsiteY34" fmla="*/ 1676933 h 2963727"/>
                  <a:gd name="connsiteX35" fmla="*/ 2615179 w 4250373"/>
                  <a:gd name="connsiteY35" fmla="*/ 1366311 h 2963727"/>
                  <a:gd name="connsiteX36" fmla="*/ 2582793 w 4250373"/>
                  <a:gd name="connsiteY36" fmla="*/ 1398697 h 2963727"/>
                  <a:gd name="connsiteX37" fmla="*/ 2582793 w 4250373"/>
                  <a:gd name="connsiteY37" fmla="*/ 1550879 h 2963727"/>
                  <a:gd name="connsiteX38" fmla="*/ 2615179 w 4250373"/>
                  <a:gd name="connsiteY38" fmla="*/ 1583265 h 2963727"/>
                  <a:gd name="connsiteX39" fmla="*/ 2744719 w 4250373"/>
                  <a:gd name="connsiteY39" fmla="*/ 1583265 h 2963727"/>
                  <a:gd name="connsiteX40" fmla="*/ 2777105 w 4250373"/>
                  <a:gd name="connsiteY40" fmla="*/ 1550879 h 2963727"/>
                  <a:gd name="connsiteX41" fmla="*/ 2777105 w 4250373"/>
                  <a:gd name="connsiteY41" fmla="*/ 1398697 h 2963727"/>
                  <a:gd name="connsiteX42" fmla="*/ 2744719 w 4250373"/>
                  <a:gd name="connsiteY42" fmla="*/ 1366311 h 2963727"/>
                  <a:gd name="connsiteX43" fmla="*/ 2615179 w 4250373"/>
                  <a:gd name="connsiteY43" fmla="*/ 1366311 h 2963727"/>
                  <a:gd name="connsiteX44" fmla="*/ 3267642 w 4250373"/>
                  <a:gd name="connsiteY44" fmla="*/ 1366310 h 2963727"/>
                  <a:gd name="connsiteX45" fmla="*/ 3235256 w 4250373"/>
                  <a:gd name="connsiteY45" fmla="*/ 1398696 h 2963727"/>
                  <a:gd name="connsiteX46" fmla="*/ 3235256 w 4250373"/>
                  <a:gd name="connsiteY46" fmla="*/ 1550878 h 2963727"/>
                  <a:gd name="connsiteX47" fmla="*/ 3267642 w 4250373"/>
                  <a:gd name="connsiteY47" fmla="*/ 1583264 h 2963727"/>
                  <a:gd name="connsiteX48" fmla="*/ 3397182 w 4250373"/>
                  <a:gd name="connsiteY48" fmla="*/ 1583264 h 2963727"/>
                  <a:gd name="connsiteX49" fmla="*/ 3429568 w 4250373"/>
                  <a:gd name="connsiteY49" fmla="*/ 1550878 h 2963727"/>
                  <a:gd name="connsiteX50" fmla="*/ 3429568 w 4250373"/>
                  <a:gd name="connsiteY50" fmla="*/ 1398696 h 2963727"/>
                  <a:gd name="connsiteX51" fmla="*/ 3397182 w 4250373"/>
                  <a:gd name="connsiteY51" fmla="*/ 1366310 h 2963727"/>
                  <a:gd name="connsiteX52" fmla="*/ 3267642 w 4250373"/>
                  <a:gd name="connsiteY52" fmla="*/ 1366310 h 2963727"/>
                  <a:gd name="connsiteX53" fmla="*/ 2939029 w 4250373"/>
                  <a:gd name="connsiteY53" fmla="*/ 1366310 h 2963727"/>
                  <a:gd name="connsiteX54" fmla="*/ 2906643 w 4250373"/>
                  <a:gd name="connsiteY54" fmla="*/ 1398696 h 2963727"/>
                  <a:gd name="connsiteX55" fmla="*/ 2906643 w 4250373"/>
                  <a:gd name="connsiteY55" fmla="*/ 1550878 h 2963727"/>
                  <a:gd name="connsiteX56" fmla="*/ 2939029 w 4250373"/>
                  <a:gd name="connsiteY56" fmla="*/ 1583264 h 2963727"/>
                  <a:gd name="connsiteX57" fmla="*/ 3068569 w 4250373"/>
                  <a:gd name="connsiteY57" fmla="*/ 1583264 h 2963727"/>
                  <a:gd name="connsiteX58" fmla="*/ 3100955 w 4250373"/>
                  <a:gd name="connsiteY58" fmla="*/ 1550878 h 2963727"/>
                  <a:gd name="connsiteX59" fmla="*/ 3100955 w 4250373"/>
                  <a:gd name="connsiteY59" fmla="*/ 1398696 h 2963727"/>
                  <a:gd name="connsiteX60" fmla="*/ 3068569 w 4250373"/>
                  <a:gd name="connsiteY60" fmla="*/ 1366310 h 2963727"/>
                  <a:gd name="connsiteX61" fmla="*/ 2939029 w 4250373"/>
                  <a:gd name="connsiteY61" fmla="*/ 1366310 h 2963727"/>
                  <a:gd name="connsiteX62" fmla="*/ 3267642 w 4250373"/>
                  <a:gd name="connsiteY62" fmla="*/ 1055688 h 2963727"/>
                  <a:gd name="connsiteX63" fmla="*/ 3235256 w 4250373"/>
                  <a:gd name="connsiteY63" fmla="*/ 1088074 h 2963727"/>
                  <a:gd name="connsiteX64" fmla="*/ 3235256 w 4250373"/>
                  <a:gd name="connsiteY64" fmla="*/ 1240256 h 2963727"/>
                  <a:gd name="connsiteX65" fmla="*/ 3267642 w 4250373"/>
                  <a:gd name="connsiteY65" fmla="*/ 1272642 h 2963727"/>
                  <a:gd name="connsiteX66" fmla="*/ 3397182 w 4250373"/>
                  <a:gd name="connsiteY66" fmla="*/ 1272642 h 2963727"/>
                  <a:gd name="connsiteX67" fmla="*/ 3429568 w 4250373"/>
                  <a:gd name="connsiteY67" fmla="*/ 1240256 h 2963727"/>
                  <a:gd name="connsiteX68" fmla="*/ 3429568 w 4250373"/>
                  <a:gd name="connsiteY68" fmla="*/ 1088074 h 2963727"/>
                  <a:gd name="connsiteX69" fmla="*/ 3397182 w 4250373"/>
                  <a:gd name="connsiteY69" fmla="*/ 1055688 h 2963727"/>
                  <a:gd name="connsiteX70" fmla="*/ 3267642 w 4250373"/>
                  <a:gd name="connsiteY70" fmla="*/ 1055688 h 2963727"/>
                  <a:gd name="connsiteX71" fmla="*/ 2630648 w 4250373"/>
                  <a:gd name="connsiteY71" fmla="*/ 1055688 h 2963727"/>
                  <a:gd name="connsiteX72" fmla="*/ 2598262 w 4250373"/>
                  <a:gd name="connsiteY72" fmla="*/ 1088074 h 2963727"/>
                  <a:gd name="connsiteX73" fmla="*/ 2598262 w 4250373"/>
                  <a:gd name="connsiteY73" fmla="*/ 1240256 h 2963727"/>
                  <a:gd name="connsiteX74" fmla="*/ 2630648 w 4250373"/>
                  <a:gd name="connsiteY74" fmla="*/ 1272642 h 2963727"/>
                  <a:gd name="connsiteX75" fmla="*/ 2760188 w 4250373"/>
                  <a:gd name="connsiteY75" fmla="*/ 1272642 h 2963727"/>
                  <a:gd name="connsiteX76" fmla="*/ 2792574 w 4250373"/>
                  <a:gd name="connsiteY76" fmla="*/ 1240256 h 2963727"/>
                  <a:gd name="connsiteX77" fmla="*/ 2792574 w 4250373"/>
                  <a:gd name="connsiteY77" fmla="*/ 1088074 h 2963727"/>
                  <a:gd name="connsiteX78" fmla="*/ 2760188 w 4250373"/>
                  <a:gd name="connsiteY78" fmla="*/ 1055688 h 2963727"/>
                  <a:gd name="connsiteX79" fmla="*/ 2630648 w 4250373"/>
                  <a:gd name="connsiteY79" fmla="*/ 1055688 h 2963727"/>
                  <a:gd name="connsiteX80" fmla="*/ 2939029 w 4250373"/>
                  <a:gd name="connsiteY80" fmla="*/ 1055687 h 2963727"/>
                  <a:gd name="connsiteX81" fmla="*/ 2906643 w 4250373"/>
                  <a:gd name="connsiteY81" fmla="*/ 1088073 h 2963727"/>
                  <a:gd name="connsiteX82" fmla="*/ 2906643 w 4250373"/>
                  <a:gd name="connsiteY82" fmla="*/ 1240255 h 2963727"/>
                  <a:gd name="connsiteX83" fmla="*/ 2939029 w 4250373"/>
                  <a:gd name="connsiteY83" fmla="*/ 1272641 h 2963727"/>
                  <a:gd name="connsiteX84" fmla="*/ 3068569 w 4250373"/>
                  <a:gd name="connsiteY84" fmla="*/ 1272641 h 2963727"/>
                  <a:gd name="connsiteX85" fmla="*/ 3100955 w 4250373"/>
                  <a:gd name="connsiteY85" fmla="*/ 1240255 h 2963727"/>
                  <a:gd name="connsiteX86" fmla="*/ 3100955 w 4250373"/>
                  <a:gd name="connsiteY86" fmla="*/ 1088073 h 2963727"/>
                  <a:gd name="connsiteX87" fmla="*/ 3068569 w 4250373"/>
                  <a:gd name="connsiteY87" fmla="*/ 1055687 h 2963727"/>
                  <a:gd name="connsiteX88" fmla="*/ 2939029 w 4250373"/>
                  <a:gd name="connsiteY88" fmla="*/ 1055687 h 2963727"/>
                  <a:gd name="connsiteX89" fmla="*/ 858205 w 4250373"/>
                  <a:gd name="connsiteY89" fmla="*/ 1055687 h 2963727"/>
                  <a:gd name="connsiteX90" fmla="*/ 718502 w 4250373"/>
                  <a:gd name="connsiteY90" fmla="*/ 1195390 h 2963727"/>
                  <a:gd name="connsiteX91" fmla="*/ 718502 w 4250373"/>
                  <a:gd name="connsiteY91" fmla="*/ 1754184 h 2963727"/>
                  <a:gd name="connsiteX92" fmla="*/ 858205 w 4250373"/>
                  <a:gd name="connsiteY92" fmla="*/ 1893887 h 2963727"/>
                  <a:gd name="connsiteX93" fmla="*/ 2214720 w 4250373"/>
                  <a:gd name="connsiteY93" fmla="*/ 1893887 h 2963727"/>
                  <a:gd name="connsiteX94" fmla="*/ 2354423 w 4250373"/>
                  <a:gd name="connsiteY94" fmla="*/ 1754184 h 2963727"/>
                  <a:gd name="connsiteX95" fmla="*/ 2354423 w 4250373"/>
                  <a:gd name="connsiteY95" fmla="*/ 1195390 h 2963727"/>
                  <a:gd name="connsiteX96" fmla="*/ 2214720 w 4250373"/>
                  <a:gd name="connsiteY96" fmla="*/ 1055687 h 2963727"/>
                  <a:gd name="connsiteX97" fmla="*/ 858205 w 4250373"/>
                  <a:gd name="connsiteY97" fmla="*/ 1055687 h 2963727"/>
                  <a:gd name="connsiteX98" fmla="*/ 3252670 w 4250373"/>
                  <a:gd name="connsiteY98" fmla="*/ 112882 h 2963727"/>
                  <a:gd name="connsiteX99" fmla="*/ 2791662 w 4250373"/>
                  <a:gd name="connsiteY99" fmla="*/ 114017 h 2963727"/>
                  <a:gd name="connsiteX100" fmla="*/ 2777626 w 4250373"/>
                  <a:gd name="connsiteY100" fmla="*/ 163598 h 2963727"/>
                  <a:gd name="connsiteX101" fmla="*/ 2716779 w 4250373"/>
                  <a:gd name="connsiteY101" fmla="*/ 814569 h 2963727"/>
                  <a:gd name="connsiteX102" fmla="*/ 3199247 w 4250373"/>
                  <a:gd name="connsiteY102" fmla="*/ 820738 h 2963727"/>
                  <a:gd name="connsiteX103" fmla="*/ 3252670 w 4250373"/>
                  <a:gd name="connsiteY103" fmla="*/ 112882 h 2963727"/>
                  <a:gd name="connsiteX104" fmla="*/ 1131978 w 4250373"/>
                  <a:gd name="connsiteY104" fmla="*/ 636585 h 2963727"/>
                  <a:gd name="connsiteX105" fmla="*/ 1535838 w 4250373"/>
                  <a:gd name="connsiteY105" fmla="*/ 636585 h 2963727"/>
                  <a:gd name="connsiteX106" fmla="*/ 2583508 w 4250373"/>
                  <a:gd name="connsiteY106" fmla="*/ 636585 h 2963727"/>
                  <a:gd name="connsiteX107" fmla="*/ 2623911 w 4250373"/>
                  <a:gd name="connsiteY107" fmla="*/ 57150 h 2963727"/>
                  <a:gd name="connsiteX108" fmla="*/ 2671536 w 4250373"/>
                  <a:gd name="connsiteY108" fmla="*/ 7937 h 2963727"/>
                  <a:gd name="connsiteX109" fmla="*/ 3339873 w 4250373"/>
                  <a:gd name="connsiteY109" fmla="*/ -1 h 2963727"/>
                  <a:gd name="connsiteX110" fmla="*/ 3327420 w 4250373"/>
                  <a:gd name="connsiteY110" fmla="*/ 636585 h 2963727"/>
                  <a:gd name="connsiteX111" fmla="*/ 3504752 w 4250373"/>
                  <a:gd name="connsiteY111" fmla="*/ 636585 h 2963727"/>
                  <a:gd name="connsiteX112" fmla="*/ 3740691 w 4250373"/>
                  <a:gd name="connsiteY112" fmla="*/ 872524 h 2963727"/>
                  <a:gd name="connsiteX113" fmla="*/ 3740691 w 4250373"/>
                  <a:gd name="connsiteY113" fmla="*/ 1936637 h 2963727"/>
                  <a:gd name="connsiteX114" fmla="*/ 4250373 w 4250373"/>
                  <a:gd name="connsiteY114" fmla="*/ 2444431 h 2963727"/>
                  <a:gd name="connsiteX115" fmla="*/ 4245831 w 4250373"/>
                  <a:gd name="connsiteY115" fmla="*/ 2444433 h 2963727"/>
                  <a:gd name="connsiteX116" fmla="*/ 4245831 w 4250373"/>
                  <a:gd name="connsiteY116" fmla="*/ 2864464 h 2963727"/>
                  <a:gd name="connsiteX117" fmla="*/ 4146568 w 4250373"/>
                  <a:gd name="connsiteY117" fmla="*/ 2963727 h 2963727"/>
                  <a:gd name="connsiteX118" fmla="*/ 102439 w 4250373"/>
                  <a:gd name="connsiteY118" fmla="*/ 2963727 h 2963727"/>
                  <a:gd name="connsiteX119" fmla="*/ 3176 w 4250373"/>
                  <a:gd name="connsiteY119" fmla="*/ 2864464 h 2963727"/>
                  <a:gd name="connsiteX120" fmla="*/ 3176 w 4250373"/>
                  <a:gd name="connsiteY120" fmla="*/ 2445700 h 2963727"/>
                  <a:gd name="connsiteX121" fmla="*/ 0 w 4250373"/>
                  <a:gd name="connsiteY121" fmla="*/ 2445701 h 2963727"/>
                  <a:gd name="connsiteX122" fmla="*/ 3176 w 4250373"/>
                  <a:gd name="connsiteY122" fmla="*/ 2442561 h 2963727"/>
                  <a:gd name="connsiteX123" fmla="*/ 3176 w 4250373"/>
                  <a:gd name="connsiteY123" fmla="*/ 2442526 h 2963727"/>
                  <a:gd name="connsiteX124" fmla="*/ 3211 w 4250373"/>
                  <a:gd name="connsiteY124" fmla="*/ 2442526 h 2963727"/>
                  <a:gd name="connsiteX125" fmla="*/ 511811 w 4250373"/>
                  <a:gd name="connsiteY125" fmla="*/ 1939606 h 2963727"/>
                  <a:gd name="connsiteX126" fmla="*/ 512859 w 4250373"/>
                  <a:gd name="connsiteY126" fmla="*/ 1939604 h 2963727"/>
                  <a:gd name="connsiteX127" fmla="*/ 512859 w 4250373"/>
                  <a:gd name="connsiteY127" fmla="*/ 872524 h 2963727"/>
                  <a:gd name="connsiteX128" fmla="*/ 748798 w 4250373"/>
                  <a:gd name="connsiteY128" fmla="*/ 636585 h 2963727"/>
                  <a:gd name="connsiteX129" fmla="*/ 1131978 w 4250373"/>
                  <a:gd name="connsiteY129" fmla="*/ 636585 h 296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250373" h="2963727">
                    <a:moveTo>
                      <a:pt x="1629417" y="2593975"/>
                    </a:moveTo>
                    <a:cubicBezTo>
                      <a:pt x="1601799" y="2593975"/>
                      <a:pt x="1579412" y="2616363"/>
                      <a:pt x="1579411" y="2643981"/>
                    </a:cubicBezTo>
                    <a:cubicBezTo>
                      <a:pt x="1579412" y="2671599"/>
                      <a:pt x="1601799" y="2693986"/>
                      <a:pt x="1629417" y="2693986"/>
                    </a:cubicBezTo>
                    <a:lnTo>
                      <a:pt x="2622323" y="2693987"/>
                    </a:lnTo>
                    <a:cubicBezTo>
                      <a:pt x="2649941" y="2693987"/>
                      <a:pt x="2672329" y="2671599"/>
                      <a:pt x="2672329" y="2643981"/>
                    </a:cubicBezTo>
                    <a:lnTo>
                      <a:pt x="2672330" y="2643981"/>
                    </a:lnTo>
                    <a:cubicBezTo>
                      <a:pt x="2672330" y="2616363"/>
                      <a:pt x="2649942" y="2593975"/>
                      <a:pt x="2622324" y="2593975"/>
                    </a:cubicBezTo>
                    <a:lnTo>
                      <a:pt x="1629417" y="2593975"/>
                    </a:lnTo>
                    <a:close/>
                    <a:moveTo>
                      <a:pt x="3267642" y="1676933"/>
                    </a:moveTo>
                    <a:cubicBezTo>
                      <a:pt x="3249756" y="1676933"/>
                      <a:pt x="3235256" y="1691433"/>
                      <a:pt x="3235256" y="1709319"/>
                    </a:cubicBezTo>
                    <a:lnTo>
                      <a:pt x="3235256" y="1861501"/>
                    </a:lnTo>
                    <a:cubicBezTo>
                      <a:pt x="3235256" y="1879387"/>
                      <a:pt x="3249756" y="1893887"/>
                      <a:pt x="3267642" y="1893887"/>
                    </a:cubicBezTo>
                    <a:lnTo>
                      <a:pt x="3397182" y="1893887"/>
                    </a:lnTo>
                    <a:cubicBezTo>
                      <a:pt x="3415068" y="1893887"/>
                      <a:pt x="3429568" y="1879387"/>
                      <a:pt x="3429568" y="1861501"/>
                    </a:cubicBezTo>
                    <a:lnTo>
                      <a:pt x="3429568" y="1709319"/>
                    </a:lnTo>
                    <a:cubicBezTo>
                      <a:pt x="3429568" y="1691433"/>
                      <a:pt x="3415068" y="1676933"/>
                      <a:pt x="3397182" y="1676933"/>
                    </a:cubicBezTo>
                    <a:lnTo>
                      <a:pt x="3267642" y="1676933"/>
                    </a:lnTo>
                    <a:close/>
                    <a:moveTo>
                      <a:pt x="2939029" y="1676933"/>
                    </a:moveTo>
                    <a:cubicBezTo>
                      <a:pt x="2921143" y="1676933"/>
                      <a:pt x="2906643" y="1691433"/>
                      <a:pt x="2906643" y="1709319"/>
                    </a:cubicBezTo>
                    <a:lnTo>
                      <a:pt x="2906643" y="1861501"/>
                    </a:lnTo>
                    <a:cubicBezTo>
                      <a:pt x="2906643" y="1879387"/>
                      <a:pt x="2921143" y="1893887"/>
                      <a:pt x="2939029" y="1893887"/>
                    </a:cubicBezTo>
                    <a:lnTo>
                      <a:pt x="3068569" y="1893887"/>
                    </a:lnTo>
                    <a:cubicBezTo>
                      <a:pt x="3086455" y="1893887"/>
                      <a:pt x="3100955" y="1879387"/>
                      <a:pt x="3100955" y="1861501"/>
                    </a:cubicBezTo>
                    <a:lnTo>
                      <a:pt x="3100955" y="1709319"/>
                    </a:lnTo>
                    <a:cubicBezTo>
                      <a:pt x="3100955" y="1691433"/>
                      <a:pt x="3086455" y="1676933"/>
                      <a:pt x="3068569" y="1676933"/>
                    </a:cubicBezTo>
                    <a:lnTo>
                      <a:pt x="2939029" y="1676933"/>
                    </a:lnTo>
                    <a:close/>
                    <a:moveTo>
                      <a:pt x="2615179" y="1676933"/>
                    </a:moveTo>
                    <a:cubicBezTo>
                      <a:pt x="2597293" y="1676933"/>
                      <a:pt x="2582793" y="1691433"/>
                      <a:pt x="2582793" y="1709319"/>
                    </a:cubicBezTo>
                    <a:lnTo>
                      <a:pt x="2582793" y="1861501"/>
                    </a:lnTo>
                    <a:cubicBezTo>
                      <a:pt x="2582793" y="1879387"/>
                      <a:pt x="2597293" y="1893887"/>
                      <a:pt x="2615179" y="1893887"/>
                    </a:cubicBezTo>
                    <a:lnTo>
                      <a:pt x="2744719" y="1893887"/>
                    </a:lnTo>
                    <a:cubicBezTo>
                      <a:pt x="2762605" y="1893887"/>
                      <a:pt x="2777105" y="1879387"/>
                      <a:pt x="2777105" y="1861501"/>
                    </a:cubicBezTo>
                    <a:lnTo>
                      <a:pt x="2777105" y="1709319"/>
                    </a:lnTo>
                    <a:cubicBezTo>
                      <a:pt x="2777105" y="1691433"/>
                      <a:pt x="2762605" y="1676933"/>
                      <a:pt x="2744719" y="1676933"/>
                    </a:cubicBezTo>
                    <a:lnTo>
                      <a:pt x="2615179" y="1676933"/>
                    </a:lnTo>
                    <a:close/>
                    <a:moveTo>
                      <a:pt x="2615179" y="1366311"/>
                    </a:moveTo>
                    <a:cubicBezTo>
                      <a:pt x="2597293" y="1366311"/>
                      <a:pt x="2582793" y="1380811"/>
                      <a:pt x="2582793" y="1398697"/>
                    </a:cubicBezTo>
                    <a:lnTo>
                      <a:pt x="2582793" y="1550879"/>
                    </a:lnTo>
                    <a:cubicBezTo>
                      <a:pt x="2582793" y="1568765"/>
                      <a:pt x="2597293" y="1583265"/>
                      <a:pt x="2615179" y="1583265"/>
                    </a:cubicBezTo>
                    <a:lnTo>
                      <a:pt x="2744719" y="1583265"/>
                    </a:lnTo>
                    <a:cubicBezTo>
                      <a:pt x="2762605" y="1583265"/>
                      <a:pt x="2777105" y="1568765"/>
                      <a:pt x="2777105" y="1550879"/>
                    </a:cubicBezTo>
                    <a:lnTo>
                      <a:pt x="2777105" y="1398697"/>
                    </a:lnTo>
                    <a:cubicBezTo>
                      <a:pt x="2777105" y="1380811"/>
                      <a:pt x="2762605" y="1366311"/>
                      <a:pt x="2744719" y="1366311"/>
                    </a:cubicBezTo>
                    <a:lnTo>
                      <a:pt x="2615179" y="1366311"/>
                    </a:lnTo>
                    <a:close/>
                    <a:moveTo>
                      <a:pt x="3267642" y="1366310"/>
                    </a:moveTo>
                    <a:cubicBezTo>
                      <a:pt x="3249756" y="1366310"/>
                      <a:pt x="3235256" y="1380810"/>
                      <a:pt x="3235256" y="1398696"/>
                    </a:cubicBezTo>
                    <a:lnTo>
                      <a:pt x="3235256" y="1550878"/>
                    </a:lnTo>
                    <a:cubicBezTo>
                      <a:pt x="3235256" y="1568764"/>
                      <a:pt x="3249756" y="1583264"/>
                      <a:pt x="3267642" y="1583264"/>
                    </a:cubicBezTo>
                    <a:lnTo>
                      <a:pt x="3397182" y="1583264"/>
                    </a:lnTo>
                    <a:cubicBezTo>
                      <a:pt x="3415068" y="1583264"/>
                      <a:pt x="3429568" y="1568764"/>
                      <a:pt x="3429568" y="1550878"/>
                    </a:cubicBezTo>
                    <a:lnTo>
                      <a:pt x="3429568" y="1398696"/>
                    </a:lnTo>
                    <a:cubicBezTo>
                      <a:pt x="3429568" y="1380810"/>
                      <a:pt x="3415068" y="1366310"/>
                      <a:pt x="3397182" y="1366310"/>
                    </a:cubicBezTo>
                    <a:lnTo>
                      <a:pt x="3267642" y="1366310"/>
                    </a:lnTo>
                    <a:close/>
                    <a:moveTo>
                      <a:pt x="2939029" y="1366310"/>
                    </a:moveTo>
                    <a:cubicBezTo>
                      <a:pt x="2921143" y="1366310"/>
                      <a:pt x="2906643" y="1380810"/>
                      <a:pt x="2906643" y="1398696"/>
                    </a:cubicBezTo>
                    <a:lnTo>
                      <a:pt x="2906643" y="1550878"/>
                    </a:lnTo>
                    <a:cubicBezTo>
                      <a:pt x="2906643" y="1568764"/>
                      <a:pt x="2921143" y="1583264"/>
                      <a:pt x="2939029" y="1583264"/>
                    </a:cubicBezTo>
                    <a:lnTo>
                      <a:pt x="3068569" y="1583264"/>
                    </a:lnTo>
                    <a:cubicBezTo>
                      <a:pt x="3086455" y="1583264"/>
                      <a:pt x="3100955" y="1568764"/>
                      <a:pt x="3100955" y="1550878"/>
                    </a:cubicBezTo>
                    <a:lnTo>
                      <a:pt x="3100955" y="1398696"/>
                    </a:lnTo>
                    <a:cubicBezTo>
                      <a:pt x="3100955" y="1380810"/>
                      <a:pt x="3086455" y="1366310"/>
                      <a:pt x="3068569" y="1366310"/>
                    </a:cubicBezTo>
                    <a:lnTo>
                      <a:pt x="2939029" y="1366310"/>
                    </a:lnTo>
                    <a:close/>
                    <a:moveTo>
                      <a:pt x="3267642" y="1055688"/>
                    </a:moveTo>
                    <a:cubicBezTo>
                      <a:pt x="3249756" y="1055688"/>
                      <a:pt x="3235256" y="1070188"/>
                      <a:pt x="3235256" y="1088074"/>
                    </a:cubicBezTo>
                    <a:lnTo>
                      <a:pt x="3235256" y="1240256"/>
                    </a:lnTo>
                    <a:cubicBezTo>
                      <a:pt x="3235256" y="1258142"/>
                      <a:pt x="3249756" y="1272642"/>
                      <a:pt x="3267642" y="1272642"/>
                    </a:cubicBezTo>
                    <a:lnTo>
                      <a:pt x="3397182" y="1272642"/>
                    </a:lnTo>
                    <a:cubicBezTo>
                      <a:pt x="3415068" y="1272642"/>
                      <a:pt x="3429568" y="1258142"/>
                      <a:pt x="3429568" y="1240256"/>
                    </a:cubicBezTo>
                    <a:lnTo>
                      <a:pt x="3429568" y="1088074"/>
                    </a:lnTo>
                    <a:cubicBezTo>
                      <a:pt x="3429568" y="1070188"/>
                      <a:pt x="3415068" y="1055688"/>
                      <a:pt x="3397182" y="1055688"/>
                    </a:cubicBezTo>
                    <a:lnTo>
                      <a:pt x="3267642" y="1055688"/>
                    </a:lnTo>
                    <a:close/>
                    <a:moveTo>
                      <a:pt x="2630648" y="1055688"/>
                    </a:moveTo>
                    <a:cubicBezTo>
                      <a:pt x="2612762" y="1055688"/>
                      <a:pt x="2598262" y="1070188"/>
                      <a:pt x="2598262" y="1088074"/>
                    </a:cubicBezTo>
                    <a:lnTo>
                      <a:pt x="2598262" y="1240256"/>
                    </a:lnTo>
                    <a:cubicBezTo>
                      <a:pt x="2598262" y="1258142"/>
                      <a:pt x="2612762" y="1272642"/>
                      <a:pt x="2630648" y="1272642"/>
                    </a:cubicBezTo>
                    <a:lnTo>
                      <a:pt x="2760188" y="1272642"/>
                    </a:lnTo>
                    <a:cubicBezTo>
                      <a:pt x="2778074" y="1272642"/>
                      <a:pt x="2792574" y="1258142"/>
                      <a:pt x="2792574" y="1240256"/>
                    </a:cubicBezTo>
                    <a:lnTo>
                      <a:pt x="2792574" y="1088074"/>
                    </a:lnTo>
                    <a:cubicBezTo>
                      <a:pt x="2792574" y="1070188"/>
                      <a:pt x="2778074" y="1055688"/>
                      <a:pt x="2760188" y="1055688"/>
                    </a:cubicBezTo>
                    <a:lnTo>
                      <a:pt x="2630648" y="1055688"/>
                    </a:lnTo>
                    <a:close/>
                    <a:moveTo>
                      <a:pt x="2939029" y="1055687"/>
                    </a:moveTo>
                    <a:cubicBezTo>
                      <a:pt x="2921143" y="1055687"/>
                      <a:pt x="2906643" y="1070187"/>
                      <a:pt x="2906643" y="1088073"/>
                    </a:cubicBezTo>
                    <a:lnTo>
                      <a:pt x="2906643" y="1240255"/>
                    </a:lnTo>
                    <a:cubicBezTo>
                      <a:pt x="2906643" y="1258141"/>
                      <a:pt x="2921143" y="1272641"/>
                      <a:pt x="2939029" y="1272641"/>
                    </a:cubicBezTo>
                    <a:lnTo>
                      <a:pt x="3068569" y="1272641"/>
                    </a:lnTo>
                    <a:cubicBezTo>
                      <a:pt x="3086455" y="1272641"/>
                      <a:pt x="3100955" y="1258141"/>
                      <a:pt x="3100955" y="1240255"/>
                    </a:cubicBezTo>
                    <a:lnTo>
                      <a:pt x="3100955" y="1088073"/>
                    </a:lnTo>
                    <a:cubicBezTo>
                      <a:pt x="3100955" y="1070187"/>
                      <a:pt x="3086455" y="1055687"/>
                      <a:pt x="3068569" y="1055687"/>
                    </a:cubicBezTo>
                    <a:lnTo>
                      <a:pt x="2939029" y="1055687"/>
                    </a:lnTo>
                    <a:close/>
                    <a:moveTo>
                      <a:pt x="858205" y="1055687"/>
                    </a:moveTo>
                    <a:cubicBezTo>
                      <a:pt x="781049" y="1055687"/>
                      <a:pt x="718502" y="1118234"/>
                      <a:pt x="718502" y="1195390"/>
                    </a:cubicBezTo>
                    <a:lnTo>
                      <a:pt x="718502" y="1754184"/>
                    </a:lnTo>
                    <a:cubicBezTo>
                      <a:pt x="718502" y="1831340"/>
                      <a:pt x="781049" y="1893887"/>
                      <a:pt x="858205" y="1893887"/>
                    </a:cubicBezTo>
                    <a:lnTo>
                      <a:pt x="2214720" y="1893887"/>
                    </a:lnTo>
                    <a:cubicBezTo>
                      <a:pt x="2291876" y="1893887"/>
                      <a:pt x="2354423" y="1831340"/>
                      <a:pt x="2354423" y="1754184"/>
                    </a:cubicBezTo>
                    <a:lnTo>
                      <a:pt x="2354423" y="1195390"/>
                    </a:lnTo>
                    <a:cubicBezTo>
                      <a:pt x="2354423" y="1118234"/>
                      <a:pt x="2291876" y="1055687"/>
                      <a:pt x="2214720" y="1055687"/>
                    </a:cubicBezTo>
                    <a:lnTo>
                      <a:pt x="858205" y="1055687"/>
                    </a:lnTo>
                    <a:close/>
                    <a:moveTo>
                      <a:pt x="3252670" y="112882"/>
                    </a:moveTo>
                    <a:lnTo>
                      <a:pt x="2791662" y="114017"/>
                    </a:lnTo>
                    <a:cubicBezTo>
                      <a:pt x="2776208" y="121253"/>
                      <a:pt x="2767714" y="129010"/>
                      <a:pt x="2777626" y="163598"/>
                    </a:cubicBezTo>
                    <a:cubicBezTo>
                      <a:pt x="2832794" y="375912"/>
                      <a:pt x="2631505" y="641828"/>
                      <a:pt x="2716779" y="814569"/>
                    </a:cubicBezTo>
                    <a:lnTo>
                      <a:pt x="3199247" y="820738"/>
                    </a:lnTo>
                    <a:cubicBezTo>
                      <a:pt x="3176593" y="506288"/>
                      <a:pt x="3363213" y="293963"/>
                      <a:pt x="3252670" y="112882"/>
                    </a:cubicBezTo>
                    <a:close/>
                    <a:moveTo>
                      <a:pt x="1131978" y="636585"/>
                    </a:moveTo>
                    <a:lnTo>
                      <a:pt x="1535838" y="636585"/>
                    </a:lnTo>
                    <a:lnTo>
                      <a:pt x="2583508" y="636585"/>
                    </a:lnTo>
                    <a:cubicBezTo>
                      <a:pt x="2644625" y="401611"/>
                      <a:pt x="2711359" y="281299"/>
                      <a:pt x="2623911" y="57150"/>
                    </a:cubicBezTo>
                    <a:cubicBezTo>
                      <a:pt x="2627086" y="28045"/>
                      <a:pt x="2646929" y="15610"/>
                      <a:pt x="2671536" y="7937"/>
                    </a:cubicBezTo>
                    <a:lnTo>
                      <a:pt x="3339873" y="-1"/>
                    </a:lnTo>
                    <a:cubicBezTo>
                      <a:pt x="3409342" y="164198"/>
                      <a:pt x="3445837" y="254597"/>
                      <a:pt x="3327420" y="636585"/>
                    </a:cubicBezTo>
                    <a:lnTo>
                      <a:pt x="3504752" y="636585"/>
                    </a:lnTo>
                    <a:cubicBezTo>
                      <a:pt x="3635058" y="636585"/>
                      <a:pt x="3740691" y="742218"/>
                      <a:pt x="3740691" y="872524"/>
                    </a:cubicBezTo>
                    <a:lnTo>
                      <a:pt x="3740691" y="1936637"/>
                    </a:lnTo>
                    <a:lnTo>
                      <a:pt x="4250373" y="2444431"/>
                    </a:lnTo>
                    <a:lnTo>
                      <a:pt x="4245831" y="2444433"/>
                    </a:lnTo>
                    <a:lnTo>
                      <a:pt x="4245831" y="2864464"/>
                    </a:lnTo>
                    <a:cubicBezTo>
                      <a:pt x="4245831" y="2919285"/>
                      <a:pt x="4201389" y="2963727"/>
                      <a:pt x="4146568" y="2963727"/>
                    </a:cubicBezTo>
                    <a:lnTo>
                      <a:pt x="102439" y="2963727"/>
                    </a:lnTo>
                    <a:cubicBezTo>
                      <a:pt x="47618" y="2963727"/>
                      <a:pt x="3176" y="2919285"/>
                      <a:pt x="3176" y="2864464"/>
                    </a:cubicBezTo>
                    <a:lnTo>
                      <a:pt x="3176" y="2445700"/>
                    </a:lnTo>
                    <a:lnTo>
                      <a:pt x="0" y="2445701"/>
                    </a:lnTo>
                    <a:lnTo>
                      <a:pt x="3176" y="2442561"/>
                    </a:lnTo>
                    <a:lnTo>
                      <a:pt x="3176" y="2442526"/>
                    </a:lnTo>
                    <a:lnTo>
                      <a:pt x="3211" y="2442526"/>
                    </a:lnTo>
                    <a:lnTo>
                      <a:pt x="511811" y="1939606"/>
                    </a:lnTo>
                    <a:lnTo>
                      <a:pt x="512859" y="1939604"/>
                    </a:lnTo>
                    <a:lnTo>
                      <a:pt x="512859" y="872524"/>
                    </a:lnTo>
                    <a:cubicBezTo>
                      <a:pt x="512859" y="742218"/>
                      <a:pt x="618492" y="636585"/>
                      <a:pt x="748798" y="636585"/>
                    </a:cubicBezTo>
                    <a:lnTo>
                      <a:pt x="1131978" y="636585"/>
                    </a:lnTo>
                    <a:close/>
                  </a:path>
                </a:pathLst>
              </a:custGeom>
              <a:solidFill>
                <a:srgbClr val="7F7F7F"/>
              </a:solidFill>
              <a:ln>
                <a:noFill/>
              </a:ln>
              <a:ex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defTabSz="913967">
                  <a:defRPr/>
                </a:pPr>
                <a:endParaRPr lang="en-US" sz="1899" kern="0">
                  <a:solidFill>
                    <a:srgbClr val="000000"/>
                  </a:solidFill>
                </a:endParaRPr>
              </a:p>
            </p:txBody>
          </p:sp>
          <p:grpSp>
            <p:nvGrpSpPr>
              <p:cNvPr id="109" name="Group 108"/>
              <p:cNvGrpSpPr/>
              <p:nvPr/>
            </p:nvGrpSpPr>
            <p:grpSpPr>
              <a:xfrm>
                <a:off x="1486491" y="2275103"/>
                <a:ext cx="378357" cy="537282"/>
                <a:chOff x="10126590" y="4213025"/>
                <a:chExt cx="484346" cy="601910"/>
              </a:xfrm>
              <a:solidFill>
                <a:srgbClr val="7F7F7F"/>
              </a:solidFill>
            </p:grpSpPr>
            <p:grpSp>
              <p:nvGrpSpPr>
                <p:cNvPr id="153" name="Group 152"/>
                <p:cNvGrpSpPr>
                  <a:grpSpLocks noChangeAspect="1"/>
                </p:cNvGrpSpPr>
                <p:nvPr/>
              </p:nvGrpSpPr>
              <p:grpSpPr>
                <a:xfrm>
                  <a:off x="10126590" y="4284481"/>
                  <a:ext cx="484346" cy="530454"/>
                  <a:chOff x="223285" y="2346312"/>
                  <a:chExt cx="448468" cy="530454"/>
                </a:xfrm>
                <a:grpFill/>
              </p:grpSpPr>
              <p:sp>
                <p:nvSpPr>
                  <p:cNvPr id="169" name="Freeform 11"/>
                  <p:cNvSpPr>
                    <a:spLocks/>
                  </p:cNvSpPr>
                  <p:nvPr/>
                </p:nvSpPr>
                <p:spPr bwMode="auto">
                  <a:xfrm>
                    <a:off x="223285" y="2437817"/>
                    <a:ext cx="314654" cy="438949"/>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grpFill/>
                  <a:ln>
                    <a:noFill/>
                  </a:ln>
                  <a:extLst/>
                </p:spPr>
                <p:txBody>
                  <a:bodyPr vert="horz" wrap="square" lIns="91392" tIns="45696" rIns="91392" bIns="45696" numCol="1" anchor="t" anchorCtr="0" compatLnSpc="1">
                    <a:prstTxWarp prst="textNoShape">
                      <a:avLst/>
                    </a:prstTxWarp>
                  </a:bodyPr>
                  <a:lstStyle/>
                  <a:p>
                    <a:pPr defTabSz="913852">
                      <a:defRPr/>
                    </a:pPr>
                    <a:endParaRPr lang="en-US" sz="1798" kern="0">
                      <a:solidFill>
                        <a:srgbClr val="000000"/>
                      </a:solidFill>
                    </a:endParaRPr>
                  </a:p>
                </p:txBody>
              </p:sp>
              <p:sp>
                <p:nvSpPr>
                  <p:cNvPr id="170" name="Freeform 12"/>
                  <p:cNvSpPr>
                    <a:spLocks/>
                  </p:cNvSpPr>
                  <p:nvPr/>
                </p:nvSpPr>
                <p:spPr bwMode="auto">
                  <a:xfrm>
                    <a:off x="370360" y="2346312"/>
                    <a:ext cx="96446" cy="107417"/>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grpFill/>
                  <a:ln>
                    <a:noFill/>
                  </a:ln>
                  <a:extLst/>
                </p:spPr>
                <p:txBody>
                  <a:bodyPr vert="horz" wrap="square" lIns="91392" tIns="45696" rIns="91392" bIns="45696" numCol="1" anchor="t" anchorCtr="0" compatLnSpc="1">
                    <a:prstTxWarp prst="textNoShape">
                      <a:avLst/>
                    </a:prstTxWarp>
                  </a:bodyPr>
                  <a:lstStyle/>
                  <a:p>
                    <a:pPr defTabSz="913852">
                      <a:defRPr/>
                    </a:pPr>
                    <a:endParaRPr lang="en-US" sz="1798" kern="0">
                      <a:solidFill>
                        <a:srgbClr val="000000"/>
                      </a:solidFill>
                    </a:endParaRPr>
                  </a:p>
                </p:txBody>
              </p:sp>
              <p:sp>
                <p:nvSpPr>
                  <p:cNvPr id="171" name="Freeform 13"/>
                  <p:cNvSpPr>
                    <a:spLocks/>
                  </p:cNvSpPr>
                  <p:nvPr/>
                </p:nvSpPr>
                <p:spPr bwMode="auto">
                  <a:xfrm>
                    <a:off x="481273" y="2616843"/>
                    <a:ext cx="85596" cy="25197"/>
                  </a:xfrm>
                  <a:custGeom>
                    <a:avLst/>
                    <a:gdLst>
                      <a:gd name="T0" fmla="*/ 124 w 142"/>
                      <a:gd name="T1" fmla="*/ 0 h 38"/>
                      <a:gd name="T2" fmla="*/ 18 w 142"/>
                      <a:gd name="T3" fmla="*/ 0 h 38"/>
                      <a:gd name="T4" fmla="*/ 18 w 142"/>
                      <a:gd name="T5" fmla="*/ 0 h 38"/>
                      <a:gd name="T6" fmla="*/ 10 w 142"/>
                      <a:gd name="T7" fmla="*/ 2 h 38"/>
                      <a:gd name="T8" fmla="*/ 4 w 142"/>
                      <a:gd name="T9" fmla="*/ 6 h 38"/>
                      <a:gd name="T10" fmla="*/ 0 w 142"/>
                      <a:gd name="T11" fmla="*/ 12 h 38"/>
                      <a:gd name="T12" fmla="*/ 0 w 142"/>
                      <a:gd name="T13" fmla="*/ 20 h 38"/>
                      <a:gd name="T14" fmla="*/ 0 w 142"/>
                      <a:gd name="T15" fmla="*/ 20 h 38"/>
                      <a:gd name="T16" fmla="*/ 0 w 142"/>
                      <a:gd name="T17" fmla="*/ 26 h 38"/>
                      <a:gd name="T18" fmla="*/ 4 w 142"/>
                      <a:gd name="T19" fmla="*/ 32 h 38"/>
                      <a:gd name="T20" fmla="*/ 10 w 142"/>
                      <a:gd name="T21" fmla="*/ 36 h 38"/>
                      <a:gd name="T22" fmla="*/ 18 w 142"/>
                      <a:gd name="T23" fmla="*/ 38 h 38"/>
                      <a:gd name="T24" fmla="*/ 124 w 142"/>
                      <a:gd name="T25" fmla="*/ 38 h 38"/>
                      <a:gd name="T26" fmla="*/ 124 w 142"/>
                      <a:gd name="T27" fmla="*/ 38 h 38"/>
                      <a:gd name="T28" fmla="*/ 132 w 142"/>
                      <a:gd name="T29" fmla="*/ 36 h 38"/>
                      <a:gd name="T30" fmla="*/ 138 w 142"/>
                      <a:gd name="T31" fmla="*/ 32 h 38"/>
                      <a:gd name="T32" fmla="*/ 142 w 142"/>
                      <a:gd name="T33" fmla="*/ 26 h 38"/>
                      <a:gd name="T34" fmla="*/ 142 w 142"/>
                      <a:gd name="T35" fmla="*/ 20 h 38"/>
                      <a:gd name="T36" fmla="*/ 142 w 142"/>
                      <a:gd name="T37" fmla="*/ 20 h 38"/>
                      <a:gd name="T38" fmla="*/ 142 w 142"/>
                      <a:gd name="T39" fmla="*/ 12 h 38"/>
                      <a:gd name="T40" fmla="*/ 138 w 142"/>
                      <a:gd name="T41" fmla="*/ 6 h 38"/>
                      <a:gd name="T42" fmla="*/ 132 w 142"/>
                      <a:gd name="T43" fmla="*/ 2 h 38"/>
                      <a:gd name="T44" fmla="*/ 124 w 142"/>
                      <a:gd name="T45" fmla="*/ 0 h 38"/>
                      <a:gd name="T46" fmla="*/ 124 w 14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38">
                        <a:moveTo>
                          <a:pt x="124" y="0"/>
                        </a:moveTo>
                        <a:lnTo>
                          <a:pt x="18" y="0"/>
                        </a:lnTo>
                        <a:lnTo>
                          <a:pt x="18" y="0"/>
                        </a:lnTo>
                        <a:lnTo>
                          <a:pt x="10" y="2"/>
                        </a:lnTo>
                        <a:lnTo>
                          <a:pt x="4" y="6"/>
                        </a:lnTo>
                        <a:lnTo>
                          <a:pt x="0" y="12"/>
                        </a:lnTo>
                        <a:lnTo>
                          <a:pt x="0" y="20"/>
                        </a:lnTo>
                        <a:lnTo>
                          <a:pt x="0" y="20"/>
                        </a:lnTo>
                        <a:lnTo>
                          <a:pt x="0" y="26"/>
                        </a:lnTo>
                        <a:lnTo>
                          <a:pt x="4" y="32"/>
                        </a:lnTo>
                        <a:lnTo>
                          <a:pt x="10" y="36"/>
                        </a:lnTo>
                        <a:lnTo>
                          <a:pt x="18" y="38"/>
                        </a:lnTo>
                        <a:lnTo>
                          <a:pt x="124" y="38"/>
                        </a:lnTo>
                        <a:lnTo>
                          <a:pt x="124" y="38"/>
                        </a:lnTo>
                        <a:lnTo>
                          <a:pt x="132" y="36"/>
                        </a:lnTo>
                        <a:lnTo>
                          <a:pt x="138" y="32"/>
                        </a:lnTo>
                        <a:lnTo>
                          <a:pt x="142" y="26"/>
                        </a:lnTo>
                        <a:lnTo>
                          <a:pt x="142" y="20"/>
                        </a:lnTo>
                        <a:lnTo>
                          <a:pt x="142" y="20"/>
                        </a:lnTo>
                        <a:lnTo>
                          <a:pt x="142" y="12"/>
                        </a:lnTo>
                        <a:lnTo>
                          <a:pt x="138" y="6"/>
                        </a:lnTo>
                        <a:lnTo>
                          <a:pt x="132" y="2"/>
                        </a:lnTo>
                        <a:lnTo>
                          <a:pt x="124" y="0"/>
                        </a:lnTo>
                        <a:lnTo>
                          <a:pt x="124" y="0"/>
                        </a:lnTo>
                        <a:close/>
                      </a:path>
                    </a:pathLst>
                  </a:custGeom>
                  <a:grpFill/>
                  <a:ln>
                    <a:noFill/>
                  </a:ln>
                  <a:extLst/>
                </p:spPr>
                <p:txBody>
                  <a:bodyPr vert="horz" wrap="square" lIns="91392" tIns="45696" rIns="91392" bIns="45696" numCol="1" anchor="t" anchorCtr="0" compatLnSpc="1">
                    <a:prstTxWarp prst="textNoShape">
                      <a:avLst/>
                    </a:prstTxWarp>
                  </a:bodyPr>
                  <a:lstStyle/>
                  <a:p>
                    <a:pPr defTabSz="913852">
                      <a:defRPr/>
                    </a:pPr>
                    <a:endParaRPr lang="en-US" sz="1798" kern="0">
                      <a:solidFill>
                        <a:srgbClr val="000000"/>
                      </a:solidFill>
                    </a:endParaRPr>
                  </a:p>
                </p:txBody>
              </p:sp>
              <p:sp>
                <p:nvSpPr>
                  <p:cNvPr id="172" name="Freeform 14"/>
                  <p:cNvSpPr>
                    <a:spLocks/>
                  </p:cNvSpPr>
                  <p:nvPr/>
                </p:nvSpPr>
                <p:spPr bwMode="auto">
                  <a:xfrm>
                    <a:off x="568074" y="2392727"/>
                    <a:ext cx="103679" cy="249313"/>
                  </a:xfrm>
                  <a:custGeom>
                    <a:avLst/>
                    <a:gdLst>
                      <a:gd name="T0" fmla="*/ 96 w 172"/>
                      <a:gd name="T1" fmla="*/ 224 h 376"/>
                      <a:gd name="T2" fmla="*/ 96 w 172"/>
                      <a:gd name="T3" fmla="*/ 224 h 376"/>
                      <a:gd name="T4" fmla="*/ 94 w 172"/>
                      <a:gd name="T5" fmla="*/ 220 h 376"/>
                      <a:gd name="T6" fmla="*/ 88 w 172"/>
                      <a:gd name="T7" fmla="*/ 218 h 376"/>
                      <a:gd name="T8" fmla="*/ 172 w 172"/>
                      <a:gd name="T9" fmla="*/ 22 h 376"/>
                      <a:gd name="T10" fmla="*/ 122 w 172"/>
                      <a:gd name="T11" fmla="*/ 0 h 376"/>
                      <a:gd name="T12" fmla="*/ 0 w 172"/>
                      <a:gd name="T13" fmla="*/ 282 h 376"/>
                      <a:gd name="T14" fmla="*/ 52 w 172"/>
                      <a:gd name="T15" fmla="*/ 304 h 376"/>
                      <a:gd name="T16" fmla="*/ 72 w 172"/>
                      <a:gd name="T17" fmla="*/ 258 h 376"/>
                      <a:gd name="T18" fmla="*/ 110 w 172"/>
                      <a:gd name="T19" fmla="*/ 338 h 376"/>
                      <a:gd name="T20" fmla="*/ 54 w 172"/>
                      <a:gd name="T21" fmla="*/ 338 h 376"/>
                      <a:gd name="T22" fmla="*/ 54 w 172"/>
                      <a:gd name="T23" fmla="*/ 338 h 376"/>
                      <a:gd name="T24" fmla="*/ 46 w 172"/>
                      <a:gd name="T25" fmla="*/ 340 h 376"/>
                      <a:gd name="T26" fmla="*/ 40 w 172"/>
                      <a:gd name="T27" fmla="*/ 344 h 376"/>
                      <a:gd name="T28" fmla="*/ 38 w 172"/>
                      <a:gd name="T29" fmla="*/ 350 h 376"/>
                      <a:gd name="T30" fmla="*/ 36 w 172"/>
                      <a:gd name="T31" fmla="*/ 358 h 376"/>
                      <a:gd name="T32" fmla="*/ 36 w 172"/>
                      <a:gd name="T33" fmla="*/ 358 h 376"/>
                      <a:gd name="T34" fmla="*/ 38 w 172"/>
                      <a:gd name="T35" fmla="*/ 364 h 376"/>
                      <a:gd name="T36" fmla="*/ 40 w 172"/>
                      <a:gd name="T37" fmla="*/ 370 h 376"/>
                      <a:gd name="T38" fmla="*/ 46 w 172"/>
                      <a:gd name="T39" fmla="*/ 374 h 376"/>
                      <a:gd name="T40" fmla="*/ 54 w 172"/>
                      <a:gd name="T41" fmla="*/ 376 h 376"/>
                      <a:gd name="T42" fmla="*/ 140 w 172"/>
                      <a:gd name="T43" fmla="*/ 376 h 376"/>
                      <a:gd name="T44" fmla="*/ 140 w 172"/>
                      <a:gd name="T45" fmla="*/ 376 h 376"/>
                      <a:gd name="T46" fmla="*/ 148 w 172"/>
                      <a:gd name="T47" fmla="*/ 374 h 376"/>
                      <a:gd name="T48" fmla="*/ 156 w 172"/>
                      <a:gd name="T49" fmla="*/ 368 h 376"/>
                      <a:gd name="T50" fmla="*/ 156 w 172"/>
                      <a:gd name="T51" fmla="*/ 368 h 376"/>
                      <a:gd name="T52" fmla="*/ 158 w 172"/>
                      <a:gd name="T53" fmla="*/ 358 h 376"/>
                      <a:gd name="T54" fmla="*/ 156 w 172"/>
                      <a:gd name="T55" fmla="*/ 350 h 376"/>
                      <a:gd name="T56" fmla="*/ 96 w 172"/>
                      <a:gd name="T57" fmla="*/ 2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376">
                        <a:moveTo>
                          <a:pt x="96" y="224"/>
                        </a:moveTo>
                        <a:lnTo>
                          <a:pt x="96" y="224"/>
                        </a:lnTo>
                        <a:lnTo>
                          <a:pt x="94" y="220"/>
                        </a:lnTo>
                        <a:lnTo>
                          <a:pt x="88" y="218"/>
                        </a:lnTo>
                        <a:lnTo>
                          <a:pt x="172" y="22"/>
                        </a:lnTo>
                        <a:lnTo>
                          <a:pt x="122" y="0"/>
                        </a:lnTo>
                        <a:lnTo>
                          <a:pt x="0" y="282"/>
                        </a:lnTo>
                        <a:lnTo>
                          <a:pt x="52" y="304"/>
                        </a:lnTo>
                        <a:lnTo>
                          <a:pt x="72" y="258"/>
                        </a:lnTo>
                        <a:lnTo>
                          <a:pt x="110" y="338"/>
                        </a:lnTo>
                        <a:lnTo>
                          <a:pt x="54" y="338"/>
                        </a:lnTo>
                        <a:lnTo>
                          <a:pt x="54" y="338"/>
                        </a:lnTo>
                        <a:lnTo>
                          <a:pt x="46" y="340"/>
                        </a:lnTo>
                        <a:lnTo>
                          <a:pt x="40" y="344"/>
                        </a:lnTo>
                        <a:lnTo>
                          <a:pt x="38" y="350"/>
                        </a:lnTo>
                        <a:lnTo>
                          <a:pt x="36" y="358"/>
                        </a:lnTo>
                        <a:lnTo>
                          <a:pt x="36" y="358"/>
                        </a:lnTo>
                        <a:lnTo>
                          <a:pt x="38" y="364"/>
                        </a:lnTo>
                        <a:lnTo>
                          <a:pt x="40" y="370"/>
                        </a:lnTo>
                        <a:lnTo>
                          <a:pt x="46" y="374"/>
                        </a:lnTo>
                        <a:lnTo>
                          <a:pt x="54" y="376"/>
                        </a:lnTo>
                        <a:lnTo>
                          <a:pt x="140" y="376"/>
                        </a:lnTo>
                        <a:lnTo>
                          <a:pt x="140" y="376"/>
                        </a:lnTo>
                        <a:lnTo>
                          <a:pt x="148" y="374"/>
                        </a:lnTo>
                        <a:lnTo>
                          <a:pt x="156" y="368"/>
                        </a:lnTo>
                        <a:lnTo>
                          <a:pt x="156" y="368"/>
                        </a:lnTo>
                        <a:lnTo>
                          <a:pt x="158" y="358"/>
                        </a:lnTo>
                        <a:lnTo>
                          <a:pt x="156" y="350"/>
                        </a:lnTo>
                        <a:lnTo>
                          <a:pt x="96" y="224"/>
                        </a:lnTo>
                        <a:close/>
                      </a:path>
                    </a:pathLst>
                  </a:custGeom>
                  <a:grpFill/>
                  <a:ln>
                    <a:noFill/>
                  </a:ln>
                  <a:extLst/>
                </p:spPr>
                <p:txBody>
                  <a:bodyPr vert="horz" wrap="square" lIns="91392" tIns="45696" rIns="91392" bIns="45696" numCol="1" anchor="t" anchorCtr="0" compatLnSpc="1">
                    <a:prstTxWarp prst="textNoShape">
                      <a:avLst/>
                    </a:prstTxWarp>
                  </a:bodyPr>
                  <a:lstStyle/>
                  <a:p>
                    <a:pPr defTabSz="913852">
                      <a:defRPr/>
                    </a:pPr>
                    <a:endParaRPr lang="en-US" sz="1798" kern="0">
                      <a:solidFill>
                        <a:srgbClr val="000000"/>
                      </a:solidFill>
                    </a:endParaRPr>
                  </a:p>
                </p:txBody>
              </p:sp>
              <p:sp>
                <p:nvSpPr>
                  <p:cNvPr id="173" name="Rectangle 172"/>
                  <p:cNvSpPr/>
                  <p:nvPr/>
                </p:nvSpPr>
                <p:spPr bwMode="auto">
                  <a:xfrm>
                    <a:off x="446928" y="2662225"/>
                    <a:ext cx="221285" cy="17071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798" kern="0" spc="-100" dirty="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nvGrpSpPr>
                <p:cNvPr id="154" name="Group 153"/>
                <p:cNvGrpSpPr/>
                <p:nvPr/>
              </p:nvGrpSpPr>
              <p:grpSpPr>
                <a:xfrm rot="13971796">
                  <a:off x="10451149" y="4189402"/>
                  <a:ext cx="98573" cy="145820"/>
                  <a:chOff x="2687372" y="3149601"/>
                  <a:chExt cx="81465" cy="132564"/>
                </a:xfrm>
                <a:grpFill/>
              </p:grpSpPr>
              <p:sp>
                <p:nvSpPr>
                  <p:cNvPr id="15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64"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65"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66"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67"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sp>
                <p:nvSpPr>
                  <p:cNvPr id="168"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392" tIns="45696" rIns="45696" bIns="91392" numCol="1" spcCol="0" rtlCol="0" fromWordArt="0" anchor="b" anchorCtr="0" forceAA="0" compatLnSpc="1">
                    <a:prstTxWarp prst="textNoShape">
                      <a:avLst/>
                    </a:prstTxWarp>
                    <a:noAutofit/>
                  </a:bodyPr>
                  <a:lstStyle/>
                  <a:p>
                    <a:pPr algn="ctr" defTabSz="913551" fontAlgn="base">
                      <a:spcBef>
                        <a:spcPct val="0"/>
                      </a:spcBef>
                      <a:spcAft>
                        <a:spcPct val="0"/>
                      </a:spcAft>
                      <a:defRPr/>
                    </a:pPr>
                    <a:endParaRPr lang="en-US" sz="1998" kern="0" spc="-100">
                      <a:ln w="3175">
                        <a:noFill/>
                      </a:ln>
                      <a:gradFill flip="none" rotWithShape="1">
                        <a:gsLst>
                          <a:gs pos="0">
                            <a:srgbClr val="000000">
                              <a:lumMod val="65000"/>
                              <a:lumOff val="35000"/>
                            </a:srgbClr>
                          </a:gs>
                          <a:gs pos="86000">
                            <a:srgbClr val="000000">
                              <a:lumMod val="65000"/>
                              <a:lumOff val="35000"/>
                            </a:srgbClr>
                          </a:gs>
                        </a:gsLst>
                        <a:lin ang="5400000" scaled="0"/>
                        <a:tileRect/>
                      </a:gradFill>
                      <a:cs typeface="Arial" charset="0"/>
                    </a:endParaRPr>
                  </a:p>
                </p:txBody>
              </p:sp>
            </p:grpSp>
          </p:grpSp>
        </p:grpSp>
        <p:sp>
          <p:nvSpPr>
            <p:cNvPr id="110" name="TextBox 109"/>
            <p:cNvSpPr txBox="1"/>
            <p:nvPr/>
          </p:nvSpPr>
          <p:spPr>
            <a:xfrm>
              <a:off x="297534" y="2323990"/>
              <a:ext cx="1896154" cy="184666"/>
            </a:xfrm>
            <a:prstGeom prst="rect">
              <a:avLst/>
            </a:prstGeom>
            <a:solidFill>
              <a:schemeClr val="bg1">
                <a:alpha val="0"/>
              </a:schemeClr>
            </a:solidFill>
          </p:spPr>
          <p:txBody>
            <a:bodyPr vert="horz" wrap="square" lIns="0" tIns="0" rIns="0" bIns="0" rtlCol="0" anchor="t">
              <a:sp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Access city data anywhere</a:t>
              </a:r>
            </a:p>
          </p:txBody>
        </p:sp>
      </p:grpSp>
      <p:grpSp>
        <p:nvGrpSpPr>
          <p:cNvPr id="7" name="Group 6"/>
          <p:cNvGrpSpPr/>
          <p:nvPr/>
        </p:nvGrpSpPr>
        <p:grpSpPr>
          <a:xfrm>
            <a:off x="112892" y="3321169"/>
            <a:ext cx="1644430" cy="1588601"/>
            <a:chOff x="2643880" y="2852347"/>
            <a:chExt cx="1644430" cy="1588601"/>
          </a:xfrm>
        </p:grpSpPr>
        <p:sp>
          <p:nvSpPr>
            <p:cNvPr id="99" name="Rectangle 98"/>
            <p:cNvSpPr/>
            <p:nvPr/>
          </p:nvSpPr>
          <p:spPr>
            <a:xfrm>
              <a:off x="2901377" y="3794617"/>
              <a:ext cx="1208400" cy="646331"/>
            </a:xfrm>
            <a:prstGeom prst="rect">
              <a:avLst/>
            </a:prstGeom>
            <a:noFill/>
            <a:ln w="6350" cap="flat" cmpd="sng" algn="ctr">
              <a:noFill/>
              <a:prstDash val="solid"/>
            </a:ln>
            <a:effectLst/>
          </p:spPr>
          <p:txBody>
            <a:bodyPr wrap="square" lIns="0" tIns="0" rIns="0" bIns="0" rtlCol="0" anchor="ctr">
              <a:spAutoFit/>
            </a:bodyPr>
            <a:lstStyle/>
            <a:p>
              <a:pPr marL="0" lvl="1" algn="ctr" defTabSz="1088105" fontAlgn="base">
                <a:spcBef>
                  <a:spcPts val="200"/>
                </a:spcBef>
                <a:buClr>
                  <a:srgbClr val="FFFF99"/>
                </a:buClr>
                <a:buSzPct val="90000"/>
                <a:defRPr/>
              </a:pPr>
              <a:r>
                <a:rPr lang="en-US" sz="1400" kern="0" dirty="0">
                  <a:solidFill>
                    <a:srgbClr val="505050"/>
                  </a:solidFill>
                  <a:latin typeface="Segoe UI Semibold" panose="020B0702040204020203" pitchFamily="34" charset="0"/>
                  <a:ea typeface="Segoe UI" pitchFamily="34" charset="0"/>
                  <a:cs typeface="Segoe UI Semibold" panose="020B0702040204020203" pitchFamily="34" charset="0"/>
                </a:rPr>
                <a:t>360 Degree View of City &amp; Community</a:t>
              </a:r>
            </a:p>
          </p:txBody>
        </p:sp>
        <p:grpSp>
          <p:nvGrpSpPr>
            <p:cNvPr id="11" name="Group 10"/>
            <p:cNvGrpSpPr/>
            <p:nvPr/>
          </p:nvGrpSpPr>
          <p:grpSpPr>
            <a:xfrm>
              <a:off x="2643880" y="2852347"/>
              <a:ext cx="1644430" cy="955174"/>
              <a:chOff x="6698437" y="3301583"/>
              <a:chExt cx="2062575" cy="1228981"/>
            </a:xfrm>
          </p:grpSpPr>
          <p:grpSp>
            <p:nvGrpSpPr>
              <p:cNvPr id="15" name="Group 14"/>
              <p:cNvGrpSpPr/>
              <p:nvPr/>
            </p:nvGrpSpPr>
            <p:grpSpPr>
              <a:xfrm>
                <a:off x="6698437" y="3301583"/>
                <a:ext cx="2062575" cy="1228981"/>
                <a:chOff x="5068032" y="2031184"/>
                <a:chExt cx="2062575" cy="1228981"/>
              </a:xfrm>
            </p:grpSpPr>
            <p:sp>
              <p:nvSpPr>
                <p:cNvPr id="229" name="Freeform 228"/>
                <p:cNvSpPr>
                  <a:spLocks noChangeAspect="1"/>
                </p:cNvSpPr>
                <p:nvPr/>
              </p:nvSpPr>
              <p:spPr bwMode="auto">
                <a:xfrm>
                  <a:off x="5525547" y="2031814"/>
                  <a:ext cx="1159335" cy="1143828"/>
                </a:xfrm>
                <a:custGeom>
                  <a:avLst/>
                  <a:gdLst/>
                  <a:ahLst/>
                  <a:cxnLst/>
                  <a:rect l="l" t="t" r="r" b="b"/>
                  <a:pathLst>
                    <a:path w="4302474" h="4244921">
                      <a:moveTo>
                        <a:pt x="662474" y="3031306"/>
                      </a:moveTo>
                      <a:lnTo>
                        <a:pt x="1339698" y="3086511"/>
                      </a:lnTo>
                      <a:lnTo>
                        <a:pt x="1189316" y="3212867"/>
                      </a:lnTo>
                      <a:cubicBezTo>
                        <a:pt x="1361738" y="3339494"/>
                        <a:pt x="1899676" y="3610086"/>
                        <a:pt x="2421111" y="3521876"/>
                      </a:cubicBezTo>
                      <a:lnTo>
                        <a:pt x="2206882" y="3794685"/>
                      </a:lnTo>
                      <a:lnTo>
                        <a:pt x="2512604" y="4104137"/>
                      </a:lnTo>
                      <a:cubicBezTo>
                        <a:pt x="1778146" y="4225364"/>
                        <a:pt x="1188060" y="3987486"/>
                        <a:pt x="709988" y="3532493"/>
                      </a:cubicBezTo>
                      <a:lnTo>
                        <a:pt x="551662" y="3684753"/>
                      </a:lnTo>
                      <a:close/>
                      <a:moveTo>
                        <a:pt x="3525512" y="2472932"/>
                      </a:moveTo>
                      <a:lnTo>
                        <a:pt x="3736350" y="2855417"/>
                      </a:lnTo>
                      <a:lnTo>
                        <a:pt x="4067130" y="2735505"/>
                      </a:lnTo>
                      <a:cubicBezTo>
                        <a:pt x="3910343" y="3276383"/>
                        <a:pt x="3434822" y="3814468"/>
                        <a:pt x="2761327" y="4046261"/>
                      </a:cubicBezTo>
                      <a:lnTo>
                        <a:pt x="2775115" y="4244921"/>
                      </a:lnTo>
                      <a:lnTo>
                        <a:pt x="2336714" y="3800527"/>
                      </a:lnTo>
                      <a:lnTo>
                        <a:pt x="2699735" y="3292318"/>
                      </a:lnTo>
                      <a:lnTo>
                        <a:pt x="2716265" y="3448052"/>
                      </a:lnTo>
                      <a:cubicBezTo>
                        <a:pt x="2913217" y="3364543"/>
                        <a:pt x="3450254" y="3000009"/>
                        <a:pt x="3525512" y="2472932"/>
                      </a:cubicBezTo>
                      <a:close/>
                      <a:moveTo>
                        <a:pt x="647776" y="1318635"/>
                      </a:moveTo>
                      <a:lnTo>
                        <a:pt x="912024" y="1889568"/>
                      </a:lnTo>
                      <a:lnTo>
                        <a:pt x="724354" y="1824308"/>
                      </a:lnTo>
                      <a:cubicBezTo>
                        <a:pt x="680520" y="2033694"/>
                        <a:pt x="670035" y="2536527"/>
                        <a:pt x="988263" y="2969836"/>
                      </a:cubicBezTo>
                      <a:lnTo>
                        <a:pt x="578667" y="2940790"/>
                      </a:lnTo>
                      <a:lnTo>
                        <a:pt x="519757" y="3323386"/>
                      </a:lnTo>
                      <a:cubicBezTo>
                        <a:pt x="142529" y="2837302"/>
                        <a:pt x="74113" y="2104852"/>
                        <a:pt x="196686" y="1642899"/>
                      </a:cubicBezTo>
                      <a:lnTo>
                        <a:pt x="0" y="1594841"/>
                      </a:lnTo>
                      <a:close/>
                      <a:moveTo>
                        <a:pt x="3620260" y="730478"/>
                      </a:moveTo>
                      <a:cubicBezTo>
                        <a:pt x="4033733" y="1098029"/>
                        <a:pt x="4275138" y="1844086"/>
                        <a:pt x="4120540" y="2491437"/>
                      </a:cubicBezTo>
                      <a:lnTo>
                        <a:pt x="4302474" y="2563960"/>
                      </a:lnTo>
                      <a:lnTo>
                        <a:pt x="3798677" y="2749109"/>
                      </a:lnTo>
                      <a:lnTo>
                        <a:pt x="3472387" y="2208919"/>
                      </a:lnTo>
                      <a:lnTo>
                        <a:pt x="3585155" y="2254985"/>
                      </a:lnTo>
                      <a:cubicBezTo>
                        <a:pt x="3611001" y="1852129"/>
                        <a:pt x="3432844" y="1328610"/>
                        <a:pt x="3114005" y="1104075"/>
                      </a:cubicBezTo>
                      <a:lnTo>
                        <a:pt x="3585698" y="1050994"/>
                      </a:lnTo>
                      <a:close/>
                      <a:moveTo>
                        <a:pt x="1892533" y="133349"/>
                      </a:moveTo>
                      <a:cubicBezTo>
                        <a:pt x="2384988" y="60439"/>
                        <a:pt x="2955319" y="178992"/>
                        <a:pt x="3438386" y="560947"/>
                      </a:cubicBezTo>
                      <a:lnTo>
                        <a:pt x="3550393" y="467694"/>
                      </a:lnTo>
                      <a:lnTo>
                        <a:pt x="3502246" y="970368"/>
                      </a:lnTo>
                      <a:cubicBezTo>
                        <a:pt x="3271583" y="1000546"/>
                        <a:pt x="3040920" y="1015483"/>
                        <a:pt x="2810256" y="1038041"/>
                      </a:cubicBezTo>
                      <a:lnTo>
                        <a:pt x="2933313" y="934789"/>
                      </a:lnTo>
                      <a:cubicBezTo>
                        <a:pt x="2656424" y="758977"/>
                        <a:pt x="2363689" y="669355"/>
                        <a:pt x="1969181" y="705095"/>
                      </a:cubicBezTo>
                      <a:lnTo>
                        <a:pt x="2154737" y="335131"/>
                      </a:lnTo>
                      <a:close/>
                      <a:moveTo>
                        <a:pt x="1460851" y="0"/>
                      </a:moveTo>
                      <a:cubicBezTo>
                        <a:pt x="1609533" y="83809"/>
                        <a:pt x="1867446" y="214583"/>
                        <a:pt x="2054478" y="354019"/>
                      </a:cubicBezTo>
                      <a:lnTo>
                        <a:pt x="1741070" y="954311"/>
                      </a:lnTo>
                      <a:lnTo>
                        <a:pt x="1656922" y="757789"/>
                      </a:lnTo>
                      <a:cubicBezTo>
                        <a:pt x="1340856" y="892862"/>
                        <a:pt x="931601" y="1317770"/>
                        <a:pt x="856671" y="1587702"/>
                      </a:cubicBezTo>
                      <a:lnTo>
                        <a:pt x="694928" y="1212887"/>
                      </a:lnTo>
                      <a:lnTo>
                        <a:pt x="269556" y="1396576"/>
                      </a:lnTo>
                      <a:cubicBezTo>
                        <a:pt x="520909" y="684763"/>
                        <a:pt x="1206237" y="294700"/>
                        <a:pt x="1528653" y="200296"/>
                      </a:cubicBezTo>
                      <a:close/>
                    </a:path>
                  </a:pathLst>
                </a:cu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defRPr/>
                  </a:pPr>
                  <a:endParaRPr lang="en-US" sz="1800" kern="0">
                    <a:solidFill>
                      <a:srgbClr val="505050"/>
                    </a:solidFill>
                    <a:latin typeface="Arial" charset="0"/>
                  </a:endParaRPr>
                </a:p>
              </p:txBody>
            </p:sp>
            <p:pic>
              <p:nvPicPr>
                <p:cNvPr id="231" name="Picture 33" descr="C:\Users\sakuu\Documents\Ballmer WPC\AI\Home.png"/>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black">
                <a:xfrm>
                  <a:off x="6665784" y="2034523"/>
                  <a:ext cx="344298" cy="294263"/>
                </a:xfrm>
                <a:prstGeom prst="rect">
                  <a:avLst/>
                </a:prstGeom>
                <a:noFill/>
                <a:extLst/>
              </p:spPr>
            </p:pic>
            <p:pic>
              <p:nvPicPr>
                <p:cNvPr id="234" name="Picture 2" descr="\\MAGNUM\Projects\Microsoft\Cloud Power FY12\Design\ICONS_PNG\Devices.png"/>
                <p:cNvPicPr>
                  <a:picLocks noChangeAspect="1" noChangeArrowheads="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bwMode="auto">
                <a:xfrm>
                  <a:off x="5068032" y="2031184"/>
                  <a:ext cx="411480" cy="411480"/>
                </a:xfrm>
                <a:prstGeom prst="rect">
                  <a:avLst/>
                </a:prstGeom>
                <a:noFill/>
                <a:ln>
                  <a:noFill/>
                </a:ln>
              </p:spPr>
            </p:pic>
            <p:sp>
              <p:nvSpPr>
                <p:cNvPr id="235" name="Freeform 18"/>
                <p:cNvSpPr>
                  <a:spLocks noChangeAspect="1" noEditPoints="1"/>
                </p:cNvSpPr>
                <p:nvPr/>
              </p:nvSpPr>
              <p:spPr bwMode="black">
                <a:xfrm>
                  <a:off x="5231995" y="2894405"/>
                  <a:ext cx="299805" cy="3657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defRPr/>
                  </a:pPr>
                  <a:endParaRPr lang="en-US" sz="1600" kern="0">
                    <a:solidFill>
                      <a:srgbClr val="505050"/>
                    </a:solidFill>
                  </a:endParaRPr>
                </a:p>
              </p:txBody>
            </p:sp>
            <p:pic>
              <p:nvPicPr>
                <p:cNvPr id="236" name="Picture 3" descr="\\MAGNUM\Projects\Microsoft\Cloud Power FY12\Design\Icons\PNGs\Scalable_Elastic_4.png"/>
                <p:cNvPicPr>
                  <a:picLocks noChangeAspect="1" noChangeArrowheads="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678218" y="2701441"/>
                  <a:ext cx="452389" cy="452389"/>
                </a:xfrm>
                <a:prstGeom prst="rect">
                  <a:avLst/>
                </a:prstGeom>
                <a:noFill/>
              </p:spPr>
            </p:pic>
          </p:grpSp>
          <p:grpSp>
            <p:nvGrpSpPr>
              <p:cNvPr id="104" name="Group 103"/>
              <p:cNvGrpSpPr/>
              <p:nvPr/>
            </p:nvGrpSpPr>
            <p:grpSpPr>
              <a:xfrm>
                <a:off x="7641913" y="3613210"/>
                <a:ext cx="276969" cy="509505"/>
                <a:chOff x="960181" y="1614870"/>
                <a:chExt cx="474304" cy="915070"/>
              </a:xfrm>
            </p:grpSpPr>
            <p:sp>
              <p:nvSpPr>
                <p:cNvPr id="129" name="Freeform 36"/>
                <p:cNvSpPr>
                  <a:spLocks/>
                </p:cNvSpPr>
                <p:nvPr/>
              </p:nvSpPr>
              <p:spPr bwMode="black">
                <a:xfrm>
                  <a:off x="960181" y="1784365"/>
                  <a:ext cx="334031" cy="745575"/>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sp>
              <p:nvSpPr>
                <p:cNvPr id="131" name="Freeform 37"/>
                <p:cNvSpPr>
                  <a:spLocks/>
                </p:cNvSpPr>
                <p:nvPr/>
              </p:nvSpPr>
              <p:spPr bwMode="black">
                <a:xfrm>
                  <a:off x="1254855" y="2088043"/>
                  <a:ext cx="65596" cy="59525"/>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sp>
              <p:nvSpPr>
                <p:cNvPr id="136" name="Oval 38"/>
                <p:cNvSpPr>
                  <a:spLocks noChangeArrowheads="1"/>
                </p:cNvSpPr>
                <p:nvPr/>
              </p:nvSpPr>
              <p:spPr bwMode="black">
                <a:xfrm>
                  <a:off x="1065133" y="1614870"/>
                  <a:ext cx="149355" cy="151334"/>
                </a:xfrm>
                <a:prstGeom prst="ellipse">
                  <a:avLst/>
                </a:pr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sp>
              <p:nvSpPr>
                <p:cNvPr id="137" name="Freeform 39"/>
                <p:cNvSpPr>
                  <a:spLocks/>
                </p:cNvSpPr>
                <p:nvPr/>
              </p:nvSpPr>
              <p:spPr bwMode="black">
                <a:xfrm>
                  <a:off x="1116600" y="1815641"/>
                  <a:ext cx="317885" cy="282491"/>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grpSp>
        </p:grpSp>
      </p:grpSp>
      <p:sp>
        <p:nvSpPr>
          <p:cNvPr id="202" name="Oval 209"/>
          <p:cNvSpPr/>
          <p:nvPr/>
        </p:nvSpPr>
        <p:spPr bwMode="auto">
          <a:xfrm>
            <a:off x="5747004" y="963522"/>
            <a:ext cx="3256218" cy="1866344"/>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850864">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grpSp>
        <p:nvGrpSpPr>
          <p:cNvPr id="55" name="Group 54"/>
          <p:cNvGrpSpPr/>
          <p:nvPr/>
        </p:nvGrpSpPr>
        <p:grpSpPr>
          <a:xfrm>
            <a:off x="8043010" y="2188007"/>
            <a:ext cx="914400" cy="581229"/>
            <a:chOff x="6435115" y="1891074"/>
            <a:chExt cx="914400" cy="581229"/>
          </a:xfrm>
        </p:grpSpPr>
        <p:pic>
          <p:nvPicPr>
            <p:cNvPr id="203" name="Picture 202"/>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714860" y="1891074"/>
              <a:ext cx="354910" cy="354910"/>
            </a:xfrm>
            <a:prstGeom prst="rect">
              <a:avLst/>
            </a:prstGeom>
          </p:spPr>
        </p:pic>
        <p:sp>
          <p:nvSpPr>
            <p:cNvPr id="204" name="TextBox 203"/>
            <p:cNvSpPr txBox="1"/>
            <p:nvPr/>
          </p:nvSpPr>
          <p:spPr>
            <a:xfrm>
              <a:off x="6435115" y="2226082"/>
              <a:ext cx="914400"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Web App</a:t>
              </a:r>
            </a:p>
          </p:txBody>
        </p:sp>
      </p:grpSp>
      <p:grpSp>
        <p:nvGrpSpPr>
          <p:cNvPr id="54" name="Group 53"/>
          <p:cNvGrpSpPr/>
          <p:nvPr/>
        </p:nvGrpSpPr>
        <p:grpSpPr>
          <a:xfrm>
            <a:off x="6705789" y="2169140"/>
            <a:ext cx="779821" cy="626729"/>
            <a:chOff x="5097894" y="1872207"/>
            <a:chExt cx="779821" cy="626729"/>
          </a:xfrm>
        </p:grpSpPr>
        <p:pic>
          <p:nvPicPr>
            <p:cNvPr id="205" name="Picture 204"/>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flipH="1">
              <a:off x="5341678" y="1872207"/>
              <a:ext cx="349052" cy="349052"/>
            </a:xfrm>
            <a:prstGeom prst="rect">
              <a:avLst/>
            </a:prstGeom>
          </p:spPr>
        </p:pic>
        <p:sp>
          <p:nvSpPr>
            <p:cNvPr id="207" name="TextBox 206"/>
            <p:cNvSpPr txBox="1"/>
            <p:nvPr/>
          </p:nvSpPr>
          <p:spPr>
            <a:xfrm>
              <a:off x="5097894" y="2252715"/>
              <a:ext cx="779821" cy="246221"/>
            </a:xfrm>
            <a:prstGeom prst="rect">
              <a:avLst/>
            </a:prstGeom>
          </p:spPr>
          <p:txBody>
            <a:bodyPr vert="horz" wrap="square" lIns="45720" tIns="45720" rIns="45720" bIns="45720" rtlCol="0" anchor="ctr">
              <a:noAutofit/>
            </a:bodyPr>
            <a:lstStyle/>
            <a:p>
              <a:pPr algn="ctr" defTabSz="1088105">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Mobile App</a:t>
              </a:r>
            </a:p>
          </p:txBody>
        </p:sp>
      </p:grpSp>
      <p:grpSp>
        <p:nvGrpSpPr>
          <p:cNvPr id="17" name="Group 16"/>
          <p:cNvGrpSpPr/>
          <p:nvPr/>
        </p:nvGrpSpPr>
        <p:grpSpPr>
          <a:xfrm>
            <a:off x="7390309" y="2172196"/>
            <a:ext cx="914400" cy="694692"/>
            <a:chOff x="5498329" y="1378112"/>
            <a:chExt cx="914400" cy="694692"/>
          </a:xfrm>
        </p:grpSpPr>
        <p:sp>
          <p:nvSpPr>
            <p:cNvPr id="206" name="TextBox 205"/>
            <p:cNvSpPr txBox="1"/>
            <p:nvPr/>
          </p:nvSpPr>
          <p:spPr>
            <a:xfrm>
              <a:off x="5498329" y="1672694"/>
              <a:ext cx="914400" cy="400110"/>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pplication</a:t>
              </a:r>
              <a:br>
                <a:rPr lang="en-US" kern="0" dirty="0">
                  <a:solidFill>
                    <a:prstClr val="white"/>
                  </a:solidFill>
                </a:rPr>
              </a:br>
              <a:r>
                <a:rPr lang="en-US" kern="0" dirty="0">
                  <a:solidFill>
                    <a:prstClr val="white"/>
                  </a:solidFill>
                </a:rPr>
                <a:t>Service</a:t>
              </a:r>
            </a:p>
          </p:txBody>
        </p:sp>
        <p:pic>
          <p:nvPicPr>
            <p:cNvPr id="208" name="Picture 207"/>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5799878" y="1378112"/>
              <a:ext cx="311303" cy="311303"/>
            </a:xfrm>
            <a:prstGeom prst="rect">
              <a:avLst/>
            </a:prstGeom>
          </p:spPr>
        </p:pic>
      </p:grpSp>
      <p:grpSp>
        <p:nvGrpSpPr>
          <p:cNvPr id="18" name="Group 17"/>
          <p:cNvGrpSpPr/>
          <p:nvPr/>
        </p:nvGrpSpPr>
        <p:grpSpPr>
          <a:xfrm>
            <a:off x="6208225" y="1526536"/>
            <a:ext cx="711947" cy="522301"/>
            <a:chOff x="5578388" y="1944880"/>
            <a:chExt cx="711947" cy="522301"/>
          </a:xfrm>
        </p:grpSpPr>
        <p:sp>
          <p:nvSpPr>
            <p:cNvPr id="209" name="TextBox 208"/>
            <p:cNvSpPr txBox="1"/>
            <p:nvPr/>
          </p:nvSpPr>
          <p:spPr>
            <a:xfrm>
              <a:off x="5578388" y="2261538"/>
              <a:ext cx="711947" cy="205643"/>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Skype</a:t>
              </a:r>
            </a:p>
          </p:txBody>
        </p:sp>
        <p:pic>
          <p:nvPicPr>
            <p:cNvPr id="210" name="Picture 209"/>
            <p:cNvPicPr>
              <a:picLocks noChangeAspect="1"/>
            </p:cNvPicPr>
            <p:nvPr/>
          </p:nvPicPr>
          <p:blipFill>
            <a:blip r:embed="rId9">
              <a:biLevel thresh="25000"/>
            </a:blip>
            <a:stretch>
              <a:fillRect/>
            </a:stretch>
          </p:blipFill>
          <p:spPr>
            <a:xfrm>
              <a:off x="5699672" y="1944880"/>
              <a:ext cx="464928" cy="347143"/>
            </a:xfrm>
            <a:prstGeom prst="rect">
              <a:avLst/>
            </a:prstGeom>
          </p:spPr>
        </p:pic>
      </p:grpSp>
      <p:cxnSp>
        <p:nvCxnSpPr>
          <p:cNvPr id="263" name="Straight Arrow Connector 262"/>
          <p:cNvCxnSpPr/>
          <p:nvPr/>
        </p:nvCxnSpPr>
        <p:spPr>
          <a:xfrm flipV="1">
            <a:off x="746214" y="2250885"/>
            <a:ext cx="238854" cy="9984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1" name="Straight Arrow Connector 270"/>
          <p:cNvCxnSpPr/>
          <p:nvPr/>
        </p:nvCxnSpPr>
        <p:spPr>
          <a:xfrm>
            <a:off x="3931972" y="1934150"/>
            <a:ext cx="150920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4" name="TextBox 273"/>
          <p:cNvSpPr txBox="1"/>
          <p:nvPr/>
        </p:nvSpPr>
        <p:spPr>
          <a:xfrm>
            <a:off x="4082894" y="1516901"/>
            <a:ext cx="1384915" cy="299330"/>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ommunication with Citizens</a:t>
            </a:r>
          </a:p>
        </p:txBody>
      </p:sp>
      <p:sp>
        <p:nvSpPr>
          <p:cNvPr id="275" name="TextBox 274"/>
          <p:cNvSpPr txBox="1"/>
          <p:nvPr/>
        </p:nvSpPr>
        <p:spPr>
          <a:xfrm rot="1204025">
            <a:off x="9096939" y="2848989"/>
            <a:ext cx="1526958" cy="299330"/>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ollaborative Community Care</a:t>
            </a:r>
          </a:p>
        </p:txBody>
      </p:sp>
      <p:cxnSp>
        <p:nvCxnSpPr>
          <p:cNvPr id="277" name="Straight Arrow Connector 276"/>
          <p:cNvCxnSpPr/>
          <p:nvPr/>
        </p:nvCxnSpPr>
        <p:spPr>
          <a:xfrm flipV="1">
            <a:off x="4032645" y="2105327"/>
            <a:ext cx="1489261" cy="76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0" name="Straight Arrow Connector 279"/>
          <p:cNvCxnSpPr/>
          <p:nvPr/>
        </p:nvCxnSpPr>
        <p:spPr>
          <a:xfrm rot="1196819">
            <a:off x="9169406" y="2636650"/>
            <a:ext cx="138202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1" name="TextBox 280"/>
          <p:cNvSpPr txBox="1"/>
          <p:nvPr/>
        </p:nvSpPr>
        <p:spPr>
          <a:xfrm rot="1196819">
            <a:off x="9173896" y="2281544"/>
            <a:ext cx="1268209" cy="299330"/>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ommunication with community</a:t>
            </a:r>
          </a:p>
        </p:txBody>
      </p:sp>
      <p:sp>
        <p:nvSpPr>
          <p:cNvPr id="282" name="TextBox 281"/>
          <p:cNvSpPr txBox="1"/>
          <p:nvPr/>
        </p:nvSpPr>
        <p:spPr>
          <a:xfrm>
            <a:off x="3994187" y="2237331"/>
            <a:ext cx="1473692" cy="299330"/>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ollaborative service planning &amp; delivery</a:t>
            </a:r>
          </a:p>
        </p:txBody>
      </p:sp>
      <p:cxnSp>
        <p:nvCxnSpPr>
          <p:cNvPr id="283" name="Straight Arrow Connector 282"/>
          <p:cNvCxnSpPr/>
          <p:nvPr/>
        </p:nvCxnSpPr>
        <p:spPr>
          <a:xfrm rot="1196819" flipH="1">
            <a:off x="9321488" y="2778693"/>
            <a:ext cx="1197425" cy="28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10669944" y="2481392"/>
            <a:ext cx="968971" cy="1243474"/>
            <a:chOff x="2689934" y="1460225"/>
            <a:chExt cx="968971" cy="1243474"/>
          </a:xfrm>
        </p:grpSpPr>
        <p:sp>
          <p:nvSpPr>
            <p:cNvPr id="113" name="TextBox 112"/>
            <p:cNvSpPr txBox="1"/>
            <p:nvPr/>
          </p:nvSpPr>
          <p:spPr>
            <a:xfrm>
              <a:off x="2689934" y="2426700"/>
              <a:ext cx="968971" cy="276999"/>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itizens</a:t>
              </a:r>
            </a:p>
          </p:txBody>
        </p:sp>
        <p:grpSp>
          <p:nvGrpSpPr>
            <p:cNvPr id="284" name="Group 283"/>
            <p:cNvGrpSpPr/>
            <p:nvPr/>
          </p:nvGrpSpPr>
          <p:grpSpPr>
            <a:xfrm>
              <a:off x="2938228" y="1460225"/>
              <a:ext cx="474304" cy="915070"/>
              <a:chOff x="960181" y="1614870"/>
              <a:chExt cx="474304" cy="915070"/>
            </a:xfrm>
          </p:grpSpPr>
          <p:sp>
            <p:nvSpPr>
              <p:cNvPr id="285" name="Freeform 36"/>
              <p:cNvSpPr>
                <a:spLocks/>
              </p:cNvSpPr>
              <p:nvPr/>
            </p:nvSpPr>
            <p:spPr bwMode="black">
              <a:xfrm>
                <a:off x="960181" y="1784365"/>
                <a:ext cx="334031" cy="745575"/>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sp>
            <p:nvSpPr>
              <p:cNvPr id="286" name="Freeform 37"/>
              <p:cNvSpPr>
                <a:spLocks/>
              </p:cNvSpPr>
              <p:nvPr/>
            </p:nvSpPr>
            <p:spPr bwMode="black">
              <a:xfrm>
                <a:off x="1254855" y="2088043"/>
                <a:ext cx="65596" cy="59525"/>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sp>
            <p:nvSpPr>
              <p:cNvPr id="287" name="Oval 38"/>
              <p:cNvSpPr>
                <a:spLocks noChangeArrowheads="1"/>
              </p:cNvSpPr>
              <p:nvPr/>
            </p:nvSpPr>
            <p:spPr bwMode="black">
              <a:xfrm>
                <a:off x="1065133" y="1614870"/>
                <a:ext cx="149355" cy="151334"/>
              </a:xfrm>
              <a:prstGeom prst="ellipse">
                <a:avLst/>
              </a:pr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sp>
            <p:nvSpPr>
              <p:cNvPr id="288" name="Freeform 39"/>
              <p:cNvSpPr>
                <a:spLocks/>
              </p:cNvSpPr>
              <p:nvPr/>
            </p:nvSpPr>
            <p:spPr bwMode="black">
              <a:xfrm>
                <a:off x="1116600" y="1815641"/>
                <a:ext cx="317885" cy="282491"/>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chemeClr val="bg1">
                  <a:lumMod val="50000"/>
                </a:schemeClr>
              </a:solidFill>
              <a:ln w="19050">
                <a:noFill/>
                <a:tailEnd type="triangl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45720" rIns="45720" bIns="45720" numCol="1" spcCol="0" rtlCol="0" fromWordArt="0" anchor="b" anchorCtr="0" forceAA="0" compatLnSpc="1">
                <a:prstTxWarp prst="textNoShape">
                  <a:avLst/>
                </a:prstTxWarp>
                <a:noAutofit/>
              </a:bodyPr>
              <a:lstStyle/>
              <a:p>
                <a:pPr algn="r" defTabSz="914363">
                  <a:defRPr/>
                </a:pPr>
                <a:endParaRPr lang="en-US" sz="1200" kern="0">
                  <a:solidFill>
                    <a:prstClr val="white"/>
                  </a:solidFill>
                </a:endParaRPr>
              </a:p>
            </p:txBody>
          </p:sp>
        </p:grpSp>
      </p:grpSp>
      <p:grpSp>
        <p:nvGrpSpPr>
          <p:cNvPr id="138" name="Group 137"/>
          <p:cNvGrpSpPr/>
          <p:nvPr/>
        </p:nvGrpSpPr>
        <p:grpSpPr>
          <a:xfrm>
            <a:off x="510922" y="4337224"/>
            <a:ext cx="4282940" cy="2399649"/>
            <a:chOff x="5388169" y="4317676"/>
            <a:chExt cx="4282940" cy="2399649"/>
          </a:xfrm>
        </p:grpSpPr>
        <p:sp>
          <p:nvSpPr>
            <p:cNvPr id="139" name="Oval 209"/>
            <p:cNvSpPr/>
            <p:nvPr/>
          </p:nvSpPr>
          <p:spPr bwMode="auto">
            <a:xfrm>
              <a:off x="5388169" y="4317676"/>
              <a:ext cx="4282940" cy="2399649"/>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850864">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grpSp>
          <p:nvGrpSpPr>
            <p:cNvPr id="140" name="Group 139"/>
            <p:cNvGrpSpPr/>
            <p:nvPr/>
          </p:nvGrpSpPr>
          <p:grpSpPr>
            <a:xfrm>
              <a:off x="5504524" y="5803130"/>
              <a:ext cx="965696" cy="580539"/>
              <a:chOff x="5443447" y="4894807"/>
              <a:chExt cx="965696" cy="580539"/>
            </a:xfrm>
          </p:grpSpPr>
          <p:pic>
            <p:nvPicPr>
              <p:cNvPr id="225" name="Picture 224"/>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5736661" y="4894807"/>
                <a:ext cx="379268" cy="379268"/>
              </a:xfrm>
              <a:prstGeom prst="rect">
                <a:avLst/>
              </a:prstGeom>
            </p:spPr>
          </p:pic>
          <p:sp>
            <p:nvSpPr>
              <p:cNvPr id="226" name="TextBox 225"/>
              <p:cNvSpPr txBox="1"/>
              <p:nvPr/>
            </p:nvSpPr>
            <p:spPr>
              <a:xfrm>
                <a:off x="5443447" y="5221763"/>
                <a:ext cx="965696" cy="253583"/>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torage</a:t>
                </a:r>
              </a:p>
            </p:txBody>
          </p:sp>
        </p:grpSp>
        <p:grpSp>
          <p:nvGrpSpPr>
            <p:cNvPr id="143" name="Group 142"/>
            <p:cNvGrpSpPr/>
            <p:nvPr/>
          </p:nvGrpSpPr>
          <p:grpSpPr>
            <a:xfrm>
              <a:off x="7112221" y="5953267"/>
              <a:ext cx="1020867" cy="660110"/>
              <a:chOff x="6896622" y="4121051"/>
              <a:chExt cx="1020867" cy="660110"/>
            </a:xfrm>
          </p:grpSpPr>
          <p:sp>
            <p:nvSpPr>
              <p:cNvPr id="183" name="TextBox 182"/>
              <p:cNvSpPr txBox="1"/>
              <p:nvPr/>
            </p:nvSpPr>
            <p:spPr>
              <a:xfrm>
                <a:off x="6896622" y="4534940"/>
                <a:ext cx="1020867"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QL DB</a:t>
                </a:r>
              </a:p>
            </p:txBody>
          </p:sp>
          <p:pic>
            <p:nvPicPr>
              <p:cNvPr id="201" name="Picture 200"/>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7216722" y="4121051"/>
                <a:ext cx="380667" cy="380667"/>
              </a:xfrm>
              <a:prstGeom prst="rect">
                <a:avLst/>
              </a:prstGeom>
            </p:spPr>
          </p:pic>
        </p:grpSp>
        <p:grpSp>
          <p:nvGrpSpPr>
            <p:cNvPr id="144" name="Group 143"/>
            <p:cNvGrpSpPr/>
            <p:nvPr/>
          </p:nvGrpSpPr>
          <p:grpSpPr>
            <a:xfrm>
              <a:off x="6764423" y="5313039"/>
              <a:ext cx="837621" cy="580578"/>
              <a:chOff x="6577080" y="4861865"/>
              <a:chExt cx="837621" cy="580578"/>
            </a:xfrm>
          </p:grpSpPr>
          <p:sp>
            <p:nvSpPr>
              <p:cNvPr id="181" name="TextBox 180"/>
              <p:cNvSpPr txBox="1"/>
              <p:nvPr/>
            </p:nvSpPr>
            <p:spPr>
              <a:xfrm>
                <a:off x="6577080" y="5196222"/>
                <a:ext cx="837621"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Files</a:t>
                </a:r>
              </a:p>
            </p:txBody>
          </p:sp>
          <p:pic>
            <p:nvPicPr>
              <p:cNvPr id="182" name="Picture 18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806328" y="4861865"/>
                <a:ext cx="379125" cy="379125"/>
              </a:xfrm>
              <a:prstGeom prst="rect">
                <a:avLst/>
              </a:prstGeom>
            </p:spPr>
          </p:pic>
        </p:grpSp>
        <p:grpSp>
          <p:nvGrpSpPr>
            <p:cNvPr id="145" name="Group 144"/>
            <p:cNvGrpSpPr/>
            <p:nvPr/>
          </p:nvGrpSpPr>
          <p:grpSpPr>
            <a:xfrm>
              <a:off x="6443764" y="5956602"/>
              <a:ext cx="681060" cy="613211"/>
              <a:chOff x="6920654" y="5464441"/>
              <a:chExt cx="681060" cy="613211"/>
            </a:xfrm>
          </p:grpSpPr>
          <p:pic>
            <p:nvPicPr>
              <p:cNvPr id="179" name="Picture 178"/>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054408" y="5464441"/>
                <a:ext cx="413553" cy="413553"/>
              </a:xfrm>
              <a:prstGeom prst="rect">
                <a:avLst/>
              </a:prstGeom>
            </p:spPr>
          </p:pic>
          <p:sp>
            <p:nvSpPr>
              <p:cNvPr id="180" name="TextBox 179"/>
              <p:cNvSpPr txBox="1"/>
              <p:nvPr/>
            </p:nvSpPr>
            <p:spPr>
              <a:xfrm>
                <a:off x="6920654" y="5831431"/>
                <a:ext cx="681060" cy="246221"/>
              </a:xfrm>
              <a:prstGeom prst="rect">
                <a:avLst/>
              </a:prstGeom>
            </p:spPr>
            <p:txBody>
              <a:bodyPr vert="horz" wrap="square" lIns="45720" tIns="45720" rIns="45720" bIns="4572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err="1">
                    <a:solidFill>
                      <a:prstClr val="white"/>
                    </a:solidFill>
                  </a:rPr>
                  <a:t>HDInsight</a:t>
                </a:r>
                <a:endParaRPr lang="en-US" sz="1000" kern="0" dirty="0">
                  <a:solidFill>
                    <a:prstClr val="white"/>
                  </a:solidFill>
                </a:endParaRPr>
              </a:p>
            </p:txBody>
          </p:sp>
        </p:grpSp>
        <p:sp>
          <p:nvSpPr>
            <p:cNvPr id="149" name="Text Placeholder 5"/>
            <p:cNvSpPr txBox="1">
              <a:spLocks/>
            </p:cNvSpPr>
            <p:nvPr/>
          </p:nvSpPr>
          <p:spPr>
            <a:xfrm>
              <a:off x="6795463" y="4411807"/>
              <a:ext cx="1766289" cy="694017"/>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defRPr/>
              </a:pPr>
              <a:r>
                <a:rPr lang="en-US" b="1" dirty="0">
                  <a:solidFill>
                    <a:prstClr val="white"/>
                  </a:solidFill>
                </a:rPr>
                <a:t>Cortana</a:t>
              </a:r>
              <a:br>
                <a:rPr lang="en-US" b="1" dirty="0">
                  <a:solidFill>
                    <a:prstClr val="white"/>
                  </a:solidFill>
                </a:rPr>
              </a:br>
              <a:r>
                <a:rPr lang="en-US" b="1" dirty="0">
                  <a:solidFill>
                    <a:prstClr val="white"/>
                  </a:solidFill>
                </a:rPr>
                <a:t>Analytics</a:t>
              </a:r>
            </a:p>
          </p:txBody>
        </p:sp>
        <p:grpSp>
          <p:nvGrpSpPr>
            <p:cNvPr id="150" name="Group 149"/>
            <p:cNvGrpSpPr/>
            <p:nvPr/>
          </p:nvGrpSpPr>
          <p:grpSpPr>
            <a:xfrm>
              <a:off x="7846474" y="5394104"/>
              <a:ext cx="1001236" cy="765406"/>
              <a:chOff x="10381995" y="5363022"/>
              <a:chExt cx="1001236" cy="765406"/>
            </a:xfrm>
          </p:grpSpPr>
          <p:pic>
            <p:nvPicPr>
              <p:cNvPr id="177" name="Picture 176"/>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10703105" y="5363022"/>
                <a:ext cx="359016" cy="359016"/>
              </a:xfrm>
              <a:prstGeom prst="rect">
                <a:avLst/>
              </a:prstGeom>
            </p:spPr>
          </p:pic>
          <p:sp>
            <p:nvSpPr>
              <p:cNvPr id="178" name="TextBox 177"/>
              <p:cNvSpPr txBox="1"/>
              <p:nvPr/>
            </p:nvSpPr>
            <p:spPr>
              <a:xfrm>
                <a:off x="10381995" y="5728318"/>
                <a:ext cx="1001236" cy="400110"/>
              </a:xfrm>
              <a:prstGeom prst="rect">
                <a:avLst/>
              </a:prstGeom>
            </p:spPr>
            <p:txBody>
              <a:bodyPr vert="horz" wrap="none" lIns="45720" tIns="45720" rIns="45720" bIns="45720" rtlCol="0" anchor="ctr">
                <a:sp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a:solidFill>
                      <a:prstClr val="white"/>
                    </a:solidFill>
                  </a:rPr>
                  <a:t>Azure Machine </a:t>
                </a:r>
                <a:br>
                  <a:rPr lang="en-US" sz="1000" kern="0" dirty="0">
                    <a:solidFill>
                      <a:prstClr val="white"/>
                    </a:solidFill>
                  </a:rPr>
                </a:br>
                <a:r>
                  <a:rPr lang="en-US" sz="1000" kern="0" dirty="0">
                    <a:solidFill>
                      <a:prstClr val="white"/>
                    </a:solidFill>
                  </a:rPr>
                  <a:t>Learning</a:t>
                </a:r>
              </a:p>
            </p:txBody>
          </p:sp>
        </p:grpSp>
        <p:grpSp>
          <p:nvGrpSpPr>
            <p:cNvPr id="152" name="Group 151"/>
            <p:cNvGrpSpPr/>
            <p:nvPr/>
          </p:nvGrpSpPr>
          <p:grpSpPr>
            <a:xfrm>
              <a:off x="8903503" y="5947766"/>
              <a:ext cx="480901" cy="601769"/>
              <a:chOff x="4062348" y="228228"/>
              <a:chExt cx="480901" cy="601769"/>
            </a:xfrm>
          </p:grpSpPr>
          <p:sp>
            <p:nvSpPr>
              <p:cNvPr id="175" name="TextBox 174"/>
              <p:cNvSpPr txBox="1"/>
              <p:nvPr/>
            </p:nvSpPr>
            <p:spPr>
              <a:xfrm>
                <a:off x="4062348" y="676109"/>
                <a:ext cx="480901" cy="153888"/>
              </a:xfrm>
              <a:prstGeom prst="rect">
                <a:avLst/>
              </a:prstGeom>
            </p:spPr>
            <p:txBody>
              <a:bodyPr vert="horz" wrap="none" lIns="0" tIns="0" rIns="0" bIns="0" rtlCol="0" anchor="ctr">
                <a:spAutoFit/>
              </a:bodyPr>
              <a:lstStyle/>
              <a:p>
                <a:pPr algn="ctr" defTabSz="1088105">
                  <a:defRPr/>
                </a:pPr>
                <a:r>
                  <a:rPr lang="en-US" sz="1000" kern="0" dirty="0" err="1">
                    <a:solidFill>
                      <a:prstClr val="white"/>
                    </a:solidFill>
                    <a:latin typeface="Segoe UI Semibold" panose="020B0702040204020203" pitchFamily="34" charset="0"/>
                    <a:ea typeface="Segoe UI" pitchFamily="34" charset="0"/>
                    <a:cs typeface="Segoe UI Semibold" panose="020B0702040204020203" pitchFamily="34" charset="0"/>
                  </a:rPr>
                  <a:t>PowerBI</a:t>
                </a:r>
                <a:endPar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endParaRPr>
              </a:p>
            </p:txBody>
          </p:sp>
          <p:pic>
            <p:nvPicPr>
              <p:cNvPr id="176" name="Picture 175"/>
              <p:cNvPicPr>
                <a:picLocks noChangeAspect="1"/>
              </p:cNvPicPr>
              <p:nvPr/>
            </p:nvPicPr>
            <p:blipFill rotWithShape="1">
              <a:blip r:embed="rId15" cstate="print">
                <a:extLst>
                  <a:ext uri="{28A0092B-C50C-407E-A947-70E740481C1C}">
                    <a14:useLocalDpi xmlns:a14="http://schemas.microsoft.com/office/drawing/2010/main" val="0"/>
                  </a:ext>
                </a:extLst>
              </a:blip>
              <a:srcRect t="-1" r="-9452" b="-4026"/>
              <a:stretch/>
            </p:blipFill>
            <p:spPr>
              <a:xfrm>
                <a:off x="4109805" y="228228"/>
                <a:ext cx="423810" cy="411287"/>
              </a:xfrm>
              <a:prstGeom prst="rect">
                <a:avLst/>
              </a:prstGeom>
            </p:spPr>
          </p:pic>
        </p:grpSp>
        <p:grpSp>
          <p:nvGrpSpPr>
            <p:cNvPr id="156" name="Group 155"/>
            <p:cNvGrpSpPr/>
            <p:nvPr/>
          </p:nvGrpSpPr>
          <p:grpSpPr>
            <a:xfrm>
              <a:off x="5984954" y="5086508"/>
              <a:ext cx="737381" cy="573661"/>
              <a:chOff x="6069364" y="3999345"/>
              <a:chExt cx="737381" cy="573661"/>
            </a:xfrm>
          </p:grpSpPr>
          <p:pic>
            <p:nvPicPr>
              <p:cNvPr id="157" name="Picture 156"/>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6230476" y="3999345"/>
                <a:ext cx="401119" cy="401119"/>
              </a:xfrm>
              <a:prstGeom prst="rect">
                <a:avLst/>
              </a:prstGeom>
            </p:spPr>
          </p:pic>
          <p:sp>
            <p:nvSpPr>
              <p:cNvPr id="174" name="TextBox 173"/>
              <p:cNvSpPr txBox="1"/>
              <p:nvPr/>
            </p:nvSpPr>
            <p:spPr>
              <a:xfrm>
                <a:off x="6069364" y="4419118"/>
                <a:ext cx="737381" cy="153888"/>
              </a:xfrm>
              <a:prstGeom prst="rect">
                <a:avLst/>
              </a:prstGeom>
            </p:spPr>
            <p:txBody>
              <a:bodyPr vert="horz" wrap="none" lIns="0" tIns="0" rIns="0" bIns="0" rtlCol="0" anchor="ctr">
                <a:spAutoFit/>
              </a:bodyPr>
              <a:lstStyle/>
              <a:p>
                <a:pPr algn="ctr" defTabSz="1088105">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ata Factory</a:t>
                </a:r>
              </a:p>
            </p:txBody>
          </p:sp>
        </p:grpSp>
      </p:grpSp>
      <p:grpSp>
        <p:nvGrpSpPr>
          <p:cNvPr id="10" name="Group 9"/>
          <p:cNvGrpSpPr/>
          <p:nvPr/>
        </p:nvGrpSpPr>
        <p:grpSpPr>
          <a:xfrm>
            <a:off x="7989315" y="4467051"/>
            <a:ext cx="3853786" cy="2099855"/>
            <a:chOff x="334662" y="4484486"/>
            <a:chExt cx="3853786" cy="2099855"/>
          </a:xfrm>
        </p:grpSpPr>
        <p:sp>
          <p:nvSpPr>
            <p:cNvPr id="230" name="Oval 209"/>
            <p:cNvSpPr/>
            <p:nvPr/>
          </p:nvSpPr>
          <p:spPr bwMode="auto">
            <a:xfrm>
              <a:off x="334662" y="4484486"/>
              <a:ext cx="3853786" cy="2099855"/>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850864">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grpSp>
          <p:nvGrpSpPr>
            <p:cNvPr id="245" name="Group 244"/>
            <p:cNvGrpSpPr/>
            <p:nvPr/>
          </p:nvGrpSpPr>
          <p:grpSpPr>
            <a:xfrm>
              <a:off x="2458718" y="5289899"/>
              <a:ext cx="965696" cy="580539"/>
              <a:chOff x="5443447" y="4894807"/>
              <a:chExt cx="965696" cy="580539"/>
            </a:xfrm>
          </p:grpSpPr>
          <p:pic>
            <p:nvPicPr>
              <p:cNvPr id="273" name="Picture 272"/>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5736661" y="4894807"/>
                <a:ext cx="379268" cy="379268"/>
              </a:xfrm>
              <a:prstGeom prst="rect">
                <a:avLst/>
              </a:prstGeom>
            </p:spPr>
          </p:pic>
          <p:sp>
            <p:nvSpPr>
              <p:cNvPr id="276" name="TextBox 275"/>
              <p:cNvSpPr txBox="1"/>
              <p:nvPr/>
            </p:nvSpPr>
            <p:spPr>
              <a:xfrm>
                <a:off x="5443447" y="5221763"/>
                <a:ext cx="965696" cy="253583"/>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torage</a:t>
                </a:r>
              </a:p>
            </p:txBody>
          </p:sp>
        </p:grpSp>
        <p:grpSp>
          <p:nvGrpSpPr>
            <p:cNvPr id="246" name="Group 245"/>
            <p:cNvGrpSpPr/>
            <p:nvPr/>
          </p:nvGrpSpPr>
          <p:grpSpPr>
            <a:xfrm>
              <a:off x="3095226" y="5690148"/>
              <a:ext cx="1020867" cy="660110"/>
              <a:chOff x="6896622" y="4121051"/>
              <a:chExt cx="1020867" cy="660110"/>
            </a:xfrm>
          </p:grpSpPr>
          <p:sp>
            <p:nvSpPr>
              <p:cNvPr id="270" name="TextBox 269"/>
              <p:cNvSpPr txBox="1"/>
              <p:nvPr/>
            </p:nvSpPr>
            <p:spPr>
              <a:xfrm>
                <a:off x="6896622" y="4534940"/>
                <a:ext cx="1020867"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QL DB</a:t>
                </a:r>
              </a:p>
            </p:txBody>
          </p:sp>
          <p:pic>
            <p:nvPicPr>
              <p:cNvPr id="272" name="Picture 271"/>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7216722" y="4121051"/>
                <a:ext cx="380667" cy="380667"/>
              </a:xfrm>
              <a:prstGeom prst="rect">
                <a:avLst/>
              </a:prstGeom>
            </p:spPr>
          </p:pic>
        </p:grpSp>
        <p:grpSp>
          <p:nvGrpSpPr>
            <p:cNvPr id="247" name="Group 246"/>
            <p:cNvGrpSpPr/>
            <p:nvPr/>
          </p:nvGrpSpPr>
          <p:grpSpPr>
            <a:xfrm>
              <a:off x="2075761" y="5905514"/>
              <a:ext cx="837621" cy="580578"/>
              <a:chOff x="6577080" y="4861865"/>
              <a:chExt cx="837621" cy="580578"/>
            </a:xfrm>
          </p:grpSpPr>
          <p:sp>
            <p:nvSpPr>
              <p:cNvPr id="268" name="TextBox 267"/>
              <p:cNvSpPr txBox="1"/>
              <p:nvPr/>
            </p:nvSpPr>
            <p:spPr>
              <a:xfrm>
                <a:off x="6577080" y="5196222"/>
                <a:ext cx="837621"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Files</a:t>
                </a:r>
              </a:p>
            </p:txBody>
          </p:sp>
          <p:pic>
            <p:nvPicPr>
              <p:cNvPr id="269" name="Picture 268"/>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806328" y="4861865"/>
                <a:ext cx="379125" cy="379125"/>
              </a:xfrm>
              <a:prstGeom prst="rect">
                <a:avLst/>
              </a:prstGeom>
            </p:spPr>
          </p:pic>
        </p:grpSp>
        <p:grpSp>
          <p:nvGrpSpPr>
            <p:cNvPr id="248" name="Group 247"/>
            <p:cNvGrpSpPr/>
            <p:nvPr/>
          </p:nvGrpSpPr>
          <p:grpSpPr>
            <a:xfrm>
              <a:off x="1073442" y="5748753"/>
              <a:ext cx="760737" cy="764184"/>
              <a:chOff x="6069689" y="5399290"/>
              <a:chExt cx="760737" cy="764184"/>
            </a:xfrm>
          </p:grpSpPr>
          <p:sp>
            <p:nvSpPr>
              <p:cNvPr id="265" name="TextBox 264"/>
              <p:cNvSpPr txBox="1"/>
              <p:nvPr/>
            </p:nvSpPr>
            <p:spPr>
              <a:xfrm>
                <a:off x="6069689" y="5763364"/>
                <a:ext cx="760737" cy="400110"/>
              </a:xfrm>
              <a:prstGeom prst="rect">
                <a:avLst/>
              </a:prstGeom>
            </p:spPr>
            <p:txBody>
              <a:bodyPr vert="horz" wrap="square" lIns="45720" tIns="45720" rIns="45720" bIns="4572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a:solidFill>
                      <a:prstClr val="white"/>
                    </a:solidFill>
                  </a:rPr>
                  <a:t>Stream</a:t>
                </a:r>
                <a:br>
                  <a:rPr lang="en-US" sz="1000" kern="0" dirty="0">
                    <a:solidFill>
                      <a:prstClr val="white"/>
                    </a:solidFill>
                  </a:rPr>
                </a:br>
                <a:r>
                  <a:rPr lang="en-US" sz="1000" kern="0" dirty="0">
                    <a:solidFill>
                      <a:prstClr val="white"/>
                    </a:solidFill>
                  </a:rPr>
                  <a:t>Analytics</a:t>
                </a:r>
              </a:p>
            </p:txBody>
          </p:sp>
          <p:pic>
            <p:nvPicPr>
              <p:cNvPr id="266" name="Picture 265"/>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6196549" y="5399290"/>
                <a:ext cx="507016" cy="507016"/>
              </a:xfrm>
              <a:prstGeom prst="rect">
                <a:avLst/>
              </a:prstGeom>
            </p:spPr>
          </p:pic>
        </p:grpSp>
        <p:grpSp>
          <p:nvGrpSpPr>
            <p:cNvPr id="249" name="Group 248"/>
            <p:cNvGrpSpPr/>
            <p:nvPr/>
          </p:nvGrpSpPr>
          <p:grpSpPr>
            <a:xfrm>
              <a:off x="577199" y="5580843"/>
              <a:ext cx="553278" cy="778414"/>
              <a:chOff x="4775557" y="5260774"/>
              <a:chExt cx="553278" cy="778414"/>
            </a:xfrm>
          </p:grpSpPr>
          <p:pic>
            <p:nvPicPr>
              <p:cNvPr id="255" name="Picture 254"/>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4857298" y="5260774"/>
                <a:ext cx="389797" cy="389797"/>
              </a:xfrm>
              <a:prstGeom prst="rect">
                <a:avLst/>
              </a:prstGeom>
            </p:spPr>
          </p:pic>
          <p:sp>
            <p:nvSpPr>
              <p:cNvPr id="264" name="TextBox 263"/>
              <p:cNvSpPr txBox="1"/>
              <p:nvPr/>
            </p:nvSpPr>
            <p:spPr>
              <a:xfrm>
                <a:off x="4775557" y="5639078"/>
                <a:ext cx="553278" cy="400110"/>
              </a:xfrm>
              <a:prstGeom prst="rect">
                <a:avLst/>
              </a:prstGeom>
            </p:spPr>
            <p:txBody>
              <a:bodyPr vert="horz" wrap="square" lIns="45720" tIns="45720" rIns="45720" bIns="4572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a:solidFill>
                      <a:prstClr val="white"/>
                    </a:solidFill>
                  </a:rPr>
                  <a:t>Event</a:t>
                </a:r>
                <a:br>
                  <a:rPr lang="en-US" sz="1000" kern="0" dirty="0">
                    <a:solidFill>
                      <a:prstClr val="white"/>
                    </a:solidFill>
                  </a:rPr>
                </a:br>
                <a:r>
                  <a:rPr lang="en-US" sz="1000" kern="0" dirty="0">
                    <a:solidFill>
                      <a:prstClr val="white"/>
                    </a:solidFill>
                  </a:rPr>
                  <a:t>Hubs</a:t>
                </a:r>
              </a:p>
            </p:txBody>
          </p:sp>
        </p:grpSp>
        <p:sp>
          <p:nvSpPr>
            <p:cNvPr id="250" name="Text Placeholder 5"/>
            <p:cNvSpPr txBox="1">
              <a:spLocks/>
            </p:cNvSpPr>
            <p:nvPr/>
          </p:nvSpPr>
          <p:spPr>
            <a:xfrm>
              <a:off x="1523490" y="4697920"/>
              <a:ext cx="1918000" cy="694017"/>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defRPr/>
              </a:pPr>
              <a:r>
                <a:rPr lang="en-US" b="1" dirty="0" err="1">
                  <a:solidFill>
                    <a:prstClr val="white"/>
                  </a:solidFill>
                </a:rPr>
                <a:t>IoT</a:t>
              </a:r>
              <a:r>
                <a:rPr lang="en-US" b="1" dirty="0">
                  <a:solidFill>
                    <a:prstClr val="white"/>
                  </a:solidFill>
                </a:rPr>
                <a:t> Suite</a:t>
              </a:r>
            </a:p>
          </p:txBody>
        </p:sp>
        <p:grpSp>
          <p:nvGrpSpPr>
            <p:cNvPr id="252" name="Group 251"/>
            <p:cNvGrpSpPr/>
            <p:nvPr/>
          </p:nvGrpSpPr>
          <p:grpSpPr>
            <a:xfrm>
              <a:off x="1692970" y="5235360"/>
              <a:ext cx="634148" cy="598106"/>
              <a:chOff x="8915378" y="5385005"/>
              <a:chExt cx="634148" cy="598106"/>
            </a:xfrm>
          </p:grpSpPr>
          <p:pic>
            <p:nvPicPr>
              <p:cNvPr id="253" name="Picture 252"/>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9026089" y="5385005"/>
                <a:ext cx="413553" cy="413553"/>
              </a:xfrm>
              <a:prstGeom prst="rect">
                <a:avLst/>
              </a:prstGeom>
            </p:spPr>
          </p:pic>
          <p:sp>
            <p:nvSpPr>
              <p:cNvPr id="254" name="TextBox 253"/>
              <p:cNvSpPr txBox="1"/>
              <p:nvPr/>
            </p:nvSpPr>
            <p:spPr>
              <a:xfrm>
                <a:off x="8915378" y="5736890"/>
                <a:ext cx="634148" cy="246221"/>
              </a:xfrm>
              <a:prstGeom prst="rect">
                <a:avLst/>
              </a:prstGeom>
            </p:spPr>
            <p:txBody>
              <a:bodyPr vert="horz" wrap="none" lIns="45720" tIns="45720" rIns="45720" bIns="45720" rtlCol="0" anchor="ctr">
                <a:sp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err="1">
                    <a:solidFill>
                      <a:prstClr val="white"/>
                    </a:solidFill>
                  </a:rPr>
                  <a:t>HDStorm</a:t>
                </a:r>
                <a:endParaRPr lang="en-US" sz="1000" kern="0" dirty="0">
                  <a:solidFill>
                    <a:prstClr val="white"/>
                  </a:solidFill>
                </a:endParaRPr>
              </a:p>
            </p:txBody>
          </p:sp>
        </p:grpSp>
      </p:grpSp>
      <p:cxnSp>
        <p:nvCxnSpPr>
          <p:cNvPr id="228" name="Straight Arrow Connector 227"/>
          <p:cNvCxnSpPr/>
          <p:nvPr/>
        </p:nvCxnSpPr>
        <p:spPr>
          <a:xfrm>
            <a:off x="7868902" y="4500383"/>
            <a:ext cx="1161103" cy="4184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4014884" y="4790854"/>
            <a:ext cx="1124720" cy="622798"/>
            <a:chOff x="3629050" y="4280559"/>
            <a:chExt cx="1124720" cy="622798"/>
          </a:xfrm>
        </p:grpSpPr>
        <p:cxnSp>
          <p:nvCxnSpPr>
            <p:cNvPr id="22" name="Straight Arrow Connector 21"/>
            <p:cNvCxnSpPr/>
            <p:nvPr/>
          </p:nvCxnSpPr>
          <p:spPr>
            <a:xfrm flipH="1">
              <a:off x="3741929" y="4280559"/>
              <a:ext cx="948815" cy="6227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9" name="TextBox 328"/>
            <p:cNvSpPr txBox="1"/>
            <p:nvPr/>
          </p:nvSpPr>
          <p:spPr>
            <a:xfrm rot="19644547">
              <a:off x="3629050" y="4321705"/>
              <a:ext cx="1124720" cy="262844"/>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Historical Data</a:t>
              </a:r>
            </a:p>
          </p:txBody>
        </p:sp>
      </p:grpSp>
      <p:sp>
        <p:nvSpPr>
          <p:cNvPr id="330" name="TextBox 329"/>
          <p:cNvSpPr txBox="1"/>
          <p:nvPr/>
        </p:nvSpPr>
        <p:spPr>
          <a:xfrm rot="1175696">
            <a:off x="7854245" y="4484759"/>
            <a:ext cx="1229665" cy="234685"/>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Real-time Data</a:t>
            </a:r>
          </a:p>
        </p:txBody>
      </p:sp>
      <p:sp>
        <p:nvSpPr>
          <p:cNvPr id="331" name="TextBox 330"/>
          <p:cNvSpPr txBox="1"/>
          <p:nvPr/>
        </p:nvSpPr>
        <p:spPr>
          <a:xfrm rot="17037543">
            <a:off x="134395" y="2673153"/>
            <a:ext cx="1124720" cy="262844"/>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360View</a:t>
            </a:r>
          </a:p>
        </p:txBody>
      </p:sp>
      <p:cxnSp>
        <p:nvCxnSpPr>
          <p:cNvPr id="332" name="Straight Arrow Connector 331"/>
          <p:cNvCxnSpPr/>
          <p:nvPr/>
        </p:nvCxnSpPr>
        <p:spPr>
          <a:xfrm flipV="1">
            <a:off x="2282425" y="3332678"/>
            <a:ext cx="270230" cy="11063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3" name="TextBox 332"/>
          <p:cNvSpPr txBox="1"/>
          <p:nvPr/>
        </p:nvSpPr>
        <p:spPr>
          <a:xfrm rot="17047769">
            <a:off x="1680392" y="3769580"/>
            <a:ext cx="1232179" cy="269475"/>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Insights &amp; Alerts</a:t>
            </a:r>
          </a:p>
        </p:txBody>
      </p:sp>
      <p:grpSp>
        <p:nvGrpSpPr>
          <p:cNvPr id="355" name="Group 354"/>
          <p:cNvGrpSpPr/>
          <p:nvPr/>
        </p:nvGrpSpPr>
        <p:grpSpPr>
          <a:xfrm>
            <a:off x="8741634" y="132732"/>
            <a:ext cx="1955801" cy="1792728"/>
            <a:chOff x="3730114" y="4767439"/>
            <a:chExt cx="1955801" cy="1792728"/>
          </a:xfrm>
        </p:grpSpPr>
        <p:grpSp>
          <p:nvGrpSpPr>
            <p:cNvPr id="356" name="Group 355"/>
            <p:cNvGrpSpPr/>
            <p:nvPr/>
          </p:nvGrpSpPr>
          <p:grpSpPr>
            <a:xfrm>
              <a:off x="3730114" y="4767439"/>
              <a:ext cx="1955801" cy="1538559"/>
              <a:chOff x="3467100" y="2017870"/>
              <a:chExt cx="1955801" cy="1538559"/>
            </a:xfrm>
          </p:grpSpPr>
          <p:sp>
            <p:nvSpPr>
              <p:cNvPr id="358" name="Rounded Rectangle 60"/>
              <p:cNvSpPr>
                <a:spLocks noChangeArrowheads="1"/>
              </p:cNvSpPr>
              <p:nvPr/>
            </p:nvSpPr>
            <p:spPr bwMode="auto">
              <a:xfrm>
                <a:off x="3467100" y="2017870"/>
                <a:ext cx="1955801" cy="153855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endParaRPr lang="en-US" sz="1200" kern="0" dirty="0">
                  <a:solidFill>
                    <a:srgbClr val="505050"/>
                  </a:solidFill>
                </a:endParaRPr>
              </a:p>
            </p:txBody>
          </p:sp>
          <p:pic>
            <p:nvPicPr>
              <p:cNvPr id="359" name="Picture 358"/>
              <p:cNvPicPr>
                <a:picLocks noChangeAspect="1"/>
              </p:cNvPicPr>
              <p:nvPr/>
            </p:nvPicPr>
            <p:blipFill>
              <a:blip r:embed="rId19" cstate="screen">
                <a:lum bright="-40000" contrast="-40000"/>
                <a:extLst>
                  <a:ext uri="{28A0092B-C50C-407E-A947-70E740481C1C}">
                    <a14:useLocalDpi xmlns:a14="http://schemas.microsoft.com/office/drawing/2010/main"/>
                  </a:ext>
                </a:extLst>
              </a:blip>
              <a:stretch>
                <a:fillRect/>
              </a:stretch>
            </p:blipFill>
            <p:spPr bwMode="auto">
              <a:xfrm>
                <a:off x="4923723" y="2692706"/>
                <a:ext cx="376166" cy="335748"/>
              </a:xfrm>
              <a:prstGeom prst="rect">
                <a:avLst/>
              </a:prstGeom>
              <a:noFill/>
              <a:ln>
                <a:noFill/>
              </a:ln>
            </p:spPr>
          </p:pic>
          <p:sp>
            <p:nvSpPr>
              <p:cNvPr id="360" name="Freeform 14"/>
              <p:cNvSpPr>
                <a:spLocks noEditPoints="1"/>
              </p:cNvSpPr>
              <p:nvPr/>
            </p:nvSpPr>
            <p:spPr bwMode="black">
              <a:xfrm>
                <a:off x="4696500" y="2297546"/>
                <a:ext cx="187261" cy="1993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lumMod val="50000"/>
                </a:schemeClr>
              </a:solidFill>
              <a:ln w="10795" cap="flat" cmpd="sng" algn="ctr">
                <a:noFill/>
                <a:prstDash val="solid"/>
                <a:headEnd type="none" w="med" len="med"/>
                <a:tailEnd type="none" w="med" len="med"/>
              </a:ln>
              <a:effectLst/>
            </p:spPr>
            <p:txBody>
              <a:bodyPr lIns="109707" tIns="54854" rIns="109707" bIns="54854" anchor="ctr"/>
              <a:lstStyle/>
              <a:p>
                <a:pPr defTabSz="987406">
                  <a:defRPr/>
                </a:pPr>
                <a:endParaRPr lang="en-US" sz="2399" kern="0" dirty="0">
                  <a:solidFill>
                    <a:srgbClr val="505050"/>
                  </a:solidFill>
                  <a:latin typeface="Segoe Light" pitchFamily="34" charset="0"/>
                </a:endParaRPr>
              </a:p>
            </p:txBody>
          </p:sp>
          <p:pic>
            <p:nvPicPr>
              <p:cNvPr id="361" name="Picture 360"/>
              <p:cNvPicPr>
                <a:picLocks noChangeAspect="1"/>
              </p:cNvPicPr>
              <p:nvPr/>
            </p:nvPicPr>
            <p:blipFill>
              <a:blip r:embed="rId20"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4977252" y="2462284"/>
                <a:ext cx="157603" cy="181015"/>
              </a:xfrm>
              <a:prstGeom prst="rect">
                <a:avLst/>
              </a:prstGeom>
            </p:spPr>
          </p:pic>
          <p:sp>
            <p:nvSpPr>
              <p:cNvPr id="362" name="Freeform 13"/>
              <p:cNvSpPr>
                <a:spLocks noEditPoints="1"/>
              </p:cNvSpPr>
              <p:nvPr/>
            </p:nvSpPr>
            <p:spPr bwMode="black">
              <a:xfrm>
                <a:off x="3646568" y="2632177"/>
                <a:ext cx="273843" cy="233566"/>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lumMod val="50000"/>
                </a:schemeClr>
              </a:solidFill>
              <a:ln w="10795" cap="flat" cmpd="sng" algn="ctr">
                <a:noFill/>
                <a:prstDash val="solid"/>
                <a:headEnd type="none" w="med" len="med"/>
                <a:tailEnd type="none" w="med" len="med"/>
              </a:ln>
              <a:effectLst/>
            </p:spPr>
            <p:txBody>
              <a:bodyPr lIns="82302" tIns="41151" rIns="82302" bIns="41151" anchor="ctr"/>
              <a:lstStyle/>
              <a:p>
                <a:pPr defTabSz="740740">
                  <a:defRPr/>
                </a:pPr>
                <a:endParaRPr lang="en-US" sz="1800" kern="0" dirty="0">
                  <a:solidFill>
                    <a:srgbClr val="505050"/>
                  </a:solidFill>
                  <a:latin typeface="Segoe Light" pitchFamily="34" charset="0"/>
                </a:endParaRPr>
              </a:p>
            </p:txBody>
          </p:sp>
          <p:sp>
            <p:nvSpPr>
              <p:cNvPr id="363" name="Freeform 362"/>
              <p:cNvSpPr>
                <a:spLocks/>
              </p:cNvSpPr>
              <p:nvPr/>
            </p:nvSpPr>
            <p:spPr bwMode="black">
              <a:xfrm>
                <a:off x="4152839" y="2924872"/>
                <a:ext cx="199340" cy="199336"/>
              </a:xfrm>
              <a:custGeom>
                <a:avLst/>
                <a:gdLst>
                  <a:gd name="connsiteX0" fmla="*/ 276253 w 393142"/>
                  <a:gd name="connsiteY0" fmla="*/ 48406 h 393039"/>
                  <a:gd name="connsiteX1" fmla="*/ 213366 w 393142"/>
                  <a:gd name="connsiteY1" fmla="*/ 111283 h 393039"/>
                  <a:gd name="connsiteX2" fmla="*/ 213366 w 393142"/>
                  <a:gd name="connsiteY2" fmla="*/ 143229 h 393039"/>
                  <a:gd name="connsiteX3" fmla="*/ 168230 w 393142"/>
                  <a:gd name="connsiteY3" fmla="*/ 143229 h 393039"/>
                  <a:gd name="connsiteX4" fmla="*/ 168230 w 393142"/>
                  <a:gd name="connsiteY4" fmla="*/ 196725 h 393039"/>
                  <a:gd name="connsiteX5" fmla="*/ 213366 w 393142"/>
                  <a:gd name="connsiteY5" fmla="*/ 196725 h 393039"/>
                  <a:gd name="connsiteX6" fmla="*/ 213366 w 393142"/>
                  <a:gd name="connsiteY6" fmla="*/ 361270 h 393039"/>
                  <a:gd name="connsiteX7" fmla="*/ 283606 w 393142"/>
                  <a:gd name="connsiteY7" fmla="*/ 361270 h 393039"/>
                  <a:gd name="connsiteX8" fmla="*/ 283606 w 393142"/>
                  <a:gd name="connsiteY8" fmla="*/ 196725 h 393039"/>
                  <a:gd name="connsiteX9" fmla="*/ 333560 w 393142"/>
                  <a:gd name="connsiteY9" fmla="*/ 196725 h 393039"/>
                  <a:gd name="connsiteX10" fmla="*/ 333560 w 393142"/>
                  <a:gd name="connsiteY10" fmla="*/ 143229 h 393039"/>
                  <a:gd name="connsiteX11" fmla="*/ 283606 w 393142"/>
                  <a:gd name="connsiteY11" fmla="*/ 143229 h 393039"/>
                  <a:gd name="connsiteX12" fmla="*/ 283606 w 393142"/>
                  <a:gd name="connsiteY12" fmla="*/ 125481 h 393039"/>
                  <a:gd name="connsiteX13" fmla="*/ 307189 w 393142"/>
                  <a:gd name="connsiteY13" fmla="*/ 101902 h 393039"/>
                  <a:gd name="connsiteX14" fmla="*/ 333560 w 393142"/>
                  <a:gd name="connsiteY14" fmla="*/ 101902 h 393039"/>
                  <a:gd name="connsiteX15" fmla="*/ 333560 w 393142"/>
                  <a:gd name="connsiteY15" fmla="*/ 48406 h 393039"/>
                  <a:gd name="connsiteX16" fmla="*/ 276253 w 393142"/>
                  <a:gd name="connsiteY16" fmla="*/ 48406 h 393039"/>
                  <a:gd name="connsiteX17" fmla="*/ 70512 w 393142"/>
                  <a:gd name="connsiteY17" fmla="*/ 0 h 393039"/>
                  <a:gd name="connsiteX18" fmla="*/ 322630 w 393142"/>
                  <a:gd name="connsiteY18" fmla="*/ 0 h 393039"/>
                  <a:gd name="connsiteX19" fmla="*/ 393142 w 393142"/>
                  <a:gd name="connsiteY19" fmla="*/ 70494 h 393039"/>
                  <a:gd name="connsiteX20" fmla="*/ 393142 w 393142"/>
                  <a:gd name="connsiteY20" fmla="*/ 322546 h 393039"/>
                  <a:gd name="connsiteX21" fmla="*/ 322630 w 393142"/>
                  <a:gd name="connsiteY21" fmla="*/ 393039 h 393039"/>
                  <a:gd name="connsiteX22" fmla="*/ 70512 w 393142"/>
                  <a:gd name="connsiteY22" fmla="*/ 393039 h 393039"/>
                  <a:gd name="connsiteX23" fmla="*/ 0 w 393142"/>
                  <a:gd name="connsiteY23" fmla="*/ 322546 h 393039"/>
                  <a:gd name="connsiteX24" fmla="*/ 0 w 393142"/>
                  <a:gd name="connsiteY24" fmla="*/ 70494 h 393039"/>
                  <a:gd name="connsiteX25" fmla="*/ 70512 w 393142"/>
                  <a:gd name="connsiteY25" fmla="*/ 0 h 39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142" h="393039">
                    <a:moveTo>
                      <a:pt x="276253" y="48406"/>
                    </a:moveTo>
                    <a:cubicBezTo>
                      <a:pt x="241513" y="48406"/>
                      <a:pt x="213366" y="76549"/>
                      <a:pt x="213366" y="111283"/>
                    </a:cubicBezTo>
                    <a:cubicBezTo>
                      <a:pt x="213366" y="143229"/>
                      <a:pt x="213366" y="143229"/>
                      <a:pt x="213366" y="143229"/>
                    </a:cubicBezTo>
                    <a:cubicBezTo>
                      <a:pt x="168230" y="143229"/>
                      <a:pt x="168230" y="143229"/>
                      <a:pt x="168230" y="143229"/>
                    </a:cubicBezTo>
                    <a:cubicBezTo>
                      <a:pt x="168230" y="196725"/>
                      <a:pt x="168230" y="196725"/>
                      <a:pt x="168230" y="196725"/>
                    </a:cubicBezTo>
                    <a:cubicBezTo>
                      <a:pt x="213366" y="196725"/>
                      <a:pt x="213366" y="196725"/>
                      <a:pt x="213366" y="196725"/>
                    </a:cubicBezTo>
                    <a:cubicBezTo>
                      <a:pt x="213366" y="361270"/>
                      <a:pt x="213366" y="361270"/>
                      <a:pt x="213366" y="361270"/>
                    </a:cubicBezTo>
                    <a:cubicBezTo>
                      <a:pt x="283606" y="361270"/>
                      <a:pt x="283606" y="361270"/>
                      <a:pt x="283606" y="361270"/>
                    </a:cubicBezTo>
                    <a:cubicBezTo>
                      <a:pt x="283606" y="196725"/>
                      <a:pt x="283606" y="196725"/>
                      <a:pt x="283606" y="196725"/>
                    </a:cubicBezTo>
                    <a:cubicBezTo>
                      <a:pt x="333560" y="196725"/>
                      <a:pt x="333560" y="196725"/>
                      <a:pt x="333560" y="196725"/>
                    </a:cubicBezTo>
                    <a:cubicBezTo>
                      <a:pt x="333560" y="143229"/>
                      <a:pt x="333560" y="143229"/>
                      <a:pt x="333560" y="143229"/>
                    </a:cubicBezTo>
                    <a:cubicBezTo>
                      <a:pt x="283606" y="143229"/>
                      <a:pt x="283606" y="143229"/>
                      <a:pt x="283606" y="143229"/>
                    </a:cubicBezTo>
                    <a:cubicBezTo>
                      <a:pt x="283606" y="125481"/>
                      <a:pt x="283606" y="125481"/>
                      <a:pt x="283606" y="125481"/>
                    </a:cubicBezTo>
                    <a:cubicBezTo>
                      <a:pt x="283606" y="112297"/>
                      <a:pt x="294003" y="101902"/>
                      <a:pt x="307189" y="101902"/>
                    </a:cubicBezTo>
                    <a:cubicBezTo>
                      <a:pt x="333560" y="101902"/>
                      <a:pt x="333560" y="101902"/>
                      <a:pt x="333560" y="101902"/>
                    </a:cubicBezTo>
                    <a:cubicBezTo>
                      <a:pt x="333560" y="48406"/>
                      <a:pt x="333560" y="48406"/>
                      <a:pt x="333560" y="48406"/>
                    </a:cubicBezTo>
                    <a:cubicBezTo>
                      <a:pt x="276253" y="48406"/>
                      <a:pt x="276253" y="48406"/>
                      <a:pt x="276253" y="48406"/>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sz="1800" kern="0" dirty="0">
                  <a:solidFill>
                    <a:srgbClr val="505050"/>
                  </a:solidFill>
                  <a:latin typeface="Segoe Light" pitchFamily="34" charset="0"/>
                </a:endParaRPr>
              </a:p>
            </p:txBody>
          </p:sp>
          <p:sp>
            <p:nvSpPr>
              <p:cNvPr id="364" name="Freeform 363"/>
              <p:cNvSpPr>
                <a:spLocks/>
              </p:cNvSpPr>
              <p:nvPr/>
            </p:nvSpPr>
            <p:spPr bwMode="black">
              <a:xfrm>
                <a:off x="4559485" y="3225823"/>
                <a:ext cx="195314" cy="195308"/>
              </a:xfrm>
              <a:custGeom>
                <a:avLst/>
                <a:gdLst/>
                <a:ahLst/>
                <a:cxnLst/>
                <a:rect l="l" t="t" r="r" b="b"/>
                <a:pathLst>
                  <a:path w="393142" h="393039">
                    <a:moveTo>
                      <a:pt x="81679" y="184317"/>
                    </a:moveTo>
                    <a:lnTo>
                      <a:pt x="81679" y="344009"/>
                    </a:lnTo>
                    <a:lnTo>
                      <a:pt x="138295" y="344009"/>
                    </a:lnTo>
                    <a:lnTo>
                      <a:pt x="138295" y="184317"/>
                    </a:lnTo>
                    <a:close/>
                    <a:moveTo>
                      <a:pt x="285263" y="180875"/>
                    </a:moveTo>
                    <a:cubicBezTo>
                      <a:pt x="271861" y="180875"/>
                      <a:pt x="260692" y="183399"/>
                      <a:pt x="251758" y="188447"/>
                    </a:cubicBezTo>
                    <a:cubicBezTo>
                      <a:pt x="246259" y="191544"/>
                      <a:pt x="240245" y="196879"/>
                      <a:pt x="233717" y="204450"/>
                    </a:cubicBezTo>
                    <a:lnTo>
                      <a:pt x="233717" y="184317"/>
                    </a:lnTo>
                    <a:lnTo>
                      <a:pt x="177101" y="184317"/>
                    </a:lnTo>
                    <a:lnTo>
                      <a:pt x="177101" y="344009"/>
                    </a:lnTo>
                    <a:lnTo>
                      <a:pt x="233717" y="344009"/>
                    </a:lnTo>
                    <a:lnTo>
                      <a:pt x="233717" y="258484"/>
                    </a:lnTo>
                    <a:cubicBezTo>
                      <a:pt x="233717" y="247299"/>
                      <a:pt x="236339" y="239081"/>
                      <a:pt x="241584" y="233831"/>
                    </a:cubicBezTo>
                    <a:cubicBezTo>
                      <a:pt x="247399" y="228010"/>
                      <a:pt x="254582" y="225100"/>
                      <a:pt x="263132" y="225100"/>
                    </a:cubicBezTo>
                    <a:cubicBezTo>
                      <a:pt x="272480" y="225100"/>
                      <a:pt x="279491" y="228480"/>
                      <a:pt x="284166" y="235240"/>
                    </a:cubicBezTo>
                    <a:cubicBezTo>
                      <a:pt x="287359" y="239821"/>
                      <a:pt x="288955" y="249157"/>
                      <a:pt x="288955" y="263246"/>
                    </a:cubicBezTo>
                    <a:lnTo>
                      <a:pt x="288955" y="344009"/>
                    </a:lnTo>
                    <a:lnTo>
                      <a:pt x="345570" y="344009"/>
                    </a:lnTo>
                    <a:lnTo>
                      <a:pt x="345570" y="242308"/>
                    </a:lnTo>
                    <a:cubicBezTo>
                      <a:pt x="345570" y="221200"/>
                      <a:pt x="339443" y="205368"/>
                      <a:pt x="327187" y="194814"/>
                    </a:cubicBezTo>
                    <a:cubicBezTo>
                      <a:pt x="316419" y="185521"/>
                      <a:pt x="302445" y="180875"/>
                      <a:pt x="285263" y="180875"/>
                    </a:cubicBezTo>
                    <a:close/>
                    <a:moveTo>
                      <a:pt x="109987" y="91392"/>
                    </a:moveTo>
                    <a:cubicBezTo>
                      <a:pt x="101177" y="91392"/>
                      <a:pt x="93711" y="94452"/>
                      <a:pt x="87591" y="100573"/>
                    </a:cubicBezTo>
                    <a:cubicBezTo>
                      <a:pt x="81470" y="106693"/>
                      <a:pt x="78410" y="114159"/>
                      <a:pt x="78410" y="122969"/>
                    </a:cubicBezTo>
                    <a:cubicBezTo>
                      <a:pt x="78410" y="131779"/>
                      <a:pt x="81470" y="139274"/>
                      <a:pt x="87591" y="145451"/>
                    </a:cubicBezTo>
                    <a:cubicBezTo>
                      <a:pt x="93711" y="151629"/>
                      <a:pt x="101177" y="154718"/>
                      <a:pt x="109987" y="154718"/>
                    </a:cubicBezTo>
                    <a:cubicBezTo>
                      <a:pt x="118912" y="154718"/>
                      <a:pt x="126435" y="151658"/>
                      <a:pt x="132555" y="145537"/>
                    </a:cubicBezTo>
                    <a:cubicBezTo>
                      <a:pt x="138676" y="139417"/>
                      <a:pt x="141736" y="131894"/>
                      <a:pt x="141736" y="122969"/>
                    </a:cubicBezTo>
                    <a:cubicBezTo>
                      <a:pt x="141736" y="114159"/>
                      <a:pt x="138647" y="106693"/>
                      <a:pt x="132469" y="100573"/>
                    </a:cubicBezTo>
                    <a:cubicBezTo>
                      <a:pt x="126291" y="94452"/>
                      <a:pt x="118797" y="91392"/>
                      <a:pt x="109987" y="91392"/>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sz="1800" kern="0" dirty="0">
                  <a:solidFill>
                    <a:srgbClr val="505050"/>
                  </a:solidFill>
                  <a:latin typeface="Segoe Light" pitchFamily="34" charset="0"/>
                </a:endParaRPr>
              </a:p>
            </p:txBody>
          </p:sp>
          <p:sp>
            <p:nvSpPr>
              <p:cNvPr id="365" name="Trapezoid 86"/>
              <p:cNvSpPr/>
              <p:nvPr/>
            </p:nvSpPr>
            <p:spPr>
              <a:xfrm rot="16200000">
                <a:off x="3926391" y="2322063"/>
                <a:ext cx="214998" cy="224675"/>
              </a:xfrm>
              <a:custGeom>
                <a:avLst/>
                <a:gdLst/>
                <a:ahLst/>
                <a:cxnLst/>
                <a:rect l="l" t="t" r="r" b="b"/>
                <a:pathLst>
                  <a:path w="2026419" h="2117634">
                    <a:moveTo>
                      <a:pt x="683394" y="1357221"/>
                    </a:moveTo>
                    <a:cubicBezTo>
                      <a:pt x="683394" y="1472952"/>
                      <a:pt x="589575" y="1566771"/>
                      <a:pt x="473844" y="1566771"/>
                    </a:cubicBezTo>
                    <a:cubicBezTo>
                      <a:pt x="358113" y="1566771"/>
                      <a:pt x="264294" y="1472952"/>
                      <a:pt x="264294" y="1357221"/>
                    </a:cubicBezTo>
                    <a:cubicBezTo>
                      <a:pt x="264294" y="1241490"/>
                      <a:pt x="358113" y="1147671"/>
                      <a:pt x="473844" y="1147671"/>
                    </a:cubicBezTo>
                    <a:cubicBezTo>
                      <a:pt x="589575" y="1147671"/>
                      <a:pt x="683394" y="1241490"/>
                      <a:pt x="683394" y="1357221"/>
                    </a:cubicBezTo>
                    <a:close/>
                    <a:moveTo>
                      <a:pt x="794521" y="1772403"/>
                    </a:moveTo>
                    <a:cubicBezTo>
                      <a:pt x="775533" y="1803019"/>
                      <a:pt x="763564" y="1838106"/>
                      <a:pt x="760480" y="1875663"/>
                    </a:cubicBezTo>
                    <a:cubicBezTo>
                      <a:pt x="654054" y="1822066"/>
                      <a:pt x="568072" y="1734443"/>
                      <a:pt x="516913" y="1626725"/>
                    </a:cubicBezTo>
                    <a:cubicBezTo>
                      <a:pt x="554560" y="1621730"/>
                      <a:pt x="589522" y="1608175"/>
                      <a:pt x="619969" y="1588089"/>
                    </a:cubicBezTo>
                    <a:cubicBezTo>
                      <a:pt x="656986" y="1666600"/>
                      <a:pt x="718716" y="1730458"/>
                      <a:pt x="794521" y="1772403"/>
                    </a:cubicBezTo>
                    <a:close/>
                    <a:moveTo>
                      <a:pt x="1240606" y="1908084"/>
                    </a:moveTo>
                    <a:cubicBezTo>
                      <a:pt x="1240606" y="2023815"/>
                      <a:pt x="1146787" y="2117634"/>
                      <a:pt x="1031056" y="2117634"/>
                    </a:cubicBezTo>
                    <a:cubicBezTo>
                      <a:pt x="915325" y="2117634"/>
                      <a:pt x="821506" y="2023815"/>
                      <a:pt x="821506" y="1908084"/>
                    </a:cubicBezTo>
                    <a:cubicBezTo>
                      <a:pt x="821506" y="1792353"/>
                      <a:pt x="915325" y="1698534"/>
                      <a:pt x="1031056" y="1698534"/>
                    </a:cubicBezTo>
                    <a:cubicBezTo>
                      <a:pt x="1146787" y="1698534"/>
                      <a:pt x="1240606" y="1792353"/>
                      <a:pt x="1240606" y="1908084"/>
                    </a:cubicBezTo>
                    <a:close/>
                    <a:moveTo>
                      <a:pt x="1373359" y="613050"/>
                    </a:moveTo>
                    <a:cubicBezTo>
                      <a:pt x="1373781" y="592439"/>
                      <a:pt x="1371525" y="580084"/>
                      <a:pt x="1366588" y="548121"/>
                    </a:cubicBezTo>
                    <a:cubicBezTo>
                      <a:pt x="1346003" y="461219"/>
                      <a:pt x="1278868" y="410011"/>
                      <a:pt x="1201868" y="402221"/>
                    </a:cubicBezTo>
                    <a:cubicBezTo>
                      <a:pt x="931351" y="360536"/>
                      <a:pt x="985455" y="670197"/>
                      <a:pt x="854062" y="652331"/>
                    </a:cubicBezTo>
                    <a:cubicBezTo>
                      <a:pt x="735550" y="625534"/>
                      <a:pt x="783213" y="491547"/>
                      <a:pt x="823146" y="420087"/>
                    </a:cubicBezTo>
                    <a:lnTo>
                      <a:pt x="695617" y="393290"/>
                    </a:lnTo>
                    <a:cubicBezTo>
                      <a:pt x="669255" y="453845"/>
                      <a:pt x="655521" y="504886"/>
                      <a:pt x="653658" y="548121"/>
                    </a:cubicBezTo>
                    <a:cubicBezTo>
                      <a:pt x="652750" y="592572"/>
                      <a:pt x="651843" y="592994"/>
                      <a:pt x="658078" y="637445"/>
                    </a:cubicBezTo>
                    <a:cubicBezTo>
                      <a:pt x="684114" y="745767"/>
                      <a:pt x="788926" y="772909"/>
                      <a:pt x="827010" y="783341"/>
                    </a:cubicBezTo>
                    <a:cubicBezTo>
                      <a:pt x="1076916" y="832967"/>
                      <a:pt x="1075626" y="531247"/>
                      <a:pt x="1182546" y="530254"/>
                    </a:cubicBezTo>
                    <a:cubicBezTo>
                      <a:pt x="1299767" y="545140"/>
                      <a:pt x="1246955" y="694015"/>
                      <a:pt x="1209598" y="735701"/>
                    </a:cubicBezTo>
                    <a:lnTo>
                      <a:pt x="1340990" y="762499"/>
                    </a:lnTo>
                    <a:cubicBezTo>
                      <a:pt x="1359764" y="717009"/>
                      <a:pt x="1370090" y="675238"/>
                      <a:pt x="1372044" y="637445"/>
                    </a:cubicBezTo>
                    <a:cubicBezTo>
                      <a:pt x="1372780" y="627708"/>
                      <a:pt x="1373218" y="619921"/>
                      <a:pt x="1373359" y="613050"/>
                    </a:cubicBezTo>
                    <a:close/>
                    <a:moveTo>
                      <a:pt x="1512939" y="1619251"/>
                    </a:moveTo>
                    <a:cubicBezTo>
                      <a:pt x="1467757" y="1718695"/>
                      <a:pt x="1392941" y="1801540"/>
                      <a:pt x="1299780" y="1857295"/>
                    </a:cubicBezTo>
                    <a:cubicBezTo>
                      <a:pt x="1293356" y="1820868"/>
                      <a:pt x="1279346" y="1787051"/>
                      <a:pt x="1259468" y="1757439"/>
                    </a:cubicBezTo>
                    <a:cubicBezTo>
                      <a:pt x="1328714" y="1711331"/>
                      <a:pt x="1384214" y="1646253"/>
                      <a:pt x="1415932" y="1568433"/>
                    </a:cubicBezTo>
                    <a:cubicBezTo>
                      <a:pt x="1443458" y="1592539"/>
                      <a:pt x="1476496" y="1610117"/>
                      <a:pt x="1512939" y="1619251"/>
                    </a:cubicBezTo>
                    <a:close/>
                    <a:moveTo>
                      <a:pt x="1797819" y="1357221"/>
                    </a:moveTo>
                    <a:cubicBezTo>
                      <a:pt x="1797819" y="1472952"/>
                      <a:pt x="1704000" y="1566771"/>
                      <a:pt x="1588269" y="1566771"/>
                    </a:cubicBezTo>
                    <a:cubicBezTo>
                      <a:pt x="1472538" y="1566771"/>
                      <a:pt x="1378719" y="1472952"/>
                      <a:pt x="1378719" y="1357221"/>
                    </a:cubicBezTo>
                    <a:cubicBezTo>
                      <a:pt x="1378719" y="1241490"/>
                      <a:pt x="1472538" y="1147671"/>
                      <a:pt x="1588269" y="1147671"/>
                    </a:cubicBezTo>
                    <a:cubicBezTo>
                      <a:pt x="1704000" y="1147671"/>
                      <a:pt x="1797819" y="1241490"/>
                      <a:pt x="1797819" y="1357221"/>
                    </a:cubicBezTo>
                    <a:close/>
                    <a:moveTo>
                      <a:pt x="2026419" y="1204820"/>
                    </a:moveTo>
                    <a:lnTo>
                      <a:pt x="1815729" y="1204820"/>
                    </a:lnTo>
                    <a:cubicBezTo>
                      <a:pt x="1766640" y="1131561"/>
                      <a:pt x="1683081" y="1083377"/>
                      <a:pt x="1588269" y="1083377"/>
                    </a:cubicBezTo>
                    <a:cubicBezTo>
                      <a:pt x="1493456" y="1083377"/>
                      <a:pt x="1409898" y="1131561"/>
                      <a:pt x="1360808" y="1204820"/>
                    </a:cubicBezTo>
                    <a:lnTo>
                      <a:pt x="701304" y="1204820"/>
                    </a:lnTo>
                    <a:cubicBezTo>
                      <a:pt x="652215" y="1131561"/>
                      <a:pt x="568656" y="1083377"/>
                      <a:pt x="473844" y="1083377"/>
                    </a:cubicBezTo>
                    <a:cubicBezTo>
                      <a:pt x="379031" y="1083377"/>
                      <a:pt x="295473" y="1131561"/>
                      <a:pt x="246383" y="1204820"/>
                    </a:cubicBezTo>
                    <a:lnTo>
                      <a:pt x="0" y="1204820"/>
                    </a:lnTo>
                    <a:lnTo>
                      <a:pt x="199603" y="0"/>
                    </a:lnTo>
                    <a:lnTo>
                      <a:pt x="1826816"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defRPr/>
                </a:pPr>
                <a:endParaRPr lang="en-US" dirty="0">
                  <a:solidFill>
                    <a:srgbClr val="505050"/>
                  </a:solidFill>
                </a:endParaRPr>
              </a:p>
            </p:txBody>
          </p:sp>
          <p:sp>
            <p:nvSpPr>
              <p:cNvPr id="366" name="Freeform 365"/>
              <p:cNvSpPr/>
              <p:nvPr/>
            </p:nvSpPr>
            <p:spPr>
              <a:xfrm>
                <a:off x="4739777" y="2702651"/>
                <a:ext cx="212360" cy="205921"/>
              </a:xfrm>
              <a:custGeom>
                <a:avLst/>
                <a:gdLst>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1358 w 4062047"/>
                  <a:gd name="connsiteY5" fmla="*/ 1576817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1358 w 4062047"/>
                  <a:gd name="connsiteY9" fmla="*/ 1576817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3739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3739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62047" h="3938955">
                    <a:moveTo>
                      <a:pt x="2292410" y="2109292"/>
                    </a:moveTo>
                    <a:cubicBezTo>
                      <a:pt x="2268687" y="2107678"/>
                      <a:pt x="2249265" y="2109514"/>
                      <a:pt x="2235381" y="2115515"/>
                    </a:cubicBezTo>
                    <a:cubicBezTo>
                      <a:pt x="2217974" y="2189262"/>
                      <a:pt x="2613445" y="2474616"/>
                      <a:pt x="2889776" y="2637325"/>
                    </a:cubicBezTo>
                    <a:cubicBezTo>
                      <a:pt x="2978370" y="2687082"/>
                      <a:pt x="3175001" y="2558447"/>
                      <a:pt x="2998691" y="2403914"/>
                    </a:cubicBezTo>
                    <a:cubicBezTo>
                      <a:pt x="2835268" y="2300874"/>
                      <a:pt x="2458468" y="2120587"/>
                      <a:pt x="2292410" y="2109292"/>
                    </a:cubicBezTo>
                    <a:close/>
                    <a:moveTo>
                      <a:pt x="3206785" y="1603188"/>
                    </a:moveTo>
                    <a:cubicBezTo>
                      <a:pt x="3072434" y="1591741"/>
                      <a:pt x="2414941" y="1693084"/>
                      <a:pt x="2420651" y="1739087"/>
                    </a:cubicBezTo>
                    <a:cubicBezTo>
                      <a:pt x="2441093" y="1812050"/>
                      <a:pt x="2920489" y="1870481"/>
                      <a:pt x="3241046" y="1879207"/>
                    </a:cubicBezTo>
                    <a:cubicBezTo>
                      <a:pt x="3377656" y="1864033"/>
                      <a:pt x="3431985" y="1611977"/>
                      <a:pt x="3206785" y="1603188"/>
                    </a:cubicBezTo>
                    <a:close/>
                    <a:moveTo>
                      <a:pt x="2950677" y="857698"/>
                    </a:moveTo>
                    <a:cubicBezTo>
                      <a:pt x="2927159" y="860050"/>
                      <a:pt x="2900469" y="866759"/>
                      <a:pt x="2870505" y="878864"/>
                    </a:cubicBezTo>
                    <a:cubicBezTo>
                      <a:pt x="2672862" y="977289"/>
                      <a:pt x="2275194" y="1268596"/>
                      <a:pt x="2227569" y="1381308"/>
                    </a:cubicBezTo>
                    <a:cubicBezTo>
                      <a:pt x="2281544" y="1434489"/>
                      <a:pt x="2730806" y="1244784"/>
                      <a:pt x="3013380" y="1093177"/>
                    </a:cubicBezTo>
                    <a:cubicBezTo>
                      <a:pt x="3117363" y="1016878"/>
                      <a:pt x="3055771" y="876954"/>
                      <a:pt x="2950677" y="857698"/>
                    </a:cubicBezTo>
                    <a:close/>
                    <a:moveTo>
                      <a:pt x="850835" y="587237"/>
                    </a:moveTo>
                    <a:cubicBezTo>
                      <a:pt x="745540" y="573769"/>
                      <a:pt x="690473" y="689557"/>
                      <a:pt x="691663" y="759803"/>
                    </a:cubicBezTo>
                    <a:lnTo>
                      <a:pt x="1286976" y="2250466"/>
                    </a:lnTo>
                    <a:cubicBezTo>
                      <a:pt x="1258401" y="2445728"/>
                      <a:pt x="1167913" y="2564791"/>
                      <a:pt x="1072663" y="2593366"/>
                    </a:cubicBezTo>
                    <a:cubicBezTo>
                      <a:pt x="963126" y="2639403"/>
                      <a:pt x="767864" y="2542565"/>
                      <a:pt x="744051" y="2731478"/>
                    </a:cubicBezTo>
                    <a:cubicBezTo>
                      <a:pt x="759926" y="2890228"/>
                      <a:pt x="947251" y="2896578"/>
                      <a:pt x="1191726" y="2836253"/>
                    </a:cubicBezTo>
                    <a:cubicBezTo>
                      <a:pt x="1426676" y="2750528"/>
                      <a:pt x="1466364" y="2636228"/>
                      <a:pt x="1696551" y="2036153"/>
                    </a:cubicBezTo>
                    <a:lnTo>
                      <a:pt x="2201376" y="769328"/>
                    </a:lnTo>
                    <a:cubicBezTo>
                      <a:pt x="2215663" y="650265"/>
                      <a:pt x="2048976" y="521678"/>
                      <a:pt x="1929913" y="683603"/>
                    </a:cubicBezTo>
                    <a:lnTo>
                      <a:pt x="1458426" y="1855178"/>
                    </a:lnTo>
                    <a:lnTo>
                      <a:pt x="972651" y="650266"/>
                    </a:lnTo>
                    <a:cubicBezTo>
                      <a:pt x="926614" y="610579"/>
                      <a:pt x="885934" y="591727"/>
                      <a:pt x="850835" y="587237"/>
                    </a:cubicBezTo>
                    <a:close/>
                    <a:moveTo>
                      <a:pt x="540732" y="0"/>
                    </a:moveTo>
                    <a:lnTo>
                      <a:pt x="3521315" y="0"/>
                    </a:lnTo>
                    <a:cubicBezTo>
                      <a:pt x="3819953" y="0"/>
                      <a:pt x="4062047" y="242093"/>
                      <a:pt x="4062047" y="540731"/>
                    </a:cubicBezTo>
                    <a:lnTo>
                      <a:pt x="4062047" y="2914645"/>
                    </a:lnTo>
                    <a:cubicBezTo>
                      <a:pt x="4062047" y="3213283"/>
                      <a:pt x="3819953" y="3455377"/>
                      <a:pt x="3521315" y="3455377"/>
                    </a:cubicBezTo>
                    <a:lnTo>
                      <a:pt x="1802912" y="3455377"/>
                    </a:lnTo>
                    <a:lnTo>
                      <a:pt x="1075041" y="3938955"/>
                    </a:lnTo>
                    <a:lnTo>
                      <a:pt x="1075041" y="3455377"/>
                    </a:lnTo>
                    <a:lnTo>
                      <a:pt x="540732" y="3455377"/>
                    </a:lnTo>
                    <a:cubicBezTo>
                      <a:pt x="242094" y="3455377"/>
                      <a:pt x="0" y="3213283"/>
                      <a:pt x="0" y="2914645"/>
                    </a:cubicBezTo>
                    <a:lnTo>
                      <a:pt x="0" y="540731"/>
                    </a:lnTo>
                    <a:cubicBezTo>
                      <a:pt x="0" y="242093"/>
                      <a:pt x="242094" y="0"/>
                      <a:pt x="540732"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defRPr/>
                </a:pPr>
                <a:endParaRPr lang="en-US" dirty="0">
                  <a:solidFill>
                    <a:srgbClr val="505050"/>
                  </a:solidFill>
                  <a:ea typeface="Segoe UI" pitchFamily="34" charset="0"/>
                  <a:cs typeface="Segoe UI" pitchFamily="34" charset="0"/>
                </a:endParaRPr>
              </a:p>
            </p:txBody>
          </p:sp>
          <p:sp>
            <p:nvSpPr>
              <p:cNvPr id="367" name="Freeform 366"/>
              <p:cNvSpPr>
                <a:spLocks/>
              </p:cNvSpPr>
              <p:nvPr/>
            </p:nvSpPr>
            <p:spPr bwMode="auto">
              <a:xfrm>
                <a:off x="4790660" y="3040183"/>
                <a:ext cx="179316" cy="173928"/>
              </a:xfrm>
              <a:custGeom>
                <a:avLst/>
                <a:gdLst/>
                <a:ahLst/>
                <a:cxnLst/>
                <a:rect l="l" t="t" r="r" b="b"/>
                <a:pathLst>
                  <a:path w="792162" h="768350">
                    <a:moveTo>
                      <a:pt x="428082" y="239713"/>
                    </a:moveTo>
                    <a:lnTo>
                      <a:pt x="415438" y="240512"/>
                    </a:lnTo>
                    <a:lnTo>
                      <a:pt x="403583" y="242907"/>
                    </a:lnTo>
                    <a:lnTo>
                      <a:pt x="391728" y="248496"/>
                    </a:lnTo>
                    <a:lnTo>
                      <a:pt x="380664" y="254884"/>
                    </a:lnTo>
                    <a:lnTo>
                      <a:pt x="369599" y="264466"/>
                    </a:lnTo>
                    <a:lnTo>
                      <a:pt x="360116" y="274846"/>
                    </a:lnTo>
                    <a:lnTo>
                      <a:pt x="349842" y="288420"/>
                    </a:lnTo>
                    <a:lnTo>
                      <a:pt x="340358" y="303591"/>
                    </a:lnTo>
                    <a:lnTo>
                      <a:pt x="331664" y="319561"/>
                    </a:lnTo>
                    <a:lnTo>
                      <a:pt x="324552" y="334732"/>
                    </a:lnTo>
                    <a:lnTo>
                      <a:pt x="318229" y="350701"/>
                    </a:lnTo>
                    <a:lnTo>
                      <a:pt x="312697" y="366671"/>
                    </a:lnTo>
                    <a:lnTo>
                      <a:pt x="308745" y="381842"/>
                    </a:lnTo>
                    <a:lnTo>
                      <a:pt x="306374" y="397013"/>
                    </a:lnTo>
                    <a:lnTo>
                      <a:pt x="304004" y="412184"/>
                    </a:lnTo>
                    <a:lnTo>
                      <a:pt x="303213" y="427355"/>
                    </a:lnTo>
                    <a:lnTo>
                      <a:pt x="304004" y="444922"/>
                    </a:lnTo>
                    <a:lnTo>
                      <a:pt x="307955" y="459294"/>
                    </a:lnTo>
                    <a:lnTo>
                      <a:pt x="312697" y="472868"/>
                    </a:lnTo>
                    <a:lnTo>
                      <a:pt x="319810" y="484845"/>
                    </a:lnTo>
                    <a:lnTo>
                      <a:pt x="324552" y="490435"/>
                    </a:lnTo>
                    <a:lnTo>
                      <a:pt x="328503" y="495226"/>
                    </a:lnTo>
                    <a:lnTo>
                      <a:pt x="334035" y="499218"/>
                    </a:lnTo>
                    <a:lnTo>
                      <a:pt x="339568" y="502412"/>
                    </a:lnTo>
                    <a:lnTo>
                      <a:pt x="345100" y="505606"/>
                    </a:lnTo>
                    <a:lnTo>
                      <a:pt x="351422" y="506404"/>
                    </a:lnTo>
                    <a:lnTo>
                      <a:pt x="358535" y="508001"/>
                    </a:lnTo>
                    <a:lnTo>
                      <a:pt x="366438" y="508001"/>
                    </a:lnTo>
                    <a:lnTo>
                      <a:pt x="379083" y="507203"/>
                    </a:lnTo>
                    <a:lnTo>
                      <a:pt x="390938" y="502412"/>
                    </a:lnTo>
                    <a:lnTo>
                      <a:pt x="402793" y="496024"/>
                    </a:lnTo>
                    <a:lnTo>
                      <a:pt x="413857" y="488039"/>
                    </a:lnTo>
                    <a:lnTo>
                      <a:pt x="424131" y="476062"/>
                    </a:lnTo>
                    <a:lnTo>
                      <a:pt x="434405" y="462488"/>
                    </a:lnTo>
                    <a:lnTo>
                      <a:pt x="443889" y="445720"/>
                    </a:lnTo>
                    <a:lnTo>
                      <a:pt x="451792" y="427355"/>
                    </a:lnTo>
                    <a:lnTo>
                      <a:pt x="459695" y="407393"/>
                    </a:lnTo>
                    <a:lnTo>
                      <a:pt x="466017" y="389028"/>
                    </a:lnTo>
                    <a:lnTo>
                      <a:pt x="472340" y="372260"/>
                    </a:lnTo>
                    <a:lnTo>
                      <a:pt x="477082" y="355492"/>
                    </a:lnTo>
                    <a:lnTo>
                      <a:pt x="481033" y="340321"/>
                    </a:lnTo>
                    <a:lnTo>
                      <a:pt x="483404" y="325949"/>
                    </a:lnTo>
                    <a:lnTo>
                      <a:pt x="484195" y="313173"/>
                    </a:lnTo>
                    <a:lnTo>
                      <a:pt x="485775" y="301196"/>
                    </a:lnTo>
                    <a:lnTo>
                      <a:pt x="484195" y="288420"/>
                    </a:lnTo>
                    <a:lnTo>
                      <a:pt x="481824" y="277242"/>
                    </a:lnTo>
                    <a:lnTo>
                      <a:pt x="476292" y="266063"/>
                    </a:lnTo>
                    <a:lnTo>
                      <a:pt x="469969" y="256481"/>
                    </a:lnTo>
                    <a:lnTo>
                      <a:pt x="466017" y="253287"/>
                    </a:lnTo>
                    <a:lnTo>
                      <a:pt x="462066" y="249295"/>
                    </a:lnTo>
                    <a:lnTo>
                      <a:pt x="457324" y="246900"/>
                    </a:lnTo>
                    <a:lnTo>
                      <a:pt x="451792" y="243706"/>
                    </a:lnTo>
                    <a:lnTo>
                      <a:pt x="446260" y="242109"/>
                    </a:lnTo>
                    <a:lnTo>
                      <a:pt x="440727" y="240512"/>
                    </a:lnTo>
                    <a:lnTo>
                      <a:pt x="434405" y="239713"/>
                    </a:lnTo>
                    <a:close/>
                    <a:moveTo>
                      <a:pt x="427466" y="0"/>
                    </a:moveTo>
                    <a:lnTo>
                      <a:pt x="446535" y="0"/>
                    </a:lnTo>
                    <a:lnTo>
                      <a:pt x="464809" y="1588"/>
                    </a:lnTo>
                    <a:lnTo>
                      <a:pt x="483084" y="3175"/>
                    </a:lnTo>
                    <a:lnTo>
                      <a:pt x="501359" y="5556"/>
                    </a:lnTo>
                    <a:lnTo>
                      <a:pt x="518839" y="8731"/>
                    </a:lnTo>
                    <a:lnTo>
                      <a:pt x="536319" y="11906"/>
                    </a:lnTo>
                    <a:lnTo>
                      <a:pt x="553004" y="15875"/>
                    </a:lnTo>
                    <a:lnTo>
                      <a:pt x="569689" y="20638"/>
                    </a:lnTo>
                    <a:lnTo>
                      <a:pt x="584786" y="26194"/>
                    </a:lnTo>
                    <a:lnTo>
                      <a:pt x="600677" y="32544"/>
                    </a:lnTo>
                    <a:lnTo>
                      <a:pt x="614979" y="38894"/>
                    </a:lnTo>
                    <a:lnTo>
                      <a:pt x="630075" y="46038"/>
                    </a:lnTo>
                    <a:lnTo>
                      <a:pt x="644377" y="53975"/>
                    </a:lnTo>
                    <a:lnTo>
                      <a:pt x="657884" y="62706"/>
                    </a:lnTo>
                    <a:lnTo>
                      <a:pt x="672186" y="71438"/>
                    </a:lnTo>
                    <a:lnTo>
                      <a:pt x="684899" y="81756"/>
                    </a:lnTo>
                    <a:lnTo>
                      <a:pt x="709529" y="103981"/>
                    </a:lnTo>
                    <a:lnTo>
                      <a:pt x="730982" y="127794"/>
                    </a:lnTo>
                    <a:lnTo>
                      <a:pt x="750051" y="153988"/>
                    </a:lnTo>
                    <a:lnTo>
                      <a:pt x="765148" y="181769"/>
                    </a:lnTo>
                    <a:lnTo>
                      <a:pt x="777066" y="211138"/>
                    </a:lnTo>
                    <a:lnTo>
                      <a:pt x="785011" y="242094"/>
                    </a:lnTo>
                    <a:lnTo>
                      <a:pt x="789779" y="273844"/>
                    </a:lnTo>
                    <a:lnTo>
                      <a:pt x="792162" y="308769"/>
                    </a:lnTo>
                    <a:lnTo>
                      <a:pt x="790573" y="336550"/>
                    </a:lnTo>
                    <a:lnTo>
                      <a:pt x="787395" y="362744"/>
                    </a:lnTo>
                    <a:lnTo>
                      <a:pt x="781833" y="387350"/>
                    </a:lnTo>
                    <a:lnTo>
                      <a:pt x="774682" y="411956"/>
                    </a:lnTo>
                    <a:lnTo>
                      <a:pt x="765148" y="435769"/>
                    </a:lnTo>
                    <a:lnTo>
                      <a:pt x="753229" y="457994"/>
                    </a:lnTo>
                    <a:lnTo>
                      <a:pt x="739722" y="480219"/>
                    </a:lnTo>
                    <a:lnTo>
                      <a:pt x="723037" y="500063"/>
                    </a:lnTo>
                    <a:lnTo>
                      <a:pt x="715091" y="510381"/>
                    </a:lnTo>
                    <a:lnTo>
                      <a:pt x="705557" y="518319"/>
                    </a:lnTo>
                    <a:lnTo>
                      <a:pt x="697611" y="527844"/>
                    </a:lnTo>
                    <a:lnTo>
                      <a:pt x="688077" y="534988"/>
                    </a:lnTo>
                    <a:lnTo>
                      <a:pt x="679337" y="542131"/>
                    </a:lnTo>
                    <a:lnTo>
                      <a:pt x="669802" y="548481"/>
                    </a:lnTo>
                    <a:lnTo>
                      <a:pt x="661062" y="554038"/>
                    </a:lnTo>
                    <a:lnTo>
                      <a:pt x="650733" y="559594"/>
                    </a:lnTo>
                    <a:lnTo>
                      <a:pt x="640404" y="564356"/>
                    </a:lnTo>
                    <a:lnTo>
                      <a:pt x="631664" y="568325"/>
                    </a:lnTo>
                    <a:lnTo>
                      <a:pt x="621335" y="572294"/>
                    </a:lnTo>
                    <a:lnTo>
                      <a:pt x="611800" y="574675"/>
                    </a:lnTo>
                    <a:lnTo>
                      <a:pt x="600677" y="577056"/>
                    </a:lnTo>
                    <a:lnTo>
                      <a:pt x="590348" y="578644"/>
                    </a:lnTo>
                    <a:lnTo>
                      <a:pt x="579224" y="579438"/>
                    </a:lnTo>
                    <a:lnTo>
                      <a:pt x="568100" y="579438"/>
                    </a:lnTo>
                    <a:lnTo>
                      <a:pt x="557771" y="579438"/>
                    </a:lnTo>
                    <a:lnTo>
                      <a:pt x="547442" y="577850"/>
                    </a:lnTo>
                    <a:lnTo>
                      <a:pt x="537113" y="576263"/>
                    </a:lnTo>
                    <a:lnTo>
                      <a:pt x="528373" y="573088"/>
                    </a:lnTo>
                    <a:lnTo>
                      <a:pt x="519633" y="569913"/>
                    </a:lnTo>
                    <a:lnTo>
                      <a:pt x="512482" y="565150"/>
                    </a:lnTo>
                    <a:lnTo>
                      <a:pt x="505331" y="560388"/>
                    </a:lnTo>
                    <a:lnTo>
                      <a:pt x="498975" y="554038"/>
                    </a:lnTo>
                    <a:lnTo>
                      <a:pt x="488646" y="541338"/>
                    </a:lnTo>
                    <a:lnTo>
                      <a:pt x="481495" y="527844"/>
                    </a:lnTo>
                    <a:lnTo>
                      <a:pt x="476728" y="514350"/>
                    </a:lnTo>
                    <a:lnTo>
                      <a:pt x="475139" y="501650"/>
                    </a:lnTo>
                    <a:lnTo>
                      <a:pt x="475139" y="498475"/>
                    </a:lnTo>
                    <a:lnTo>
                      <a:pt x="475139" y="494506"/>
                    </a:lnTo>
                    <a:lnTo>
                      <a:pt x="475139" y="489744"/>
                    </a:lnTo>
                    <a:lnTo>
                      <a:pt x="475933" y="484188"/>
                    </a:lnTo>
                    <a:lnTo>
                      <a:pt x="471166" y="493713"/>
                    </a:lnTo>
                    <a:lnTo>
                      <a:pt x="465604" y="501650"/>
                    </a:lnTo>
                    <a:lnTo>
                      <a:pt x="461631" y="508794"/>
                    </a:lnTo>
                    <a:lnTo>
                      <a:pt x="456069" y="516731"/>
                    </a:lnTo>
                    <a:lnTo>
                      <a:pt x="450508" y="523875"/>
                    </a:lnTo>
                    <a:lnTo>
                      <a:pt x="444946" y="530225"/>
                    </a:lnTo>
                    <a:lnTo>
                      <a:pt x="439384" y="535781"/>
                    </a:lnTo>
                    <a:lnTo>
                      <a:pt x="433822" y="541338"/>
                    </a:lnTo>
                    <a:lnTo>
                      <a:pt x="422699" y="550069"/>
                    </a:lnTo>
                    <a:lnTo>
                      <a:pt x="411575" y="558006"/>
                    </a:lnTo>
                    <a:lnTo>
                      <a:pt x="399657" y="564356"/>
                    </a:lnTo>
                    <a:lnTo>
                      <a:pt x="387739" y="569913"/>
                    </a:lnTo>
                    <a:lnTo>
                      <a:pt x="375026" y="573088"/>
                    </a:lnTo>
                    <a:lnTo>
                      <a:pt x="362313" y="577056"/>
                    </a:lnTo>
                    <a:lnTo>
                      <a:pt x="348806" y="577850"/>
                    </a:lnTo>
                    <a:lnTo>
                      <a:pt x="333709" y="578644"/>
                    </a:lnTo>
                    <a:lnTo>
                      <a:pt x="319408" y="577850"/>
                    </a:lnTo>
                    <a:lnTo>
                      <a:pt x="305900" y="576263"/>
                    </a:lnTo>
                    <a:lnTo>
                      <a:pt x="291598" y="573088"/>
                    </a:lnTo>
                    <a:lnTo>
                      <a:pt x="278886" y="568325"/>
                    </a:lnTo>
                    <a:lnTo>
                      <a:pt x="266968" y="561975"/>
                    </a:lnTo>
                    <a:lnTo>
                      <a:pt x="255844" y="554831"/>
                    </a:lnTo>
                    <a:lnTo>
                      <a:pt x="245515" y="546894"/>
                    </a:lnTo>
                    <a:lnTo>
                      <a:pt x="235186" y="536575"/>
                    </a:lnTo>
                    <a:lnTo>
                      <a:pt x="225651" y="525463"/>
                    </a:lnTo>
                    <a:lnTo>
                      <a:pt x="217706" y="512763"/>
                    </a:lnTo>
                    <a:lnTo>
                      <a:pt x="210555" y="500063"/>
                    </a:lnTo>
                    <a:lnTo>
                      <a:pt x="204993" y="484981"/>
                    </a:lnTo>
                    <a:lnTo>
                      <a:pt x="200226" y="469900"/>
                    </a:lnTo>
                    <a:lnTo>
                      <a:pt x="197842" y="453231"/>
                    </a:lnTo>
                    <a:lnTo>
                      <a:pt x="195458" y="434975"/>
                    </a:lnTo>
                    <a:lnTo>
                      <a:pt x="194664" y="416719"/>
                    </a:lnTo>
                    <a:lnTo>
                      <a:pt x="195458" y="394494"/>
                    </a:lnTo>
                    <a:lnTo>
                      <a:pt x="198637" y="373856"/>
                    </a:lnTo>
                    <a:lnTo>
                      <a:pt x="203404" y="351631"/>
                    </a:lnTo>
                    <a:lnTo>
                      <a:pt x="210555" y="330994"/>
                    </a:lnTo>
                    <a:lnTo>
                      <a:pt x="218500" y="310356"/>
                    </a:lnTo>
                    <a:lnTo>
                      <a:pt x="228829" y="289719"/>
                    </a:lnTo>
                    <a:lnTo>
                      <a:pt x="241542" y="270669"/>
                    </a:lnTo>
                    <a:lnTo>
                      <a:pt x="255049" y="250031"/>
                    </a:lnTo>
                    <a:lnTo>
                      <a:pt x="262995" y="241300"/>
                    </a:lnTo>
                    <a:lnTo>
                      <a:pt x="270940" y="231775"/>
                    </a:lnTo>
                    <a:lnTo>
                      <a:pt x="278886" y="223838"/>
                    </a:lnTo>
                    <a:lnTo>
                      <a:pt x="287626" y="216694"/>
                    </a:lnTo>
                    <a:lnTo>
                      <a:pt x="295571" y="209550"/>
                    </a:lnTo>
                    <a:lnTo>
                      <a:pt x="305106" y="203200"/>
                    </a:lnTo>
                    <a:lnTo>
                      <a:pt x="313846" y="197644"/>
                    </a:lnTo>
                    <a:lnTo>
                      <a:pt x="323380" y="192881"/>
                    </a:lnTo>
                    <a:lnTo>
                      <a:pt x="332120" y="188119"/>
                    </a:lnTo>
                    <a:lnTo>
                      <a:pt x="342449" y="184150"/>
                    </a:lnTo>
                    <a:lnTo>
                      <a:pt x="351984" y="180975"/>
                    </a:lnTo>
                    <a:lnTo>
                      <a:pt x="362313" y="177800"/>
                    </a:lnTo>
                    <a:lnTo>
                      <a:pt x="372642" y="176213"/>
                    </a:lnTo>
                    <a:lnTo>
                      <a:pt x="382177" y="174625"/>
                    </a:lnTo>
                    <a:lnTo>
                      <a:pt x="393300" y="173038"/>
                    </a:lnTo>
                    <a:lnTo>
                      <a:pt x="404424" y="173038"/>
                    </a:lnTo>
                    <a:lnTo>
                      <a:pt x="417137" y="173038"/>
                    </a:lnTo>
                    <a:lnTo>
                      <a:pt x="428260" y="175419"/>
                    </a:lnTo>
                    <a:lnTo>
                      <a:pt x="439384" y="177006"/>
                    </a:lnTo>
                    <a:lnTo>
                      <a:pt x="450508" y="180975"/>
                    </a:lnTo>
                    <a:lnTo>
                      <a:pt x="459248" y="184150"/>
                    </a:lnTo>
                    <a:lnTo>
                      <a:pt x="468782" y="188913"/>
                    </a:lnTo>
                    <a:lnTo>
                      <a:pt x="476728" y="195263"/>
                    </a:lnTo>
                    <a:lnTo>
                      <a:pt x="483879" y="201613"/>
                    </a:lnTo>
                    <a:lnTo>
                      <a:pt x="489440" y="207169"/>
                    </a:lnTo>
                    <a:lnTo>
                      <a:pt x="494208" y="212725"/>
                    </a:lnTo>
                    <a:lnTo>
                      <a:pt x="498975" y="219075"/>
                    </a:lnTo>
                    <a:lnTo>
                      <a:pt x="502153" y="225425"/>
                    </a:lnTo>
                    <a:lnTo>
                      <a:pt x="505331" y="231775"/>
                    </a:lnTo>
                    <a:lnTo>
                      <a:pt x="509304" y="238125"/>
                    </a:lnTo>
                    <a:lnTo>
                      <a:pt x="511688" y="244475"/>
                    </a:lnTo>
                    <a:lnTo>
                      <a:pt x="513277" y="252413"/>
                    </a:lnTo>
                    <a:lnTo>
                      <a:pt x="530757" y="189706"/>
                    </a:lnTo>
                    <a:lnTo>
                      <a:pt x="624513" y="189706"/>
                    </a:lnTo>
                    <a:lnTo>
                      <a:pt x="560949" y="403225"/>
                    </a:lnTo>
                    <a:lnTo>
                      <a:pt x="557771" y="415131"/>
                    </a:lnTo>
                    <a:lnTo>
                      <a:pt x="554593" y="426244"/>
                    </a:lnTo>
                    <a:lnTo>
                      <a:pt x="552209" y="434181"/>
                    </a:lnTo>
                    <a:lnTo>
                      <a:pt x="549826" y="441325"/>
                    </a:lnTo>
                    <a:lnTo>
                      <a:pt x="549031" y="447675"/>
                    </a:lnTo>
                    <a:lnTo>
                      <a:pt x="548237" y="453231"/>
                    </a:lnTo>
                    <a:lnTo>
                      <a:pt x="547442" y="458788"/>
                    </a:lnTo>
                    <a:lnTo>
                      <a:pt x="547442" y="463550"/>
                    </a:lnTo>
                    <a:lnTo>
                      <a:pt x="548237" y="470694"/>
                    </a:lnTo>
                    <a:lnTo>
                      <a:pt x="549826" y="477838"/>
                    </a:lnTo>
                    <a:lnTo>
                      <a:pt x="553004" y="484188"/>
                    </a:lnTo>
                    <a:lnTo>
                      <a:pt x="557771" y="492125"/>
                    </a:lnTo>
                    <a:lnTo>
                      <a:pt x="560155" y="494506"/>
                    </a:lnTo>
                    <a:lnTo>
                      <a:pt x="562539" y="496888"/>
                    </a:lnTo>
                    <a:lnTo>
                      <a:pt x="566511" y="499269"/>
                    </a:lnTo>
                    <a:lnTo>
                      <a:pt x="570484" y="500856"/>
                    </a:lnTo>
                    <a:lnTo>
                      <a:pt x="573662" y="502444"/>
                    </a:lnTo>
                    <a:lnTo>
                      <a:pt x="578429" y="504031"/>
                    </a:lnTo>
                    <a:lnTo>
                      <a:pt x="583197" y="504825"/>
                    </a:lnTo>
                    <a:lnTo>
                      <a:pt x="588759" y="504825"/>
                    </a:lnTo>
                    <a:lnTo>
                      <a:pt x="599882" y="504031"/>
                    </a:lnTo>
                    <a:lnTo>
                      <a:pt x="609417" y="500856"/>
                    </a:lnTo>
                    <a:lnTo>
                      <a:pt x="620540" y="496888"/>
                    </a:lnTo>
                    <a:lnTo>
                      <a:pt x="630869" y="490538"/>
                    </a:lnTo>
                    <a:lnTo>
                      <a:pt x="641993" y="482600"/>
                    </a:lnTo>
                    <a:lnTo>
                      <a:pt x="651528" y="473869"/>
                    </a:lnTo>
                    <a:lnTo>
                      <a:pt x="662651" y="461963"/>
                    </a:lnTo>
                    <a:lnTo>
                      <a:pt x="672980" y="448469"/>
                    </a:lnTo>
                    <a:lnTo>
                      <a:pt x="682515" y="434181"/>
                    </a:lnTo>
                    <a:lnTo>
                      <a:pt x="691255" y="419100"/>
                    </a:lnTo>
                    <a:lnTo>
                      <a:pt x="698406" y="402431"/>
                    </a:lnTo>
                    <a:lnTo>
                      <a:pt x="704762" y="384969"/>
                    </a:lnTo>
                    <a:lnTo>
                      <a:pt x="709529" y="366713"/>
                    </a:lnTo>
                    <a:lnTo>
                      <a:pt x="712708" y="346075"/>
                    </a:lnTo>
                    <a:lnTo>
                      <a:pt x="715091" y="324644"/>
                    </a:lnTo>
                    <a:lnTo>
                      <a:pt x="715886" y="302419"/>
                    </a:lnTo>
                    <a:lnTo>
                      <a:pt x="714297" y="270669"/>
                    </a:lnTo>
                    <a:lnTo>
                      <a:pt x="708735" y="240506"/>
                    </a:lnTo>
                    <a:lnTo>
                      <a:pt x="699200" y="211931"/>
                    </a:lnTo>
                    <a:lnTo>
                      <a:pt x="686488" y="185738"/>
                    </a:lnTo>
                    <a:lnTo>
                      <a:pt x="670597" y="163513"/>
                    </a:lnTo>
                    <a:lnTo>
                      <a:pt x="650733" y="142081"/>
                    </a:lnTo>
                    <a:lnTo>
                      <a:pt x="626897" y="123825"/>
                    </a:lnTo>
                    <a:lnTo>
                      <a:pt x="599882" y="108744"/>
                    </a:lnTo>
                    <a:lnTo>
                      <a:pt x="590348" y="103981"/>
                    </a:lnTo>
                    <a:lnTo>
                      <a:pt x="581608" y="99219"/>
                    </a:lnTo>
                    <a:lnTo>
                      <a:pt x="572073" y="95250"/>
                    </a:lnTo>
                    <a:lnTo>
                      <a:pt x="561744" y="92075"/>
                    </a:lnTo>
                    <a:lnTo>
                      <a:pt x="552209" y="88900"/>
                    </a:lnTo>
                    <a:lnTo>
                      <a:pt x="542675" y="85725"/>
                    </a:lnTo>
                    <a:lnTo>
                      <a:pt x="532346" y="82550"/>
                    </a:lnTo>
                    <a:lnTo>
                      <a:pt x="522811" y="80169"/>
                    </a:lnTo>
                    <a:lnTo>
                      <a:pt x="512482" y="77788"/>
                    </a:lnTo>
                    <a:lnTo>
                      <a:pt x="501359" y="76200"/>
                    </a:lnTo>
                    <a:lnTo>
                      <a:pt x="491824" y="74613"/>
                    </a:lnTo>
                    <a:lnTo>
                      <a:pt x="480700" y="73819"/>
                    </a:lnTo>
                    <a:lnTo>
                      <a:pt x="469577" y="71438"/>
                    </a:lnTo>
                    <a:lnTo>
                      <a:pt x="458453" y="71438"/>
                    </a:lnTo>
                    <a:lnTo>
                      <a:pt x="446535" y="70644"/>
                    </a:lnTo>
                    <a:lnTo>
                      <a:pt x="435411" y="70644"/>
                    </a:lnTo>
                    <a:lnTo>
                      <a:pt x="415548" y="70644"/>
                    </a:lnTo>
                    <a:lnTo>
                      <a:pt x="395684" y="73025"/>
                    </a:lnTo>
                    <a:lnTo>
                      <a:pt x="375026" y="74613"/>
                    </a:lnTo>
                    <a:lnTo>
                      <a:pt x="356751" y="76994"/>
                    </a:lnTo>
                    <a:lnTo>
                      <a:pt x="337682" y="80963"/>
                    </a:lnTo>
                    <a:lnTo>
                      <a:pt x="320202" y="85725"/>
                    </a:lnTo>
                    <a:lnTo>
                      <a:pt x="301928" y="91281"/>
                    </a:lnTo>
                    <a:lnTo>
                      <a:pt x="285242" y="96838"/>
                    </a:lnTo>
                    <a:lnTo>
                      <a:pt x="269351" y="103981"/>
                    </a:lnTo>
                    <a:lnTo>
                      <a:pt x="252666" y="111125"/>
                    </a:lnTo>
                    <a:lnTo>
                      <a:pt x="236775" y="119063"/>
                    </a:lnTo>
                    <a:lnTo>
                      <a:pt x="222473" y="128588"/>
                    </a:lnTo>
                    <a:lnTo>
                      <a:pt x="207377" y="138906"/>
                    </a:lnTo>
                    <a:lnTo>
                      <a:pt x="193869" y="149225"/>
                    </a:lnTo>
                    <a:lnTo>
                      <a:pt x="180362" y="161131"/>
                    </a:lnTo>
                    <a:lnTo>
                      <a:pt x="167649" y="173038"/>
                    </a:lnTo>
                    <a:lnTo>
                      <a:pt x="146197" y="196850"/>
                    </a:lnTo>
                    <a:lnTo>
                      <a:pt x="127922" y="221456"/>
                    </a:lnTo>
                    <a:lnTo>
                      <a:pt x="112826" y="247650"/>
                    </a:lnTo>
                    <a:lnTo>
                      <a:pt x="99318" y="274638"/>
                    </a:lnTo>
                    <a:lnTo>
                      <a:pt x="89784" y="303213"/>
                    </a:lnTo>
                    <a:lnTo>
                      <a:pt x="82633" y="332581"/>
                    </a:lnTo>
                    <a:lnTo>
                      <a:pt x="78660" y="362744"/>
                    </a:lnTo>
                    <a:lnTo>
                      <a:pt x="77071" y="394494"/>
                    </a:lnTo>
                    <a:lnTo>
                      <a:pt x="78660" y="429419"/>
                    </a:lnTo>
                    <a:lnTo>
                      <a:pt x="83428" y="463550"/>
                    </a:lnTo>
                    <a:lnTo>
                      <a:pt x="91373" y="494506"/>
                    </a:lnTo>
                    <a:lnTo>
                      <a:pt x="103291" y="523875"/>
                    </a:lnTo>
                    <a:lnTo>
                      <a:pt x="119182" y="550863"/>
                    </a:lnTo>
                    <a:lnTo>
                      <a:pt x="137457" y="577056"/>
                    </a:lnTo>
                    <a:lnTo>
                      <a:pt x="158909" y="600869"/>
                    </a:lnTo>
                    <a:lnTo>
                      <a:pt x="183540" y="622300"/>
                    </a:lnTo>
                    <a:lnTo>
                      <a:pt x="195458" y="631825"/>
                    </a:lnTo>
                    <a:lnTo>
                      <a:pt x="208966" y="639763"/>
                    </a:lnTo>
                    <a:lnTo>
                      <a:pt x="220884" y="648494"/>
                    </a:lnTo>
                    <a:lnTo>
                      <a:pt x="234391" y="654844"/>
                    </a:lnTo>
                    <a:lnTo>
                      <a:pt x="247104" y="661988"/>
                    </a:lnTo>
                    <a:lnTo>
                      <a:pt x="260611" y="667544"/>
                    </a:lnTo>
                    <a:lnTo>
                      <a:pt x="274913" y="673100"/>
                    </a:lnTo>
                    <a:lnTo>
                      <a:pt x="289215" y="678656"/>
                    </a:lnTo>
                    <a:lnTo>
                      <a:pt x="303517" y="681831"/>
                    </a:lnTo>
                    <a:lnTo>
                      <a:pt x="318613" y="686594"/>
                    </a:lnTo>
                    <a:lnTo>
                      <a:pt x="333709" y="689769"/>
                    </a:lnTo>
                    <a:lnTo>
                      <a:pt x="349600" y="692150"/>
                    </a:lnTo>
                    <a:lnTo>
                      <a:pt x="365491" y="693738"/>
                    </a:lnTo>
                    <a:lnTo>
                      <a:pt x="381382" y="696119"/>
                    </a:lnTo>
                    <a:lnTo>
                      <a:pt x="398068" y="696913"/>
                    </a:lnTo>
                    <a:lnTo>
                      <a:pt x="414753" y="696913"/>
                    </a:lnTo>
                    <a:lnTo>
                      <a:pt x="426671" y="696913"/>
                    </a:lnTo>
                    <a:lnTo>
                      <a:pt x="437795" y="696119"/>
                    </a:lnTo>
                    <a:lnTo>
                      <a:pt x="449713" y="696119"/>
                    </a:lnTo>
                    <a:lnTo>
                      <a:pt x="460042" y="694531"/>
                    </a:lnTo>
                    <a:lnTo>
                      <a:pt x="471960" y="692944"/>
                    </a:lnTo>
                    <a:lnTo>
                      <a:pt x="483084" y="692150"/>
                    </a:lnTo>
                    <a:lnTo>
                      <a:pt x="494208" y="690563"/>
                    </a:lnTo>
                    <a:lnTo>
                      <a:pt x="505331" y="687388"/>
                    </a:lnTo>
                    <a:lnTo>
                      <a:pt x="516455" y="685800"/>
                    </a:lnTo>
                    <a:lnTo>
                      <a:pt x="527579" y="683419"/>
                    </a:lnTo>
                    <a:lnTo>
                      <a:pt x="537113" y="680244"/>
                    </a:lnTo>
                    <a:lnTo>
                      <a:pt x="548237" y="676275"/>
                    </a:lnTo>
                    <a:lnTo>
                      <a:pt x="558566" y="673894"/>
                    </a:lnTo>
                    <a:lnTo>
                      <a:pt x="569689" y="669925"/>
                    </a:lnTo>
                    <a:lnTo>
                      <a:pt x="579224" y="666750"/>
                    </a:lnTo>
                    <a:lnTo>
                      <a:pt x="589553" y="661988"/>
                    </a:lnTo>
                    <a:lnTo>
                      <a:pt x="600677" y="657225"/>
                    </a:lnTo>
                    <a:lnTo>
                      <a:pt x="611800" y="651669"/>
                    </a:lnTo>
                    <a:lnTo>
                      <a:pt x="622129" y="646113"/>
                    </a:lnTo>
                    <a:lnTo>
                      <a:pt x="634048" y="639763"/>
                    </a:lnTo>
                    <a:lnTo>
                      <a:pt x="645171" y="633413"/>
                    </a:lnTo>
                    <a:lnTo>
                      <a:pt x="657089" y="626269"/>
                    </a:lnTo>
                    <a:lnTo>
                      <a:pt x="669008" y="619125"/>
                    </a:lnTo>
                    <a:lnTo>
                      <a:pt x="680926" y="610394"/>
                    </a:lnTo>
                    <a:lnTo>
                      <a:pt x="692844" y="602456"/>
                    </a:lnTo>
                    <a:lnTo>
                      <a:pt x="728599" y="657225"/>
                    </a:lnTo>
                    <a:lnTo>
                      <a:pt x="719859" y="663575"/>
                    </a:lnTo>
                    <a:lnTo>
                      <a:pt x="711119" y="669925"/>
                    </a:lnTo>
                    <a:lnTo>
                      <a:pt x="702379" y="676275"/>
                    </a:lnTo>
                    <a:lnTo>
                      <a:pt x="692844" y="683419"/>
                    </a:lnTo>
                    <a:lnTo>
                      <a:pt x="684104" y="688181"/>
                    </a:lnTo>
                    <a:lnTo>
                      <a:pt x="674569" y="693738"/>
                    </a:lnTo>
                    <a:lnTo>
                      <a:pt x="665829" y="699294"/>
                    </a:lnTo>
                    <a:lnTo>
                      <a:pt x="656295" y="704850"/>
                    </a:lnTo>
                    <a:lnTo>
                      <a:pt x="645966" y="709613"/>
                    </a:lnTo>
                    <a:lnTo>
                      <a:pt x="637226" y="715169"/>
                    </a:lnTo>
                    <a:lnTo>
                      <a:pt x="626897" y="719931"/>
                    </a:lnTo>
                    <a:lnTo>
                      <a:pt x="618157" y="723900"/>
                    </a:lnTo>
                    <a:lnTo>
                      <a:pt x="607828" y="727869"/>
                    </a:lnTo>
                    <a:lnTo>
                      <a:pt x="597499" y="732631"/>
                    </a:lnTo>
                    <a:lnTo>
                      <a:pt x="587964" y="735806"/>
                    </a:lnTo>
                    <a:lnTo>
                      <a:pt x="577635" y="739775"/>
                    </a:lnTo>
                    <a:lnTo>
                      <a:pt x="567306" y="743744"/>
                    </a:lnTo>
                    <a:lnTo>
                      <a:pt x="557771" y="746125"/>
                    </a:lnTo>
                    <a:lnTo>
                      <a:pt x="547442" y="749300"/>
                    </a:lnTo>
                    <a:lnTo>
                      <a:pt x="536319" y="751681"/>
                    </a:lnTo>
                    <a:lnTo>
                      <a:pt x="525989" y="754063"/>
                    </a:lnTo>
                    <a:lnTo>
                      <a:pt x="515660" y="757238"/>
                    </a:lnTo>
                    <a:lnTo>
                      <a:pt x="505331" y="758825"/>
                    </a:lnTo>
                    <a:lnTo>
                      <a:pt x="494208" y="761206"/>
                    </a:lnTo>
                    <a:lnTo>
                      <a:pt x="483879" y="762794"/>
                    </a:lnTo>
                    <a:lnTo>
                      <a:pt x="473549" y="763588"/>
                    </a:lnTo>
                    <a:lnTo>
                      <a:pt x="462426" y="765175"/>
                    </a:lnTo>
                    <a:lnTo>
                      <a:pt x="452097" y="765969"/>
                    </a:lnTo>
                    <a:lnTo>
                      <a:pt x="440973" y="767556"/>
                    </a:lnTo>
                    <a:lnTo>
                      <a:pt x="429849" y="767556"/>
                    </a:lnTo>
                    <a:lnTo>
                      <a:pt x="419520" y="768350"/>
                    </a:lnTo>
                    <a:lnTo>
                      <a:pt x="408397" y="768350"/>
                    </a:lnTo>
                    <a:lnTo>
                      <a:pt x="383766" y="767556"/>
                    </a:lnTo>
                    <a:lnTo>
                      <a:pt x="359135" y="765969"/>
                    </a:lnTo>
                    <a:lnTo>
                      <a:pt x="335299" y="763588"/>
                    </a:lnTo>
                    <a:lnTo>
                      <a:pt x="312257" y="759619"/>
                    </a:lnTo>
                    <a:lnTo>
                      <a:pt x="290009" y="755650"/>
                    </a:lnTo>
                    <a:lnTo>
                      <a:pt x="267762" y="750094"/>
                    </a:lnTo>
                    <a:lnTo>
                      <a:pt x="247898" y="743744"/>
                    </a:lnTo>
                    <a:lnTo>
                      <a:pt x="228035" y="735806"/>
                    </a:lnTo>
                    <a:lnTo>
                      <a:pt x="208966" y="727869"/>
                    </a:lnTo>
                    <a:lnTo>
                      <a:pt x="189102" y="717550"/>
                    </a:lnTo>
                    <a:lnTo>
                      <a:pt x="171622" y="708025"/>
                    </a:lnTo>
                    <a:lnTo>
                      <a:pt x="154937" y="696913"/>
                    </a:lnTo>
                    <a:lnTo>
                      <a:pt x="138251" y="684213"/>
                    </a:lnTo>
                    <a:lnTo>
                      <a:pt x="121566" y="669925"/>
                    </a:lnTo>
                    <a:lnTo>
                      <a:pt x="107264" y="656431"/>
                    </a:lnTo>
                    <a:lnTo>
                      <a:pt x="92168" y="640556"/>
                    </a:lnTo>
                    <a:lnTo>
                      <a:pt x="70715" y="614363"/>
                    </a:lnTo>
                    <a:lnTo>
                      <a:pt x="52440" y="585788"/>
                    </a:lnTo>
                    <a:lnTo>
                      <a:pt x="36549" y="556419"/>
                    </a:lnTo>
                    <a:lnTo>
                      <a:pt x="23042" y="526256"/>
                    </a:lnTo>
                    <a:lnTo>
                      <a:pt x="12713" y="494506"/>
                    </a:lnTo>
                    <a:lnTo>
                      <a:pt x="5562" y="461963"/>
                    </a:lnTo>
                    <a:lnTo>
                      <a:pt x="1589" y="427831"/>
                    </a:lnTo>
                    <a:lnTo>
                      <a:pt x="0" y="392113"/>
                    </a:lnTo>
                    <a:lnTo>
                      <a:pt x="1589" y="352425"/>
                    </a:lnTo>
                    <a:lnTo>
                      <a:pt x="7151" y="314325"/>
                    </a:lnTo>
                    <a:lnTo>
                      <a:pt x="16686" y="278606"/>
                    </a:lnTo>
                    <a:lnTo>
                      <a:pt x="29398" y="242888"/>
                    </a:lnTo>
                    <a:lnTo>
                      <a:pt x="44495" y="209550"/>
                    </a:lnTo>
                    <a:lnTo>
                      <a:pt x="65153" y="177800"/>
                    </a:lnTo>
                    <a:lnTo>
                      <a:pt x="87400" y="147638"/>
                    </a:lnTo>
                    <a:lnTo>
                      <a:pt x="115209" y="119063"/>
                    </a:lnTo>
                    <a:lnTo>
                      <a:pt x="131100" y="104775"/>
                    </a:lnTo>
                    <a:lnTo>
                      <a:pt x="146991" y="91281"/>
                    </a:lnTo>
                    <a:lnTo>
                      <a:pt x="163677" y="79375"/>
                    </a:lnTo>
                    <a:lnTo>
                      <a:pt x="180362" y="67469"/>
                    </a:lnTo>
                    <a:lnTo>
                      <a:pt x="198637" y="56356"/>
                    </a:lnTo>
                    <a:lnTo>
                      <a:pt x="216911" y="46831"/>
                    </a:lnTo>
                    <a:lnTo>
                      <a:pt x="235186" y="38100"/>
                    </a:lnTo>
                    <a:lnTo>
                      <a:pt x="254255" y="29369"/>
                    </a:lnTo>
                    <a:lnTo>
                      <a:pt x="274913" y="23019"/>
                    </a:lnTo>
                    <a:lnTo>
                      <a:pt x="294777" y="16669"/>
                    </a:lnTo>
                    <a:lnTo>
                      <a:pt x="315435" y="11906"/>
                    </a:lnTo>
                    <a:lnTo>
                      <a:pt x="336888" y="7938"/>
                    </a:lnTo>
                    <a:lnTo>
                      <a:pt x="359135" y="4763"/>
                    </a:lnTo>
                    <a:lnTo>
                      <a:pt x="380588" y="2381"/>
                    </a:lnTo>
                    <a:lnTo>
                      <a:pt x="403629" y="158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grpSp>
            <p:nvGrpSpPr>
              <p:cNvPr id="368" name="Group 367"/>
              <p:cNvGrpSpPr/>
              <p:nvPr/>
            </p:nvGrpSpPr>
            <p:grpSpPr>
              <a:xfrm>
                <a:off x="4195952" y="3237771"/>
                <a:ext cx="229678" cy="198426"/>
                <a:chOff x="3960963" y="2956210"/>
                <a:chExt cx="229678" cy="198426"/>
              </a:xfrm>
            </p:grpSpPr>
            <p:sp>
              <p:nvSpPr>
                <p:cNvPr id="374" name="Oval 373"/>
                <p:cNvSpPr>
                  <a:spLocks noChangeArrowheads="1"/>
                </p:cNvSpPr>
                <p:nvPr/>
              </p:nvSpPr>
              <p:spPr bwMode="auto">
                <a:xfrm>
                  <a:off x="4041271" y="2956210"/>
                  <a:ext cx="73284" cy="73406"/>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75" name="Freeform 374"/>
                <p:cNvSpPr>
                  <a:spLocks/>
                </p:cNvSpPr>
                <p:nvPr/>
              </p:nvSpPr>
              <p:spPr bwMode="auto">
                <a:xfrm>
                  <a:off x="4011324" y="3038258"/>
                  <a:ext cx="131108" cy="116378"/>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6" h="405">
                      <a:moveTo>
                        <a:pt x="420" y="125"/>
                      </a:moveTo>
                      <a:cubicBezTo>
                        <a:pt x="369" y="38"/>
                        <a:pt x="327" y="0"/>
                        <a:pt x="311" y="0"/>
                      </a:cubicBezTo>
                      <a:cubicBezTo>
                        <a:pt x="296" y="0"/>
                        <a:pt x="247" y="97"/>
                        <a:pt x="233" y="97"/>
                      </a:cubicBezTo>
                      <a:cubicBezTo>
                        <a:pt x="223" y="97"/>
                        <a:pt x="223" y="97"/>
                        <a:pt x="223" y="97"/>
                      </a:cubicBezTo>
                      <a:cubicBezTo>
                        <a:pt x="210" y="97"/>
                        <a:pt x="161" y="0"/>
                        <a:pt x="145" y="0"/>
                      </a:cubicBezTo>
                      <a:cubicBezTo>
                        <a:pt x="130" y="0"/>
                        <a:pt x="88" y="38"/>
                        <a:pt x="37" y="125"/>
                      </a:cubicBezTo>
                      <a:cubicBezTo>
                        <a:pt x="13" y="165"/>
                        <a:pt x="0" y="251"/>
                        <a:pt x="30" y="307"/>
                      </a:cubicBezTo>
                      <a:cubicBezTo>
                        <a:pt x="64" y="372"/>
                        <a:pt x="149" y="405"/>
                        <a:pt x="220" y="405"/>
                      </a:cubicBezTo>
                      <a:cubicBezTo>
                        <a:pt x="236" y="405"/>
                        <a:pt x="236" y="405"/>
                        <a:pt x="236" y="405"/>
                      </a:cubicBezTo>
                      <a:cubicBezTo>
                        <a:pt x="308" y="405"/>
                        <a:pt x="393" y="372"/>
                        <a:pt x="427" y="307"/>
                      </a:cubicBezTo>
                      <a:cubicBezTo>
                        <a:pt x="456" y="251"/>
                        <a:pt x="444" y="165"/>
                        <a:pt x="420" y="12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76" name="Oval 375"/>
                <p:cNvSpPr>
                  <a:spLocks noChangeArrowheads="1"/>
                </p:cNvSpPr>
                <p:nvPr/>
              </p:nvSpPr>
              <p:spPr bwMode="auto">
                <a:xfrm>
                  <a:off x="3979716"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77" name="Freeform 376"/>
                <p:cNvSpPr>
                  <a:spLocks/>
                </p:cNvSpPr>
                <p:nvPr/>
              </p:nvSpPr>
              <p:spPr bwMode="auto">
                <a:xfrm>
                  <a:off x="3960963"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78" name="Oval 377"/>
                <p:cNvSpPr>
                  <a:spLocks noChangeArrowheads="1"/>
                </p:cNvSpPr>
                <p:nvPr/>
              </p:nvSpPr>
              <p:spPr bwMode="auto">
                <a:xfrm flipH="1">
                  <a:off x="4126201"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79" name="Freeform 378"/>
                <p:cNvSpPr>
                  <a:spLocks/>
                </p:cNvSpPr>
                <p:nvPr/>
              </p:nvSpPr>
              <p:spPr bwMode="auto">
                <a:xfrm flipH="1">
                  <a:off x="4123132"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grpSp>
          <p:pic>
            <p:nvPicPr>
              <p:cNvPr id="369" name="Picture 42"/>
              <p:cNvPicPr>
                <a:picLocks noChangeAspect="1"/>
              </p:cNvPicPr>
              <p:nvPr/>
            </p:nvPicPr>
            <p:blipFill>
              <a:blip r:embed="rId21"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3751205" y="3007090"/>
                <a:ext cx="292379" cy="216168"/>
              </a:xfrm>
              <a:prstGeom prst="rect">
                <a:avLst/>
              </a:prstGeom>
            </p:spPr>
          </p:pic>
          <p:grpSp>
            <p:nvGrpSpPr>
              <p:cNvPr id="370" name="Group 369"/>
              <p:cNvGrpSpPr/>
              <p:nvPr/>
            </p:nvGrpSpPr>
            <p:grpSpPr>
              <a:xfrm>
                <a:off x="4178076" y="2150348"/>
                <a:ext cx="454852" cy="261892"/>
                <a:chOff x="10810856" y="2000146"/>
                <a:chExt cx="542944" cy="312613"/>
              </a:xfrm>
            </p:grpSpPr>
            <p:pic>
              <p:nvPicPr>
                <p:cNvPr id="372" name="Picture 47" descr="C:\Users\sakuu\Documents\Ballmer MGX 2011\Tile Icons\Calendar.png"/>
                <p:cNvPicPr>
                  <a:picLocks noChangeAspect="1" noChangeArrowheads="1"/>
                </p:cNvPicPr>
                <p:nvPr/>
              </p:nvPicPr>
              <p:blipFill>
                <a:blip r:embed="rId22" cstate="print">
                  <a:extLst>
                    <a:ext uri="{BEBA8EAE-BF5A-486C-A8C5-ECC9F3942E4B}">
                      <a14:imgProps xmlns:a14="http://schemas.microsoft.com/office/drawing/2010/main">
                        <a14:imgLayer r:embed="rId2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black">
                <a:xfrm>
                  <a:off x="11038367" y="2022449"/>
                  <a:ext cx="315433" cy="29031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73" name="Freeform 113"/>
                <p:cNvSpPr>
                  <a:spLocks noEditPoints="1"/>
                </p:cNvSpPr>
                <p:nvPr/>
              </p:nvSpPr>
              <p:spPr bwMode="black">
                <a:xfrm>
                  <a:off x="10810856" y="2000146"/>
                  <a:ext cx="215583" cy="215583"/>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bg1">
                    <a:lumMod val="50000"/>
                  </a:schemeClr>
                </a:solidFill>
                <a:ln>
                  <a:noFill/>
                </a:ln>
                <a:extLst/>
              </p:spPr>
              <p:txBody>
                <a:bodyPr/>
                <a:lstStyle/>
                <a:p>
                  <a:pPr defTabSz="914400">
                    <a:defRPr/>
                  </a:pPr>
                  <a:endParaRPr lang="en-US" sz="1050" kern="0" dirty="0">
                    <a:solidFill>
                      <a:srgbClr val="000000"/>
                    </a:solidFill>
                  </a:endParaRPr>
                </a:p>
              </p:txBody>
            </p:sp>
          </p:grpSp>
          <p:pic>
            <p:nvPicPr>
              <p:cNvPr id="371" name="Picture 370"/>
              <p:cNvPicPr>
                <a:picLocks noChangeAspect="1"/>
              </p:cNvPicPr>
              <p:nvPr/>
            </p:nvPicPr>
            <p:blipFill>
              <a:blip r:embed="rId24">
                <a:duotone>
                  <a:prstClr val="black"/>
                  <a:schemeClr val="accent5">
                    <a:tint val="45000"/>
                    <a:satMod val="400000"/>
                  </a:schemeClr>
                </a:duotone>
              </a:blip>
              <a:stretch>
                <a:fillRect/>
              </a:stretch>
            </p:blipFill>
            <p:spPr bwMode="auto">
              <a:xfrm>
                <a:off x="4189696" y="2540145"/>
                <a:ext cx="380979" cy="354244"/>
              </a:xfrm>
              <a:prstGeom prst="rect">
                <a:avLst/>
              </a:prstGeom>
              <a:noFill/>
              <a:ln>
                <a:noFill/>
              </a:ln>
            </p:spPr>
          </p:pic>
        </p:grpSp>
        <p:sp>
          <p:nvSpPr>
            <p:cNvPr id="357" name="TextBox 356"/>
            <p:cNvSpPr txBox="1"/>
            <p:nvPr/>
          </p:nvSpPr>
          <p:spPr>
            <a:xfrm>
              <a:off x="4264784" y="6375501"/>
              <a:ext cx="886461" cy="184666"/>
            </a:xfrm>
            <a:prstGeom prst="rect">
              <a:avLst/>
            </a:prstGeom>
          </p:spPr>
          <p:txBody>
            <a:bodyPr vert="horz" wrap="none" lIns="0" tIns="0" rIns="0" bIns="0" rtlCol="0" anchor="t">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Social Media</a:t>
              </a:r>
            </a:p>
          </p:txBody>
        </p:sp>
      </p:grpSp>
      <p:cxnSp>
        <p:nvCxnSpPr>
          <p:cNvPr id="381" name="Straight Arrow Connector 380"/>
          <p:cNvCxnSpPr/>
          <p:nvPr/>
        </p:nvCxnSpPr>
        <p:spPr>
          <a:xfrm rot="16200000" flipV="1">
            <a:off x="7666909" y="3035264"/>
            <a:ext cx="1344168" cy="14808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2" name="TextBox 381"/>
          <p:cNvSpPr txBox="1"/>
          <p:nvPr/>
        </p:nvSpPr>
        <p:spPr>
          <a:xfrm rot="2536932">
            <a:off x="7448986" y="3625250"/>
            <a:ext cx="1986909" cy="141485"/>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Real-time Insight Alerts</a:t>
            </a:r>
          </a:p>
        </p:txBody>
      </p:sp>
      <p:sp>
        <p:nvSpPr>
          <p:cNvPr id="212" name="Rectangle 211"/>
          <p:cNvSpPr/>
          <p:nvPr/>
        </p:nvSpPr>
        <p:spPr>
          <a:xfrm>
            <a:off x="1181748" y="2896129"/>
            <a:ext cx="2709075" cy="246221"/>
          </a:xfrm>
          <a:prstGeom prst="rect">
            <a:avLst/>
          </a:prstGeom>
          <a:noFill/>
          <a:ln w="6350" cap="flat" cmpd="sng" algn="ctr">
            <a:noFill/>
            <a:prstDash val="solid"/>
          </a:ln>
          <a:effectLst/>
        </p:spPr>
        <p:txBody>
          <a:bodyPr wrap="none" lIns="0" tIns="0" rIns="0" bIns="0" rtlCol="0" anchor="ctr">
            <a:spAutoFit/>
          </a:bodyPr>
          <a:lstStyle/>
          <a:p>
            <a:pPr marL="0" lvl="1" algn="ctr" defTabSz="1218106" fontAlgn="base">
              <a:spcBef>
                <a:spcPts val="200"/>
              </a:spcBef>
              <a:buClr>
                <a:srgbClr val="FFFF99"/>
              </a:buClr>
              <a:buSzPct val="90000"/>
              <a:defRPr/>
            </a:pPr>
            <a:r>
              <a:rPr lang="en-US" sz="1600" kern="0" dirty="0">
                <a:solidFill>
                  <a:srgbClr val="505050"/>
                </a:solidFill>
                <a:latin typeface="Segoe UI Semibold" panose="020B0702040204020203" pitchFamily="34" charset="0"/>
                <a:ea typeface="Segoe UI" pitchFamily="34" charset="0"/>
                <a:cs typeface="Segoe UI" pitchFamily="34" charset="0"/>
              </a:rPr>
              <a:t>City Management &amp; Planners</a:t>
            </a:r>
          </a:p>
        </p:txBody>
      </p:sp>
      <p:grpSp>
        <p:nvGrpSpPr>
          <p:cNvPr id="52" name="Group 51"/>
          <p:cNvGrpSpPr/>
          <p:nvPr/>
        </p:nvGrpSpPr>
        <p:grpSpPr>
          <a:xfrm>
            <a:off x="1151926" y="1148523"/>
            <a:ext cx="2672956" cy="1752072"/>
            <a:chOff x="8956674" y="1044230"/>
            <a:chExt cx="2989123" cy="1907142"/>
          </a:xfrm>
        </p:grpSpPr>
        <p:sp>
          <p:nvSpPr>
            <p:cNvPr id="213" name="Oval 212"/>
            <p:cNvSpPr/>
            <p:nvPr/>
          </p:nvSpPr>
          <p:spPr>
            <a:xfrm>
              <a:off x="8956674" y="1044230"/>
              <a:ext cx="2989123" cy="190714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endParaRPr lang="en-US" sz="1200" kern="0" dirty="0">
                <a:solidFill>
                  <a:prstClr val="white"/>
                </a:solidFill>
              </a:endParaRPr>
            </a:p>
          </p:txBody>
        </p:sp>
        <p:sp>
          <p:nvSpPr>
            <p:cNvPr id="214" name="TextBox 213"/>
            <p:cNvSpPr txBox="1"/>
            <p:nvPr/>
          </p:nvSpPr>
          <p:spPr>
            <a:xfrm>
              <a:off x="10617602" y="1756224"/>
              <a:ext cx="1003480" cy="184666"/>
            </a:xfrm>
            <a:prstGeom prst="rect">
              <a:avLst/>
            </a:prstGeom>
          </p:spPr>
          <p:txBody>
            <a:bodyPr vert="horz" wrap="none" lIns="0" tIns="0" rIns="0" bIns="0" rtlCol="0" anchor="t">
              <a:sp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t>City Managers</a:t>
              </a:r>
            </a:p>
          </p:txBody>
        </p:sp>
        <p:sp>
          <p:nvSpPr>
            <p:cNvPr id="216" name="Freeform 215"/>
            <p:cNvSpPr/>
            <p:nvPr/>
          </p:nvSpPr>
          <p:spPr>
            <a:xfrm>
              <a:off x="11185104" y="1326759"/>
              <a:ext cx="137481" cy="329219"/>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sz="1800" kern="0">
                <a:solidFill>
                  <a:prstClr val="white"/>
                </a:solidFill>
              </a:endParaRPr>
            </a:p>
          </p:txBody>
        </p:sp>
        <p:sp>
          <p:nvSpPr>
            <p:cNvPr id="217" name="Man's Body"/>
            <p:cNvSpPr>
              <a:spLocks/>
            </p:cNvSpPr>
            <p:nvPr/>
          </p:nvSpPr>
          <p:spPr bwMode="auto">
            <a:xfrm>
              <a:off x="11062513" y="1304830"/>
              <a:ext cx="119521" cy="68825"/>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18" name="Man's Body"/>
            <p:cNvSpPr>
              <a:spLocks/>
            </p:cNvSpPr>
            <p:nvPr/>
          </p:nvSpPr>
          <p:spPr bwMode="auto">
            <a:xfrm>
              <a:off x="10808940" y="1336897"/>
              <a:ext cx="117161" cy="252092"/>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19" name="Man's Body"/>
            <p:cNvSpPr>
              <a:spLocks/>
            </p:cNvSpPr>
            <p:nvPr/>
          </p:nvSpPr>
          <p:spPr bwMode="auto">
            <a:xfrm>
              <a:off x="11372977" y="1377239"/>
              <a:ext cx="193023" cy="331649"/>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20" name="Man's Body"/>
            <p:cNvSpPr>
              <a:spLocks/>
            </p:cNvSpPr>
            <p:nvPr/>
          </p:nvSpPr>
          <p:spPr bwMode="auto">
            <a:xfrm>
              <a:off x="10966438" y="1335725"/>
              <a:ext cx="131576" cy="277805"/>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21" name="Man's Body"/>
            <p:cNvSpPr>
              <a:spLocks/>
            </p:cNvSpPr>
            <p:nvPr/>
          </p:nvSpPr>
          <p:spPr bwMode="auto">
            <a:xfrm>
              <a:off x="11045571" y="1369999"/>
              <a:ext cx="209309" cy="35454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22" name="Man's Body"/>
            <p:cNvSpPr>
              <a:spLocks/>
            </p:cNvSpPr>
            <p:nvPr/>
          </p:nvSpPr>
          <p:spPr bwMode="auto">
            <a:xfrm>
              <a:off x="10636674" y="1364827"/>
              <a:ext cx="207716" cy="353305"/>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223" name="Freeform 222"/>
            <p:cNvSpPr/>
            <p:nvPr/>
          </p:nvSpPr>
          <p:spPr>
            <a:xfrm flipH="1">
              <a:off x="10720920" y="1374342"/>
              <a:ext cx="370370" cy="374460"/>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sz="1800" kern="0">
                <a:solidFill>
                  <a:prstClr val="white"/>
                </a:solidFill>
              </a:endParaRPr>
            </a:p>
          </p:txBody>
        </p:sp>
        <p:sp>
          <p:nvSpPr>
            <p:cNvPr id="224" name="Freeform 223"/>
            <p:cNvSpPr/>
            <p:nvPr/>
          </p:nvSpPr>
          <p:spPr>
            <a:xfrm>
              <a:off x="11181662" y="1395253"/>
              <a:ext cx="283230" cy="351752"/>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sz="1800" kern="0" dirty="0">
                <a:solidFill>
                  <a:prstClr val="white"/>
                </a:solidFill>
              </a:endParaRPr>
            </a:p>
          </p:txBody>
        </p:sp>
        <p:cxnSp>
          <p:nvCxnSpPr>
            <p:cNvPr id="232" name="Straight Arrow Connector 231"/>
            <p:cNvCxnSpPr/>
            <p:nvPr/>
          </p:nvCxnSpPr>
          <p:spPr>
            <a:xfrm rot="5400000">
              <a:off x="10299694" y="1485330"/>
              <a:ext cx="0" cy="365760"/>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33" name="Straight Arrow Connector 232"/>
            <p:cNvCxnSpPr/>
            <p:nvPr/>
          </p:nvCxnSpPr>
          <p:spPr>
            <a:xfrm rot="5400000" flipV="1">
              <a:off x="10299692" y="1301345"/>
              <a:ext cx="3" cy="365760"/>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38" name="Straight Arrow Connector 237"/>
            <p:cNvCxnSpPr/>
            <p:nvPr/>
          </p:nvCxnSpPr>
          <p:spPr>
            <a:xfrm rot="8205391">
              <a:off x="9642292" y="2261629"/>
              <a:ext cx="0" cy="365760"/>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39" name="Straight Arrow Connector 238"/>
            <p:cNvCxnSpPr/>
            <p:nvPr/>
          </p:nvCxnSpPr>
          <p:spPr>
            <a:xfrm rot="8205391" flipV="1">
              <a:off x="9776314" y="2135579"/>
              <a:ext cx="3" cy="365760"/>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rot="13394609" flipH="1">
              <a:off x="11321828" y="2157367"/>
              <a:ext cx="0" cy="365760"/>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p:cNvCxnSpPr/>
            <p:nvPr/>
          </p:nvCxnSpPr>
          <p:spPr>
            <a:xfrm rot="13394609" flipH="1" flipV="1">
              <a:off x="11187803" y="2031317"/>
              <a:ext cx="3" cy="365760"/>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sp>
          <p:nvSpPr>
            <p:cNvPr id="251" name="TextBox 250"/>
            <p:cNvSpPr txBox="1"/>
            <p:nvPr/>
          </p:nvSpPr>
          <p:spPr>
            <a:xfrm>
              <a:off x="9050706" y="1984146"/>
              <a:ext cx="1107676" cy="184666"/>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a:defRPr/>
              </a:pPr>
              <a:r>
                <a:rPr lang="en-US" kern="0" dirty="0">
                  <a:latin typeface="Segoe UI Semibold" panose="020B0702040204020203" pitchFamily="34" charset="0"/>
                  <a:cs typeface="Segoe UI Semibold" panose="020B0702040204020203" pitchFamily="34" charset="0"/>
                </a:rPr>
                <a:t>Elected Officials</a:t>
              </a:r>
            </a:p>
          </p:txBody>
        </p:sp>
        <p:sp>
          <p:nvSpPr>
            <p:cNvPr id="344" name="TextBox 343"/>
            <p:cNvSpPr txBox="1"/>
            <p:nvPr/>
          </p:nvSpPr>
          <p:spPr>
            <a:xfrm>
              <a:off x="10187522" y="2567349"/>
              <a:ext cx="864019" cy="184666"/>
            </a:xfrm>
            <a:prstGeom prst="rect">
              <a:avLst/>
            </a:prstGeom>
          </p:spPr>
          <p:txBody>
            <a:bodyPr vert="horz" wrap="none" lIns="0" tIns="0" rIns="0" bIns="0" rtlCol="0" anchor="t">
              <a:sp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t>City workers</a:t>
              </a:r>
            </a:p>
          </p:txBody>
        </p:sp>
        <p:sp>
          <p:nvSpPr>
            <p:cNvPr id="346" name="Freeform 345"/>
            <p:cNvSpPr/>
            <p:nvPr/>
          </p:nvSpPr>
          <p:spPr>
            <a:xfrm>
              <a:off x="10685293" y="2137884"/>
              <a:ext cx="137481" cy="329219"/>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sz="1800" kern="0">
                <a:solidFill>
                  <a:prstClr val="white"/>
                </a:solidFill>
              </a:endParaRPr>
            </a:p>
          </p:txBody>
        </p:sp>
        <p:sp>
          <p:nvSpPr>
            <p:cNvPr id="347" name="Man's Body"/>
            <p:cNvSpPr>
              <a:spLocks/>
            </p:cNvSpPr>
            <p:nvPr/>
          </p:nvSpPr>
          <p:spPr bwMode="auto">
            <a:xfrm>
              <a:off x="10562702" y="2115955"/>
              <a:ext cx="119521" cy="68825"/>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348" name="Man's Body"/>
            <p:cNvSpPr>
              <a:spLocks/>
            </p:cNvSpPr>
            <p:nvPr/>
          </p:nvSpPr>
          <p:spPr bwMode="auto">
            <a:xfrm>
              <a:off x="10309129" y="2148022"/>
              <a:ext cx="117161" cy="252092"/>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349" name="Man's Body"/>
            <p:cNvSpPr>
              <a:spLocks/>
            </p:cNvSpPr>
            <p:nvPr/>
          </p:nvSpPr>
          <p:spPr bwMode="auto">
            <a:xfrm>
              <a:off x="10873166" y="2188364"/>
              <a:ext cx="193023" cy="331649"/>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350" name="Man's Body"/>
            <p:cNvSpPr>
              <a:spLocks/>
            </p:cNvSpPr>
            <p:nvPr/>
          </p:nvSpPr>
          <p:spPr bwMode="auto">
            <a:xfrm>
              <a:off x="10466627" y="2146850"/>
              <a:ext cx="131576" cy="277805"/>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351" name="Man's Body"/>
            <p:cNvSpPr>
              <a:spLocks/>
            </p:cNvSpPr>
            <p:nvPr/>
          </p:nvSpPr>
          <p:spPr bwMode="auto">
            <a:xfrm>
              <a:off x="10545760" y="2181124"/>
              <a:ext cx="209309" cy="35454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352" name="Man's Body"/>
            <p:cNvSpPr>
              <a:spLocks/>
            </p:cNvSpPr>
            <p:nvPr/>
          </p:nvSpPr>
          <p:spPr bwMode="auto">
            <a:xfrm>
              <a:off x="10136863" y="2175952"/>
              <a:ext cx="207716" cy="353305"/>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solidFill>
              <a:srgbClr val="7F7F7F"/>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defRPr/>
              </a:pPr>
              <a:endParaRPr lang="en-US" sz="2800" kern="0">
                <a:solidFill>
                  <a:srgbClr val="FFFFFF"/>
                </a:solidFill>
                <a:effectLst>
                  <a:outerShdw blurRad="38100" dist="38100" dir="2700000" algn="tl">
                    <a:srgbClr val="000000">
                      <a:alpha val="43137"/>
                    </a:srgbClr>
                  </a:outerShdw>
                </a:effectLst>
              </a:endParaRPr>
            </a:p>
          </p:txBody>
        </p:sp>
        <p:sp>
          <p:nvSpPr>
            <p:cNvPr id="353" name="Freeform 352"/>
            <p:cNvSpPr/>
            <p:nvPr/>
          </p:nvSpPr>
          <p:spPr>
            <a:xfrm flipH="1">
              <a:off x="10221109" y="2185467"/>
              <a:ext cx="370370" cy="374460"/>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sz="1800" kern="0">
                <a:solidFill>
                  <a:prstClr val="white"/>
                </a:solidFill>
              </a:endParaRPr>
            </a:p>
          </p:txBody>
        </p:sp>
        <p:sp>
          <p:nvSpPr>
            <p:cNvPr id="354" name="Freeform 353"/>
            <p:cNvSpPr/>
            <p:nvPr/>
          </p:nvSpPr>
          <p:spPr>
            <a:xfrm>
              <a:off x="10681851" y="2206378"/>
              <a:ext cx="283230" cy="351752"/>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sz="1800" kern="0" dirty="0">
                <a:solidFill>
                  <a:prstClr val="white"/>
                </a:solidFill>
              </a:endParaRPr>
            </a:p>
          </p:txBody>
        </p:sp>
        <p:pic>
          <p:nvPicPr>
            <p:cNvPr id="384" name="Picture 6" descr="\\MAGNUM\Projects\Microsoft\Cloud Power FY12\Design\ICONS_PNG\Professionals.png"/>
            <p:cNvPicPr>
              <a:picLocks noChangeAspect="1" noChangeArrowheads="1"/>
            </p:cNvPicPr>
            <p:nvPr/>
          </p:nvPicPr>
          <p:blipFill>
            <a:blip r:embed="rId25" cstate="print">
              <a:duotone>
                <a:prstClr val="black"/>
                <a:schemeClr val="accent2">
                  <a:tint val="45000"/>
                  <a:satMod val="400000"/>
                </a:schemeClr>
              </a:duotone>
              <a:extLst>
                <a:ext uri="{BEBA8EAE-BF5A-486C-A8C5-ECC9F3942E4B}">
                  <a14:imgProps xmlns:a14="http://schemas.microsoft.com/office/drawing/2010/main">
                    <a14:imgLayer r:embed="rId26">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9311204" y="1384221"/>
              <a:ext cx="578986" cy="578986"/>
            </a:xfrm>
            <a:prstGeom prst="rect">
              <a:avLst/>
            </a:prstGeom>
            <a:noFill/>
          </p:spPr>
        </p:pic>
      </p:grpSp>
      <p:grpSp>
        <p:nvGrpSpPr>
          <p:cNvPr id="385" name="Group 384"/>
          <p:cNvGrpSpPr/>
          <p:nvPr/>
        </p:nvGrpSpPr>
        <p:grpSpPr>
          <a:xfrm>
            <a:off x="6905978" y="1047263"/>
            <a:ext cx="1266928" cy="571367"/>
            <a:chOff x="6440813" y="4155554"/>
            <a:chExt cx="1266928" cy="571367"/>
          </a:xfrm>
        </p:grpSpPr>
        <p:pic>
          <p:nvPicPr>
            <p:cNvPr id="386" name="Picture 2" descr="Deploy Microsoft Dynamics AX on Azure"/>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901478" y="4155554"/>
              <a:ext cx="372712" cy="368378"/>
            </a:xfrm>
            <a:prstGeom prst="rect">
              <a:avLst/>
            </a:prstGeom>
            <a:noFill/>
            <a:extLst>
              <a:ext uri="{909E8E84-426E-40DD-AFC4-6F175D3DCCD1}">
                <a14:hiddenFill xmlns:a14="http://schemas.microsoft.com/office/drawing/2010/main">
                  <a:solidFill>
                    <a:srgbClr val="FFFFFF"/>
                  </a:solidFill>
                </a14:hiddenFill>
              </a:ext>
            </a:extLst>
          </p:spPr>
        </p:pic>
        <p:sp>
          <p:nvSpPr>
            <p:cNvPr id="387" name="TextBox 386"/>
            <p:cNvSpPr txBox="1"/>
            <p:nvPr/>
          </p:nvSpPr>
          <p:spPr>
            <a:xfrm>
              <a:off x="6440813" y="4542733"/>
              <a:ext cx="1266928" cy="184188"/>
            </a:xfrm>
            <a:prstGeom prst="rect">
              <a:avLst/>
            </a:prstGeom>
          </p:spPr>
          <p:txBody>
            <a:bodyPr vert="horz" wrap="none" lIns="0" tIns="0" rIns="0" bIns="0" rtlCol="0" anchor="ctr">
              <a:noAutofit/>
            </a:bodyPr>
            <a:lstStyle/>
            <a:p>
              <a:pPr algn="ctr" defTabSz="1088105">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ynamics Marketing</a:t>
              </a:r>
            </a:p>
          </p:txBody>
        </p:sp>
      </p:grpSp>
      <p:grpSp>
        <p:nvGrpSpPr>
          <p:cNvPr id="388" name="Group 387"/>
          <p:cNvGrpSpPr/>
          <p:nvPr/>
        </p:nvGrpSpPr>
        <p:grpSpPr>
          <a:xfrm>
            <a:off x="5965305" y="2159445"/>
            <a:ext cx="694501" cy="588132"/>
            <a:chOff x="6778590" y="4958763"/>
            <a:chExt cx="694501" cy="588132"/>
          </a:xfrm>
        </p:grpSpPr>
        <p:sp>
          <p:nvSpPr>
            <p:cNvPr id="389" name="TextBox 388"/>
            <p:cNvSpPr txBox="1"/>
            <p:nvPr/>
          </p:nvSpPr>
          <p:spPr>
            <a:xfrm>
              <a:off x="6778590" y="5393007"/>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CRM Online</a:t>
              </a:r>
            </a:p>
          </p:txBody>
        </p:sp>
        <p:pic>
          <p:nvPicPr>
            <p:cNvPr id="390" name="Picture 389"/>
            <p:cNvPicPr>
              <a:picLocks noChangeAspect="1"/>
            </p:cNvPicPr>
            <p:nvPr/>
          </p:nvPicPr>
          <p:blipFill>
            <a:blip r:embed="rId28"/>
            <a:stretch>
              <a:fillRect/>
            </a:stretch>
          </p:blipFill>
          <p:spPr>
            <a:xfrm>
              <a:off x="6933148" y="4958763"/>
              <a:ext cx="327217" cy="387206"/>
            </a:xfrm>
            <a:prstGeom prst="rect">
              <a:avLst/>
            </a:prstGeom>
          </p:spPr>
        </p:pic>
      </p:grpSp>
      <p:grpSp>
        <p:nvGrpSpPr>
          <p:cNvPr id="392" name="Group 391"/>
          <p:cNvGrpSpPr>
            <a:grpSpLocks noChangeAspect="1"/>
          </p:cNvGrpSpPr>
          <p:nvPr/>
        </p:nvGrpSpPr>
        <p:grpSpPr bwMode="black">
          <a:xfrm>
            <a:off x="7995444" y="1657582"/>
            <a:ext cx="621497" cy="469795"/>
            <a:chOff x="5152726" y="4450436"/>
            <a:chExt cx="311283" cy="235363"/>
          </a:xfrm>
          <a:solidFill>
            <a:srgbClr val="5E83BD"/>
          </a:solidFill>
        </p:grpSpPr>
        <p:sp>
          <p:nvSpPr>
            <p:cNvPr id="394" name="Freeform 168"/>
            <p:cNvSpPr>
              <a:spLocks noEditPoints="1"/>
            </p:cNvSpPr>
            <p:nvPr/>
          </p:nvSpPr>
          <p:spPr bwMode="black">
            <a:xfrm>
              <a:off x="5152726" y="4450436"/>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defRPr/>
              </a:pPr>
              <a:endParaRPr lang="en-US" kern="0" spc="-122">
                <a:solidFill>
                  <a:srgbClr val="FFFFFF">
                    <a:lumMod val="50000"/>
                  </a:srgbClr>
                </a:solidFill>
                <a:latin typeface="Segoe Light" pitchFamily="34" charset="0"/>
              </a:endParaRPr>
            </a:p>
          </p:txBody>
        </p:sp>
        <p:sp>
          <p:nvSpPr>
            <p:cNvPr id="395"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chemeClr val="bg1">
                <a:lumMod val="65000"/>
              </a:scheme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defRPr/>
              </a:pPr>
              <a:endParaRPr lang="en-US" kern="0" spc="-122">
                <a:solidFill>
                  <a:srgbClr val="FFFFFF">
                    <a:lumMod val="50000"/>
                  </a:srgbClr>
                </a:solidFill>
                <a:latin typeface="Segoe Light" pitchFamily="34" charset="0"/>
              </a:endParaRPr>
            </a:p>
          </p:txBody>
        </p:sp>
      </p:grpSp>
      <p:sp>
        <p:nvSpPr>
          <p:cNvPr id="393" name="TextBox 392"/>
          <p:cNvSpPr txBox="1"/>
          <p:nvPr/>
        </p:nvSpPr>
        <p:spPr>
          <a:xfrm>
            <a:off x="7007055" y="1831954"/>
            <a:ext cx="975635" cy="137116"/>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Microsoft Social Engagement</a:t>
            </a:r>
          </a:p>
        </p:txBody>
      </p:sp>
      <p:grpSp>
        <p:nvGrpSpPr>
          <p:cNvPr id="72" name="Group 71"/>
          <p:cNvGrpSpPr/>
          <p:nvPr/>
        </p:nvGrpSpPr>
        <p:grpSpPr>
          <a:xfrm>
            <a:off x="5065695" y="4259695"/>
            <a:ext cx="2730090" cy="2330012"/>
            <a:chOff x="4754732" y="3287624"/>
            <a:chExt cx="2730090" cy="2330012"/>
          </a:xfrm>
        </p:grpSpPr>
        <p:grpSp>
          <p:nvGrpSpPr>
            <p:cNvPr id="68" name="Group 67"/>
            <p:cNvGrpSpPr/>
            <p:nvPr/>
          </p:nvGrpSpPr>
          <p:grpSpPr>
            <a:xfrm>
              <a:off x="4754732" y="3287624"/>
              <a:ext cx="2730090" cy="2078782"/>
              <a:chOff x="4614993" y="3503920"/>
              <a:chExt cx="2730090" cy="2078782"/>
            </a:xfrm>
          </p:grpSpPr>
          <p:grpSp>
            <p:nvGrpSpPr>
              <p:cNvPr id="14" name="Group 13"/>
              <p:cNvGrpSpPr/>
              <p:nvPr/>
            </p:nvGrpSpPr>
            <p:grpSpPr>
              <a:xfrm>
                <a:off x="4614993" y="3581449"/>
                <a:ext cx="2678406" cy="1908870"/>
                <a:chOff x="5174190" y="2853198"/>
                <a:chExt cx="2678406" cy="1908870"/>
              </a:xfrm>
            </p:grpSpPr>
            <p:grpSp>
              <p:nvGrpSpPr>
                <p:cNvPr id="195" name="Group 194"/>
                <p:cNvGrpSpPr/>
                <p:nvPr/>
              </p:nvGrpSpPr>
              <p:grpSpPr>
                <a:xfrm>
                  <a:off x="5174190" y="3917067"/>
                  <a:ext cx="1656054" cy="845001"/>
                  <a:chOff x="2669459" y="3468565"/>
                  <a:chExt cx="1656054" cy="845001"/>
                </a:xfrm>
              </p:grpSpPr>
              <p:grpSp>
                <p:nvGrpSpPr>
                  <p:cNvPr id="197" name="Group 196"/>
                  <p:cNvGrpSpPr/>
                  <p:nvPr/>
                </p:nvGrpSpPr>
                <p:grpSpPr>
                  <a:xfrm>
                    <a:off x="3067295" y="3468565"/>
                    <a:ext cx="876214" cy="419961"/>
                    <a:chOff x="3114586" y="3573090"/>
                    <a:chExt cx="876214" cy="419961"/>
                  </a:xfrm>
                </p:grpSpPr>
                <p:sp>
                  <p:nvSpPr>
                    <p:cNvPr id="289" name="Rounded Rectangle 65"/>
                    <p:cNvSpPr>
                      <a:spLocks noChangeAspect="1"/>
                    </p:cNvSpPr>
                    <p:nvPr/>
                  </p:nvSpPr>
                  <p:spPr>
                    <a:xfrm>
                      <a:off x="3114586" y="3573090"/>
                      <a:ext cx="411480" cy="396273"/>
                    </a:xfrm>
                    <a:custGeom>
                      <a:avLst/>
                      <a:gdLst>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510620 w 6373827"/>
                        <a:gd name="connsiteY81" fmla="*/ 1285578 h 6138270"/>
                        <a:gd name="connsiteX82" fmla="*/ 5919923 w 6373827"/>
                        <a:gd name="connsiteY82" fmla="*/ 2822641 h 6138270"/>
                        <a:gd name="connsiteX83" fmla="*/ 5918206 w 6373827"/>
                        <a:gd name="connsiteY83" fmla="*/ 2822641 h 6138270"/>
                        <a:gd name="connsiteX84" fmla="*/ 5181510 w 6373827"/>
                        <a:gd name="connsiteY84" fmla="*/ 2378505 h 6138270"/>
                        <a:gd name="connsiteX85" fmla="*/ 4444815 w 6373827"/>
                        <a:gd name="connsiteY85" fmla="*/ 2822641 h 6138270"/>
                        <a:gd name="connsiteX86" fmla="*/ 4443372 w 6373827"/>
                        <a:gd name="connsiteY86" fmla="*/ 2822641 h 6138270"/>
                        <a:gd name="connsiteX87" fmla="*/ 3862160 w 6373827"/>
                        <a:gd name="connsiteY87" fmla="*/ 2390781 h 6138270"/>
                        <a:gd name="connsiteX88" fmla="*/ 3862160 w 6373827"/>
                        <a:gd name="connsiteY88" fmla="*/ 5261042 h 6138270"/>
                        <a:gd name="connsiteX89" fmla="*/ 3864701 w 6373827"/>
                        <a:gd name="connsiteY89" fmla="*/ 5261042 h 6138270"/>
                        <a:gd name="connsiteX90" fmla="*/ 4217943 w 6373827"/>
                        <a:gd name="connsiteY90" fmla="*/ 5771650 h 6138270"/>
                        <a:gd name="connsiteX91" fmla="*/ 4444978 w 6373827"/>
                        <a:gd name="connsiteY91" fmla="*/ 5457393 h 6138270"/>
                        <a:gd name="connsiteX92" fmla="*/ 4752975 w 6373827"/>
                        <a:gd name="connsiteY92" fmla="*/ 5452631 h 6138270"/>
                        <a:gd name="connsiteX93" fmla="*/ 4726849 w 6373827"/>
                        <a:gd name="connsiteY93" fmla="*/ 5774848 h 6138270"/>
                        <a:gd name="connsiteX94" fmla="*/ 4239169 w 6373827"/>
                        <a:gd name="connsiteY94" fmla="*/ 6123191 h 6138270"/>
                        <a:gd name="connsiteX95" fmla="*/ 3635897 w 6373827"/>
                        <a:gd name="connsiteY95" fmla="*/ 5781243 h 6138270"/>
                        <a:gd name="connsiteX96" fmla="*/ 3551270 w 6373827"/>
                        <a:gd name="connsiteY96" fmla="*/ 5410743 h 6138270"/>
                        <a:gd name="connsiteX97" fmla="*/ 3551192 w 6373827"/>
                        <a:gd name="connsiteY97" fmla="*/ 5410358 h 6138270"/>
                        <a:gd name="connsiteX98" fmla="*/ 3551192 w 6373827"/>
                        <a:gd name="connsiteY98" fmla="*/ 5409089 h 6138270"/>
                        <a:gd name="connsiteX99" fmla="*/ 3551192 w 6373827"/>
                        <a:gd name="connsiteY99" fmla="*/ 5261042 h 6138270"/>
                        <a:gd name="connsiteX100" fmla="*/ 3551192 w 6373827"/>
                        <a:gd name="connsiteY100" fmla="*/ 2390781 h 6138270"/>
                        <a:gd name="connsiteX101" fmla="*/ 2969980 w 6373827"/>
                        <a:gd name="connsiteY101" fmla="*/ 2822641 h 6138270"/>
                        <a:gd name="connsiteX102" fmla="*/ 2968539 w 6373827"/>
                        <a:gd name="connsiteY102" fmla="*/ 2822641 h 6138270"/>
                        <a:gd name="connsiteX103" fmla="*/ 2231843 w 6373827"/>
                        <a:gd name="connsiteY103" fmla="*/ 2378505 h 6138270"/>
                        <a:gd name="connsiteX104" fmla="*/ 1495147 w 6373827"/>
                        <a:gd name="connsiteY104" fmla="*/ 2822641 h 6138270"/>
                        <a:gd name="connsiteX105" fmla="*/ 1487260 w 6373827"/>
                        <a:gd name="connsiteY105" fmla="*/ 2822641 h 6138270"/>
                        <a:gd name="connsiteX106" fmla="*/ 3551192 w 6373827"/>
                        <a:gd name="connsiteY106" fmla="*/ 435206 h 6138270"/>
                        <a:gd name="connsiteX107" fmla="*/ 3551192 w 6373827"/>
                        <a:gd name="connsiteY107" fmla="*/ 155484 h 6138270"/>
                        <a:gd name="connsiteX108" fmla="*/ 3706676 w 6373827"/>
                        <a:gd name="connsiteY108"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510620 w 6373827"/>
                        <a:gd name="connsiteY81" fmla="*/ 1285578 h 6138270"/>
                        <a:gd name="connsiteX82" fmla="*/ 5511586 w 6373827"/>
                        <a:gd name="connsiteY82" fmla="*/ 1286698 h 6138270"/>
                        <a:gd name="connsiteX83" fmla="*/ 5919923 w 6373827"/>
                        <a:gd name="connsiteY83" fmla="*/ 2822641 h 6138270"/>
                        <a:gd name="connsiteX84" fmla="*/ 5918206 w 6373827"/>
                        <a:gd name="connsiteY84" fmla="*/ 2822641 h 6138270"/>
                        <a:gd name="connsiteX85" fmla="*/ 5181510 w 6373827"/>
                        <a:gd name="connsiteY85" fmla="*/ 2378505 h 6138270"/>
                        <a:gd name="connsiteX86" fmla="*/ 4444815 w 6373827"/>
                        <a:gd name="connsiteY86" fmla="*/ 2822641 h 6138270"/>
                        <a:gd name="connsiteX87" fmla="*/ 4443372 w 6373827"/>
                        <a:gd name="connsiteY87" fmla="*/ 2822641 h 6138270"/>
                        <a:gd name="connsiteX88" fmla="*/ 3862160 w 6373827"/>
                        <a:gd name="connsiteY88" fmla="*/ 2390781 h 6138270"/>
                        <a:gd name="connsiteX89" fmla="*/ 3862160 w 6373827"/>
                        <a:gd name="connsiteY89" fmla="*/ 5261042 h 6138270"/>
                        <a:gd name="connsiteX90" fmla="*/ 3864701 w 6373827"/>
                        <a:gd name="connsiteY90" fmla="*/ 5261042 h 6138270"/>
                        <a:gd name="connsiteX91" fmla="*/ 4217943 w 6373827"/>
                        <a:gd name="connsiteY91" fmla="*/ 5771650 h 6138270"/>
                        <a:gd name="connsiteX92" fmla="*/ 4444978 w 6373827"/>
                        <a:gd name="connsiteY92" fmla="*/ 5457393 h 6138270"/>
                        <a:gd name="connsiteX93" fmla="*/ 4752975 w 6373827"/>
                        <a:gd name="connsiteY93" fmla="*/ 5452631 h 6138270"/>
                        <a:gd name="connsiteX94" fmla="*/ 4726849 w 6373827"/>
                        <a:gd name="connsiteY94" fmla="*/ 5774848 h 6138270"/>
                        <a:gd name="connsiteX95" fmla="*/ 4239169 w 6373827"/>
                        <a:gd name="connsiteY95" fmla="*/ 6123191 h 6138270"/>
                        <a:gd name="connsiteX96" fmla="*/ 3635897 w 6373827"/>
                        <a:gd name="connsiteY96" fmla="*/ 5781243 h 6138270"/>
                        <a:gd name="connsiteX97" fmla="*/ 3551270 w 6373827"/>
                        <a:gd name="connsiteY97" fmla="*/ 5410743 h 6138270"/>
                        <a:gd name="connsiteX98" fmla="*/ 3551192 w 6373827"/>
                        <a:gd name="connsiteY98" fmla="*/ 5410358 h 6138270"/>
                        <a:gd name="connsiteX99" fmla="*/ 3551192 w 6373827"/>
                        <a:gd name="connsiteY99" fmla="*/ 5409089 h 6138270"/>
                        <a:gd name="connsiteX100" fmla="*/ 3551192 w 6373827"/>
                        <a:gd name="connsiteY100" fmla="*/ 5261042 h 6138270"/>
                        <a:gd name="connsiteX101" fmla="*/ 3551192 w 6373827"/>
                        <a:gd name="connsiteY101" fmla="*/ 2390781 h 6138270"/>
                        <a:gd name="connsiteX102" fmla="*/ 2969980 w 6373827"/>
                        <a:gd name="connsiteY102" fmla="*/ 2822641 h 6138270"/>
                        <a:gd name="connsiteX103" fmla="*/ 2968539 w 6373827"/>
                        <a:gd name="connsiteY103" fmla="*/ 2822641 h 6138270"/>
                        <a:gd name="connsiteX104" fmla="*/ 2231843 w 6373827"/>
                        <a:gd name="connsiteY104" fmla="*/ 2378505 h 6138270"/>
                        <a:gd name="connsiteX105" fmla="*/ 1495147 w 6373827"/>
                        <a:gd name="connsiteY105" fmla="*/ 2822641 h 6138270"/>
                        <a:gd name="connsiteX106" fmla="*/ 1487260 w 6373827"/>
                        <a:gd name="connsiteY106" fmla="*/ 2822641 h 6138270"/>
                        <a:gd name="connsiteX107" fmla="*/ 3551192 w 6373827"/>
                        <a:gd name="connsiteY107" fmla="*/ 435206 h 6138270"/>
                        <a:gd name="connsiteX108" fmla="*/ 3551192 w 6373827"/>
                        <a:gd name="connsiteY108" fmla="*/ 155484 h 6138270"/>
                        <a:gd name="connsiteX109" fmla="*/ 3706676 w 6373827"/>
                        <a:gd name="connsiteY109"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510620 w 6373827"/>
                        <a:gd name="connsiteY81" fmla="*/ 1285578 h 6138270"/>
                        <a:gd name="connsiteX82" fmla="*/ 5919923 w 6373827"/>
                        <a:gd name="connsiteY82" fmla="*/ 2822641 h 6138270"/>
                        <a:gd name="connsiteX83" fmla="*/ 5918206 w 6373827"/>
                        <a:gd name="connsiteY83" fmla="*/ 2822641 h 6138270"/>
                        <a:gd name="connsiteX84" fmla="*/ 5181510 w 6373827"/>
                        <a:gd name="connsiteY84" fmla="*/ 2378505 h 6138270"/>
                        <a:gd name="connsiteX85" fmla="*/ 4444815 w 6373827"/>
                        <a:gd name="connsiteY85" fmla="*/ 2822641 h 6138270"/>
                        <a:gd name="connsiteX86" fmla="*/ 4443372 w 6373827"/>
                        <a:gd name="connsiteY86" fmla="*/ 2822641 h 6138270"/>
                        <a:gd name="connsiteX87" fmla="*/ 3862160 w 6373827"/>
                        <a:gd name="connsiteY87" fmla="*/ 2390781 h 6138270"/>
                        <a:gd name="connsiteX88" fmla="*/ 3862160 w 6373827"/>
                        <a:gd name="connsiteY88" fmla="*/ 5261042 h 6138270"/>
                        <a:gd name="connsiteX89" fmla="*/ 3864701 w 6373827"/>
                        <a:gd name="connsiteY89" fmla="*/ 5261042 h 6138270"/>
                        <a:gd name="connsiteX90" fmla="*/ 4217943 w 6373827"/>
                        <a:gd name="connsiteY90" fmla="*/ 5771650 h 6138270"/>
                        <a:gd name="connsiteX91" fmla="*/ 4444978 w 6373827"/>
                        <a:gd name="connsiteY91" fmla="*/ 5457393 h 6138270"/>
                        <a:gd name="connsiteX92" fmla="*/ 4752975 w 6373827"/>
                        <a:gd name="connsiteY92" fmla="*/ 5452631 h 6138270"/>
                        <a:gd name="connsiteX93" fmla="*/ 4726849 w 6373827"/>
                        <a:gd name="connsiteY93" fmla="*/ 5774848 h 6138270"/>
                        <a:gd name="connsiteX94" fmla="*/ 4239169 w 6373827"/>
                        <a:gd name="connsiteY94" fmla="*/ 6123191 h 6138270"/>
                        <a:gd name="connsiteX95" fmla="*/ 3635897 w 6373827"/>
                        <a:gd name="connsiteY95" fmla="*/ 5781243 h 6138270"/>
                        <a:gd name="connsiteX96" fmla="*/ 3551270 w 6373827"/>
                        <a:gd name="connsiteY96" fmla="*/ 5410743 h 6138270"/>
                        <a:gd name="connsiteX97" fmla="*/ 3551192 w 6373827"/>
                        <a:gd name="connsiteY97" fmla="*/ 5410358 h 6138270"/>
                        <a:gd name="connsiteX98" fmla="*/ 3551192 w 6373827"/>
                        <a:gd name="connsiteY98" fmla="*/ 5409089 h 6138270"/>
                        <a:gd name="connsiteX99" fmla="*/ 3551192 w 6373827"/>
                        <a:gd name="connsiteY99" fmla="*/ 5261042 h 6138270"/>
                        <a:gd name="connsiteX100" fmla="*/ 3551192 w 6373827"/>
                        <a:gd name="connsiteY100" fmla="*/ 2390781 h 6138270"/>
                        <a:gd name="connsiteX101" fmla="*/ 2969980 w 6373827"/>
                        <a:gd name="connsiteY101" fmla="*/ 2822641 h 6138270"/>
                        <a:gd name="connsiteX102" fmla="*/ 2968539 w 6373827"/>
                        <a:gd name="connsiteY102" fmla="*/ 2822641 h 6138270"/>
                        <a:gd name="connsiteX103" fmla="*/ 2231843 w 6373827"/>
                        <a:gd name="connsiteY103" fmla="*/ 2378505 h 6138270"/>
                        <a:gd name="connsiteX104" fmla="*/ 1495147 w 6373827"/>
                        <a:gd name="connsiteY104" fmla="*/ 2822641 h 6138270"/>
                        <a:gd name="connsiteX105" fmla="*/ 1487260 w 6373827"/>
                        <a:gd name="connsiteY105" fmla="*/ 2822641 h 6138270"/>
                        <a:gd name="connsiteX106" fmla="*/ 3551192 w 6373827"/>
                        <a:gd name="connsiteY106" fmla="*/ 435206 h 6138270"/>
                        <a:gd name="connsiteX107" fmla="*/ 3551192 w 6373827"/>
                        <a:gd name="connsiteY107" fmla="*/ 155484 h 6138270"/>
                        <a:gd name="connsiteX108" fmla="*/ 3706676 w 6373827"/>
                        <a:gd name="connsiteY108"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918206 w 6373827"/>
                        <a:gd name="connsiteY82" fmla="*/ 2822641 h 6138270"/>
                        <a:gd name="connsiteX83" fmla="*/ 5181510 w 6373827"/>
                        <a:gd name="connsiteY83" fmla="*/ 2378505 h 6138270"/>
                        <a:gd name="connsiteX84" fmla="*/ 4444815 w 6373827"/>
                        <a:gd name="connsiteY84" fmla="*/ 2822641 h 6138270"/>
                        <a:gd name="connsiteX85" fmla="*/ 4443372 w 6373827"/>
                        <a:gd name="connsiteY85" fmla="*/ 2822641 h 6138270"/>
                        <a:gd name="connsiteX86" fmla="*/ 3862160 w 6373827"/>
                        <a:gd name="connsiteY86" fmla="*/ 2390781 h 6138270"/>
                        <a:gd name="connsiteX87" fmla="*/ 3862160 w 6373827"/>
                        <a:gd name="connsiteY87" fmla="*/ 5261042 h 6138270"/>
                        <a:gd name="connsiteX88" fmla="*/ 3864701 w 6373827"/>
                        <a:gd name="connsiteY88" fmla="*/ 5261042 h 6138270"/>
                        <a:gd name="connsiteX89" fmla="*/ 4217943 w 6373827"/>
                        <a:gd name="connsiteY89" fmla="*/ 5771650 h 6138270"/>
                        <a:gd name="connsiteX90" fmla="*/ 4444978 w 6373827"/>
                        <a:gd name="connsiteY90" fmla="*/ 5457393 h 6138270"/>
                        <a:gd name="connsiteX91" fmla="*/ 4752975 w 6373827"/>
                        <a:gd name="connsiteY91" fmla="*/ 5452631 h 6138270"/>
                        <a:gd name="connsiteX92" fmla="*/ 4726849 w 6373827"/>
                        <a:gd name="connsiteY92" fmla="*/ 5774848 h 6138270"/>
                        <a:gd name="connsiteX93" fmla="*/ 4239169 w 6373827"/>
                        <a:gd name="connsiteY93" fmla="*/ 6123191 h 6138270"/>
                        <a:gd name="connsiteX94" fmla="*/ 3635897 w 6373827"/>
                        <a:gd name="connsiteY94" fmla="*/ 5781243 h 6138270"/>
                        <a:gd name="connsiteX95" fmla="*/ 3551270 w 6373827"/>
                        <a:gd name="connsiteY95" fmla="*/ 5410743 h 6138270"/>
                        <a:gd name="connsiteX96" fmla="*/ 3551192 w 6373827"/>
                        <a:gd name="connsiteY96" fmla="*/ 5410358 h 6138270"/>
                        <a:gd name="connsiteX97" fmla="*/ 3551192 w 6373827"/>
                        <a:gd name="connsiteY97" fmla="*/ 5409089 h 6138270"/>
                        <a:gd name="connsiteX98" fmla="*/ 3551192 w 6373827"/>
                        <a:gd name="connsiteY98" fmla="*/ 5261042 h 6138270"/>
                        <a:gd name="connsiteX99" fmla="*/ 3551192 w 6373827"/>
                        <a:gd name="connsiteY99" fmla="*/ 2390781 h 6138270"/>
                        <a:gd name="connsiteX100" fmla="*/ 2969980 w 6373827"/>
                        <a:gd name="connsiteY100" fmla="*/ 2822641 h 6138270"/>
                        <a:gd name="connsiteX101" fmla="*/ 2968539 w 6373827"/>
                        <a:gd name="connsiteY101" fmla="*/ 2822641 h 6138270"/>
                        <a:gd name="connsiteX102" fmla="*/ 2231843 w 6373827"/>
                        <a:gd name="connsiteY102" fmla="*/ 2378505 h 6138270"/>
                        <a:gd name="connsiteX103" fmla="*/ 1495147 w 6373827"/>
                        <a:gd name="connsiteY103" fmla="*/ 2822641 h 6138270"/>
                        <a:gd name="connsiteX104" fmla="*/ 1487260 w 6373827"/>
                        <a:gd name="connsiteY104" fmla="*/ 2822641 h 6138270"/>
                        <a:gd name="connsiteX105" fmla="*/ 3551192 w 6373827"/>
                        <a:gd name="connsiteY105" fmla="*/ 435206 h 6138270"/>
                        <a:gd name="connsiteX106" fmla="*/ 3551192 w 6373827"/>
                        <a:gd name="connsiteY106" fmla="*/ 155484 h 6138270"/>
                        <a:gd name="connsiteX107" fmla="*/ 3706676 w 6373827"/>
                        <a:gd name="connsiteY107"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918206 w 6373827"/>
                        <a:gd name="connsiteY82" fmla="*/ 2822641 h 6138270"/>
                        <a:gd name="connsiteX83" fmla="*/ 5181510 w 6373827"/>
                        <a:gd name="connsiteY83" fmla="*/ 2378505 h 6138270"/>
                        <a:gd name="connsiteX84" fmla="*/ 4444815 w 6373827"/>
                        <a:gd name="connsiteY84" fmla="*/ 2822641 h 6138270"/>
                        <a:gd name="connsiteX85" fmla="*/ 4443372 w 6373827"/>
                        <a:gd name="connsiteY85" fmla="*/ 2822641 h 6138270"/>
                        <a:gd name="connsiteX86" fmla="*/ 3862160 w 6373827"/>
                        <a:gd name="connsiteY86" fmla="*/ 2390781 h 6138270"/>
                        <a:gd name="connsiteX87" fmla="*/ 3862160 w 6373827"/>
                        <a:gd name="connsiteY87" fmla="*/ 5261042 h 6138270"/>
                        <a:gd name="connsiteX88" fmla="*/ 3864701 w 6373827"/>
                        <a:gd name="connsiteY88" fmla="*/ 5261042 h 6138270"/>
                        <a:gd name="connsiteX89" fmla="*/ 4217943 w 6373827"/>
                        <a:gd name="connsiteY89" fmla="*/ 5771650 h 6138270"/>
                        <a:gd name="connsiteX90" fmla="*/ 4444978 w 6373827"/>
                        <a:gd name="connsiteY90" fmla="*/ 5457393 h 6138270"/>
                        <a:gd name="connsiteX91" fmla="*/ 4752975 w 6373827"/>
                        <a:gd name="connsiteY91" fmla="*/ 5452631 h 6138270"/>
                        <a:gd name="connsiteX92" fmla="*/ 4726849 w 6373827"/>
                        <a:gd name="connsiteY92" fmla="*/ 5774848 h 6138270"/>
                        <a:gd name="connsiteX93" fmla="*/ 4239169 w 6373827"/>
                        <a:gd name="connsiteY93" fmla="*/ 6123191 h 6138270"/>
                        <a:gd name="connsiteX94" fmla="*/ 3635897 w 6373827"/>
                        <a:gd name="connsiteY94" fmla="*/ 5781243 h 6138270"/>
                        <a:gd name="connsiteX95" fmla="*/ 3551270 w 6373827"/>
                        <a:gd name="connsiteY95" fmla="*/ 5410743 h 6138270"/>
                        <a:gd name="connsiteX96" fmla="*/ 3551192 w 6373827"/>
                        <a:gd name="connsiteY96" fmla="*/ 5410358 h 6138270"/>
                        <a:gd name="connsiteX97" fmla="*/ 3551192 w 6373827"/>
                        <a:gd name="connsiteY97" fmla="*/ 5409089 h 6138270"/>
                        <a:gd name="connsiteX98" fmla="*/ 3551192 w 6373827"/>
                        <a:gd name="connsiteY98" fmla="*/ 5261042 h 6138270"/>
                        <a:gd name="connsiteX99" fmla="*/ 3551192 w 6373827"/>
                        <a:gd name="connsiteY99" fmla="*/ 2390781 h 6138270"/>
                        <a:gd name="connsiteX100" fmla="*/ 2969980 w 6373827"/>
                        <a:gd name="connsiteY100" fmla="*/ 2822641 h 6138270"/>
                        <a:gd name="connsiteX101" fmla="*/ 2968539 w 6373827"/>
                        <a:gd name="connsiteY101" fmla="*/ 2822641 h 6138270"/>
                        <a:gd name="connsiteX102" fmla="*/ 2231843 w 6373827"/>
                        <a:gd name="connsiteY102" fmla="*/ 2378505 h 6138270"/>
                        <a:gd name="connsiteX103" fmla="*/ 1495147 w 6373827"/>
                        <a:gd name="connsiteY103" fmla="*/ 2822641 h 6138270"/>
                        <a:gd name="connsiteX104" fmla="*/ 1487260 w 6373827"/>
                        <a:gd name="connsiteY104" fmla="*/ 2822641 h 6138270"/>
                        <a:gd name="connsiteX105" fmla="*/ 3551192 w 6373827"/>
                        <a:gd name="connsiteY105" fmla="*/ 435206 h 6138270"/>
                        <a:gd name="connsiteX106" fmla="*/ 3551192 w 6373827"/>
                        <a:gd name="connsiteY106" fmla="*/ 155484 h 6138270"/>
                        <a:gd name="connsiteX107" fmla="*/ 3706676 w 6373827"/>
                        <a:gd name="connsiteY107"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918206 w 6373827"/>
                        <a:gd name="connsiteY82" fmla="*/ 2822641 h 6138270"/>
                        <a:gd name="connsiteX83" fmla="*/ 5181510 w 6373827"/>
                        <a:gd name="connsiteY83" fmla="*/ 2378505 h 6138270"/>
                        <a:gd name="connsiteX84" fmla="*/ 4444815 w 6373827"/>
                        <a:gd name="connsiteY84" fmla="*/ 2822641 h 6138270"/>
                        <a:gd name="connsiteX85" fmla="*/ 4443372 w 6373827"/>
                        <a:gd name="connsiteY85" fmla="*/ 2822641 h 6138270"/>
                        <a:gd name="connsiteX86" fmla="*/ 3862160 w 6373827"/>
                        <a:gd name="connsiteY86" fmla="*/ 2390781 h 6138270"/>
                        <a:gd name="connsiteX87" fmla="*/ 3862160 w 6373827"/>
                        <a:gd name="connsiteY87" fmla="*/ 5261042 h 6138270"/>
                        <a:gd name="connsiteX88" fmla="*/ 3864701 w 6373827"/>
                        <a:gd name="connsiteY88" fmla="*/ 5261042 h 6138270"/>
                        <a:gd name="connsiteX89" fmla="*/ 4217943 w 6373827"/>
                        <a:gd name="connsiteY89" fmla="*/ 5771650 h 6138270"/>
                        <a:gd name="connsiteX90" fmla="*/ 4444978 w 6373827"/>
                        <a:gd name="connsiteY90" fmla="*/ 5457393 h 6138270"/>
                        <a:gd name="connsiteX91" fmla="*/ 4752975 w 6373827"/>
                        <a:gd name="connsiteY91" fmla="*/ 5452631 h 6138270"/>
                        <a:gd name="connsiteX92" fmla="*/ 4726849 w 6373827"/>
                        <a:gd name="connsiteY92" fmla="*/ 5774848 h 6138270"/>
                        <a:gd name="connsiteX93" fmla="*/ 4239169 w 6373827"/>
                        <a:gd name="connsiteY93" fmla="*/ 6123191 h 6138270"/>
                        <a:gd name="connsiteX94" fmla="*/ 3635897 w 6373827"/>
                        <a:gd name="connsiteY94" fmla="*/ 5781243 h 6138270"/>
                        <a:gd name="connsiteX95" fmla="*/ 3551270 w 6373827"/>
                        <a:gd name="connsiteY95" fmla="*/ 5410743 h 6138270"/>
                        <a:gd name="connsiteX96" fmla="*/ 3551192 w 6373827"/>
                        <a:gd name="connsiteY96" fmla="*/ 5410358 h 6138270"/>
                        <a:gd name="connsiteX97" fmla="*/ 3551192 w 6373827"/>
                        <a:gd name="connsiteY97" fmla="*/ 5409089 h 6138270"/>
                        <a:gd name="connsiteX98" fmla="*/ 3551192 w 6373827"/>
                        <a:gd name="connsiteY98" fmla="*/ 5261042 h 6138270"/>
                        <a:gd name="connsiteX99" fmla="*/ 3551192 w 6373827"/>
                        <a:gd name="connsiteY99" fmla="*/ 2390781 h 6138270"/>
                        <a:gd name="connsiteX100" fmla="*/ 2969980 w 6373827"/>
                        <a:gd name="connsiteY100" fmla="*/ 2822641 h 6138270"/>
                        <a:gd name="connsiteX101" fmla="*/ 2968539 w 6373827"/>
                        <a:gd name="connsiteY101" fmla="*/ 2822641 h 6138270"/>
                        <a:gd name="connsiteX102" fmla="*/ 2231843 w 6373827"/>
                        <a:gd name="connsiteY102" fmla="*/ 2378505 h 6138270"/>
                        <a:gd name="connsiteX103" fmla="*/ 1495147 w 6373827"/>
                        <a:gd name="connsiteY103" fmla="*/ 2822641 h 6138270"/>
                        <a:gd name="connsiteX104" fmla="*/ 1487260 w 6373827"/>
                        <a:gd name="connsiteY104" fmla="*/ 2822641 h 6138270"/>
                        <a:gd name="connsiteX105" fmla="*/ 3551192 w 6373827"/>
                        <a:gd name="connsiteY105" fmla="*/ 435206 h 6138270"/>
                        <a:gd name="connsiteX106" fmla="*/ 3551192 w 6373827"/>
                        <a:gd name="connsiteY106" fmla="*/ 155484 h 6138270"/>
                        <a:gd name="connsiteX107" fmla="*/ 3706676 w 6373827"/>
                        <a:gd name="connsiteY107"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918206 w 6373827"/>
                        <a:gd name="connsiteY82" fmla="*/ 2822641 h 6138270"/>
                        <a:gd name="connsiteX83" fmla="*/ 5181510 w 6373827"/>
                        <a:gd name="connsiteY83" fmla="*/ 2378505 h 6138270"/>
                        <a:gd name="connsiteX84" fmla="*/ 4444815 w 6373827"/>
                        <a:gd name="connsiteY84" fmla="*/ 2822641 h 6138270"/>
                        <a:gd name="connsiteX85" fmla="*/ 4443372 w 6373827"/>
                        <a:gd name="connsiteY85" fmla="*/ 2822641 h 6138270"/>
                        <a:gd name="connsiteX86" fmla="*/ 3862160 w 6373827"/>
                        <a:gd name="connsiteY86" fmla="*/ 2390781 h 6138270"/>
                        <a:gd name="connsiteX87" fmla="*/ 3862160 w 6373827"/>
                        <a:gd name="connsiteY87" fmla="*/ 5261042 h 6138270"/>
                        <a:gd name="connsiteX88" fmla="*/ 3864701 w 6373827"/>
                        <a:gd name="connsiteY88" fmla="*/ 5261042 h 6138270"/>
                        <a:gd name="connsiteX89" fmla="*/ 4217943 w 6373827"/>
                        <a:gd name="connsiteY89" fmla="*/ 5771650 h 6138270"/>
                        <a:gd name="connsiteX90" fmla="*/ 4444978 w 6373827"/>
                        <a:gd name="connsiteY90" fmla="*/ 5457393 h 6138270"/>
                        <a:gd name="connsiteX91" fmla="*/ 4752975 w 6373827"/>
                        <a:gd name="connsiteY91" fmla="*/ 5452631 h 6138270"/>
                        <a:gd name="connsiteX92" fmla="*/ 4726849 w 6373827"/>
                        <a:gd name="connsiteY92" fmla="*/ 5774848 h 6138270"/>
                        <a:gd name="connsiteX93" fmla="*/ 4239169 w 6373827"/>
                        <a:gd name="connsiteY93" fmla="*/ 6123191 h 6138270"/>
                        <a:gd name="connsiteX94" fmla="*/ 3635897 w 6373827"/>
                        <a:gd name="connsiteY94" fmla="*/ 5781243 h 6138270"/>
                        <a:gd name="connsiteX95" fmla="*/ 3551270 w 6373827"/>
                        <a:gd name="connsiteY95" fmla="*/ 5410743 h 6138270"/>
                        <a:gd name="connsiteX96" fmla="*/ 3551192 w 6373827"/>
                        <a:gd name="connsiteY96" fmla="*/ 5410358 h 6138270"/>
                        <a:gd name="connsiteX97" fmla="*/ 3551192 w 6373827"/>
                        <a:gd name="connsiteY97" fmla="*/ 5409089 h 6138270"/>
                        <a:gd name="connsiteX98" fmla="*/ 3551192 w 6373827"/>
                        <a:gd name="connsiteY98" fmla="*/ 5261042 h 6138270"/>
                        <a:gd name="connsiteX99" fmla="*/ 3551192 w 6373827"/>
                        <a:gd name="connsiteY99" fmla="*/ 2390781 h 6138270"/>
                        <a:gd name="connsiteX100" fmla="*/ 2969980 w 6373827"/>
                        <a:gd name="connsiteY100" fmla="*/ 2822641 h 6138270"/>
                        <a:gd name="connsiteX101" fmla="*/ 2968539 w 6373827"/>
                        <a:gd name="connsiteY101" fmla="*/ 2822641 h 6138270"/>
                        <a:gd name="connsiteX102" fmla="*/ 2231843 w 6373827"/>
                        <a:gd name="connsiteY102" fmla="*/ 2378505 h 6138270"/>
                        <a:gd name="connsiteX103" fmla="*/ 1495147 w 6373827"/>
                        <a:gd name="connsiteY103" fmla="*/ 2822641 h 6138270"/>
                        <a:gd name="connsiteX104" fmla="*/ 1487260 w 6373827"/>
                        <a:gd name="connsiteY104" fmla="*/ 2822641 h 6138270"/>
                        <a:gd name="connsiteX105" fmla="*/ 3551192 w 6373827"/>
                        <a:gd name="connsiteY105" fmla="*/ 435206 h 6138270"/>
                        <a:gd name="connsiteX106" fmla="*/ 3551192 w 6373827"/>
                        <a:gd name="connsiteY106" fmla="*/ 155484 h 6138270"/>
                        <a:gd name="connsiteX107" fmla="*/ 3706676 w 6373827"/>
                        <a:gd name="connsiteY107"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918206 w 6373827"/>
                        <a:gd name="connsiteY82" fmla="*/ 2822641 h 6138270"/>
                        <a:gd name="connsiteX83" fmla="*/ 5181510 w 6373827"/>
                        <a:gd name="connsiteY83" fmla="*/ 2378505 h 6138270"/>
                        <a:gd name="connsiteX84" fmla="*/ 4444815 w 6373827"/>
                        <a:gd name="connsiteY84" fmla="*/ 2822641 h 6138270"/>
                        <a:gd name="connsiteX85" fmla="*/ 4443372 w 6373827"/>
                        <a:gd name="connsiteY85" fmla="*/ 2822641 h 6138270"/>
                        <a:gd name="connsiteX86" fmla="*/ 3862160 w 6373827"/>
                        <a:gd name="connsiteY86" fmla="*/ 2390781 h 6138270"/>
                        <a:gd name="connsiteX87" fmla="*/ 3862160 w 6373827"/>
                        <a:gd name="connsiteY87" fmla="*/ 5261042 h 6138270"/>
                        <a:gd name="connsiteX88" fmla="*/ 3864701 w 6373827"/>
                        <a:gd name="connsiteY88" fmla="*/ 5261042 h 6138270"/>
                        <a:gd name="connsiteX89" fmla="*/ 4217943 w 6373827"/>
                        <a:gd name="connsiteY89" fmla="*/ 5771650 h 6138270"/>
                        <a:gd name="connsiteX90" fmla="*/ 4444978 w 6373827"/>
                        <a:gd name="connsiteY90" fmla="*/ 5457393 h 6138270"/>
                        <a:gd name="connsiteX91" fmla="*/ 4752975 w 6373827"/>
                        <a:gd name="connsiteY91" fmla="*/ 5452631 h 6138270"/>
                        <a:gd name="connsiteX92" fmla="*/ 4726849 w 6373827"/>
                        <a:gd name="connsiteY92" fmla="*/ 5774848 h 6138270"/>
                        <a:gd name="connsiteX93" fmla="*/ 4239169 w 6373827"/>
                        <a:gd name="connsiteY93" fmla="*/ 6123191 h 6138270"/>
                        <a:gd name="connsiteX94" fmla="*/ 3635897 w 6373827"/>
                        <a:gd name="connsiteY94" fmla="*/ 5781243 h 6138270"/>
                        <a:gd name="connsiteX95" fmla="*/ 3551270 w 6373827"/>
                        <a:gd name="connsiteY95" fmla="*/ 5410743 h 6138270"/>
                        <a:gd name="connsiteX96" fmla="*/ 3551192 w 6373827"/>
                        <a:gd name="connsiteY96" fmla="*/ 5410358 h 6138270"/>
                        <a:gd name="connsiteX97" fmla="*/ 3551192 w 6373827"/>
                        <a:gd name="connsiteY97" fmla="*/ 5409089 h 6138270"/>
                        <a:gd name="connsiteX98" fmla="*/ 3551192 w 6373827"/>
                        <a:gd name="connsiteY98" fmla="*/ 5261042 h 6138270"/>
                        <a:gd name="connsiteX99" fmla="*/ 3551192 w 6373827"/>
                        <a:gd name="connsiteY99" fmla="*/ 2390781 h 6138270"/>
                        <a:gd name="connsiteX100" fmla="*/ 2969980 w 6373827"/>
                        <a:gd name="connsiteY100" fmla="*/ 2822641 h 6138270"/>
                        <a:gd name="connsiteX101" fmla="*/ 2968539 w 6373827"/>
                        <a:gd name="connsiteY101" fmla="*/ 2822641 h 6138270"/>
                        <a:gd name="connsiteX102" fmla="*/ 2231843 w 6373827"/>
                        <a:gd name="connsiteY102" fmla="*/ 2378505 h 6138270"/>
                        <a:gd name="connsiteX103" fmla="*/ 1495147 w 6373827"/>
                        <a:gd name="connsiteY103" fmla="*/ 2822641 h 6138270"/>
                        <a:gd name="connsiteX104" fmla="*/ 1487260 w 6373827"/>
                        <a:gd name="connsiteY104" fmla="*/ 2822641 h 6138270"/>
                        <a:gd name="connsiteX105" fmla="*/ 3551192 w 6373827"/>
                        <a:gd name="connsiteY105" fmla="*/ 435206 h 6138270"/>
                        <a:gd name="connsiteX106" fmla="*/ 3551192 w 6373827"/>
                        <a:gd name="connsiteY106" fmla="*/ 155484 h 6138270"/>
                        <a:gd name="connsiteX107" fmla="*/ 3706676 w 6373827"/>
                        <a:gd name="connsiteY107"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373827" h="6138270">
                          <a:moveTo>
                            <a:pt x="401955" y="4973523"/>
                          </a:moveTo>
                          <a:lnTo>
                            <a:pt x="2863215" y="4973523"/>
                          </a:lnTo>
                          <a:lnTo>
                            <a:pt x="2863215" y="6034736"/>
                          </a:lnTo>
                          <a:cubicBezTo>
                            <a:pt x="2863215" y="6091916"/>
                            <a:pt x="2816861" y="6138270"/>
                            <a:pt x="2759681" y="6138270"/>
                          </a:cubicBezTo>
                          <a:lnTo>
                            <a:pt x="2063592" y="6138270"/>
                          </a:lnTo>
                          <a:lnTo>
                            <a:pt x="2063592" y="5192595"/>
                          </a:lnTo>
                          <a:cubicBezTo>
                            <a:pt x="2063592" y="5116318"/>
                            <a:pt x="2001757" y="5054483"/>
                            <a:pt x="1925480" y="5054483"/>
                          </a:cubicBezTo>
                          <a:lnTo>
                            <a:pt x="1339691" y="5054483"/>
                          </a:lnTo>
                          <a:cubicBezTo>
                            <a:pt x="1263414" y="5054483"/>
                            <a:pt x="1201579" y="5116318"/>
                            <a:pt x="1201579" y="5192595"/>
                          </a:cubicBezTo>
                          <a:lnTo>
                            <a:pt x="1201579" y="6138270"/>
                          </a:lnTo>
                          <a:lnTo>
                            <a:pt x="505489" y="6138270"/>
                          </a:lnTo>
                          <a:cubicBezTo>
                            <a:pt x="448309" y="6138270"/>
                            <a:pt x="401955" y="6091916"/>
                            <a:pt x="401955" y="6034736"/>
                          </a:cubicBezTo>
                          <a:lnTo>
                            <a:pt x="401955" y="4973523"/>
                          </a:lnTo>
                          <a:close/>
                          <a:moveTo>
                            <a:pt x="1632585" y="3906725"/>
                          </a:moveTo>
                          <a:lnTo>
                            <a:pt x="2863215" y="4973522"/>
                          </a:lnTo>
                          <a:lnTo>
                            <a:pt x="401955" y="4973522"/>
                          </a:lnTo>
                          <a:lnTo>
                            <a:pt x="1632585" y="3906725"/>
                          </a:lnTo>
                          <a:close/>
                          <a:moveTo>
                            <a:pt x="5490667" y="3608415"/>
                          </a:moveTo>
                          <a:lnTo>
                            <a:pt x="6059089" y="3608415"/>
                          </a:lnTo>
                          <a:cubicBezTo>
                            <a:pt x="6192197" y="3608415"/>
                            <a:pt x="6308949" y="3686629"/>
                            <a:pt x="6354337" y="3803640"/>
                          </a:cubicBezTo>
                          <a:cubicBezTo>
                            <a:pt x="6363062" y="3818839"/>
                            <a:pt x="6364522" y="3833744"/>
                            <a:pt x="6368029" y="3847343"/>
                          </a:cubicBezTo>
                          <a:lnTo>
                            <a:pt x="6373827" y="3904862"/>
                          </a:lnTo>
                          <a:lnTo>
                            <a:pt x="6373827" y="3923154"/>
                          </a:lnTo>
                          <a:lnTo>
                            <a:pt x="6373827" y="4009528"/>
                          </a:lnTo>
                          <a:lnTo>
                            <a:pt x="6373827" y="4720751"/>
                          </a:lnTo>
                          <a:cubicBezTo>
                            <a:pt x="6373827" y="4783176"/>
                            <a:pt x="6323222" y="4833781"/>
                            <a:pt x="6260798" y="4833781"/>
                          </a:cubicBezTo>
                          <a:cubicBezTo>
                            <a:pt x="6198373" y="4833781"/>
                            <a:pt x="6147769" y="4783176"/>
                            <a:pt x="6147769" y="4720751"/>
                          </a:cubicBezTo>
                          <a:lnTo>
                            <a:pt x="6147769" y="4310036"/>
                          </a:lnTo>
                          <a:lnTo>
                            <a:pt x="6146571" y="4310335"/>
                          </a:lnTo>
                          <a:lnTo>
                            <a:pt x="6146571" y="4006446"/>
                          </a:lnTo>
                          <a:cubicBezTo>
                            <a:pt x="6146571" y="4003805"/>
                            <a:pt x="6144430" y="4001663"/>
                            <a:pt x="6141788" y="4001663"/>
                          </a:cubicBezTo>
                          <a:lnTo>
                            <a:pt x="6093957" y="4001663"/>
                          </a:lnTo>
                          <a:cubicBezTo>
                            <a:pt x="6091316" y="4001663"/>
                            <a:pt x="6089174" y="4003805"/>
                            <a:pt x="6089174" y="4006446"/>
                          </a:cubicBezTo>
                          <a:lnTo>
                            <a:pt x="6090110" y="4288441"/>
                          </a:lnTo>
                          <a:lnTo>
                            <a:pt x="6090110" y="5970857"/>
                          </a:lnTo>
                          <a:cubicBezTo>
                            <a:pt x="6090110" y="6048888"/>
                            <a:pt x="6026854" y="6112144"/>
                            <a:pt x="5948823" y="6112144"/>
                          </a:cubicBezTo>
                          <a:cubicBezTo>
                            <a:pt x="5870793" y="6112144"/>
                            <a:pt x="5807537" y="6048888"/>
                            <a:pt x="5807537" y="5970857"/>
                          </a:cubicBezTo>
                          <a:lnTo>
                            <a:pt x="5807537" y="4907726"/>
                          </a:lnTo>
                          <a:lnTo>
                            <a:pt x="5806601" y="4826563"/>
                          </a:lnTo>
                          <a:cubicBezTo>
                            <a:pt x="5806601" y="4824244"/>
                            <a:pt x="5804722" y="4822365"/>
                            <a:pt x="5802404" y="4822365"/>
                          </a:cubicBezTo>
                          <a:lnTo>
                            <a:pt x="5750295" y="4822365"/>
                          </a:lnTo>
                          <a:cubicBezTo>
                            <a:pt x="5747976" y="4822365"/>
                            <a:pt x="5746098" y="4824244"/>
                            <a:pt x="5746098" y="4826563"/>
                          </a:cubicBezTo>
                          <a:lnTo>
                            <a:pt x="5746098" y="4907726"/>
                          </a:lnTo>
                          <a:cubicBezTo>
                            <a:pt x="5745981" y="5262103"/>
                            <a:pt x="5745863" y="5616480"/>
                            <a:pt x="5745746" y="5970857"/>
                          </a:cubicBezTo>
                          <a:cubicBezTo>
                            <a:pt x="5745746" y="6048888"/>
                            <a:pt x="5682490" y="6112144"/>
                            <a:pt x="5604460" y="6112144"/>
                          </a:cubicBezTo>
                          <a:cubicBezTo>
                            <a:pt x="5526430" y="6112144"/>
                            <a:pt x="5463173" y="6048888"/>
                            <a:pt x="5463173" y="5970857"/>
                          </a:cubicBezTo>
                          <a:lnTo>
                            <a:pt x="5463173" y="4322181"/>
                          </a:lnTo>
                          <a:cubicBezTo>
                            <a:pt x="5461704" y="4216912"/>
                            <a:pt x="5460236" y="4111642"/>
                            <a:pt x="5458767" y="4006373"/>
                          </a:cubicBezTo>
                          <a:cubicBezTo>
                            <a:pt x="5458767" y="4003772"/>
                            <a:pt x="5456658" y="4001663"/>
                            <a:pt x="5454057" y="4001663"/>
                          </a:cubicBezTo>
                          <a:lnTo>
                            <a:pt x="5406962" y="4001663"/>
                          </a:lnTo>
                          <a:cubicBezTo>
                            <a:pt x="5404361" y="4001663"/>
                            <a:pt x="5402252" y="4003772"/>
                            <a:pt x="5402252" y="4006373"/>
                          </a:cubicBezTo>
                          <a:lnTo>
                            <a:pt x="5402252" y="4310102"/>
                          </a:lnTo>
                          <a:cubicBezTo>
                            <a:pt x="5402158" y="4310095"/>
                            <a:pt x="5402073" y="4310066"/>
                            <a:pt x="5401987" y="4310036"/>
                          </a:cubicBezTo>
                          <a:lnTo>
                            <a:pt x="5401987" y="4720751"/>
                          </a:lnTo>
                          <a:cubicBezTo>
                            <a:pt x="5401987" y="4783176"/>
                            <a:pt x="5351382" y="4833781"/>
                            <a:pt x="5288958" y="4833781"/>
                          </a:cubicBezTo>
                          <a:cubicBezTo>
                            <a:pt x="5226533" y="4833781"/>
                            <a:pt x="5175928" y="4783176"/>
                            <a:pt x="5175928" y="4720751"/>
                          </a:cubicBezTo>
                          <a:lnTo>
                            <a:pt x="5175928" y="4009528"/>
                          </a:lnTo>
                          <a:lnTo>
                            <a:pt x="5175928" y="3923154"/>
                          </a:lnTo>
                          <a:lnTo>
                            <a:pt x="5175928" y="3904862"/>
                          </a:lnTo>
                          <a:cubicBezTo>
                            <a:pt x="5175928" y="3878125"/>
                            <a:pt x="5179407" y="3852200"/>
                            <a:pt x="5187098" y="3827823"/>
                          </a:cubicBezTo>
                          <a:cubicBezTo>
                            <a:pt x="5189197" y="3820317"/>
                            <a:pt x="5188960" y="3810941"/>
                            <a:pt x="5193946" y="3805111"/>
                          </a:cubicBezTo>
                          <a:cubicBezTo>
                            <a:pt x="5239334" y="3688101"/>
                            <a:pt x="5357559" y="3608415"/>
                            <a:pt x="5490667" y="3608415"/>
                          </a:cubicBezTo>
                          <a:close/>
                          <a:moveTo>
                            <a:pt x="1628775" y="3287598"/>
                          </a:moveTo>
                          <a:lnTo>
                            <a:pt x="2162175" y="3749560"/>
                          </a:lnTo>
                          <a:lnTo>
                            <a:pt x="2162175" y="3406660"/>
                          </a:lnTo>
                          <a:lnTo>
                            <a:pt x="2581275" y="3406660"/>
                          </a:lnTo>
                          <a:lnTo>
                            <a:pt x="2581275" y="4121035"/>
                          </a:lnTo>
                          <a:lnTo>
                            <a:pt x="3219450" y="4678248"/>
                          </a:lnTo>
                          <a:lnTo>
                            <a:pt x="3219450" y="5078298"/>
                          </a:lnTo>
                          <a:lnTo>
                            <a:pt x="1619250" y="3711460"/>
                          </a:lnTo>
                          <a:lnTo>
                            <a:pt x="0" y="5087823"/>
                          </a:lnTo>
                          <a:lnTo>
                            <a:pt x="0" y="4683010"/>
                          </a:lnTo>
                          <a:lnTo>
                            <a:pt x="1628775" y="3287598"/>
                          </a:lnTo>
                          <a:close/>
                          <a:moveTo>
                            <a:pt x="5774878" y="3043007"/>
                          </a:moveTo>
                          <a:cubicBezTo>
                            <a:pt x="5912535" y="3043007"/>
                            <a:pt x="6024128" y="3154600"/>
                            <a:pt x="6024128" y="3292258"/>
                          </a:cubicBezTo>
                          <a:cubicBezTo>
                            <a:pt x="6024128" y="3429916"/>
                            <a:pt x="5912535" y="3541509"/>
                            <a:pt x="5774878" y="3541509"/>
                          </a:cubicBezTo>
                          <a:cubicBezTo>
                            <a:pt x="5637220" y="3541509"/>
                            <a:pt x="5525627" y="3429916"/>
                            <a:pt x="5525627" y="3292258"/>
                          </a:cubicBezTo>
                          <a:cubicBezTo>
                            <a:pt x="5525627" y="3154600"/>
                            <a:pt x="5637220" y="3043007"/>
                            <a:pt x="5774878" y="3043007"/>
                          </a:cubicBezTo>
                          <a:close/>
                          <a:moveTo>
                            <a:pt x="3706676" y="0"/>
                          </a:moveTo>
                          <a:cubicBezTo>
                            <a:pt x="3792547" y="0"/>
                            <a:pt x="3862160" y="69613"/>
                            <a:pt x="3862160" y="155484"/>
                          </a:cubicBezTo>
                          <a:lnTo>
                            <a:pt x="3862160" y="441065"/>
                          </a:lnTo>
                          <a:cubicBezTo>
                            <a:pt x="5132433" y="429791"/>
                            <a:pt x="6017330" y="1655571"/>
                            <a:pt x="5919923" y="2822641"/>
                          </a:cubicBezTo>
                          <a:cubicBezTo>
                            <a:pt x="5791663" y="2493852"/>
                            <a:pt x="5514091" y="2377237"/>
                            <a:pt x="5181510" y="2378505"/>
                          </a:cubicBezTo>
                          <a:cubicBezTo>
                            <a:pt x="4848929" y="2379773"/>
                            <a:pt x="4494073" y="2571652"/>
                            <a:pt x="4444815" y="2822641"/>
                          </a:cubicBezTo>
                          <a:lnTo>
                            <a:pt x="4443372" y="2822641"/>
                          </a:lnTo>
                          <a:cubicBezTo>
                            <a:pt x="4401101" y="2607251"/>
                            <a:pt x="4165985" y="2434459"/>
                            <a:pt x="3862160" y="2390781"/>
                          </a:cubicBezTo>
                          <a:lnTo>
                            <a:pt x="3862160" y="5261042"/>
                          </a:lnTo>
                          <a:lnTo>
                            <a:pt x="3864701" y="5261042"/>
                          </a:lnTo>
                          <a:cubicBezTo>
                            <a:pt x="3877673" y="5554276"/>
                            <a:pt x="3869214" y="5785597"/>
                            <a:pt x="4217943" y="5771650"/>
                          </a:cubicBezTo>
                          <a:cubicBezTo>
                            <a:pt x="4278540" y="5766115"/>
                            <a:pt x="4453436" y="5808208"/>
                            <a:pt x="4444978" y="5457393"/>
                          </a:cubicBezTo>
                          <a:cubicBezTo>
                            <a:pt x="4443663" y="5328806"/>
                            <a:pt x="4699522" y="5262131"/>
                            <a:pt x="4752975" y="5452631"/>
                          </a:cubicBezTo>
                          <a:cubicBezTo>
                            <a:pt x="4753791" y="5579088"/>
                            <a:pt x="4747464" y="5665061"/>
                            <a:pt x="4726849" y="5774848"/>
                          </a:cubicBezTo>
                          <a:cubicBezTo>
                            <a:pt x="4685733" y="5974306"/>
                            <a:pt x="4523173" y="6107090"/>
                            <a:pt x="4239169" y="6123191"/>
                          </a:cubicBezTo>
                          <a:cubicBezTo>
                            <a:pt x="3962672" y="6122714"/>
                            <a:pt x="3771900" y="6072232"/>
                            <a:pt x="3635897" y="5781243"/>
                          </a:cubicBezTo>
                          <a:cubicBezTo>
                            <a:pt x="3609907" y="5707094"/>
                            <a:pt x="3562787" y="5570963"/>
                            <a:pt x="3551270" y="5410743"/>
                          </a:cubicBezTo>
                          <a:cubicBezTo>
                            <a:pt x="3551192" y="5410615"/>
                            <a:pt x="3551192" y="5410486"/>
                            <a:pt x="3551192" y="5410358"/>
                          </a:cubicBezTo>
                          <a:lnTo>
                            <a:pt x="3551192" y="5409089"/>
                          </a:lnTo>
                          <a:cubicBezTo>
                            <a:pt x="3547293" y="5361538"/>
                            <a:pt x="3546948" y="5311848"/>
                            <a:pt x="3551192" y="5261042"/>
                          </a:cubicBezTo>
                          <a:lnTo>
                            <a:pt x="3551192" y="2390781"/>
                          </a:lnTo>
                          <a:cubicBezTo>
                            <a:pt x="3247367" y="2434459"/>
                            <a:pt x="3012252" y="2607252"/>
                            <a:pt x="2969980" y="2822641"/>
                          </a:cubicBezTo>
                          <a:lnTo>
                            <a:pt x="2968539" y="2822641"/>
                          </a:lnTo>
                          <a:cubicBezTo>
                            <a:pt x="2919281" y="2571652"/>
                            <a:pt x="2608165" y="2378505"/>
                            <a:pt x="2231843" y="2378505"/>
                          </a:cubicBezTo>
                          <a:cubicBezTo>
                            <a:pt x="1855522" y="2378505"/>
                            <a:pt x="1544406" y="2571652"/>
                            <a:pt x="1495147" y="2822641"/>
                          </a:cubicBezTo>
                          <a:lnTo>
                            <a:pt x="1487260" y="2822641"/>
                          </a:lnTo>
                          <a:cubicBezTo>
                            <a:pt x="1397711" y="1363827"/>
                            <a:pt x="2570662" y="471089"/>
                            <a:pt x="3551192" y="435206"/>
                          </a:cubicBezTo>
                          <a:lnTo>
                            <a:pt x="3551192" y="155484"/>
                          </a:lnTo>
                          <a:cubicBezTo>
                            <a:pt x="3551192" y="69613"/>
                            <a:pt x="3620805" y="0"/>
                            <a:pt x="3706676" y="0"/>
                          </a:cubicBezTo>
                          <a:close/>
                        </a:path>
                      </a:pathLst>
                    </a:custGeom>
                    <a:solidFill>
                      <a:srgbClr val="4266A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defRPr/>
                      </a:pPr>
                      <a:endParaRPr lang="en-US" sz="1200" kern="0" dirty="0" err="1">
                        <a:solidFill>
                          <a:srgbClr val="FFFFFF"/>
                        </a:solidFill>
                      </a:endParaRPr>
                    </a:p>
                  </p:txBody>
                </p:sp>
                <p:pic>
                  <p:nvPicPr>
                    <p:cNvPr id="291" name="Picture 74"/>
                    <p:cNvPicPr>
                      <a:picLocks noChangeAspect="1" noChangeArrowheads="1"/>
                    </p:cNvPicPr>
                    <p:nvPr/>
                  </p:nvPicPr>
                  <p:blipFill>
                    <a:blip r:embed="rId29" cstate="print">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black">
                    <a:xfrm>
                      <a:off x="3579320" y="3647609"/>
                      <a:ext cx="411480" cy="345442"/>
                    </a:xfrm>
                    <a:prstGeom prst="rect">
                      <a:avLst/>
                    </a:prstGeom>
                    <a:solidFill>
                      <a:schemeClr val="bg1"/>
                    </a:solidFill>
                    <a:ln>
                      <a:noFill/>
                    </a:ln>
                    <a:effectLst/>
                    <a:extLst/>
                  </p:spPr>
                </p:pic>
              </p:grpSp>
              <p:sp>
                <p:nvSpPr>
                  <p:cNvPr id="198" name="TextBox 197"/>
                  <p:cNvSpPr txBox="1"/>
                  <p:nvPr/>
                </p:nvSpPr>
                <p:spPr>
                  <a:xfrm>
                    <a:off x="2669459" y="4064089"/>
                    <a:ext cx="1656054" cy="249477"/>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Weather &amp;</a:t>
                    </a:r>
                  </a:p>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 Geologic</a:t>
                    </a:r>
                  </a:p>
                </p:txBody>
              </p:sp>
            </p:grpSp>
            <p:grpSp>
              <p:nvGrpSpPr>
                <p:cNvPr id="307" name="Group 306"/>
                <p:cNvGrpSpPr/>
                <p:nvPr/>
              </p:nvGrpSpPr>
              <p:grpSpPr>
                <a:xfrm>
                  <a:off x="6599330" y="3832431"/>
                  <a:ext cx="1253266" cy="760123"/>
                  <a:chOff x="3737769" y="890300"/>
                  <a:chExt cx="1253266" cy="760123"/>
                </a:xfrm>
              </p:grpSpPr>
              <p:grpSp>
                <p:nvGrpSpPr>
                  <p:cNvPr id="308" name="Group 307"/>
                  <p:cNvGrpSpPr/>
                  <p:nvPr/>
                </p:nvGrpSpPr>
                <p:grpSpPr>
                  <a:xfrm>
                    <a:off x="4148549" y="890300"/>
                    <a:ext cx="587237" cy="474619"/>
                    <a:chOff x="3098819" y="1035302"/>
                    <a:chExt cx="978255" cy="781124"/>
                  </a:xfrm>
                </p:grpSpPr>
                <p:pic>
                  <p:nvPicPr>
                    <p:cNvPr id="310" name="Picture 8" descr="\\MAGNUM\Projects\Microsoft\Cloud Power FY12\Design\Icons\PNGs\Partner.png"/>
                    <p:cNvPicPr>
                      <a:picLocks noChangeAspect="1" noChangeArrowheads="1"/>
                    </p:cNvPicPr>
                    <p:nvPr/>
                  </p:nvPicPr>
                  <p:blipFill>
                    <a:blip r:embed="rId30" cstate="print">
                      <a:duotone>
                        <a:srgbClr val="0A5BBA">
                          <a:shade val="45000"/>
                          <a:satMod val="135000"/>
                        </a:srgbClr>
                        <a:prstClr val="white"/>
                      </a:duotone>
                      <a:extLst>
                        <a:ext uri="{BEBA8EAE-BF5A-486C-A8C5-ECC9F3942E4B}">
                          <a14:imgProps xmlns:a14="http://schemas.microsoft.com/office/drawing/2010/main">
                            <a14:imgLayer r:embed="rId31">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3444586" y="1044774"/>
                      <a:ext cx="457200" cy="457200"/>
                    </a:xfrm>
                    <a:prstGeom prst="rect">
                      <a:avLst/>
                    </a:prstGeom>
                    <a:noFill/>
                  </p:spPr>
                </p:pic>
                <p:pic>
                  <p:nvPicPr>
                    <p:cNvPr id="311" name="Picture 8" descr="\\MAGNUM\Projects\Microsoft\Cloud Power FY12\Design\Icons\PNGs\Partner.png"/>
                    <p:cNvPicPr>
                      <a:picLocks noChangeAspect="1" noChangeArrowheads="1"/>
                    </p:cNvPicPr>
                    <p:nvPr/>
                  </p:nvPicPr>
                  <p:blipFill>
                    <a:blip r:embed="rId30" cstate="print">
                      <a:duotone>
                        <a:srgbClr val="0A5BBA">
                          <a:shade val="45000"/>
                          <a:satMod val="135000"/>
                        </a:srgbClr>
                        <a:prstClr val="white"/>
                      </a:duotone>
                      <a:extLst>
                        <a:ext uri="{BEBA8EAE-BF5A-486C-A8C5-ECC9F3942E4B}">
                          <a14:imgProps xmlns:a14="http://schemas.microsoft.com/office/drawing/2010/main">
                            <a14:imgLayer r:embed="rId31">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3211154" y="1307383"/>
                      <a:ext cx="457200" cy="457200"/>
                    </a:xfrm>
                    <a:prstGeom prst="rect">
                      <a:avLst/>
                    </a:prstGeom>
                    <a:noFill/>
                  </p:spPr>
                </p:pic>
                <p:pic>
                  <p:nvPicPr>
                    <p:cNvPr id="312" name="Picture 3" descr="\\MAGNUM\Projects\Microsoft\Cloud Power FY12\Design\Icons\PNGs\Storefront.png"/>
                    <p:cNvPicPr>
                      <a:picLocks noChangeAspect="1" noChangeArrowheads="1"/>
                    </p:cNvPicPr>
                    <p:nvPr/>
                  </p:nvPicPr>
                  <p:blipFill>
                    <a:blip r:embed="rId32" cstate="print">
                      <a:duotone>
                        <a:srgbClr val="0A5BBA">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098819" y="1035302"/>
                      <a:ext cx="457200" cy="457200"/>
                    </a:xfrm>
                    <a:prstGeom prst="rect">
                      <a:avLst/>
                    </a:prstGeom>
                    <a:noFill/>
                  </p:spPr>
                </p:pic>
                <p:pic>
                  <p:nvPicPr>
                    <p:cNvPr id="313" name="Picture 4" descr="\\MAGNUM\Projects\Microsoft\Cloud Power FY12\Design\Icons\PNGs\Factory.png"/>
                    <p:cNvPicPr>
                      <a:picLocks noChangeAspect="1" noChangeArrowheads="1"/>
                    </p:cNvPicPr>
                    <p:nvPr/>
                  </p:nvPicPr>
                  <p:blipFill>
                    <a:blip r:embed="rId33" cstate="print">
                      <a:duotone>
                        <a:srgbClr val="0A5BBA">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619874" y="1359226"/>
                      <a:ext cx="457200" cy="457200"/>
                    </a:xfrm>
                    <a:prstGeom prst="rect">
                      <a:avLst/>
                    </a:prstGeom>
                    <a:noFill/>
                  </p:spPr>
                </p:pic>
              </p:grpSp>
              <p:sp>
                <p:nvSpPr>
                  <p:cNvPr id="309" name="TextBox 308"/>
                  <p:cNvSpPr txBox="1"/>
                  <p:nvPr/>
                </p:nvSpPr>
                <p:spPr>
                  <a:xfrm>
                    <a:off x="3737769" y="1400946"/>
                    <a:ext cx="1253266" cy="249477"/>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Traffic &amp; Pollution Data</a:t>
                    </a:r>
                  </a:p>
                </p:txBody>
              </p:sp>
            </p:grpSp>
            <p:grpSp>
              <p:nvGrpSpPr>
                <p:cNvPr id="13" name="Group 12"/>
                <p:cNvGrpSpPr/>
                <p:nvPr/>
              </p:nvGrpSpPr>
              <p:grpSpPr>
                <a:xfrm>
                  <a:off x="5665986" y="2853198"/>
                  <a:ext cx="1567326" cy="916598"/>
                  <a:chOff x="5665986" y="2853198"/>
                  <a:chExt cx="1567326" cy="916598"/>
                </a:xfrm>
              </p:grpSpPr>
              <p:sp>
                <p:nvSpPr>
                  <p:cNvPr id="294" name="TextBox 293"/>
                  <p:cNvSpPr txBox="1"/>
                  <p:nvPr/>
                </p:nvSpPr>
                <p:spPr>
                  <a:xfrm>
                    <a:off x="5665986" y="3547820"/>
                    <a:ext cx="1567326" cy="221976"/>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ommunity Health </a:t>
                    </a:r>
                  </a:p>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amp; Trends</a:t>
                    </a:r>
                  </a:p>
                </p:txBody>
              </p:sp>
              <p:sp>
                <p:nvSpPr>
                  <p:cNvPr id="297" name="Rectangle 135"/>
                  <p:cNvSpPr>
                    <a:spLocks noChangeAspect="1"/>
                  </p:cNvSpPr>
                  <p:nvPr/>
                </p:nvSpPr>
                <p:spPr bwMode="auto">
                  <a:xfrm>
                    <a:off x="6276768" y="2853198"/>
                    <a:ext cx="365760" cy="365760"/>
                  </a:xfrm>
                  <a:custGeom>
                    <a:avLst/>
                    <a:gdLst/>
                    <a:ahLst/>
                    <a:cxnLst/>
                    <a:rect l="l" t="t" r="r" b="b"/>
                    <a:pathLst>
                      <a:path w="4486492" h="4486492">
                        <a:moveTo>
                          <a:pt x="3115020" y="3115652"/>
                        </a:moveTo>
                        <a:lnTo>
                          <a:pt x="3115020" y="4358307"/>
                        </a:lnTo>
                        <a:lnTo>
                          <a:pt x="4358306" y="4358307"/>
                        </a:lnTo>
                        <a:lnTo>
                          <a:pt x="4358306" y="3115652"/>
                        </a:lnTo>
                        <a:close/>
                        <a:moveTo>
                          <a:pt x="1473659" y="3115652"/>
                        </a:moveTo>
                        <a:lnTo>
                          <a:pt x="1473659" y="4358307"/>
                        </a:lnTo>
                        <a:lnTo>
                          <a:pt x="3012833" y="4358307"/>
                        </a:lnTo>
                        <a:lnTo>
                          <a:pt x="3012833" y="3115652"/>
                        </a:lnTo>
                        <a:close/>
                        <a:moveTo>
                          <a:pt x="128186" y="3115652"/>
                        </a:moveTo>
                        <a:lnTo>
                          <a:pt x="128186" y="4358307"/>
                        </a:lnTo>
                        <a:lnTo>
                          <a:pt x="1371472" y="4358307"/>
                        </a:lnTo>
                        <a:lnTo>
                          <a:pt x="1371472" y="3115652"/>
                        </a:lnTo>
                        <a:close/>
                        <a:moveTo>
                          <a:pt x="1473659" y="2755431"/>
                        </a:moveTo>
                        <a:lnTo>
                          <a:pt x="1473659" y="3013467"/>
                        </a:lnTo>
                        <a:lnTo>
                          <a:pt x="1793547" y="3013467"/>
                        </a:lnTo>
                        <a:close/>
                        <a:moveTo>
                          <a:pt x="963448" y="2343871"/>
                        </a:moveTo>
                        <a:lnTo>
                          <a:pt x="330177" y="3013467"/>
                        </a:lnTo>
                        <a:lnTo>
                          <a:pt x="1371472" y="3013467"/>
                        </a:lnTo>
                        <a:lnTo>
                          <a:pt x="1371472" y="2673002"/>
                        </a:lnTo>
                        <a:close/>
                        <a:moveTo>
                          <a:pt x="3012833" y="1906434"/>
                        </a:moveTo>
                        <a:lnTo>
                          <a:pt x="2010377" y="3013467"/>
                        </a:lnTo>
                        <a:lnTo>
                          <a:pt x="3012833" y="3013467"/>
                        </a:lnTo>
                        <a:close/>
                        <a:moveTo>
                          <a:pt x="3386427" y="1493866"/>
                        </a:moveTo>
                        <a:lnTo>
                          <a:pt x="3115020" y="1793586"/>
                        </a:lnTo>
                        <a:lnTo>
                          <a:pt x="3115020" y="3013467"/>
                        </a:lnTo>
                        <a:lnTo>
                          <a:pt x="4358306" y="3013467"/>
                        </a:lnTo>
                        <a:lnTo>
                          <a:pt x="4358306" y="2522701"/>
                        </a:lnTo>
                        <a:close/>
                        <a:moveTo>
                          <a:pt x="3801600" y="1473023"/>
                        </a:moveTo>
                        <a:lnTo>
                          <a:pt x="4358306" y="2069204"/>
                        </a:lnTo>
                        <a:lnTo>
                          <a:pt x="4358306" y="1473023"/>
                        </a:lnTo>
                        <a:close/>
                        <a:moveTo>
                          <a:pt x="1473659" y="1473023"/>
                        </a:moveTo>
                        <a:lnTo>
                          <a:pt x="1473659" y="2383401"/>
                        </a:lnTo>
                        <a:lnTo>
                          <a:pt x="1820355" y="2695206"/>
                        </a:lnTo>
                        <a:lnTo>
                          <a:pt x="2954285" y="1473023"/>
                        </a:lnTo>
                        <a:close/>
                        <a:moveTo>
                          <a:pt x="128186" y="1473023"/>
                        </a:moveTo>
                        <a:lnTo>
                          <a:pt x="128186" y="2789526"/>
                        </a:lnTo>
                        <a:lnTo>
                          <a:pt x="963448" y="1924535"/>
                        </a:lnTo>
                        <a:lnTo>
                          <a:pt x="1371472" y="2291497"/>
                        </a:lnTo>
                        <a:lnTo>
                          <a:pt x="1371472" y="1473023"/>
                        </a:lnTo>
                        <a:close/>
                        <a:moveTo>
                          <a:pt x="3115020" y="128186"/>
                        </a:moveTo>
                        <a:lnTo>
                          <a:pt x="3115020" y="1299778"/>
                        </a:lnTo>
                        <a:lnTo>
                          <a:pt x="3376578" y="1017863"/>
                        </a:lnTo>
                        <a:lnTo>
                          <a:pt x="3706181" y="1370838"/>
                        </a:lnTo>
                        <a:lnTo>
                          <a:pt x="4358306" y="1370838"/>
                        </a:lnTo>
                        <a:lnTo>
                          <a:pt x="4358306" y="128186"/>
                        </a:lnTo>
                        <a:close/>
                        <a:moveTo>
                          <a:pt x="1473659" y="128186"/>
                        </a:moveTo>
                        <a:lnTo>
                          <a:pt x="1473659" y="1370838"/>
                        </a:lnTo>
                        <a:lnTo>
                          <a:pt x="3012833" y="1370838"/>
                        </a:lnTo>
                        <a:lnTo>
                          <a:pt x="3012833" y="128186"/>
                        </a:lnTo>
                        <a:close/>
                        <a:moveTo>
                          <a:pt x="128186" y="128186"/>
                        </a:moveTo>
                        <a:lnTo>
                          <a:pt x="128186" y="1370838"/>
                        </a:lnTo>
                        <a:lnTo>
                          <a:pt x="1371472" y="1370838"/>
                        </a:lnTo>
                        <a:lnTo>
                          <a:pt x="1371472" y="128186"/>
                        </a:lnTo>
                        <a:close/>
                        <a:moveTo>
                          <a:pt x="0" y="0"/>
                        </a:moveTo>
                        <a:lnTo>
                          <a:pt x="4486492" y="0"/>
                        </a:lnTo>
                        <a:lnTo>
                          <a:pt x="4486492" y="4486492"/>
                        </a:lnTo>
                        <a:lnTo>
                          <a:pt x="0" y="4486492"/>
                        </a:lnTo>
                        <a:close/>
                      </a:path>
                    </a:pathLst>
                  </a:custGeom>
                  <a:solidFill>
                    <a:srgbClr val="5E83BD"/>
                  </a:solidFill>
                  <a:ln>
                    <a:no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endParaRPr lang="en-US" kern="0">
                      <a:solidFill>
                        <a:srgbClr val="000000"/>
                      </a:solidFill>
                    </a:endParaRPr>
                  </a:p>
                </p:txBody>
              </p:sp>
              <p:grpSp>
                <p:nvGrpSpPr>
                  <p:cNvPr id="298" name="Group 297"/>
                  <p:cNvGrpSpPr>
                    <a:grpSpLocks noChangeAspect="1"/>
                  </p:cNvGrpSpPr>
                  <p:nvPr/>
                </p:nvGrpSpPr>
                <p:grpSpPr bwMode="black">
                  <a:xfrm>
                    <a:off x="6083963" y="2969380"/>
                    <a:ext cx="213281" cy="411480"/>
                    <a:chOff x="3360738" y="989012"/>
                    <a:chExt cx="746125" cy="1439864"/>
                  </a:xfrm>
                  <a:solidFill>
                    <a:srgbClr val="4266A0"/>
                  </a:solidFill>
                </p:grpSpPr>
                <p:sp>
                  <p:nvSpPr>
                    <p:cNvPr id="299"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FFFFFF"/>
                        </a:solidFill>
                      </a:endParaRPr>
                    </a:p>
                  </p:txBody>
                </p:sp>
                <p:sp>
                  <p:nvSpPr>
                    <p:cNvPr id="300"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FFFFFF"/>
                        </a:solidFill>
                      </a:endParaRPr>
                    </a:p>
                  </p:txBody>
                </p:sp>
                <p:sp>
                  <p:nvSpPr>
                    <p:cNvPr id="301" name="Oval 38"/>
                    <p:cNvSpPr>
                      <a:spLocks noChangeArrowheads="1"/>
                    </p:cNvSpPr>
                    <p:nvPr/>
                  </p:nvSpPr>
                  <p:spPr bwMode="black">
                    <a:xfrm>
                      <a:off x="3525838" y="989012"/>
                      <a:ext cx="234950" cy="238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FFFFFF"/>
                        </a:solidFill>
                      </a:endParaRPr>
                    </a:p>
                  </p:txBody>
                </p:sp>
                <p:sp>
                  <p:nvSpPr>
                    <p:cNvPr id="302"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FFFFFF"/>
                        </a:solidFill>
                      </a:endParaRPr>
                    </a:p>
                  </p:txBody>
                </p:sp>
              </p:grpSp>
              <p:pic>
                <p:nvPicPr>
                  <p:cNvPr id="323" name="Picture 4" descr="http://upload.wikimedia.org/wikipedia/commons/thumb/d/d9/Noun_project_859.svg/2000px-Noun_project_859.svg.png"/>
                  <p:cNvPicPr>
                    <a:picLocks noChangeAspect="1" noChangeArrowheads="1"/>
                  </p:cNvPicPr>
                  <p:nvPr/>
                </p:nvPicPr>
                <p:blipFill>
                  <a:blip r:embed="rId3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95134" y="2912450"/>
                    <a:ext cx="158799" cy="509890"/>
                  </a:xfrm>
                  <a:prstGeom prst="rect">
                    <a:avLst/>
                  </a:prstGeom>
                  <a:noFill/>
                  <a:extLst>
                    <a:ext uri="{909E8E84-426E-40DD-AFC4-6F175D3DCCD1}">
                      <a14:hiddenFill xmlns:a14="http://schemas.microsoft.com/office/drawing/2010/main">
                        <a:solidFill>
                          <a:srgbClr val="FFFFFF"/>
                        </a:solidFill>
                      </a14:hiddenFill>
                    </a:ext>
                  </a:extLst>
                </p:spPr>
              </p:pic>
              <p:grpSp>
                <p:nvGrpSpPr>
                  <p:cNvPr id="324" name="Group 323"/>
                  <p:cNvGrpSpPr>
                    <a:grpSpLocks noChangeAspect="1"/>
                  </p:cNvGrpSpPr>
                  <p:nvPr/>
                </p:nvGrpSpPr>
                <p:grpSpPr bwMode="black">
                  <a:xfrm>
                    <a:off x="5939498" y="2970224"/>
                    <a:ext cx="213281" cy="411480"/>
                    <a:chOff x="3360738" y="989012"/>
                    <a:chExt cx="746125" cy="1439864"/>
                  </a:xfrm>
                  <a:solidFill>
                    <a:srgbClr val="4266A0"/>
                  </a:solidFill>
                </p:grpSpPr>
                <p:sp>
                  <p:nvSpPr>
                    <p:cNvPr id="325"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FFFFFF"/>
                        </a:solidFill>
                      </a:endParaRPr>
                    </a:p>
                  </p:txBody>
                </p:sp>
                <p:sp>
                  <p:nvSpPr>
                    <p:cNvPr id="326"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FFFFFF"/>
                        </a:solidFill>
                      </a:endParaRPr>
                    </a:p>
                  </p:txBody>
                </p:sp>
                <p:sp>
                  <p:nvSpPr>
                    <p:cNvPr id="327" name="Oval 38"/>
                    <p:cNvSpPr>
                      <a:spLocks noChangeArrowheads="1"/>
                    </p:cNvSpPr>
                    <p:nvPr/>
                  </p:nvSpPr>
                  <p:spPr bwMode="black">
                    <a:xfrm>
                      <a:off x="3525838" y="989012"/>
                      <a:ext cx="234950" cy="238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FFFFFF"/>
                        </a:solidFill>
                      </a:endParaRPr>
                    </a:p>
                  </p:txBody>
                </p:sp>
                <p:sp>
                  <p:nvSpPr>
                    <p:cNvPr id="328"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FFFFFF"/>
                        </a:solidFill>
                      </a:endParaRPr>
                    </a:p>
                  </p:txBody>
                </p:sp>
              </p:grpSp>
            </p:grpSp>
          </p:grpSp>
          <p:sp>
            <p:nvSpPr>
              <p:cNvPr id="66" name="Rectangle 65"/>
              <p:cNvSpPr/>
              <p:nvPr/>
            </p:nvSpPr>
            <p:spPr>
              <a:xfrm>
                <a:off x="4679841" y="3503920"/>
                <a:ext cx="2665242" cy="2078782"/>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endParaRPr lang="en-US" sz="1200" kern="0" dirty="0" err="1">
                  <a:solidFill>
                    <a:sysClr val="windowText" lastClr="000000"/>
                  </a:solidFill>
                </a:endParaRPr>
              </a:p>
            </p:txBody>
          </p:sp>
        </p:grpSp>
        <p:sp>
          <p:nvSpPr>
            <p:cNvPr id="396" name="Rectangle 395"/>
            <p:cNvSpPr/>
            <p:nvPr/>
          </p:nvSpPr>
          <p:spPr>
            <a:xfrm>
              <a:off x="5703693" y="5371415"/>
              <a:ext cx="851195" cy="246221"/>
            </a:xfrm>
            <a:prstGeom prst="rect">
              <a:avLst/>
            </a:prstGeom>
            <a:noFill/>
            <a:ln w="6350" cap="flat" cmpd="sng" algn="ctr">
              <a:noFill/>
              <a:prstDash val="solid"/>
            </a:ln>
            <a:effectLst/>
          </p:spPr>
          <p:txBody>
            <a:bodyPr wrap="none" lIns="0" tIns="0" rIns="0" bIns="0" rtlCol="0" anchor="ctr">
              <a:spAutoFit/>
            </a:bodyPr>
            <a:lstStyle/>
            <a:p>
              <a:pPr marL="0" lvl="1" algn="ctr" defTabSz="1218106" fontAlgn="base">
                <a:spcBef>
                  <a:spcPts val="200"/>
                </a:spcBef>
                <a:buClr>
                  <a:srgbClr val="FFFF99"/>
                </a:buClr>
                <a:buSzPct val="90000"/>
                <a:defRPr/>
              </a:pPr>
              <a:r>
                <a:rPr lang="en-US" sz="1600" kern="0" dirty="0">
                  <a:solidFill>
                    <a:srgbClr val="505050"/>
                  </a:solidFill>
                  <a:latin typeface="Segoe UI Semibold" panose="020B0702040204020203" pitchFamily="34" charset="0"/>
                  <a:ea typeface="Segoe UI" pitchFamily="34" charset="0"/>
                  <a:cs typeface="Segoe UI" pitchFamily="34" charset="0"/>
                </a:rPr>
                <a:t>City Data</a:t>
              </a:r>
            </a:p>
          </p:txBody>
        </p:sp>
      </p:grpSp>
      <p:cxnSp>
        <p:nvCxnSpPr>
          <p:cNvPr id="397" name="Straight Arrow Connector 396"/>
          <p:cNvCxnSpPr/>
          <p:nvPr/>
        </p:nvCxnSpPr>
        <p:spPr>
          <a:xfrm>
            <a:off x="3169578" y="2621067"/>
            <a:ext cx="1031071" cy="4190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0" name="Straight Arrow Connector 399"/>
          <p:cNvCxnSpPr/>
          <p:nvPr/>
        </p:nvCxnSpPr>
        <p:spPr>
          <a:xfrm flipH="1">
            <a:off x="8625272" y="1510566"/>
            <a:ext cx="225006" cy="1549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7" name="Text Placeholder 5"/>
          <p:cNvSpPr>
            <a:spLocks noGrp="1"/>
          </p:cNvSpPr>
          <p:nvPr>
            <p:ph type="body" sz="quarter" idx="13"/>
          </p:nvPr>
        </p:nvSpPr>
        <p:spPr>
          <a:xfrm>
            <a:off x="3043054" y="144212"/>
            <a:ext cx="3995787" cy="346295"/>
          </a:xfrm>
        </p:spPr>
        <p:txBody>
          <a:bodyPr/>
          <a:lstStyle/>
          <a:p>
            <a:r>
              <a:rPr lang="en-US" dirty="0"/>
              <a:t>Technology Storyboard</a:t>
            </a:r>
            <a:endParaRPr lang="en-IN" dirty="0"/>
          </a:p>
        </p:txBody>
      </p:sp>
    </p:spTree>
    <p:extLst>
      <p:ext uri="{BB962C8B-B14F-4D97-AF65-F5344CB8AC3E}">
        <p14:creationId xmlns:p14="http://schemas.microsoft.com/office/powerpoint/2010/main" val="2343658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F3CBC-745D-4EE0-AABB-BE8A28AC4E47}"/>
              </a:ext>
            </a:extLst>
          </p:cNvPr>
          <p:cNvSpPr>
            <a:spLocks noGrp="1"/>
          </p:cNvSpPr>
          <p:nvPr>
            <p:ph type="title"/>
          </p:nvPr>
        </p:nvSpPr>
        <p:spPr/>
        <p:txBody>
          <a:bodyPr/>
          <a:lstStyle/>
          <a:p>
            <a:r>
              <a:rPr lang="en-US" dirty="0"/>
              <a:t>Threats</a:t>
            </a:r>
          </a:p>
        </p:txBody>
      </p:sp>
      <p:sp>
        <p:nvSpPr>
          <p:cNvPr id="3" name="Slide Number Placeholder 2">
            <a:extLst>
              <a:ext uri="{FF2B5EF4-FFF2-40B4-BE49-F238E27FC236}">
                <a16:creationId xmlns:a16="http://schemas.microsoft.com/office/drawing/2014/main" id="{408DD499-2E08-465E-9B3F-3A1F0BAB510E}"/>
              </a:ext>
            </a:extLst>
          </p:cNvPr>
          <p:cNvSpPr>
            <a:spLocks noGrp="1"/>
          </p:cNvSpPr>
          <p:nvPr>
            <p:ph type="sldNum" sz="quarter" idx="12"/>
          </p:nvPr>
        </p:nvSpPr>
        <p:spPr/>
        <p:txBody>
          <a:bodyPr/>
          <a:lstStyle/>
          <a:p>
            <a:fld id="{6A4C1A4A-E5E6-4CC1-B72C-A20A4EB3E2D2}" type="slidenum">
              <a:rPr lang="en-US" smtClean="0">
                <a:solidFill>
                  <a:srgbClr val="505050"/>
                </a:solidFill>
              </a:rPr>
              <a:pPr/>
              <a:t>17</a:t>
            </a:fld>
            <a:endParaRPr lang="en-US" dirty="0">
              <a:solidFill>
                <a:srgbClr val="505050"/>
              </a:solidFill>
            </a:endParaRPr>
          </a:p>
        </p:txBody>
      </p:sp>
      <p:sp>
        <p:nvSpPr>
          <p:cNvPr id="4" name="Text Placeholder 3">
            <a:extLst>
              <a:ext uri="{FF2B5EF4-FFF2-40B4-BE49-F238E27FC236}">
                <a16:creationId xmlns:a16="http://schemas.microsoft.com/office/drawing/2014/main" id="{323798A5-B33D-4867-82DD-ACB4ADEABDD0}"/>
              </a:ext>
            </a:extLst>
          </p:cNvPr>
          <p:cNvSpPr>
            <a:spLocks noGrp="1"/>
          </p:cNvSpPr>
          <p:nvPr>
            <p:ph type="body" sz="quarter" idx="13"/>
          </p:nvPr>
        </p:nvSpPr>
        <p:spPr>
          <a:xfrm>
            <a:off x="0" y="831702"/>
            <a:ext cx="12192000" cy="4971788"/>
          </a:xfrm>
        </p:spPr>
        <p:txBody>
          <a:bodyPr/>
          <a:lstStyle/>
          <a:p>
            <a:pPr marL="514350" indent="-514350">
              <a:buAutoNum type="arabicPeriod"/>
            </a:pPr>
            <a:r>
              <a:rPr lang="en-US" dirty="0"/>
              <a:t>Data Privacy of Citizens – maximum in health services .</a:t>
            </a:r>
          </a:p>
          <a:p>
            <a:pPr marL="514350" indent="-514350">
              <a:buAutoNum type="arabicPeriod"/>
            </a:pPr>
            <a:r>
              <a:rPr lang="en-US" dirty="0"/>
              <a:t>Citizen Services errors</a:t>
            </a:r>
          </a:p>
          <a:p>
            <a:pPr marL="796024" lvl="1" indent="-514350">
              <a:buAutoNum type="arabicPeriod"/>
            </a:pPr>
            <a:r>
              <a:rPr lang="en-US" dirty="0"/>
              <a:t>Passport errors and impacts </a:t>
            </a:r>
          </a:p>
          <a:p>
            <a:pPr marL="796024" lvl="1" indent="-514350">
              <a:buAutoNum type="arabicPeriod"/>
            </a:pPr>
            <a:r>
              <a:rPr lang="en-US" dirty="0"/>
              <a:t>License errors</a:t>
            </a:r>
          </a:p>
          <a:p>
            <a:pPr marL="796024" lvl="1" indent="-514350">
              <a:buAutoNum type="arabicPeriod"/>
            </a:pPr>
            <a:r>
              <a:rPr lang="en-US" dirty="0"/>
              <a:t>Ration distribution errors ( subsidy frauds)</a:t>
            </a:r>
          </a:p>
          <a:p>
            <a:pPr marL="796024" lvl="1" indent="-514350">
              <a:buAutoNum type="arabicPeriod"/>
            </a:pPr>
            <a:r>
              <a:rPr lang="en-US" dirty="0"/>
              <a:t>Birth/death certificate related financial/insurance frauds</a:t>
            </a:r>
          </a:p>
          <a:p>
            <a:pPr marL="514350" indent="-514350">
              <a:buAutoNum type="arabicPeriod"/>
            </a:pPr>
            <a:r>
              <a:rPr lang="en-US" dirty="0"/>
              <a:t>Traffic errors</a:t>
            </a:r>
          </a:p>
          <a:p>
            <a:pPr marL="796024" lvl="1" indent="-514350">
              <a:buAutoNum type="arabicPeriod"/>
            </a:pPr>
            <a:r>
              <a:rPr lang="en-US" dirty="0"/>
              <a:t>Wrong redirection of traffic </a:t>
            </a:r>
          </a:p>
          <a:p>
            <a:pPr marL="796024" lvl="1" indent="-514350">
              <a:buAutoNum type="arabicPeriod"/>
            </a:pPr>
            <a:r>
              <a:rPr lang="en-US" dirty="0"/>
              <a:t>Was it an accident or light error ?</a:t>
            </a:r>
          </a:p>
          <a:p>
            <a:pPr marL="514350" indent="-514350">
              <a:buAutoNum type="arabicPeriod"/>
            </a:pPr>
            <a:r>
              <a:rPr lang="en-US" dirty="0"/>
              <a:t>AQI Reading errors – trust and sales of air-purifiers</a:t>
            </a:r>
          </a:p>
          <a:p>
            <a:pPr marL="514350" indent="-514350">
              <a:buAutoNum type="arabicPeriod"/>
            </a:pPr>
            <a:r>
              <a:rPr lang="en-US" dirty="0"/>
              <a:t>Citizen Trust and Trust in Governance/Government </a:t>
            </a:r>
          </a:p>
          <a:p>
            <a:pPr marL="514350" indent="-514350">
              <a:buFont typeface="Wingdings" pitchFamily="2" charset="2"/>
              <a:buAutoNum type="arabicPeriod"/>
            </a:pPr>
            <a:r>
              <a:rPr lang="en-US" dirty="0"/>
              <a:t>DDOS/Ethical AI and </a:t>
            </a:r>
            <a:r>
              <a:rPr lang="en-US" dirty="0" err="1"/>
              <a:t>LAw</a:t>
            </a:r>
            <a:endParaRPr lang="en-US" dirty="0"/>
          </a:p>
          <a:p>
            <a:endParaRPr lang="en-US" dirty="0"/>
          </a:p>
          <a:p>
            <a:endParaRPr lang="en-US" dirty="0"/>
          </a:p>
        </p:txBody>
      </p:sp>
    </p:spTree>
    <p:extLst>
      <p:ext uri="{BB962C8B-B14F-4D97-AF65-F5344CB8AC3E}">
        <p14:creationId xmlns:p14="http://schemas.microsoft.com/office/powerpoint/2010/main" val="359547300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708612" name="think-cell Slide" r:id="rId6" imgW="377" imgH="377" progId="TCLayout.ActiveDocument.1">
                  <p:embed/>
                </p:oleObj>
              </mc:Choice>
              <mc:Fallback>
                <p:oleObj name="think-cell Slide" r:id="rId6" imgW="377" imgH="377" progId="TCLayout.ActiveDocument.1">
                  <p:embed/>
                  <p:pic>
                    <p:nvPicPr>
                      <p:cNvPr id="3" name="Object 2" hidden="1"/>
                      <p:cNvPicPr/>
                      <p:nvPr/>
                    </p:nvPicPr>
                    <p:blipFill>
                      <a:blip r:embed="rId7"/>
                      <a:stretch>
                        <a:fillRect/>
                      </a:stretch>
                    </p:blipFill>
                    <p:spPr>
                      <a:xfrm>
                        <a:off x="3177" y="1589"/>
                        <a:ext cx="1587" cy="1587"/>
                      </a:xfrm>
                      <a:prstGeom prst="rect">
                        <a:avLst/>
                      </a:prstGeom>
                    </p:spPr>
                  </p:pic>
                </p:oleObj>
              </mc:Fallback>
            </mc:AlternateContent>
          </a:graphicData>
        </a:graphic>
      </p:graphicFrame>
      <p:sp>
        <p:nvSpPr>
          <p:cNvPr id="853" name="Freeform 852"/>
          <p:cNvSpPr>
            <a:spLocks noEditPoints="1"/>
          </p:cNvSpPr>
          <p:nvPr/>
        </p:nvSpPr>
        <p:spPr bwMode="black">
          <a:xfrm>
            <a:off x="9717147" y="1560245"/>
            <a:ext cx="338073" cy="68175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2200" b="0" i="0" u="none" strike="noStrike" kern="0" cap="none" spc="-122" normalizeH="0" baseline="0" noProof="0" dirty="0">
              <a:ln>
                <a:noFill/>
              </a:ln>
              <a:solidFill>
                <a:srgbClr val="505050">
                  <a:lumMod val="50000"/>
                </a:srgbClr>
              </a:solidFill>
              <a:effectLst/>
              <a:uLnTx/>
              <a:uFillTx/>
              <a:sym typeface="Segoe UI" panose="020B0502040204020203" pitchFamily="34" charset="0"/>
            </a:endParaRPr>
          </a:p>
        </p:txBody>
      </p:sp>
      <p:sp>
        <p:nvSpPr>
          <p:cNvPr id="854" name="Freeform 88"/>
          <p:cNvSpPr>
            <a:spLocks noEditPoints="1"/>
          </p:cNvSpPr>
          <p:nvPr/>
        </p:nvSpPr>
        <p:spPr bwMode="black">
          <a:xfrm>
            <a:off x="8812889" y="1522583"/>
            <a:ext cx="848373" cy="7194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80B7E1">
              <a:alpha val="34000"/>
            </a:srgbClr>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2200" b="0" i="0" u="none" strike="noStrike" kern="0" cap="none" spc="-122" normalizeH="0" baseline="0" noProof="0" dirty="0">
              <a:ln>
                <a:noFill/>
              </a:ln>
              <a:solidFill>
                <a:srgbClr val="505050">
                  <a:lumMod val="50000"/>
                </a:srgbClr>
              </a:solidFill>
              <a:effectLst/>
              <a:uLnTx/>
              <a:uFillTx/>
              <a:sym typeface="Segoe UI" panose="020B0502040204020203" pitchFamily="34" charset="0"/>
            </a:endParaRPr>
          </a:p>
        </p:txBody>
      </p:sp>
      <p:sp>
        <p:nvSpPr>
          <p:cNvPr id="855" name="Rounded Rectangle 47"/>
          <p:cNvSpPr/>
          <p:nvPr/>
        </p:nvSpPr>
        <p:spPr>
          <a:xfrm rot="5400000">
            <a:off x="8480047" y="937158"/>
            <a:ext cx="1791192" cy="1791196"/>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alpha val="34000"/>
            </a:srgbClr>
          </a:solidFill>
        </p:spPr>
        <p:txBody>
          <a:bodyPr vert="horz" wrap="square" lIns="91440" tIns="45720" rIns="91440" bIns="45720" numCol="1" anchor="t" anchorCtr="0" compatLnSpc="1">
            <a:prstTxWarp prst="textNoShape">
              <a:avLst/>
            </a:prstTxWarp>
          </a:bodyPr>
          <a:lstStyle/>
          <a:p>
            <a:pPr marL="0" marR="0" lvl="0" indent="0" defTabSz="1218939"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solidFill>
                  <a:srgbClr val="505050">
                    <a:alpha val="0"/>
                  </a:srgbClr>
                </a:solidFill>
              </a:ln>
              <a:solidFill>
                <a:srgbClr val="000000"/>
              </a:solidFill>
              <a:effectLst/>
              <a:uLnTx/>
              <a:uFillTx/>
            </a:endParaRPr>
          </a:p>
        </p:txBody>
      </p:sp>
      <p:sp>
        <p:nvSpPr>
          <p:cNvPr id="856" name="Freeform 855"/>
          <p:cNvSpPr/>
          <p:nvPr/>
        </p:nvSpPr>
        <p:spPr>
          <a:xfrm>
            <a:off x="8615814" y="1072930"/>
            <a:ext cx="1519656" cy="1519652"/>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alpha val="34000"/>
            </a:srgbClr>
          </a:solidFill>
        </p:spPr>
        <p:txBody>
          <a:bodyPr vert="horz" wrap="square" lIns="91440" tIns="45720" rIns="91440" bIns="45720" numCol="1" anchor="t" anchorCtr="0" compatLnSpc="1">
            <a:prstTxWarp prst="textNoShape">
              <a:avLst/>
            </a:prstTxWarp>
          </a:bodyPr>
          <a:lstStyle/>
          <a:p>
            <a:pPr marL="0" marR="0" lvl="0" indent="0" defTabSz="1218939"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dirty="0">
              <a:ln>
                <a:solidFill>
                  <a:srgbClr val="505050">
                    <a:alpha val="0"/>
                  </a:srgbClr>
                </a:solidFill>
              </a:ln>
              <a:solidFill>
                <a:srgbClr val="000000"/>
              </a:solidFill>
              <a:effectLst/>
              <a:uLnTx/>
              <a:uFillTx/>
            </a:endParaRPr>
          </a:p>
        </p:txBody>
      </p:sp>
      <p:sp>
        <p:nvSpPr>
          <p:cNvPr id="831" name="Freeform 830"/>
          <p:cNvSpPr/>
          <p:nvPr/>
        </p:nvSpPr>
        <p:spPr>
          <a:xfrm rot="18900000">
            <a:off x="2247362" y="2901538"/>
            <a:ext cx="196850" cy="751190"/>
          </a:xfrm>
          <a:custGeom>
            <a:avLst/>
            <a:gdLst>
              <a:gd name="connsiteX0" fmla="*/ 482600 w 482600"/>
              <a:gd name="connsiteY0" fmla="*/ 0 h 1758950"/>
              <a:gd name="connsiteX1" fmla="*/ 0 w 482600"/>
              <a:gd name="connsiteY1" fmla="*/ 488950 h 1758950"/>
              <a:gd name="connsiteX2" fmla="*/ 0 w 482600"/>
              <a:gd name="connsiteY2" fmla="*/ 1517650 h 1758950"/>
              <a:gd name="connsiteX3" fmla="*/ 196850 w 482600"/>
              <a:gd name="connsiteY3" fmla="*/ 1701800 h 1758950"/>
              <a:gd name="connsiteX4" fmla="*/ 196850 w 482600"/>
              <a:gd name="connsiteY4" fmla="*/ 1758950 h 1758950"/>
              <a:gd name="connsiteX0" fmla="*/ 482600 w 482600"/>
              <a:gd name="connsiteY0" fmla="*/ 0 h 1758950"/>
              <a:gd name="connsiteX1" fmla="*/ 0 w 482600"/>
              <a:gd name="connsiteY1" fmla="*/ 488950 h 1758950"/>
              <a:gd name="connsiteX2" fmla="*/ 3767 w 482600"/>
              <a:gd name="connsiteY2" fmla="*/ 1007760 h 1758950"/>
              <a:gd name="connsiteX3" fmla="*/ 0 w 482600"/>
              <a:gd name="connsiteY3" fmla="*/ 1517650 h 1758950"/>
              <a:gd name="connsiteX4" fmla="*/ 196850 w 482600"/>
              <a:gd name="connsiteY4" fmla="*/ 1701800 h 1758950"/>
              <a:gd name="connsiteX5" fmla="*/ 196850 w 482600"/>
              <a:gd name="connsiteY5" fmla="*/ 1758950 h 1758950"/>
              <a:gd name="connsiteX0" fmla="*/ 0 w 196850"/>
              <a:gd name="connsiteY0" fmla="*/ 0 h 1270000"/>
              <a:gd name="connsiteX1" fmla="*/ 3767 w 196850"/>
              <a:gd name="connsiteY1" fmla="*/ 518810 h 1270000"/>
              <a:gd name="connsiteX2" fmla="*/ 0 w 196850"/>
              <a:gd name="connsiteY2" fmla="*/ 1028700 h 1270000"/>
              <a:gd name="connsiteX3" fmla="*/ 196850 w 196850"/>
              <a:gd name="connsiteY3" fmla="*/ 1212850 h 1270000"/>
              <a:gd name="connsiteX4" fmla="*/ 196850 w 196850"/>
              <a:gd name="connsiteY4" fmla="*/ 1270000 h 1270000"/>
              <a:gd name="connsiteX0" fmla="*/ 3767 w 196850"/>
              <a:gd name="connsiteY0" fmla="*/ 0 h 751190"/>
              <a:gd name="connsiteX1" fmla="*/ 0 w 196850"/>
              <a:gd name="connsiteY1" fmla="*/ 509890 h 751190"/>
              <a:gd name="connsiteX2" fmla="*/ 196850 w 196850"/>
              <a:gd name="connsiteY2" fmla="*/ 694040 h 751190"/>
              <a:gd name="connsiteX3" fmla="*/ 196850 w 196850"/>
              <a:gd name="connsiteY3" fmla="*/ 751190 h 751190"/>
            </a:gdLst>
            <a:ahLst/>
            <a:cxnLst>
              <a:cxn ang="0">
                <a:pos x="connsiteX0" y="connsiteY0"/>
              </a:cxn>
              <a:cxn ang="0">
                <a:pos x="connsiteX1" y="connsiteY1"/>
              </a:cxn>
              <a:cxn ang="0">
                <a:pos x="connsiteX2" y="connsiteY2"/>
              </a:cxn>
              <a:cxn ang="0">
                <a:pos x="connsiteX3" y="connsiteY3"/>
              </a:cxn>
            </a:cxnLst>
            <a:rect l="l" t="t" r="r" b="b"/>
            <a:pathLst>
              <a:path w="196850" h="751190">
                <a:moveTo>
                  <a:pt x="3767" y="0"/>
                </a:moveTo>
                <a:cubicBezTo>
                  <a:pt x="2511" y="169963"/>
                  <a:pt x="1256" y="339927"/>
                  <a:pt x="0" y="509890"/>
                </a:cubicBezTo>
                <a:lnTo>
                  <a:pt x="196850" y="694040"/>
                </a:lnTo>
                <a:lnTo>
                  <a:pt x="196850" y="75119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2" name="Freeform 831"/>
          <p:cNvSpPr/>
          <p:nvPr/>
        </p:nvSpPr>
        <p:spPr>
          <a:xfrm rot="18900000">
            <a:off x="2365892" y="2709003"/>
            <a:ext cx="317500" cy="1089859"/>
          </a:xfrm>
          <a:custGeom>
            <a:avLst/>
            <a:gdLst>
              <a:gd name="connsiteX0" fmla="*/ 565150 w 565150"/>
              <a:gd name="connsiteY0" fmla="*/ 0 h 2044700"/>
              <a:gd name="connsiteX1" fmla="*/ 63500 w 565150"/>
              <a:gd name="connsiteY1" fmla="*/ 533400 h 2044700"/>
              <a:gd name="connsiteX2" fmla="*/ 63500 w 565150"/>
              <a:gd name="connsiteY2" fmla="*/ 1511300 h 2044700"/>
              <a:gd name="connsiteX3" fmla="*/ 317500 w 565150"/>
              <a:gd name="connsiteY3" fmla="*/ 1765300 h 2044700"/>
              <a:gd name="connsiteX4" fmla="*/ 317500 w 565150"/>
              <a:gd name="connsiteY4" fmla="*/ 1803400 h 2044700"/>
              <a:gd name="connsiteX5" fmla="*/ 63500 w 565150"/>
              <a:gd name="connsiteY5" fmla="*/ 2044700 h 2044700"/>
              <a:gd name="connsiteX6" fmla="*/ 0 w 565150"/>
              <a:gd name="connsiteY6" fmla="*/ 2044700 h 2044700"/>
              <a:gd name="connsiteX0" fmla="*/ 565150 w 565150"/>
              <a:gd name="connsiteY0" fmla="*/ 0 h 2044700"/>
              <a:gd name="connsiteX1" fmla="*/ 63500 w 565150"/>
              <a:gd name="connsiteY1" fmla="*/ 533400 h 2044700"/>
              <a:gd name="connsiteX2" fmla="*/ 55922 w 565150"/>
              <a:gd name="connsiteY2" fmla="*/ 954841 h 2044700"/>
              <a:gd name="connsiteX3" fmla="*/ 63500 w 565150"/>
              <a:gd name="connsiteY3" fmla="*/ 1511300 h 2044700"/>
              <a:gd name="connsiteX4" fmla="*/ 317500 w 565150"/>
              <a:gd name="connsiteY4" fmla="*/ 1765300 h 2044700"/>
              <a:gd name="connsiteX5" fmla="*/ 317500 w 565150"/>
              <a:gd name="connsiteY5" fmla="*/ 1803400 h 2044700"/>
              <a:gd name="connsiteX6" fmla="*/ 63500 w 565150"/>
              <a:gd name="connsiteY6" fmla="*/ 2044700 h 2044700"/>
              <a:gd name="connsiteX7" fmla="*/ 0 w 565150"/>
              <a:gd name="connsiteY7" fmla="*/ 2044700 h 2044700"/>
              <a:gd name="connsiteX0" fmla="*/ 63500 w 317500"/>
              <a:gd name="connsiteY0" fmla="*/ 0 h 1511300"/>
              <a:gd name="connsiteX1" fmla="*/ 55922 w 317500"/>
              <a:gd name="connsiteY1" fmla="*/ 421441 h 1511300"/>
              <a:gd name="connsiteX2" fmla="*/ 63500 w 317500"/>
              <a:gd name="connsiteY2" fmla="*/ 977900 h 1511300"/>
              <a:gd name="connsiteX3" fmla="*/ 317500 w 317500"/>
              <a:gd name="connsiteY3" fmla="*/ 1231900 h 1511300"/>
              <a:gd name="connsiteX4" fmla="*/ 317500 w 317500"/>
              <a:gd name="connsiteY4" fmla="*/ 1270000 h 1511300"/>
              <a:gd name="connsiteX5" fmla="*/ 63500 w 317500"/>
              <a:gd name="connsiteY5" fmla="*/ 1511300 h 1511300"/>
              <a:gd name="connsiteX6" fmla="*/ 0 w 317500"/>
              <a:gd name="connsiteY6" fmla="*/ 1511300 h 1511300"/>
              <a:gd name="connsiteX0" fmla="*/ 55922 w 317500"/>
              <a:gd name="connsiteY0" fmla="*/ 0 h 1089859"/>
              <a:gd name="connsiteX1" fmla="*/ 63500 w 317500"/>
              <a:gd name="connsiteY1" fmla="*/ 556459 h 1089859"/>
              <a:gd name="connsiteX2" fmla="*/ 317500 w 317500"/>
              <a:gd name="connsiteY2" fmla="*/ 810459 h 1089859"/>
              <a:gd name="connsiteX3" fmla="*/ 317500 w 317500"/>
              <a:gd name="connsiteY3" fmla="*/ 848559 h 1089859"/>
              <a:gd name="connsiteX4" fmla="*/ 63500 w 317500"/>
              <a:gd name="connsiteY4" fmla="*/ 1089859 h 1089859"/>
              <a:gd name="connsiteX5" fmla="*/ 0 w 317500"/>
              <a:gd name="connsiteY5" fmla="*/ 1089859 h 108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500" h="1089859">
                <a:moveTo>
                  <a:pt x="55922" y="0"/>
                </a:moveTo>
                <a:lnTo>
                  <a:pt x="63500" y="556459"/>
                </a:lnTo>
                <a:lnTo>
                  <a:pt x="317500" y="810459"/>
                </a:lnTo>
                <a:lnTo>
                  <a:pt x="317500" y="848559"/>
                </a:lnTo>
                <a:lnTo>
                  <a:pt x="63500" y="1089859"/>
                </a:lnTo>
                <a:lnTo>
                  <a:pt x="0" y="1089859"/>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3" name="Freeform 832"/>
          <p:cNvSpPr/>
          <p:nvPr/>
        </p:nvSpPr>
        <p:spPr>
          <a:xfrm rot="18900000">
            <a:off x="2402854" y="2672778"/>
            <a:ext cx="400050" cy="1255922"/>
          </a:xfrm>
          <a:custGeom>
            <a:avLst/>
            <a:gdLst>
              <a:gd name="connsiteX0" fmla="*/ 641350 w 641350"/>
              <a:gd name="connsiteY0" fmla="*/ 0 h 2203450"/>
              <a:gd name="connsiteX1" fmla="*/ 133350 w 641350"/>
              <a:gd name="connsiteY1" fmla="*/ 527050 h 2203450"/>
              <a:gd name="connsiteX2" fmla="*/ 133350 w 641350"/>
              <a:gd name="connsiteY2" fmla="*/ 1473200 h 2203450"/>
              <a:gd name="connsiteX3" fmla="*/ 400050 w 641350"/>
              <a:gd name="connsiteY3" fmla="*/ 1739900 h 2203450"/>
              <a:gd name="connsiteX4" fmla="*/ 400050 w 641350"/>
              <a:gd name="connsiteY4" fmla="*/ 1803400 h 2203450"/>
              <a:gd name="connsiteX5" fmla="*/ 0 w 641350"/>
              <a:gd name="connsiteY5" fmla="*/ 2203450 h 2203450"/>
              <a:gd name="connsiteX0" fmla="*/ 641350 w 641350"/>
              <a:gd name="connsiteY0" fmla="*/ 0 h 2203450"/>
              <a:gd name="connsiteX1" fmla="*/ 133350 w 641350"/>
              <a:gd name="connsiteY1" fmla="*/ 527050 h 2203450"/>
              <a:gd name="connsiteX2" fmla="*/ 134242 w 641350"/>
              <a:gd name="connsiteY2" fmla="*/ 947528 h 2203450"/>
              <a:gd name="connsiteX3" fmla="*/ 133350 w 641350"/>
              <a:gd name="connsiteY3" fmla="*/ 1473200 h 2203450"/>
              <a:gd name="connsiteX4" fmla="*/ 400050 w 641350"/>
              <a:gd name="connsiteY4" fmla="*/ 1739900 h 2203450"/>
              <a:gd name="connsiteX5" fmla="*/ 400050 w 641350"/>
              <a:gd name="connsiteY5" fmla="*/ 1803400 h 2203450"/>
              <a:gd name="connsiteX6" fmla="*/ 0 w 641350"/>
              <a:gd name="connsiteY6" fmla="*/ 2203450 h 2203450"/>
              <a:gd name="connsiteX0" fmla="*/ 133350 w 400050"/>
              <a:gd name="connsiteY0" fmla="*/ 0 h 1676400"/>
              <a:gd name="connsiteX1" fmla="*/ 134242 w 400050"/>
              <a:gd name="connsiteY1" fmla="*/ 420478 h 1676400"/>
              <a:gd name="connsiteX2" fmla="*/ 133350 w 400050"/>
              <a:gd name="connsiteY2" fmla="*/ 946150 h 1676400"/>
              <a:gd name="connsiteX3" fmla="*/ 400050 w 400050"/>
              <a:gd name="connsiteY3" fmla="*/ 1212850 h 1676400"/>
              <a:gd name="connsiteX4" fmla="*/ 400050 w 400050"/>
              <a:gd name="connsiteY4" fmla="*/ 1276350 h 1676400"/>
              <a:gd name="connsiteX5" fmla="*/ 0 w 400050"/>
              <a:gd name="connsiteY5" fmla="*/ 1676400 h 1676400"/>
              <a:gd name="connsiteX0" fmla="*/ 134242 w 400050"/>
              <a:gd name="connsiteY0" fmla="*/ 0 h 1255922"/>
              <a:gd name="connsiteX1" fmla="*/ 133350 w 400050"/>
              <a:gd name="connsiteY1" fmla="*/ 525672 h 1255922"/>
              <a:gd name="connsiteX2" fmla="*/ 400050 w 400050"/>
              <a:gd name="connsiteY2" fmla="*/ 792372 h 1255922"/>
              <a:gd name="connsiteX3" fmla="*/ 400050 w 400050"/>
              <a:gd name="connsiteY3" fmla="*/ 855872 h 1255922"/>
              <a:gd name="connsiteX4" fmla="*/ 0 w 400050"/>
              <a:gd name="connsiteY4" fmla="*/ 1255922 h 1255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1255922">
                <a:moveTo>
                  <a:pt x="134242" y="0"/>
                </a:moveTo>
                <a:cubicBezTo>
                  <a:pt x="133945" y="175224"/>
                  <a:pt x="133647" y="350448"/>
                  <a:pt x="133350" y="525672"/>
                </a:cubicBezTo>
                <a:lnTo>
                  <a:pt x="400050" y="792372"/>
                </a:lnTo>
                <a:lnTo>
                  <a:pt x="400050" y="855872"/>
                </a:lnTo>
                <a:lnTo>
                  <a:pt x="0" y="125592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4" name="Freeform 833"/>
          <p:cNvSpPr/>
          <p:nvPr/>
        </p:nvSpPr>
        <p:spPr>
          <a:xfrm rot="18900000">
            <a:off x="2460286" y="2603892"/>
            <a:ext cx="298450" cy="106571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509 w 533400"/>
              <a:gd name="connsiteY2" fmla="*/ 931364 h 1997075"/>
              <a:gd name="connsiteX3" fmla="*/ 0 w 533400"/>
              <a:gd name="connsiteY3" fmla="*/ 1450975 h 1997075"/>
              <a:gd name="connsiteX4" fmla="*/ 298450 w 533400"/>
              <a:gd name="connsiteY4" fmla="*/ 1749425 h 1997075"/>
              <a:gd name="connsiteX5" fmla="*/ 298450 w 533400"/>
              <a:gd name="connsiteY5" fmla="*/ 1828800 h 1997075"/>
              <a:gd name="connsiteX6" fmla="*/ 130175 w 533400"/>
              <a:gd name="connsiteY6" fmla="*/ 1997075 h 1997075"/>
              <a:gd name="connsiteX0" fmla="*/ 0 w 298450"/>
              <a:gd name="connsiteY0" fmla="*/ 0 h 1457325"/>
              <a:gd name="connsiteX1" fmla="*/ 509 w 298450"/>
              <a:gd name="connsiteY1" fmla="*/ 391614 h 1457325"/>
              <a:gd name="connsiteX2" fmla="*/ 0 w 298450"/>
              <a:gd name="connsiteY2" fmla="*/ 911225 h 1457325"/>
              <a:gd name="connsiteX3" fmla="*/ 298450 w 298450"/>
              <a:gd name="connsiteY3" fmla="*/ 1209675 h 1457325"/>
              <a:gd name="connsiteX4" fmla="*/ 298450 w 298450"/>
              <a:gd name="connsiteY4" fmla="*/ 1289050 h 1457325"/>
              <a:gd name="connsiteX5" fmla="*/ 130175 w 298450"/>
              <a:gd name="connsiteY5" fmla="*/ 1457325 h 1457325"/>
              <a:gd name="connsiteX0" fmla="*/ 509 w 298450"/>
              <a:gd name="connsiteY0" fmla="*/ 0 h 1065711"/>
              <a:gd name="connsiteX1" fmla="*/ 0 w 298450"/>
              <a:gd name="connsiteY1" fmla="*/ 519611 h 1065711"/>
              <a:gd name="connsiteX2" fmla="*/ 298450 w 298450"/>
              <a:gd name="connsiteY2" fmla="*/ 818061 h 1065711"/>
              <a:gd name="connsiteX3" fmla="*/ 298450 w 298450"/>
              <a:gd name="connsiteY3" fmla="*/ 897436 h 1065711"/>
              <a:gd name="connsiteX4" fmla="*/ 130175 w 298450"/>
              <a:gd name="connsiteY4" fmla="*/ 1065711 h 1065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0" h="1065711">
                <a:moveTo>
                  <a:pt x="509" y="0"/>
                </a:moveTo>
                <a:cubicBezTo>
                  <a:pt x="339" y="173204"/>
                  <a:pt x="170" y="346407"/>
                  <a:pt x="0" y="519611"/>
                </a:cubicBezTo>
                <a:lnTo>
                  <a:pt x="298450" y="818061"/>
                </a:lnTo>
                <a:lnTo>
                  <a:pt x="298450" y="897436"/>
                </a:lnTo>
                <a:lnTo>
                  <a:pt x="130175" y="106571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5" name="Freeform 834"/>
          <p:cNvSpPr/>
          <p:nvPr/>
        </p:nvSpPr>
        <p:spPr>
          <a:xfrm rot="18900000">
            <a:off x="2557564" y="2535981"/>
            <a:ext cx="310735" cy="123716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42510 w 542510"/>
              <a:gd name="connsiteY0" fmla="*/ 0 h 2168525"/>
              <a:gd name="connsiteX1" fmla="*/ 9110 w 542510"/>
              <a:gd name="connsiteY1" fmla="*/ 539750 h 2168525"/>
              <a:gd name="connsiteX2" fmla="*/ 0 w 542510"/>
              <a:gd name="connsiteY2" fmla="*/ 931364 h 2168525"/>
              <a:gd name="connsiteX3" fmla="*/ 9110 w 542510"/>
              <a:gd name="connsiteY3" fmla="*/ 1450975 h 2168525"/>
              <a:gd name="connsiteX4" fmla="*/ 307560 w 542510"/>
              <a:gd name="connsiteY4" fmla="*/ 1749425 h 2168525"/>
              <a:gd name="connsiteX5" fmla="*/ 310735 w 542510"/>
              <a:gd name="connsiteY5" fmla="*/ 1873250 h 2168525"/>
              <a:gd name="connsiteX6" fmla="*/ 18635 w 542510"/>
              <a:gd name="connsiteY6" fmla="*/ 2168525 h 2168525"/>
              <a:gd name="connsiteX0" fmla="*/ 9110 w 310735"/>
              <a:gd name="connsiteY0" fmla="*/ 0 h 1628775"/>
              <a:gd name="connsiteX1" fmla="*/ 0 w 310735"/>
              <a:gd name="connsiteY1" fmla="*/ 391614 h 1628775"/>
              <a:gd name="connsiteX2" fmla="*/ 9110 w 310735"/>
              <a:gd name="connsiteY2" fmla="*/ 911225 h 1628775"/>
              <a:gd name="connsiteX3" fmla="*/ 307560 w 310735"/>
              <a:gd name="connsiteY3" fmla="*/ 1209675 h 1628775"/>
              <a:gd name="connsiteX4" fmla="*/ 310735 w 310735"/>
              <a:gd name="connsiteY4" fmla="*/ 1333500 h 1628775"/>
              <a:gd name="connsiteX5" fmla="*/ 18635 w 310735"/>
              <a:gd name="connsiteY5" fmla="*/ 1628775 h 1628775"/>
              <a:gd name="connsiteX0" fmla="*/ 0 w 310735"/>
              <a:gd name="connsiteY0" fmla="*/ 0 h 1237161"/>
              <a:gd name="connsiteX1" fmla="*/ 9110 w 310735"/>
              <a:gd name="connsiteY1" fmla="*/ 519611 h 1237161"/>
              <a:gd name="connsiteX2" fmla="*/ 307560 w 310735"/>
              <a:gd name="connsiteY2" fmla="*/ 818061 h 1237161"/>
              <a:gd name="connsiteX3" fmla="*/ 310735 w 310735"/>
              <a:gd name="connsiteY3" fmla="*/ 941886 h 1237161"/>
              <a:gd name="connsiteX4" fmla="*/ 18635 w 310735"/>
              <a:gd name="connsiteY4" fmla="*/ 1237161 h 1237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735" h="1237161">
                <a:moveTo>
                  <a:pt x="0" y="0"/>
                </a:moveTo>
                <a:lnTo>
                  <a:pt x="9110" y="519611"/>
                </a:lnTo>
                <a:lnTo>
                  <a:pt x="307560" y="818061"/>
                </a:lnTo>
                <a:cubicBezTo>
                  <a:pt x="308618" y="859336"/>
                  <a:pt x="309677" y="900611"/>
                  <a:pt x="310735" y="941886"/>
                </a:cubicBezTo>
                <a:lnTo>
                  <a:pt x="18635" y="123716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6" name="Freeform 835"/>
          <p:cNvSpPr/>
          <p:nvPr/>
        </p:nvSpPr>
        <p:spPr>
          <a:xfrm rot="18900000">
            <a:off x="2525609" y="2512139"/>
            <a:ext cx="301625" cy="1019337"/>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1939925"/>
              <a:gd name="connsiteX1" fmla="*/ 0 w 533400"/>
              <a:gd name="connsiteY1" fmla="*/ 539750 h 1939925"/>
              <a:gd name="connsiteX2" fmla="*/ 2824 w 533400"/>
              <a:gd name="connsiteY2" fmla="*/ 920588 h 1939925"/>
              <a:gd name="connsiteX3" fmla="*/ 0 w 533400"/>
              <a:gd name="connsiteY3" fmla="*/ 1450975 h 1939925"/>
              <a:gd name="connsiteX4" fmla="*/ 298450 w 533400"/>
              <a:gd name="connsiteY4" fmla="*/ 1749425 h 1939925"/>
              <a:gd name="connsiteX5" fmla="*/ 301625 w 533400"/>
              <a:gd name="connsiteY5" fmla="*/ 1939925 h 1939925"/>
              <a:gd name="connsiteX0" fmla="*/ 0 w 301625"/>
              <a:gd name="connsiteY0" fmla="*/ 0 h 1400175"/>
              <a:gd name="connsiteX1" fmla="*/ 2824 w 301625"/>
              <a:gd name="connsiteY1" fmla="*/ 380838 h 1400175"/>
              <a:gd name="connsiteX2" fmla="*/ 0 w 301625"/>
              <a:gd name="connsiteY2" fmla="*/ 911225 h 1400175"/>
              <a:gd name="connsiteX3" fmla="*/ 298450 w 301625"/>
              <a:gd name="connsiteY3" fmla="*/ 1209675 h 1400175"/>
              <a:gd name="connsiteX4" fmla="*/ 301625 w 301625"/>
              <a:gd name="connsiteY4" fmla="*/ 1400175 h 1400175"/>
              <a:gd name="connsiteX0" fmla="*/ 2824 w 301625"/>
              <a:gd name="connsiteY0" fmla="*/ 0 h 1019337"/>
              <a:gd name="connsiteX1" fmla="*/ 0 w 301625"/>
              <a:gd name="connsiteY1" fmla="*/ 530387 h 1019337"/>
              <a:gd name="connsiteX2" fmla="*/ 298450 w 301625"/>
              <a:gd name="connsiteY2" fmla="*/ 828837 h 1019337"/>
              <a:gd name="connsiteX3" fmla="*/ 301625 w 301625"/>
              <a:gd name="connsiteY3" fmla="*/ 1019337 h 1019337"/>
            </a:gdLst>
            <a:ahLst/>
            <a:cxnLst>
              <a:cxn ang="0">
                <a:pos x="connsiteX0" y="connsiteY0"/>
              </a:cxn>
              <a:cxn ang="0">
                <a:pos x="connsiteX1" y="connsiteY1"/>
              </a:cxn>
              <a:cxn ang="0">
                <a:pos x="connsiteX2" y="connsiteY2"/>
              </a:cxn>
              <a:cxn ang="0">
                <a:pos x="connsiteX3" y="connsiteY3"/>
              </a:cxn>
            </a:cxnLst>
            <a:rect l="l" t="t" r="r" b="b"/>
            <a:pathLst>
              <a:path w="301625" h="1019337">
                <a:moveTo>
                  <a:pt x="2824" y="0"/>
                </a:moveTo>
                <a:cubicBezTo>
                  <a:pt x="1883" y="176796"/>
                  <a:pt x="941" y="353591"/>
                  <a:pt x="0" y="530387"/>
                </a:cubicBezTo>
                <a:lnTo>
                  <a:pt x="298450" y="828837"/>
                </a:lnTo>
                <a:cubicBezTo>
                  <a:pt x="299508" y="870112"/>
                  <a:pt x="300567" y="978062"/>
                  <a:pt x="301625" y="1019337"/>
                </a:cubicBez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7" name="Freeform 836"/>
          <p:cNvSpPr/>
          <p:nvPr/>
        </p:nvSpPr>
        <p:spPr>
          <a:xfrm rot="18900000">
            <a:off x="2652664" y="2405480"/>
            <a:ext cx="301778" cy="1265351"/>
          </a:xfrm>
          <a:custGeom>
            <a:avLst/>
            <a:gdLst>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298450 w 533400"/>
              <a:gd name="connsiteY4" fmla="*/ 1828800 h 1997075"/>
              <a:gd name="connsiteX5" fmla="*/ 130175 w 533400"/>
              <a:gd name="connsiteY5" fmla="*/ 1997075 h 1997075"/>
              <a:gd name="connsiteX0" fmla="*/ 533400 w 533400"/>
              <a:gd name="connsiteY0" fmla="*/ 0 h 1997075"/>
              <a:gd name="connsiteX1" fmla="*/ 0 w 533400"/>
              <a:gd name="connsiteY1" fmla="*/ 539750 h 1997075"/>
              <a:gd name="connsiteX2" fmla="*/ 0 w 533400"/>
              <a:gd name="connsiteY2" fmla="*/ 1450975 h 1997075"/>
              <a:gd name="connsiteX3" fmla="*/ 298450 w 533400"/>
              <a:gd name="connsiteY3" fmla="*/ 1749425 h 1997075"/>
              <a:gd name="connsiteX4" fmla="*/ 301625 w 533400"/>
              <a:gd name="connsiteY4" fmla="*/ 1873250 h 1997075"/>
              <a:gd name="connsiteX5" fmla="*/ 130175 w 533400"/>
              <a:gd name="connsiteY5" fmla="*/ 1997075 h 1997075"/>
              <a:gd name="connsiteX0" fmla="*/ 533400 w 533400"/>
              <a:gd name="connsiteY0" fmla="*/ 0 h 2168525"/>
              <a:gd name="connsiteX1" fmla="*/ 0 w 533400"/>
              <a:gd name="connsiteY1" fmla="*/ 539750 h 2168525"/>
              <a:gd name="connsiteX2" fmla="*/ 0 w 533400"/>
              <a:gd name="connsiteY2" fmla="*/ 1450975 h 2168525"/>
              <a:gd name="connsiteX3" fmla="*/ 298450 w 533400"/>
              <a:gd name="connsiteY3" fmla="*/ 1749425 h 2168525"/>
              <a:gd name="connsiteX4" fmla="*/ 301625 w 533400"/>
              <a:gd name="connsiteY4" fmla="*/ 1873250 h 2168525"/>
              <a:gd name="connsiteX5" fmla="*/ 9525 w 533400"/>
              <a:gd name="connsiteY5" fmla="*/ 2168525 h 2168525"/>
              <a:gd name="connsiteX0" fmla="*/ 533400 w 533400"/>
              <a:gd name="connsiteY0" fmla="*/ 0 h 1873250"/>
              <a:gd name="connsiteX1" fmla="*/ 0 w 533400"/>
              <a:gd name="connsiteY1" fmla="*/ 539750 h 1873250"/>
              <a:gd name="connsiteX2" fmla="*/ 0 w 533400"/>
              <a:gd name="connsiteY2" fmla="*/ 1450975 h 1873250"/>
              <a:gd name="connsiteX3" fmla="*/ 298450 w 533400"/>
              <a:gd name="connsiteY3" fmla="*/ 1749425 h 1873250"/>
              <a:gd name="connsiteX4" fmla="*/ 301625 w 533400"/>
              <a:gd name="connsiteY4" fmla="*/ 1873250 h 1873250"/>
              <a:gd name="connsiteX0" fmla="*/ 533400 w 533400"/>
              <a:gd name="connsiteY0" fmla="*/ 0 h 1939925"/>
              <a:gd name="connsiteX1" fmla="*/ 0 w 533400"/>
              <a:gd name="connsiteY1" fmla="*/ 539750 h 1939925"/>
              <a:gd name="connsiteX2" fmla="*/ 0 w 533400"/>
              <a:gd name="connsiteY2" fmla="*/ 1450975 h 1939925"/>
              <a:gd name="connsiteX3" fmla="*/ 298450 w 533400"/>
              <a:gd name="connsiteY3" fmla="*/ 1749425 h 1939925"/>
              <a:gd name="connsiteX4" fmla="*/ 301625 w 533400"/>
              <a:gd name="connsiteY4" fmla="*/ 1939925 h 193992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36775"/>
              <a:gd name="connsiteX1" fmla="*/ 0 w 533400"/>
              <a:gd name="connsiteY1" fmla="*/ 539750 h 2136775"/>
              <a:gd name="connsiteX2" fmla="*/ 0 w 533400"/>
              <a:gd name="connsiteY2" fmla="*/ 1450975 h 2136775"/>
              <a:gd name="connsiteX3" fmla="*/ 298450 w 533400"/>
              <a:gd name="connsiteY3" fmla="*/ 1749425 h 2136775"/>
              <a:gd name="connsiteX4" fmla="*/ 298450 w 533400"/>
              <a:gd name="connsiteY4" fmla="*/ 2012950 h 2136775"/>
              <a:gd name="connsiteX5" fmla="*/ 298450 w 533400"/>
              <a:gd name="connsiteY5" fmla="*/ 2136775 h 2136775"/>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298450 w 533400"/>
              <a:gd name="connsiteY4" fmla="*/ 2012950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53975 w 533400"/>
              <a:gd name="connsiteY5" fmla="*/ 2159000 h 2159000"/>
              <a:gd name="connsiteX0" fmla="*/ 533400 w 533400"/>
              <a:gd name="connsiteY0" fmla="*/ 0 h 2159000"/>
              <a:gd name="connsiteX1" fmla="*/ 0 w 533400"/>
              <a:gd name="connsiteY1" fmla="*/ 539750 h 2159000"/>
              <a:gd name="connsiteX2" fmla="*/ 0 w 533400"/>
              <a:gd name="connsiteY2" fmla="*/ 1450975 h 2159000"/>
              <a:gd name="connsiteX3" fmla="*/ 298450 w 533400"/>
              <a:gd name="connsiteY3" fmla="*/ 1749425 h 2159000"/>
              <a:gd name="connsiteX4" fmla="*/ 301625 w 533400"/>
              <a:gd name="connsiteY4" fmla="*/ 2130425 h 2159000"/>
              <a:gd name="connsiteX5" fmla="*/ 177800 w 533400"/>
              <a:gd name="connsiteY5" fmla="*/ 2143124 h 2159000"/>
              <a:gd name="connsiteX6" fmla="*/ 53975 w 533400"/>
              <a:gd name="connsiteY6" fmla="*/ 2159000 h 2159000"/>
              <a:gd name="connsiteX0" fmla="*/ 533400 w 533400"/>
              <a:gd name="connsiteY0" fmla="*/ 0 h 2174874"/>
              <a:gd name="connsiteX1" fmla="*/ 0 w 533400"/>
              <a:gd name="connsiteY1" fmla="*/ 539750 h 2174874"/>
              <a:gd name="connsiteX2" fmla="*/ 0 w 533400"/>
              <a:gd name="connsiteY2" fmla="*/ 1450975 h 2174874"/>
              <a:gd name="connsiteX3" fmla="*/ 298450 w 533400"/>
              <a:gd name="connsiteY3" fmla="*/ 1749425 h 2174874"/>
              <a:gd name="connsiteX4" fmla="*/ 301625 w 533400"/>
              <a:gd name="connsiteY4" fmla="*/ 2130425 h 2174874"/>
              <a:gd name="connsiteX5" fmla="*/ 257175 w 533400"/>
              <a:gd name="connsiteY5" fmla="*/ 2174874 h 2174874"/>
              <a:gd name="connsiteX6" fmla="*/ 53975 w 533400"/>
              <a:gd name="connsiteY6" fmla="*/ 2159000 h 2174874"/>
              <a:gd name="connsiteX0" fmla="*/ 533400 w 533400"/>
              <a:gd name="connsiteY0" fmla="*/ 0 h 2181225"/>
              <a:gd name="connsiteX1" fmla="*/ 0 w 533400"/>
              <a:gd name="connsiteY1" fmla="*/ 539750 h 2181225"/>
              <a:gd name="connsiteX2" fmla="*/ 0 w 533400"/>
              <a:gd name="connsiteY2" fmla="*/ 1450975 h 2181225"/>
              <a:gd name="connsiteX3" fmla="*/ 298450 w 533400"/>
              <a:gd name="connsiteY3" fmla="*/ 1749425 h 2181225"/>
              <a:gd name="connsiteX4" fmla="*/ 301625 w 533400"/>
              <a:gd name="connsiteY4" fmla="*/ 2130425 h 2181225"/>
              <a:gd name="connsiteX5" fmla="*/ 257175 w 533400"/>
              <a:gd name="connsiteY5" fmla="*/ 2174874 h 2181225"/>
              <a:gd name="connsiteX6" fmla="*/ 50800 w 533400"/>
              <a:gd name="connsiteY6" fmla="*/ 2181225 h 2181225"/>
              <a:gd name="connsiteX0" fmla="*/ 0 w 301625"/>
              <a:gd name="connsiteY0" fmla="*/ 0 h 1641475"/>
              <a:gd name="connsiteX1" fmla="*/ 0 w 301625"/>
              <a:gd name="connsiteY1" fmla="*/ 911225 h 1641475"/>
              <a:gd name="connsiteX2" fmla="*/ 298450 w 301625"/>
              <a:gd name="connsiteY2" fmla="*/ 1209675 h 1641475"/>
              <a:gd name="connsiteX3" fmla="*/ 301625 w 301625"/>
              <a:gd name="connsiteY3" fmla="*/ 1590675 h 1641475"/>
              <a:gd name="connsiteX4" fmla="*/ 257175 w 301625"/>
              <a:gd name="connsiteY4" fmla="*/ 1635124 h 1641475"/>
              <a:gd name="connsiteX5" fmla="*/ 50800 w 301625"/>
              <a:gd name="connsiteY5" fmla="*/ 1641475 h 1641475"/>
              <a:gd name="connsiteX0" fmla="*/ 153 w 301778"/>
              <a:gd name="connsiteY0" fmla="*/ 0 h 1641475"/>
              <a:gd name="connsiteX1" fmla="*/ 0 w 301778"/>
              <a:gd name="connsiteY1" fmla="*/ 376124 h 1641475"/>
              <a:gd name="connsiteX2" fmla="*/ 153 w 301778"/>
              <a:gd name="connsiteY2" fmla="*/ 911225 h 1641475"/>
              <a:gd name="connsiteX3" fmla="*/ 298603 w 301778"/>
              <a:gd name="connsiteY3" fmla="*/ 1209675 h 1641475"/>
              <a:gd name="connsiteX4" fmla="*/ 301778 w 301778"/>
              <a:gd name="connsiteY4" fmla="*/ 1590675 h 1641475"/>
              <a:gd name="connsiteX5" fmla="*/ 257328 w 301778"/>
              <a:gd name="connsiteY5" fmla="*/ 1635124 h 1641475"/>
              <a:gd name="connsiteX6" fmla="*/ 50953 w 301778"/>
              <a:gd name="connsiteY6" fmla="*/ 1641475 h 1641475"/>
              <a:gd name="connsiteX0" fmla="*/ 0 w 301778"/>
              <a:gd name="connsiteY0" fmla="*/ 0 h 1265351"/>
              <a:gd name="connsiteX1" fmla="*/ 153 w 301778"/>
              <a:gd name="connsiteY1" fmla="*/ 535101 h 1265351"/>
              <a:gd name="connsiteX2" fmla="*/ 298603 w 301778"/>
              <a:gd name="connsiteY2" fmla="*/ 833551 h 1265351"/>
              <a:gd name="connsiteX3" fmla="*/ 301778 w 301778"/>
              <a:gd name="connsiteY3" fmla="*/ 1214551 h 1265351"/>
              <a:gd name="connsiteX4" fmla="*/ 257328 w 301778"/>
              <a:gd name="connsiteY4" fmla="*/ 1259000 h 1265351"/>
              <a:gd name="connsiteX5" fmla="*/ 50953 w 301778"/>
              <a:gd name="connsiteY5" fmla="*/ 1265351 h 126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78" h="1265351">
                <a:moveTo>
                  <a:pt x="0" y="0"/>
                </a:moveTo>
                <a:lnTo>
                  <a:pt x="153" y="535101"/>
                </a:lnTo>
                <a:lnTo>
                  <a:pt x="298603" y="833551"/>
                </a:lnTo>
                <a:cubicBezTo>
                  <a:pt x="299661" y="960551"/>
                  <a:pt x="300720" y="1087551"/>
                  <a:pt x="301778" y="1214551"/>
                </a:cubicBezTo>
                <a:lnTo>
                  <a:pt x="257328" y="1259000"/>
                </a:lnTo>
                <a:lnTo>
                  <a:pt x="50953" y="126535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42" name="Freeform 841"/>
          <p:cNvSpPr/>
          <p:nvPr/>
        </p:nvSpPr>
        <p:spPr>
          <a:xfrm rot="18900000">
            <a:off x="2651643" y="2230656"/>
            <a:ext cx="519112" cy="1198532"/>
          </a:xfrm>
          <a:custGeom>
            <a:avLst/>
            <a:gdLst>
              <a:gd name="connsiteX0" fmla="*/ 695325 w 695325"/>
              <a:gd name="connsiteY0" fmla="*/ 0 h 2100263"/>
              <a:gd name="connsiteX1" fmla="*/ 0 w 695325"/>
              <a:gd name="connsiteY1" fmla="*/ 695325 h 2100263"/>
              <a:gd name="connsiteX2" fmla="*/ 0 w 695325"/>
              <a:gd name="connsiteY2" fmla="*/ 1419225 h 2100263"/>
              <a:gd name="connsiteX3" fmla="*/ 471487 w 695325"/>
              <a:gd name="connsiteY3" fmla="*/ 1881188 h 2100263"/>
              <a:gd name="connsiteX4" fmla="*/ 471487 w 695325"/>
              <a:gd name="connsiteY4" fmla="*/ 2043113 h 2100263"/>
              <a:gd name="connsiteX5" fmla="*/ 519112 w 695325"/>
              <a:gd name="connsiteY5" fmla="*/ 2100263 h 2100263"/>
              <a:gd name="connsiteX0" fmla="*/ 695325 w 695325"/>
              <a:gd name="connsiteY0" fmla="*/ 0 h 2100263"/>
              <a:gd name="connsiteX1" fmla="*/ 0 w 695325"/>
              <a:gd name="connsiteY1" fmla="*/ 695325 h 2100263"/>
              <a:gd name="connsiteX2" fmla="*/ 9233 w 695325"/>
              <a:gd name="connsiteY2" fmla="*/ 901731 h 2100263"/>
              <a:gd name="connsiteX3" fmla="*/ 0 w 695325"/>
              <a:gd name="connsiteY3" fmla="*/ 1419225 h 2100263"/>
              <a:gd name="connsiteX4" fmla="*/ 471487 w 695325"/>
              <a:gd name="connsiteY4" fmla="*/ 1881188 h 2100263"/>
              <a:gd name="connsiteX5" fmla="*/ 471487 w 695325"/>
              <a:gd name="connsiteY5" fmla="*/ 2043113 h 2100263"/>
              <a:gd name="connsiteX6" fmla="*/ 519112 w 695325"/>
              <a:gd name="connsiteY6" fmla="*/ 2100263 h 2100263"/>
              <a:gd name="connsiteX0" fmla="*/ 0 w 519112"/>
              <a:gd name="connsiteY0" fmla="*/ 0 h 1404938"/>
              <a:gd name="connsiteX1" fmla="*/ 9233 w 519112"/>
              <a:gd name="connsiteY1" fmla="*/ 206406 h 1404938"/>
              <a:gd name="connsiteX2" fmla="*/ 0 w 519112"/>
              <a:gd name="connsiteY2" fmla="*/ 723900 h 1404938"/>
              <a:gd name="connsiteX3" fmla="*/ 471487 w 519112"/>
              <a:gd name="connsiteY3" fmla="*/ 1185863 h 1404938"/>
              <a:gd name="connsiteX4" fmla="*/ 471487 w 519112"/>
              <a:gd name="connsiteY4" fmla="*/ 1347788 h 1404938"/>
              <a:gd name="connsiteX5" fmla="*/ 519112 w 519112"/>
              <a:gd name="connsiteY5" fmla="*/ 1404938 h 1404938"/>
              <a:gd name="connsiteX0" fmla="*/ 9233 w 519112"/>
              <a:gd name="connsiteY0" fmla="*/ 0 h 1198532"/>
              <a:gd name="connsiteX1" fmla="*/ 0 w 519112"/>
              <a:gd name="connsiteY1" fmla="*/ 517494 h 1198532"/>
              <a:gd name="connsiteX2" fmla="*/ 471487 w 519112"/>
              <a:gd name="connsiteY2" fmla="*/ 979457 h 1198532"/>
              <a:gd name="connsiteX3" fmla="*/ 471487 w 519112"/>
              <a:gd name="connsiteY3" fmla="*/ 1141382 h 1198532"/>
              <a:gd name="connsiteX4" fmla="*/ 519112 w 519112"/>
              <a:gd name="connsiteY4" fmla="*/ 1198532 h 1198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112" h="1198532">
                <a:moveTo>
                  <a:pt x="9233" y="0"/>
                </a:moveTo>
                <a:lnTo>
                  <a:pt x="0" y="517494"/>
                </a:lnTo>
                <a:lnTo>
                  <a:pt x="471487" y="979457"/>
                </a:lnTo>
                <a:lnTo>
                  <a:pt x="471487" y="1141382"/>
                </a:lnTo>
                <a:lnTo>
                  <a:pt x="519112" y="119853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58" name="Freeform 457"/>
          <p:cNvSpPr/>
          <p:nvPr/>
        </p:nvSpPr>
        <p:spPr>
          <a:xfrm rot="8100000" flipV="1">
            <a:off x="4189564" y="-468324"/>
            <a:ext cx="819150" cy="3028950"/>
          </a:xfrm>
          <a:custGeom>
            <a:avLst/>
            <a:gdLst>
              <a:gd name="connsiteX0" fmla="*/ 819150 w 819150"/>
              <a:gd name="connsiteY0" fmla="*/ 0 h 3028950"/>
              <a:gd name="connsiteX1" fmla="*/ 19050 w 819150"/>
              <a:gd name="connsiteY1" fmla="*/ 806450 h 3028950"/>
              <a:gd name="connsiteX2" fmla="*/ 19050 w 819150"/>
              <a:gd name="connsiteY2" fmla="*/ 1219200 h 3028950"/>
              <a:gd name="connsiteX3" fmla="*/ 723900 w 819150"/>
              <a:gd name="connsiteY3" fmla="*/ 1924050 h 3028950"/>
              <a:gd name="connsiteX4" fmla="*/ 723900 w 819150"/>
              <a:gd name="connsiteY4" fmla="*/ 2095500 h 3028950"/>
              <a:gd name="connsiteX5" fmla="*/ 184150 w 819150"/>
              <a:gd name="connsiteY5" fmla="*/ 2635250 h 3028950"/>
              <a:gd name="connsiteX6" fmla="*/ 184150 w 819150"/>
              <a:gd name="connsiteY6" fmla="*/ 2844800 h 3028950"/>
              <a:gd name="connsiteX7" fmla="*/ 0 w 819150"/>
              <a:gd name="connsiteY7"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 h="3028950">
                <a:moveTo>
                  <a:pt x="819150" y="0"/>
                </a:moveTo>
                <a:lnTo>
                  <a:pt x="19050" y="806450"/>
                </a:lnTo>
                <a:lnTo>
                  <a:pt x="19050" y="1219200"/>
                </a:lnTo>
                <a:lnTo>
                  <a:pt x="723900" y="1924050"/>
                </a:lnTo>
                <a:lnTo>
                  <a:pt x="723900" y="2095500"/>
                </a:lnTo>
                <a:lnTo>
                  <a:pt x="184150" y="2635250"/>
                </a:lnTo>
                <a:lnTo>
                  <a:pt x="184150" y="2844800"/>
                </a:lnTo>
                <a:lnTo>
                  <a:pt x="0" y="302895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59" name="Freeform 458"/>
          <p:cNvSpPr/>
          <p:nvPr/>
        </p:nvSpPr>
        <p:spPr>
          <a:xfrm rot="8100000" flipV="1">
            <a:off x="3462867" y="-105732"/>
            <a:ext cx="768350" cy="1104900"/>
          </a:xfrm>
          <a:custGeom>
            <a:avLst/>
            <a:gdLst>
              <a:gd name="connsiteX0" fmla="*/ 768350 w 768350"/>
              <a:gd name="connsiteY0" fmla="*/ 0 h 1104900"/>
              <a:gd name="connsiteX1" fmla="*/ 0 w 768350"/>
              <a:gd name="connsiteY1" fmla="*/ 768350 h 1104900"/>
              <a:gd name="connsiteX2" fmla="*/ 0 w 768350"/>
              <a:gd name="connsiteY2" fmla="*/ 946150 h 1104900"/>
              <a:gd name="connsiteX3" fmla="*/ 69850 w 768350"/>
              <a:gd name="connsiteY3" fmla="*/ 1016000 h 1104900"/>
              <a:gd name="connsiteX4" fmla="*/ 69850 w 768350"/>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1104900">
                <a:moveTo>
                  <a:pt x="768350" y="0"/>
                </a:moveTo>
                <a:lnTo>
                  <a:pt x="0" y="768350"/>
                </a:lnTo>
                <a:lnTo>
                  <a:pt x="0" y="946150"/>
                </a:lnTo>
                <a:lnTo>
                  <a:pt x="69850" y="1016000"/>
                </a:lnTo>
                <a:lnTo>
                  <a:pt x="69850" y="110490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0" name="Freeform 459"/>
          <p:cNvSpPr/>
          <p:nvPr/>
        </p:nvSpPr>
        <p:spPr>
          <a:xfrm rot="8100000" flipV="1">
            <a:off x="2854925" y="-240953"/>
            <a:ext cx="1275656" cy="1716009"/>
          </a:xfrm>
          <a:custGeom>
            <a:avLst/>
            <a:gdLst>
              <a:gd name="connsiteX0" fmla="*/ 774700 w 774700"/>
              <a:gd name="connsiteY0" fmla="*/ 0 h 1308100"/>
              <a:gd name="connsiteX1" fmla="*/ 0 w 774700"/>
              <a:gd name="connsiteY1" fmla="*/ 774700 h 1308100"/>
              <a:gd name="connsiteX2" fmla="*/ 0 w 774700"/>
              <a:gd name="connsiteY2" fmla="*/ 939800 h 1308100"/>
              <a:gd name="connsiteX3" fmla="*/ 146050 w 774700"/>
              <a:gd name="connsiteY3" fmla="*/ 1085850 h 1308100"/>
              <a:gd name="connsiteX4" fmla="*/ 146050 w 774700"/>
              <a:gd name="connsiteY4" fmla="*/ 1162050 h 1308100"/>
              <a:gd name="connsiteX5" fmla="*/ 63500 w 774700"/>
              <a:gd name="connsiteY5" fmla="*/ 1244600 h 1308100"/>
              <a:gd name="connsiteX6" fmla="*/ 63500 w 774700"/>
              <a:gd name="connsiteY6" fmla="*/ 1308100 h 1308100"/>
              <a:gd name="connsiteX0" fmla="*/ 1545206 w 1545206"/>
              <a:gd name="connsiteY0" fmla="*/ 0 h 2078606"/>
              <a:gd name="connsiteX1" fmla="*/ 0 w 1545206"/>
              <a:gd name="connsiteY1" fmla="*/ 1545206 h 2078606"/>
              <a:gd name="connsiteX2" fmla="*/ 0 w 1545206"/>
              <a:gd name="connsiteY2" fmla="*/ 1710306 h 2078606"/>
              <a:gd name="connsiteX3" fmla="*/ 146050 w 1545206"/>
              <a:gd name="connsiteY3" fmla="*/ 1856356 h 2078606"/>
              <a:gd name="connsiteX4" fmla="*/ 146050 w 1545206"/>
              <a:gd name="connsiteY4" fmla="*/ 1932556 h 2078606"/>
              <a:gd name="connsiteX5" fmla="*/ 63500 w 1545206"/>
              <a:gd name="connsiteY5" fmla="*/ 2015106 h 2078606"/>
              <a:gd name="connsiteX6" fmla="*/ 63500 w 1545206"/>
              <a:gd name="connsiteY6" fmla="*/ 2078606 h 20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5206" h="2078606">
                <a:moveTo>
                  <a:pt x="1545206" y="0"/>
                </a:moveTo>
                <a:lnTo>
                  <a:pt x="0" y="1545206"/>
                </a:lnTo>
                <a:lnTo>
                  <a:pt x="0" y="1710306"/>
                </a:lnTo>
                <a:lnTo>
                  <a:pt x="146050" y="1856356"/>
                </a:lnTo>
                <a:lnTo>
                  <a:pt x="146050" y="1932556"/>
                </a:lnTo>
                <a:lnTo>
                  <a:pt x="63500" y="2015106"/>
                </a:lnTo>
                <a:lnTo>
                  <a:pt x="63500" y="2078606"/>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1" name="Freeform 460"/>
          <p:cNvSpPr/>
          <p:nvPr/>
        </p:nvSpPr>
        <p:spPr>
          <a:xfrm rot="8100000" flipV="1">
            <a:off x="3418992" y="-290497"/>
            <a:ext cx="1309003" cy="3306948"/>
          </a:xfrm>
          <a:custGeom>
            <a:avLst/>
            <a:gdLst>
              <a:gd name="connsiteX0" fmla="*/ 736600 w 736600"/>
              <a:gd name="connsiteY0" fmla="*/ 0 h 2965450"/>
              <a:gd name="connsiteX1" fmla="*/ 63500 w 736600"/>
              <a:gd name="connsiteY1" fmla="*/ 673100 h 2965450"/>
              <a:gd name="connsiteX2" fmla="*/ 63500 w 736600"/>
              <a:gd name="connsiteY2" fmla="*/ 749300 h 2965450"/>
              <a:gd name="connsiteX3" fmla="*/ 146050 w 736600"/>
              <a:gd name="connsiteY3" fmla="*/ 831850 h 2965450"/>
              <a:gd name="connsiteX4" fmla="*/ 323850 w 736600"/>
              <a:gd name="connsiteY4" fmla="*/ 831850 h 2965450"/>
              <a:gd name="connsiteX5" fmla="*/ 438150 w 736600"/>
              <a:gd name="connsiteY5" fmla="*/ 946150 h 2965450"/>
              <a:gd name="connsiteX6" fmla="*/ 438150 w 736600"/>
              <a:gd name="connsiteY6" fmla="*/ 1066800 h 2965450"/>
              <a:gd name="connsiteX7" fmla="*/ 260350 w 736600"/>
              <a:gd name="connsiteY7" fmla="*/ 1244600 h 2965450"/>
              <a:gd name="connsiteX8" fmla="*/ 260350 w 736600"/>
              <a:gd name="connsiteY8" fmla="*/ 1346200 h 2965450"/>
              <a:gd name="connsiteX9" fmla="*/ 311150 w 736600"/>
              <a:gd name="connsiteY9" fmla="*/ 1397000 h 2965450"/>
              <a:gd name="connsiteX10" fmla="*/ 311150 w 736600"/>
              <a:gd name="connsiteY10" fmla="*/ 1479550 h 2965450"/>
              <a:gd name="connsiteX11" fmla="*/ 311150 w 736600"/>
              <a:gd name="connsiteY11" fmla="*/ 1638300 h 2965450"/>
              <a:gd name="connsiteX12" fmla="*/ 546100 w 736600"/>
              <a:gd name="connsiteY12" fmla="*/ 1873250 h 2965450"/>
              <a:gd name="connsiteX13" fmla="*/ 546100 w 736600"/>
              <a:gd name="connsiteY13" fmla="*/ 2146300 h 2965450"/>
              <a:gd name="connsiteX14" fmla="*/ 0 w 736600"/>
              <a:gd name="connsiteY14" fmla="*/ 2692400 h 2965450"/>
              <a:gd name="connsiteX15" fmla="*/ 0 w 736600"/>
              <a:gd name="connsiteY15" fmla="*/ 2965450 h 2965450"/>
              <a:gd name="connsiteX0" fmla="*/ 1453225 w 1453225"/>
              <a:gd name="connsiteY0" fmla="*/ 0 h 3671298"/>
              <a:gd name="connsiteX1" fmla="*/ 63500 w 1453225"/>
              <a:gd name="connsiteY1" fmla="*/ 1378948 h 3671298"/>
              <a:gd name="connsiteX2" fmla="*/ 63500 w 1453225"/>
              <a:gd name="connsiteY2" fmla="*/ 1455148 h 3671298"/>
              <a:gd name="connsiteX3" fmla="*/ 146050 w 1453225"/>
              <a:gd name="connsiteY3" fmla="*/ 1537698 h 3671298"/>
              <a:gd name="connsiteX4" fmla="*/ 323850 w 1453225"/>
              <a:gd name="connsiteY4" fmla="*/ 1537698 h 3671298"/>
              <a:gd name="connsiteX5" fmla="*/ 438150 w 1453225"/>
              <a:gd name="connsiteY5" fmla="*/ 1651998 h 3671298"/>
              <a:gd name="connsiteX6" fmla="*/ 438150 w 1453225"/>
              <a:gd name="connsiteY6" fmla="*/ 1772648 h 3671298"/>
              <a:gd name="connsiteX7" fmla="*/ 260350 w 1453225"/>
              <a:gd name="connsiteY7" fmla="*/ 1950448 h 3671298"/>
              <a:gd name="connsiteX8" fmla="*/ 260350 w 1453225"/>
              <a:gd name="connsiteY8" fmla="*/ 2052048 h 3671298"/>
              <a:gd name="connsiteX9" fmla="*/ 311150 w 1453225"/>
              <a:gd name="connsiteY9" fmla="*/ 2102848 h 3671298"/>
              <a:gd name="connsiteX10" fmla="*/ 311150 w 1453225"/>
              <a:gd name="connsiteY10" fmla="*/ 2185398 h 3671298"/>
              <a:gd name="connsiteX11" fmla="*/ 311150 w 1453225"/>
              <a:gd name="connsiteY11" fmla="*/ 2344148 h 3671298"/>
              <a:gd name="connsiteX12" fmla="*/ 546100 w 1453225"/>
              <a:gd name="connsiteY12" fmla="*/ 2579098 h 3671298"/>
              <a:gd name="connsiteX13" fmla="*/ 546100 w 1453225"/>
              <a:gd name="connsiteY13" fmla="*/ 2852148 h 3671298"/>
              <a:gd name="connsiteX14" fmla="*/ 0 w 1453225"/>
              <a:gd name="connsiteY14" fmla="*/ 3398248 h 3671298"/>
              <a:gd name="connsiteX15" fmla="*/ 0 w 1453225"/>
              <a:gd name="connsiteY15" fmla="*/ 3671298 h 367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3225" h="3671298">
                <a:moveTo>
                  <a:pt x="1453225" y="0"/>
                </a:moveTo>
                <a:lnTo>
                  <a:pt x="63500" y="1378948"/>
                </a:lnTo>
                <a:lnTo>
                  <a:pt x="63500" y="1455148"/>
                </a:lnTo>
                <a:lnTo>
                  <a:pt x="146050" y="1537698"/>
                </a:lnTo>
                <a:lnTo>
                  <a:pt x="323850" y="1537698"/>
                </a:lnTo>
                <a:lnTo>
                  <a:pt x="438150" y="1651998"/>
                </a:lnTo>
                <a:lnTo>
                  <a:pt x="438150" y="1772648"/>
                </a:lnTo>
                <a:lnTo>
                  <a:pt x="260350" y="1950448"/>
                </a:lnTo>
                <a:lnTo>
                  <a:pt x="260350" y="2052048"/>
                </a:lnTo>
                <a:lnTo>
                  <a:pt x="311150" y="2102848"/>
                </a:lnTo>
                <a:lnTo>
                  <a:pt x="311150" y="2185398"/>
                </a:lnTo>
                <a:lnTo>
                  <a:pt x="311150" y="2344148"/>
                </a:lnTo>
                <a:lnTo>
                  <a:pt x="546100" y="2579098"/>
                </a:lnTo>
                <a:lnTo>
                  <a:pt x="546100" y="2852148"/>
                </a:lnTo>
                <a:lnTo>
                  <a:pt x="0" y="3398248"/>
                </a:lnTo>
                <a:lnTo>
                  <a:pt x="0" y="36712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2" name="Freeform 461"/>
          <p:cNvSpPr/>
          <p:nvPr/>
        </p:nvSpPr>
        <p:spPr>
          <a:xfrm rot="8100000" flipV="1">
            <a:off x="5927008" y="2154747"/>
            <a:ext cx="1153178" cy="1348441"/>
          </a:xfrm>
          <a:custGeom>
            <a:avLst/>
            <a:gdLst>
              <a:gd name="connsiteX0" fmla="*/ 614363 w 614363"/>
              <a:gd name="connsiteY0" fmla="*/ 0 h 809625"/>
              <a:gd name="connsiteX1" fmla="*/ 0 w 614363"/>
              <a:gd name="connsiteY1" fmla="*/ 614363 h 809625"/>
              <a:gd name="connsiteX2" fmla="*/ 0 w 614363"/>
              <a:gd name="connsiteY2" fmla="*/ 809625 h 809625"/>
              <a:gd name="connsiteX0" fmla="*/ 1147790 w 1147790"/>
              <a:gd name="connsiteY0" fmla="*/ 0 h 1332276"/>
              <a:gd name="connsiteX1" fmla="*/ 0 w 1147790"/>
              <a:gd name="connsiteY1" fmla="*/ 1137014 h 1332276"/>
              <a:gd name="connsiteX2" fmla="*/ 0 w 1147790"/>
              <a:gd name="connsiteY2" fmla="*/ 1332276 h 1332276"/>
              <a:gd name="connsiteX0" fmla="*/ 1153178 w 1153178"/>
              <a:gd name="connsiteY0" fmla="*/ 0 h 1348441"/>
              <a:gd name="connsiteX1" fmla="*/ 0 w 1153178"/>
              <a:gd name="connsiteY1" fmla="*/ 1153179 h 1348441"/>
              <a:gd name="connsiteX2" fmla="*/ 0 w 1153178"/>
              <a:gd name="connsiteY2" fmla="*/ 1348441 h 1348441"/>
            </a:gdLst>
            <a:ahLst/>
            <a:cxnLst>
              <a:cxn ang="0">
                <a:pos x="connsiteX0" y="connsiteY0"/>
              </a:cxn>
              <a:cxn ang="0">
                <a:pos x="connsiteX1" y="connsiteY1"/>
              </a:cxn>
              <a:cxn ang="0">
                <a:pos x="connsiteX2" y="connsiteY2"/>
              </a:cxn>
            </a:cxnLst>
            <a:rect l="l" t="t" r="r" b="b"/>
            <a:pathLst>
              <a:path w="1153178" h="1348441">
                <a:moveTo>
                  <a:pt x="1153178" y="0"/>
                </a:moveTo>
                <a:lnTo>
                  <a:pt x="0" y="1153179"/>
                </a:lnTo>
                <a:lnTo>
                  <a:pt x="0" y="1348441"/>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3" name="Freeform 462"/>
          <p:cNvSpPr/>
          <p:nvPr/>
        </p:nvSpPr>
        <p:spPr>
          <a:xfrm rot="8100000" flipV="1">
            <a:off x="2492697" y="869132"/>
            <a:ext cx="1559508" cy="1064460"/>
          </a:xfrm>
          <a:custGeom>
            <a:avLst/>
            <a:gdLst>
              <a:gd name="connsiteX0" fmla="*/ 1804987 w 1804987"/>
              <a:gd name="connsiteY0" fmla="*/ 0 h 1309688"/>
              <a:gd name="connsiteX1" fmla="*/ 495299 w 1804987"/>
              <a:gd name="connsiteY1" fmla="*/ 1309688 h 1309688"/>
              <a:gd name="connsiteX2" fmla="*/ 319087 w 1804987"/>
              <a:gd name="connsiteY2" fmla="*/ 1309688 h 1309688"/>
              <a:gd name="connsiteX3" fmla="*/ 266700 w 1804987"/>
              <a:gd name="connsiteY3" fmla="*/ 1257301 h 1309688"/>
              <a:gd name="connsiteX4" fmla="*/ 0 w 1804987"/>
              <a:gd name="connsiteY4" fmla="*/ 1257301 h 1309688"/>
              <a:gd name="connsiteX0" fmla="*/ 1804987 w 1804987"/>
              <a:gd name="connsiteY0" fmla="*/ 0 h 1309688"/>
              <a:gd name="connsiteX1" fmla="*/ 1559508 w 1804987"/>
              <a:gd name="connsiteY1" fmla="*/ 245228 h 1309688"/>
              <a:gd name="connsiteX2" fmla="*/ 495299 w 1804987"/>
              <a:gd name="connsiteY2" fmla="*/ 1309688 h 1309688"/>
              <a:gd name="connsiteX3" fmla="*/ 319087 w 1804987"/>
              <a:gd name="connsiteY3" fmla="*/ 1309688 h 1309688"/>
              <a:gd name="connsiteX4" fmla="*/ 266700 w 1804987"/>
              <a:gd name="connsiteY4" fmla="*/ 1257301 h 1309688"/>
              <a:gd name="connsiteX5" fmla="*/ 0 w 1804987"/>
              <a:gd name="connsiteY5" fmla="*/ 1257301 h 1309688"/>
              <a:gd name="connsiteX0" fmla="*/ 1559508 w 1559508"/>
              <a:gd name="connsiteY0" fmla="*/ 0 h 1064460"/>
              <a:gd name="connsiteX1" fmla="*/ 495299 w 1559508"/>
              <a:gd name="connsiteY1" fmla="*/ 1064460 h 1064460"/>
              <a:gd name="connsiteX2" fmla="*/ 319087 w 1559508"/>
              <a:gd name="connsiteY2" fmla="*/ 1064460 h 1064460"/>
              <a:gd name="connsiteX3" fmla="*/ 266700 w 1559508"/>
              <a:gd name="connsiteY3" fmla="*/ 1012073 h 1064460"/>
              <a:gd name="connsiteX4" fmla="*/ 0 w 1559508"/>
              <a:gd name="connsiteY4" fmla="*/ 1012073 h 1064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08" h="1064460">
                <a:moveTo>
                  <a:pt x="1559508" y="0"/>
                </a:moveTo>
                <a:lnTo>
                  <a:pt x="495299" y="1064460"/>
                </a:lnTo>
                <a:lnTo>
                  <a:pt x="319087" y="1064460"/>
                </a:lnTo>
                <a:lnTo>
                  <a:pt x="266700" y="1012073"/>
                </a:lnTo>
                <a:lnTo>
                  <a:pt x="0" y="101207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4" name="Freeform 463"/>
          <p:cNvSpPr/>
          <p:nvPr/>
        </p:nvSpPr>
        <p:spPr>
          <a:xfrm rot="8100000" flipV="1">
            <a:off x="2635143" y="926798"/>
            <a:ext cx="1487591" cy="1397158"/>
          </a:xfrm>
          <a:custGeom>
            <a:avLst/>
            <a:gdLst>
              <a:gd name="connsiteX0" fmla="*/ 1809750 w 1809750"/>
              <a:gd name="connsiteY0" fmla="*/ 0 h 1714500"/>
              <a:gd name="connsiteX1" fmla="*/ 433388 w 1809750"/>
              <a:gd name="connsiteY1" fmla="*/ 1376362 h 1714500"/>
              <a:gd name="connsiteX2" fmla="*/ 247650 w 1809750"/>
              <a:gd name="connsiteY2" fmla="*/ 1376362 h 1714500"/>
              <a:gd name="connsiteX3" fmla="*/ 0 w 1809750"/>
              <a:gd name="connsiteY3" fmla="*/ 1624012 h 1714500"/>
              <a:gd name="connsiteX4" fmla="*/ 0 w 1809750"/>
              <a:gd name="connsiteY4" fmla="*/ 1714500 h 1714500"/>
              <a:gd name="connsiteX0" fmla="*/ 1809750 w 1809750"/>
              <a:gd name="connsiteY0" fmla="*/ 0 h 1714500"/>
              <a:gd name="connsiteX1" fmla="*/ 1487591 w 1809750"/>
              <a:gd name="connsiteY1" fmla="*/ 317342 h 1714500"/>
              <a:gd name="connsiteX2" fmla="*/ 433388 w 1809750"/>
              <a:gd name="connsiteY2" fmla="*/ 1376362 h 1714500"/>
              <a:gd name="connsiteX3" fmla="*/ 247650 w 1809750"/>
              <a:gd name="connsiteY3" fmla="*/ 1376362 h 1714500"/>
              <a:gd name="connsiteX4" fmla="*/ 0 w 1809750"/>
              <a:gd name="connsiteY4" fmla="*/ 1624012 h 1714500"/>
              <a:gd name="connsiteX5" fmla="*/ 0 w 1809750"/>
              <a:gd name="connsiteY5" fmla="*/ 1714500 h 1714500"/>
              <a:gd name="connsiteX0" fmla="*/ 1487591 w 1487591"/>
              <a:gd name="connsiteY0" fmla="*/ 0 h 1397158"/>
              <a:gd name="connsiteX1" fmla="*/ 433388 w 1487591"/>
              <a:gd name="connsiteY1" fmla="*/ 1059020 h 1397158"/>
              <a:gd name="connsiteX2" fmla="*/ 247650 w 1487591"/>
              <a:gd name="connsiteY2" fmla="*/ 1059020 h 1397158"/>
              <a:gd name="connsiteX3" fmla="*/ 0 w 1487591"/>
              <a:gd name="connsiteY3" fmla="*/ 1306670 h 1397158"/>
              <a:gd name="connsiteX4" fmla="*/ 0 w 1487591"/>
              <a:gd name="connsiteY4" fmla="*/ 1397158 h 1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591" h="1397158">
                <a:moveTo>
                  <a:pt x="1487591" y="0"/>
                </a:moveTo>
                <a:lnTo>
                  <a:pt x="433388" y="1059020"/>
                </a:lnTo>
                <a:lnTo>
                  <a:pt x="247650" y="1059020"/>
                </a:lnTo>
                <a:lnTo>
                  <a:pt x="0" y="1306670"/>
                </a:lnTo>
                <a:lnTo>
                  <a:pt x="0" y="139715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5" name="Freeform 464"/>
          <p:cNvSpPr/>
          <p:nvPr/>
        </p:nvSpPr>
        <p:spPr>
          <a:xfrm rot="8100000" flipV="1">
            <a:off x="2711752" y="1116369"/>
            <a:ext cx="1473164" cy="1405808"/>
          </a:xfrm>
          <a:custGeom>
            <a:avLst/>
            <a:gdLst>
              <a:gd name="connsiteX0" fmla="*/ 1966913 w 1966913"/>
              <a:gd name="connsiteY0" fmla="*/ 0 h 1900238"/>
              <a:gd name="connsiteX1" fmla="*/ 66675 w 1966913"/>
              <a:gd name="connsiteY1" fmla="*/ 1900238 h 1900238"/>
              <a:gd name="connsiteX2" fmla="*/ 0 w 1966913"/>
              <a:gd name="connsiteY2" fmla="*/ 1900238 h 1900238"/>
              <a:gd name="connsiteX0" fmla="*/ 1966913 w 1966913"/>
              <a:gd name="connsiteY0" fmla="*/ 0 h 1900238"/>
              <a:gd name="connsiteX1" fmla="*/ 1473164 w 1966913"/>
              <a:gd name="connsiteY1" fmla="*/ 494430 h 1900238"/>
              <a:gd name="connsiteX2" fmla="*/ 66675 w 1966913"/>
              <a:gd name="connsiteY2" fmla="*/ 1900238 h 1900238"/>
              <a:gd name="connsiteX3" fmla="*/ 0 w 1966913"/>
              <a:gd name="connsiteY3" fmla="*/ 1900238 h 1900238"/>
              <a:gd name="connsiteX0" fmla="*/ 1473164 w 1473164"/>
              <a:gd name="connsiteY0" fmla="*/ 0 h 1405808"/>
              <a:gd name="connsiteX1" fmla="*/ 66675 w 1473164"/>
              <a:gd name="connsiteY1" fmla="*/ 1405808 h 1405808"/>
              <a:gd name="connsiteX2" fmla="*/ 0 w 1473164"/>
              <a:gd name="connsiteY2" fmla="*/ 1405808 h 1405808"/>
            </a:gdLst>
            <a:ahLst/>
            <a:cxnLst>
              <a:cxn ang="0">
                <a:pos x="connsiteX0" y="connsiteY0"/>
              </a:cxn>
              <a:cxn ang="0">
                <a:pos x="connsiteX1" y="connsiteY1"/>
              </a:cxn>
              <a:cxn ang="0">
                <a:pos x="connsiteX2" y="connsiteY2"/>
              </a:cxn>
            </a:cxnLst>
            <a:rect l="l" t="t" r="r" b="b"/>
            <a:pathLst>
              <a:path w="1473164" h="1405808">
                <a:moveTo>
                  <a:pt x="1473164" y="0"/>
                </a:moveTo>
                <a:lnTo>
                  <a:pt x="66675" y="1405808"/>
                </a:lnTo>
                <a:lnTo>
                  <a:pt x="0" y="140580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6" name="Freeform 465"/>
          <p:cNvSpPr/>
          <p:nvPr/>
        </p:nvSpPr>
        <p:spPr>
          <a:xfrm rot="8100000" flipV="1">
            <a:off x="3014853" y="562824"/>
            <a:ext cx="2644417" cy="2748252"/>
          </a:xfrm>
          <a:custGeom>
            <a:avLst/>
            <a:gdLst>
              <a:gd name="connsiteX0" fmla="*/ 2867025 w 2867025"/>
              <a:gd name="connsiteY0" fmla="*/ 0 h 3200400"/>
              <a:gd name="connsiteX1" fmla="*/ 909637 w 2867025"/>
              <a:gd name="connsiteY1" fmla="*/ 1957388 h 3200400"/>
              <a:gd name="connsiteX2" fmla="*/ 909637 w 2867025"/>
              <a:gd name="connsiteY2" fmla="*/ 2047875 h 3200400"/>
              <a:gd name="connsiteX3" fmla="*/ 271462 w 2867025"/>
              <a:gd name="connsiteY3" fmla="*/ 2686050 h 3200400"/>
              <a:gd name="connsiteX4" fmla="*/ 271462 w 2867025"/>
              <a:gd name="connsiteY4" fmla="*/ 2995613 h 3200400"/>
              <a:gd name="connsiteX5" fmla="*/ 66675 w 2867025"/>
              <a:gd name="connsiteY5" fmla="*/ 3200400 h 3200400"/>
              <a:gd name="connsiteX6" fmla="*/ 0 w 2867025"/>
              <a:gd name="connsiteY6" fmla="*/ 3200400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0 w 3163373"/>
              <a:gd name="connsiteY6" fmla="*/ 3159988 h 3200400"/>
              <a:gd name="connsiteX0" fmla="*/ 3163373 w 3163373"/>
              <a:gd name="connsiteY0" fmla="*/ 0 h 3200400"/>
              <a:gd name="connsiteX1" fmla="*/ 1205985 w 3163373"/>
              <a:gd name="connsiteY1" fmla="*/ 1957388 h 3200400"/>
              <a:gd name="connsiteX2" fmla="*/ 1205985 w 3163373"/>
              <a:gd name="connsiteY2" fmla="*/ 2047875 h 3200400"/>
              <a:gd name="connsiteX3" fmla="*/ 567810 w 3163373"/>
              <a:gd name="connsiteY3" fmla="*/ 2686050 h 3200400"/>
              <a:gd name="connsiteX4" fmla="*/ 567810 w 3163373"/>
              <a:gd name="connsiteY4" fmla="*/ 2995613 h 3200400"/>
              <a:gd name="connsiteX5" fmla="*/ 363023 w 3163373"/>
              <a:gd name="connsiteY5" fmla="*/ 3200400 h 3200400"/>
              <a:gd name="connsiteX6" fmla="*/ 161376 w 3163373"/>
              <a:gd name="connsiteY6" fmla="*/ 3168674 h 3200400"/>
              <a:gd name="connsiteX7" fmla="*/ 0 w 3163373"/>
              <a:gd name="connsiteY7" fmla="*/ 3159988 h 3200400"/>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124332 w 3126329"/>
              <a:gd name="connsiteY6" fmla="*/ 3168674 h 3230707"/>
              <a:gd name="connsiteX7" fmla="*/ 0 w 3126329"/>
              <a:gd name="connsiteY7" fmla="*/ 3230707 h 3230707"/>
              <a:gd name="connsiteX0" fmla="*/ 3126329 w 3126329"/>
              <a:gd name="connsiteY0" fmla="*/ 0 h 3230707"/>
              <a:gd name="connsiteX1" fmla="*/ 1168941 w 3126329"/>
              <a:gd name="connsiteY1" fmla="*/ 1957388 h 3230707"/>
              <a:gd name="connsiteX2" fmla="*/ 1168941 w 3126329"/>
              <a:gd name="connsiteY2" fmla="*/ 2047875 h 3230707"/>
              <a:gd name="connsiteX3" fmla="*/ 530766 w 3126329"/>
              <a:gd name="connsiteY3" fmla="*/ 2686050 h 3230707"/>
              <a:gd name="connsiteX4" fmla="*/ 530766 w 3126329"/>
              <a:gd name="connsiteY4" fmla="*/ 2995613 h 3230707"/>
              <a:gd name="connsiteX5" fmla="*/ 325979 w 3126329"/>
              <a:gd name="connsiteY5" fmla="*/ 3200400 h 3230707"/>
              <a:gd name="connsiteX6" fmla="*/ 77186 w 3126329"/>
              <a:gd name="connsiteY6" fmla="*/ 3161939 h 3230707"/>
              <a:gd name="connsiteX7" fmla="*/ 0 w 3126329"/>
              <a:gd name="connsiteY7" fmla="*/ 3230707 h 3230707"/>
              <a:gd name="connsiteX0" fmla="*/ 3126329 w 3126329"/>
              <a:gd name="connsiteY0" fmla="*/ 0 h 3230707"/>
              <a:gd name="connsiteX1" fmla="*/ 2644417 w 3126329"/>
              <a:gd name="connsiteY1" fmla="*/ 482455 h 3230707"/>
              <a:gd name="connsiteX2" fmla="*/ 1168941 w 3126329"/>
              <a:gd name="connsiteY2" fmla="*/ 1957388 h 3230707"/>
              <a:gd name="connsiteX3" fmla="*/ 1168941 w 3126329"/>
              <a:gd name="connsiteY3" fmla="*/ 2047875 h 3230707"/>
              <a:gd name="connsiteX4" fmla="*/ 530766 w 3126329"/>
              <a:gd name="connsiteY4" fmla="*/ 2686050 h 3230707"/>
              <a:gd name="connsiteX5" fmla="*/ 530766 w 3126329"/>
              <a:gd name="connsiteY5" fmla="*/ 2995613 h 3230707"/>
              <a:gd name="connsiteX6" fmla="*/ 325979 w 3126329"/>
              <a:gd name="connsiteY6" fmla="*/ 3200400 h 3230707"/>
              <a:gd name="connsiteX7" fmla="*/ 77186 w 3126329"/>
              <a:gd name="connsiteY7" fmla="*/ 3161939 h 3230707"/>
              <a:gd name="connsiteX8" fmla="*/ 0 w 3126329"/>
              <a:gd name="connsiteY8" fmla="*/ 3230707 h 3230707"/>
              <a:gd name="connsiteX0" fmla="*/ 2644417 w 2644417"/>
              <a:gd name="connsiteY0" fmla="*/ 0 h 2748252"/>
              <a:gd name="connsiteX1" fmla="*/ 1168941 w 2644417"/>
              <a:gd name="connsiteY1" fmla="*/ 1474933 h 2748252"/>
              <a:gd name="connsiteX2" fmla="*/ 1168941 w 2644417"/>
              <a:gd name="connsiteY2" fmla="*/ 1565420 h 2748252"/>
              <a:gd name="connsiteX3" fmla="*/ 530766 w 2644417"/>
              <a:gd name="connsiteY3" fmla="*/ 2203595 h 2748252"/>
              <a:gd name="connsiteX4" fmla="*/ 530766 w 2644417"/>
              <a:gd name="connsiteY4" fmla="*/ 2513158 h 2748252"/>
              <a:gd name="connsiteX5" fmla="*/ 325979 w 2644417"/>
              <a:gd name="connsiteY5" fmla="*/ 2717945 h 2748252"/>
              <a:gd name="connsiteX6" fmla="*/ 77186 w 2644417"/>
              <a:gd name="connsiteY6" fmla="*/ 2679484 h 2748252"/>
              <a:gd name="connsiteX7" fmla="*/ 0 w 2644417"/>
              <a:gd name="connsiteY7" fmla="*/ 2748252 h 274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4417" h="2748252">
                <a:moveTo>
                  <a:pt x="2644417" y="0"/>
                </a:moveTo>
                <a:lnTo>
                  <a:pt x="1168941" y="1474933"/>
                </a:lnTo>
                <a:lnTo>
                  <a:pt x="1168941" y="1565420"/>
                </a:lnTo>
                <a:lnTo>
                  <a:pt x="530766" y="2203595"/>
                </a:lnTo>
                <a:lnTo>
                  <a:pt x="530766" y="2513158"/>
                </a:lnTo>
                <a:lnTo>
                  <a:pt x="325979" y="2717945"/>
                </a:lnTo>
                <a:lnTo>
                  <a:pt x="77186" y="2679484"/>
                </a:lnTo>
                <a:lnTo>
                  <a:pt x="0" y="2748252"/>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7" name="Freeform 466"/>
          <p:cNvSpPr/>
          <p:nvPr/>
        </p:nvSpPr>
        <p:spPr>
          <a:xfrm rot="8100000" flipV="1">
            <a:off x="3056365" y="614600"/>
            <a:ext cx="2564892" cy="2827340"/>
          </a:xfrm>
          <a:custGeom>
            <a:avLst/>
            <a:gdLst>
              <a:gd name="connsiteX0" fmla="*/ 2919413 w 2919413"/>
              <a:gd name="connsiteY0" fmla="*/ 0 h 3228975"/>
              <a:gd name="connsiteX1" fmla="*/ 1057275 w 2919413"/>
              <a:gd name="connsiteY1" fmla="*/ 1862138 h 3228975"/>
              <a:gd name="connsiteX2" fmla="*/ 1057275 w 2919413"/>
              <a:gd name="connsiteY2" fmla="*/ 1976438 h 3228975"/>
              <a:gd name="connsiteX3" fmla="*/ 466725 w 2919413"/>
              <a:gd name="connsiteY3" fmla="*/ 2566988 h 3228975"/>
              <a:gd name="connsiteX4" fmla="*/ 466725 w 2919413"/>
              <a:gd name="connsiteY4" fmla="*/ 2867025 h 3228975"/>
              <a:gd name="connsiteX5" fmla="*/ 104775 w 2919413"/>
              <a:gd name="connsiteY5" fmla="*/ 3228975 h 3228975"/>
              <a:gd name="connsiteX6" fmla="*/ 0 w 2919413"/>
              <a:gd name="connsiteY6" fmla="*/ 3228975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0 w 3070954"/>
              <a:gd name="connsiteY6" fmla="*/ 3218872 h 3228975"/>
              <a:gd name="connsiteX0" fmla="*/ 3070954 w 3070954"/>
              <a:gd name="connsiteY0" fmla="*/ 0 h 3228975"/>
              <a:gd name="connsiteX1" fmla="*/ 1208816 w 3070954"/>
              <a:gd name="connsiteY1" fmla="*/ 1862138 h 3228975"/>
              <a:gd name="connsiteX2" fmla="*/ 1208816 w 3070954"/>
              <a:gd name="connsiteY2" fmla="*/ 1976438 h 3228975"/>
              <a:gd name="connsiteX3" fmla="*/ 618266 w 3070954"/>
              <a:gd name="connsiteY3" fmla="*/ 2566988 h 3228975"/>
              <a:gd name="connsiteX4" fmla="*/ 618266 w 3070954"/>
              <a:gd name="connsiteY4" fmla="*/ 2867025 h 3228975"/>
              <a:gd name="connsiteX5" fmla="*/ 256316 w 3070954"/>
              <a:gd name="connsiteY5" fmla="*/ 3228975 h 3228975"/>
              <a:gd name="connsiteX6" fmla="*/ 115526 w 3070954"/>
              <a:gd name="connsiteY6" fmla="*/ 3219863 h 3228975"/>
              <a:gd name="connsiteX7" fmla="*/ 0 w 3070954"/>
              <a:gd name="connsiteY7" fmla="*/ 3218872 h 3228975"/>
              <a:gd name="connsiteX0" fmla="*/ 3017073 w 3017073"/>
              <a:gd name="connsiteY0" fmla="*/ 0 h 3272753"/>
              <a:gd name="connsiteX1" fmla="*/ 1154935 w 3017073"/>
              <a:gd name="connsiteY1" fmla="*/ 1862138 h 3272753"/>
              <a:gd name="connsiteX2" fmla="*/ 1154935 w 3017073"/>
              <a:gd name="connsiteY2" fmla="*/ 1976438 h 3272753"/>
              <a:gd name="connsiteX3" fmla="*/ 564385 w 3017073"/>
              <a:gd name="connsiteY3" fmla="*/ 2566988 h 3272753"/>
              <a:gd name="connsiteX4" fmla="*/ 564385 w 3017073"/>
              <a:gd name="connsiteY4" fmla="*/ 2867025 h 3272753"/>
              <a:gd name="connsiteX5" fmla="*/ 202435 w 3017073"/>
              <a:gd name="connsiteY5" fmla="*/ 3228975 h 3272753"/>
              <a:gd name="connsiteX6" fmla="*/ 61645 w 3017073"/>
              <a:gd name="connsiteY6" fmla="*/ 3219863 h 3272753"/>
              <a:gd name="connsiteX7" fmla="*/ 0 w 3017073"/>
              <a:gd name="connsiteY7" fmla="*/ 3272753 h 3272753"/>
              <a:gd name="connsiteX0" fmla="*/ 3003603 w 3003603"/>
              <a:gd name="connsiteY0" fmla="*/ 0 h 3272753"/>
              <a:gd name="connsiteX1" fmla="*/ 1141465 w 3003603"/>
              <a:gd name="connsiteY1" fmla="*/ 1862138 h 3272753"/>
              <a:gd name="connsiteX2" fmla="*/ 1141465 w 3003603"/>
              <a:gd name="connsiteY2" fmla="*/ 1976438 h 3272753"/>
              <a:gd name="connsiteX3" fmla="*/ 550915 w 3003603"/>
              <a:gd name="connsiteY3" fmla="*/ 2566988 h 3272753"/>
              <a:gd name="connsiteX4" fmla="*/ 550915 w 3003603"/>
              <a:gd name="connsiteY4" fmla="*/ 2867025 h 3272753"/>
              <a:gd name="connsiteX5" fmla="*/ 188965 w 3003603"/>
              <a:gd name="connsiteY5" fmla="*/ 3228975 h 3272753"/>
              <a:gd name="connsiteX6" fmla="*/ 48175 w 3003603"/>
              <a:gd name="connsiteY6" fmla="*/ 3219863 h 3272753"/>
              <a:gd name="connsiteX7" fmla="*/ 0 w 3003603"/>
              <a:gd name="connsiteY7" fmla="*/ 3272753 h 3272753"/>
              <a:gd name="connsiteX0" fmla="*/ 3013706 w 3013706"/>
              <a:gd name="connsiteY0" fmla="*/ 0 h 3269385"/>
              <a:gd name="connsiteX1" fmla="*/ 1151568 w 3013706"/>
              <a:gd name="connsiteY1" fmla="*/ 1862138 h 3269385"/>
              <a:gd name="connsiteX2" fmla="*/ 1151568 w 3013706"/>
              <a:gd name="connsiteY2" fmla="*/ 1976438 h 3269385"/>
              <a:gd name="connsiteX3" fmla="*/ 561018 w 3013706"/>
              <a:gd name="connsiteY3" fmla="*/ 2566988 h 3269385"/>
              <a:gd name="connsiteX4" fmla="*/ 561018 w 3013706"/>
              <a:gd name="connsiteY4" fmla="*/ 2867025 h 3269385"/>
              <a:gd name="connsiteX5" fmla="*/ 199068 w 3013706"/>
              <a:gd name="connsiteY5" fmla="*/ 3228975 h 3269385"/>
              <a:gd name="connsiteX6" fmla="*/ 58278 w 3013706"/>
              <a:gd name="connsiteY6" fmla="*/ 3219863 h 3269385"/>
              <a:gd name="connsiteX7" fmla="*/ 0 w 3013706"/>
              <a:gd name="connsiteY7" fmla="*/ 3269385 h 3269385"/>
              <a:gd name="connsiteX0" fmla="*/ 3013706 w 3013706"/>
              <a:gd name="connsiteY0" fmla="*/ 0 h 3269385"/>
              <a:gd name="connsiteX1" fmla="*/ 2564892 w 3013706"/>
              <a:gd name="connsiteY1" fmla="*/ 442045 h 3269385"/>
              <a:gd name="connsiteX2" fmla="*/ 1151568 w 3013706"/>
              <a:gd name="connsiteY2" fmla="*/ 1862138 h 3269385"/>
              <a:gd name="connsiteX3" fmla="*/ 1151568 w 3013706"/>
              <a:gd name="connsiteY3" fmla="*/ 1976438 h 3269385"/>
              <a:gd name="connsiteX4" fmla="*/ 561018 w 3013706"/>
              <a:gd name="connsiteY4" fmla="*/ 2566988 h 3269385"/>
              <a:gd name="connsiteX5" fmla="*/ 561018 w 3013706"/>
              <a:gd name="connsiteY5" fmla="*/ 2867025 h 3269385"/>
              <a:gd name="connsiteX6" fmla="*/ 199068 w 3013706"/>
              <a:gd name="connsiteY6" fmla="*/ 3228975 h 3269385"/>
              <a:gd name="connsiteX7" fmla="*/ 58278 w 3013706"/>
              <a:gd name="connsiteY7" fmla="*/ 3219863 h 3269385"/>
              <a:gd name="connsiteX8" fmla="*/ 0 w 3013706"/>
              <a:gd name="connsiteY8" fmla="*/ 3269385 h 3269385"/>
              <a:gd name="connsiteX0" fmla="*/ 2564892 w 2564892"/>
              <a:gd name="connsiteY0" fmla="*/ 0 h 2827340"/>
              <a:gd name="connsiteX1" fmla="*/ 1151568 w 2564892"/>
              <a:gd name="connsiteY1" fmla="*/ 1420093 h 2827340"/>
              <a:gd name="connsiteX2" fmla="*/ 1151568 w 2564892"/>
              <a:gd name="connsiteY2" fmla="*/ 1534393 h 2827340"/>
              <a:gd name="connsiteX3" fmla="*/ 561018 w 2564892"/>
              <a:gd name="connsiteY3" fmla="*/ 2124943 h 2827340"/>
              <a:gd name="connsiteX4" fmla="*/ 561018 w 2564892"/>
              <a:gd name="connsiteY4" fmla="*/ 2424980 h 2827340"/>
              <a:gd name="connsiteX5" fmla="*/ 199068 w 2564892"/>
              <a:gd name="connsiteY5" fmla="*/ 2786930 h 2827340"/>
              <a:gd name="connsiteX6" fmla="*/ 58278 w 2564892"/>
              <a:gd name="connsiteY6" fmla="*/ 2777818 h 2827340"/>
              <a:gd name="connsiteX7" fmla="*/ 0 w 2564892"/>
              <a:gd name="connsiteY7" fmla="*/ 2827340 h 282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892" h="2827340">
                <a:moveTo>
                  <a:pt x="2564892" y="0"/>
                </a:moveTo>
                <a:lnTo>
                  <a:pt x="1151568" y="1420093"/>
                </a:lnTo>
                <a:lnTo>
                  <a:pt x="1151568" y="1534393"/>
                </a:lnTo>
                <a:lnTo>
                  <a:pt x="561018" y="2124943"/>
                </a:lnTo>
                <a:lnTo>
                  <a:pt x="561018" y="2424980"/>
                </a:lnTo>
                <a:lnTo>
                  <a:pt x="199068" y="2786930"/>
                </a:lnTo>
                <a:lnTo>
                  <a:pt x="58278" y="2777818"/>
                </a:lnTo>
                <a:lnTo>
                  <a:pt x="0" y="282734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8" name="Freeform 467"/>
          <p:cNvSpPr/>
          <p:nvPr/>
        </p:nvSpPr>
        <p:spPr>
          <a:xfrm rot="8100000" flipV="1">
            <a:off x="3084664" y="682781"/>
            <a:ext cx="2487198" cy="2894060"/>
          </a:xfrm>
          <a:custGeom>
            <a:avLst/>
            <a:gdLst>
              <a:gd name="connsiteX0" fmla="*/ 2895601 w 2895601"/>
              <a:gd name="connsiteY0" fmla="*/ 0 h 3305175"/>
              <a:gd name="connsiteX1" fmla="*/ 1081088 w 2895601"/>
              <a:gd name="connsiteY1" fmla="*/ 1814513 h 3305175"/>
              <a:gd name="connsiteX2" fmla="*/ 1081088 w 2895601"/>
              <a:gd name="connsiteY2" fmla="*/ 1947862 h 3305175"/>
              <a:gd name="connsiteX3" fmla="*/ 495300 w 2895601"/>
              <a:gd name="connsiteY3" fmla="*/ 2533650 h 3305175"/>
              <a:gd name="connsiteX4" fmla="*/ 495300 w 2895601"/>
              <a:gd name="connsiteY4" fmla="*/ 2809875 h 3305175"/>
              <a:gd name="connsiteX5" fmla="*/ 0 w 2895601"/>
              <a:gd name="connsiteY5" fmla="*/ 3305175 h 3305175"/>
              <a:gd name="connsiteX0" fmla="*/ 2895601 w 2895601"/>
              <a:gd name="connsiteY0" fmla="*/ 0 h 3305175"/>
              <a:gd name="connsiteX1" fmla="*/ 2487198 w 2895601"/>
              <a:gd name="connsiteY1" fmla="*/ 411115 h 3305175"/>
              <a:gd name="connsiteX2" fmla="*/ 1081088 w 2895601"/>
              <a:gd name="connsiteY2" fmla="*/ 1814513 h 3305175"/>
              <a:gd name="connsiteX3" fmla="*/ 1081088 w 2895601"/>
              <a:gd name="connsiteY3" fmla="*/ 1947862 h 3305175"/>
              <a:gd name="connsiteX4" fmla="*/ 495300 w 2895601"/>
              <a:gd name="connsiteY4" fmla="*/ 2533650 h 3305175"/>
              <a:gd name="connsiteX5" fmla="*/ 495300 w 2895601"/>
              <a:gd name="connsiteY5" fmla="*/ 2809875 h 3305175"/>
              <a:gd name="connsiteX6" fmla="*/ 0 w 2895601"/>
              <a:gd name="connsiteY6" fmla="*/ 3305175 h 3305175"/>
              <a:gd name="connsiteX0" fmla="*/ 2487198 w 2487198"/>
              <a:gd name="connsiteY0" fmla="*/ 0 h 2894060"/>
              <a:gd name="connsiteX1" fmla="*/ 1081088 w 2487198"/>
              <a:gd name="connsiteY1" fmla="*/ 1403398 h 2894060"/>
              <a:gd name="connsiteX2" fmla="*/ 1081088 w 2487198"/>
              <a:gd name="connsiteY2" fmla="*/ 1536747 h 2894060"/>
              <a:gd name="connsiteX3" fmla="*/ 495300 w 2487198"/>
              <a:gd name="connsiteY3" fmla="*/ 2122535 h 2894060"/>
              <a:gd name="connsiteX4" fmla="*/ 495300 w 2487198"/>
              <a:gd name="connsiteY4" fmla="*/ 2398760 h 2894060"/>
              <a:gd name="connsiteX5" fmla="*/ 0 w 2487198"/>
              <a:gd name="connsiteY5" fmla="*/ 2894060 h 28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7198" h="2894060">
                <a:moveTo>
                  <a:pt x="2487198" y="0"/>
                </a:moveTo>
                <a:lnTo>
                  <a:pt x="1081088" y="1403398"/>
                </a:lnTo>
                <a:lnTo>
                  <a:pt x="1081088" y="1536747"/>
                </a:lnTo>
                <a:lnTo>
                  <a:pt x="495300" y="2122535"/>
                </a:lnTo>
                <a:lnTo>
                  <a:pt x="495300" y="2398760"/>
                </a:lnTo>
                <a:lnTo>
                  <a:pt x="0" y="289406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69" name="Freeform 468"/>
          <p:cNvSpPr/>
          <p:nvPr/>
        </p:nvSpPr>
        <p:spPr>
          <a:xfrm rot="8100000" flipV="1">
            <a:off x="2973432" y="1043470"/>
            <a:ext cx="1835312" cy="2248812"/>
          </a:xfrm>
          <a:custGeom>
            <a:avLst/>
            <a:gdLst>
              <a:gd name="connsiteX0" fmla="*/ 2238375 w 2238375"/>
              <a:gd name="connsiteY0" fmla="*/ 0 h 2647950"/>
              <a:gd name="connsiteX1" fmla="*/ 457200 w 2238375"/>
              <a:gd name="connsiteY1" fmla="*/ 1781175 h 2647950"/>
              <a:gd name="connsiteX2" fmla="*/ 457200 w 2238375"/>
              <a:gd name="connsiteY2" fmla="*/ 1928813 h 2647950"/>
              <a:gd name="connsiteX3" fmla="*/ 390525 w 2238375"/>
              <a:gd name="connsiteY3" fmla="*/ 1995488 h 2647950"/>
              <a:gd name="connsiteX4" fmla="*/ 390525 w 2238375"/>
              <a:gd name="connsiteY4" fmla="*/ 2219325 h 2647950"/>
              <a:gd name="connsiteX5" fmla="*/ 271463 w 2238375"/>
              <a:gd name="connsiteY5" fmla="*/ 2338387 h 2647950"/>
              <a:gd name="connsiteX6" fmla="*/ 190500 w 2238375"/>
              <a:gd name="connsiteY6" fmla="*/ 2338387 h 2647950"/>
              <a:gd name="connsiteX7" fmla="*/ 0 w 2238375"/>
              <a:gd name="connsiteY7" fmla="*/ 2528887 h 2647950"/>
              <a:gd name="connsiteX8" fmla="*/ 0 w 2238375"/>
              <a:gd name="connsiteY8" fmla="*/ 2647950 h 2647950"/>
              <a:gd name="connsiteX0" fmla="*/ 2238375 w 2238375"/>
              <a:gd name="connsiteY0" fmla="*/ 0 h 2647950"/>
              <a:gd name="connsiteX1" fmla="*/ 1835312 w 2238375"/>
              <a:gd name="connsiteY1" fmla="*/ 399138 h 2647950"/>
              <a:gd name="connsiteX2" fmla="*/ 457200 w 2238375"/>
              <a:gd name="connsiteY2" fmla="*/ 1781175 h 2647950"/>
              <a:gd name="connsiteX3" fmla="*/ 457200 w 2238375"/>
              <a:gd name="connsiteY3" fmla="*/ 1928813 h 2647950"/>
              <a:gd name="connsiteX4" fmla="*/ 390525 w 2238375"/>
              <a:gd name="connsiteY4" fmla="*/ 1995488 h 2647950"/>
              <a:gd name="connsiteX5" fmla="*/ 390525 w 2238375"/>
              <a:gd name="connsiteY5" fmla="*/ 2219325 h 2647950"/>
              <a:gd name="connsiteX6" fmla="*/ 271463 w 2238375"/>
              <a:gd name="connsiteY6" fmla="*/ 2338387 h 2647950"/>
              <a:gd name="connsiteX7" fmla="*/ 190500 w 2238375"/>
              <a:gd name="connsiteY7" fmla="*/ 2338387 h 2647950"/>
              <a:gd name="connsiteX8" fmla="*/ 0 w 2238375"/>
              <a:gd name="connsiteY8" fmla="*/ 2528887 h 2647950"/>
              <a:gd name="connsiteX9" fmla="*/ 0 w 2238375"/>
              <a:gd name="connsiteY9" fmla="*/ 2647950 h 2647950"/>
              <a:gd name="connsiteX0" fmla="*/ 1835312 w 1835312"/>
              <a:gd name="connsiteY0" fmla="*/ 0 h 2248812"/>
              <a:gd name="connsiteX1" fmla="*/ 457200 w 1835312"/>
              <a:gd name="connsiteY1" fmla="*/ 1382037 h 2248812"/>
              <a:gd name="connsiteX2" fmla="*/ 457200 w 1835312"/>
              <a:gd name="connsiteY2" fmla="*/ 1529675 h 2248812"/>
              <a:gd name="connsiteX3" fmla="*/ 390525 w 1835312"/>
              <a:gd name="connsiteY3" fmla="*/ 1596350 h 2248812"/>
              <a:gd name="connsiteX4" fmla="*/ 390525 w 1835312"/>
              <a:gd name="connsiteY4" fmla="*/ 1820187 h 2248812"/>
              <a:gd name="connsiteX5" fmla="*/ 271463 w 1835312"/>
              <a:gd name="connsiteY5" fmla="*/ 1939249 h 2248812"/>
              <a:gd name="connsiteX6" fmla="*/ 190500 w 1835312"/>
              <a:gd name="connsiteY6" fmla="*/ 1939249 h 2248812"/>
              <a:gd name="connsiteX7" fmla="*/ 0 w 1835312"/>
              <a:gd name="connsiteY7" fmla="*/ 2129749 h 2248812"/>
              <a:gd name="connsiteX8" fmla="*/ 0 w 1835312"/>
              <a:gd name="connsiteY8" fmla="*/ 2248812 h 22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5312" h="2248812">
                <a:moveTo>
                  <a:pt x="1835312" y="0"/>
                </a:moveTo>
                <a:lnTo>
                  <a:pt x="457200" y="1382037"/>
                </a:lnTo>
                <a:lnTo>
                  <a:pt x="457200" y="1529675"/>
                </a:lnTo>
                <a:lnTo>
                  <a:pt x="390525" y="1596350"/>
                </a:lnTo>
                <a:lnTo>
                  <a:pt x="390525" y="1820187"/>
                </a:lnTo>
                <a:lnTo>
                  <a:pt x="271463" y="1939249"/>
                </a:lnTo>
                <a:lnTo>
                  <a:pt x="190500" y="1939249"/>
                </a:lnTo>
                <a:lnTo>
                  <a:pt x="0" y="2129749"/>
                </a:lnTo>
                <a:lnTo>
                  <a:pt x="0" y="2248812"/>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70" name="Freeform 469"/>
          <p:cNvSpPr/>
          <p:nvPr/>
        </p:nvSpPr>
        <p:spPr>
          <a:xfrm rot="8100000" flipV="1">
            <a:off x="2921699" y="1173298"/>
            <a:ext cx="1670935" cy="2068075"/>
          </a:xfrm>
          <a:custGeom>
            <a:avLst/>
            <a:gdLst>
              <a:gd name="connsiteX0" fmla="*/ 2028825 w 2028825"/>
              <a:gd name="connsiteY0" fmla="*/ 0 h 2424112"/>
              <a:gd name="connsiteX1" fmla="*/ 314325 w 2028825"/>
              <a:gd name="connsiteY1" fmla="*/ 1714500 h 2424112"/>
              <a:gd name="connsiteX2" fmla="*/ 314325 w 2028825"/>
              <a:gd name="connsiteY2" fmla="*/ 1876425 h 2424112"/>
              <a:gd name="connsiteX3" fmla="*/ 233362 w 2028825"/>
              <a:gd name="connsiteY3" fmla="*/ 1957388 h 2424112"/>
              <a:gd name="connsiteX4" fmla="*/ 233362 w 2028825"/>
              <a:gd name="connsiteY4" fmla="*/ 2190750 h 2424112"/>
              <a:gd name="connsiteX5" fmla="*/ 0 w 2028825"/>
              <a:gd name="connsiteY5" fmla="*/ 2424112 h 2424112"/>
              <a:gd name="connsiteX0" fmla="*/ 2028825 w 2028825"/>
              <a:gd name="connsiteY0" fmla="*/ 0 h 2424112"/>
              <a:gd name="connsiteX1" fmla="*/ 1670935 w 2028825"/>
              <a:gd name="connsiteY1" fmla="*/ 356037 h 2424112"/>
              <a:gd name="connsiteX2" fmla="*/ 314325 w 2028825"/>
              <a:gd name="connsiteY2" fmla="*/ 1714500 h 2424112"/>
              <a:gd name="connsiteX3" fmla="*/ 314325 w 2028825"/>
              <a:gd name="connsiteY3" fmla="*/ 1876425 h 2424112"/>
              <a:gd name="connsiteX4" fmla="*/ 233362 w 2028825"/>
              <a:gd name="connsiteY4" fmla="*/ 1957388 h 2424112"/>
              <a:gd name="connsiteX5" fmla="*/ 233362 w 2028825"/>
              <a:gd name="connsiteY5" fmla="*/ 2190750 h 2424112"/>
              <a:gd name="connsiteX6" fmla="*/ 0 w 2028825"/>
              <a:gd name="connsiteY6" fmla="*/ 2424112 h 2424112"/>
              <a:gd name="connsiteX0" fmla="*/ 1670935 w 1670935"/>
              <a:gd name="connsiteY0" fmla="*/ 0 h 2068075"/>
              <a:gd name="connsiteX1" fmla="*/ 314325 w 1670935"/>
              <a:gd name="connsiteY1" fmla="*/ 1358463 h 2068075"/>
              <a:gd name="connsiteX2" fmla="*/ 314325 w 1670935"/>
              <a:gd name="connsiteY2" fmla="*/ 1520388 h 2068075"/>
              <a:gd name="connsiteX3" fmla="*/ 233362 w 1670935"/>
              <a:gd name="connsiteY3" fmla="*/ 1601351 h 2068075"/>
              <a:gd name="connsiteX4" fmla="*/ 233362 w 1670935"/>
              <a:gd name="connsiteY4" fmla="*/ 1834713 h 2068075"/>
              <a:gd name="connsiteX5" fmla="*/ 0 w 1670935"/>
              <a:gd name="connsiteY5" fmla="*/ 2068075 h 206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0935" h="2068075">
                <a:moveTo>
                  <a:pt x="1670935" y="0"/>
                </a:moveTo>
                <a:lnTo>
                  <a:pt x="314325" y="1358463"/>
                </a:lnTo>
                <a:lnTo>
                  <a:pt x="314325" y="1520388"/>
                </a:lnTo>
                <a:lnTo>
                  <a:pt x="233362" y="1601351"/>
                </a:lnTo>
                <a:lnTo>
                  <a:pt x="233362" y="1834713"/>
                </a:lnTo>
                <a:lnTo>
                  <a:pt x="0" y="206807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472" name="Freeform 471"/>
          <p:cNvSpPr/>
          <p:nvPr/>
        </p:nvSpPr>
        <p:spPr>
          <a:xfrm>
            <a:off x="9274176" y="1422401"/>
            <a:ext cx="2919412" cy="2524125"/>
          </a:xfrm>
          <a:custGeom>
            <a:avLst/>
            <a:gdLst>
              <a:gd name="connsiteX0" fmla="*/ 2919412 w 2919412"/>
              <a:gd name="connsiteY0" fmla="*/ 0 h 2524125"/>
              <a:gd name="connsiteX1" fmla="*/ 1695449 w 2919412"/>
              <a:gd name="connsiteY1" fmla="*/ 1223963 h 2524125"/>
              <a:gd name="connsiteX2" fmla="*/ 1695449 w 2919412"/>
              <a:gd name="connsiteY2" fmla="*/ 1371600 h 2524125"/>
              <a:gd name="connsiteX3" fmla="*/ 1285874 w 2919412"/>
              <a:gd name="connsiteY3" fmla="*/ 1781175 h 2524125"/>
              <a:gd name="connsiteX4" fmla="*/ 1176337 w 2919412"/>
              <a:gd name="connsiteY4" fmla="*/ 1781175 h 2524125"/>
              <a:gd name="connsiteX5" fmla="*/ 1028700 w 2919412"/>
              <a:gd name="connsiteY5" fmla="*/ 1633538 h 2524125"/>
              <a:gd name="connsiteX6" fmla="*/ 976312 w 2919412"/>
              <a:gd name="connsiteY6" fmla="*/ 1633538 h 2524125"/>
              <a:gd name="connsiteX7" fmla="*/ 885825 w 2919412"/>
              <a:gd name="connsiteY7" fmla="*/ 1724025 h 2524125"/>
              <a:gd name="connsiteX8" fmla="*/ 885825 w 2919412"/>
              <a:gd name="connsiteY8" fmla="*/ 1833563 h 2524125"/>
              <a:gd name="connsiteX9" fmla="*/ 514350 w 2919412"/>
              <a:gd name="connsiteY9" fmla="*/ 2205038 h 2524125"/>
              <a:gd name="connsiteX10" fmla="*/ 376237 w 2919412"/>
              <a:gd name="connsiteY10" fmla="*/ 2205038 h 2524125"/>
              <a:gd name="connsiteX11" fmla="*/ 314325 w 2919412"/>
              <a:gd name="connsiteY11" fmla="*/ 2266950 h 2524125"/>
              <a:gd name="connsiteX12" fmla="*/ 109537 w 2919412"/>
              <a:gd name="connsiteY12" fmla="*/ 2266950 h 2524125"/>
              <a:gd name="connsiteX13" fmla="*/ 0 w 2919412"/>
              <a:gd name="connsiteY13" fmla="*/ 2376487 h 2524125"/>
              <a:gd name="connsiteX14" fmla="*/ 0 w 2919412"/>
              <a:gd name="connsiteY14" fmla="*/ 2524125 h 252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9412" h="2524125">
                <a:moveTo>
                  <a:pt x="2919412" y="0"/>
                </a:moveTo>
                <a:lnTo>
                  <a:pt x="1695449" y="1223963"/>
                </a:lnTo>
                <a:lnTo>
                  <a:pt x="1695449" y="1371600"/>
                </a:lnTo>
                <a:lnTo>
                  <a:pt x="1285874" y="1781175"/>
                </a:lnTo>
                <a:lnTo>
                  <a:pt x="1176337" y="1781175"/>
                </a:lnTo>
                <a:lnTo>
                  <a:pt x="1028700" y="1633538"/>
                </a:lnTo>
                <a:lnTo>
                  <a:pt x="976312" y="1633538"/>
                </a:lnTo>
                <a:lnTo>
                  <a:pt x="885825" y="1724025"/>
                </a:lnTo>
                <a:lnTo>
                  <a:pt x="885825" y="1833563"/>
                </a:lnTo>
                <a:lnTo>
                  <a:pt x="514350" y="2205038"/>
                </a:lnTo>
                <a:lnTo>
                  <a:pt x="376237" y="2205038"/>
                </a:lnTo>
                <a:lnTo>
                  <a:pt x="314325" y="2266950"/>
                </a:lnTo>
                <a:lnTo>
                  <a:pt x="109537" y="2266950"/>
                </a:lnTo>
                <a:lnTo>
                  <a:pt x="0" y="2376487"/>
                </a:lnTo>
                <a:lnTo>
                  <a:pt x="0" y="252412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endParaRPr>
          </a:p>
        </p:txBody>
      </p:sp>
      <p:sp>
        <p:nvSpPr>
          <p:cNvPr id="477" name="Freeform 476"/>
          <p:cNvSpPr/>
          <p:nvPr/>
        </p:nvSpPr>
        <p:spPr>
          <a:xfrm>
            <a:off x="9436102" y="2389189"/>
            <a:ext cx="2757487" cy="1595437"/>
          </a:xfrm>
          <a:custGeom>
            <a:avLst/>
            <a:gdLst>
              <a:gd name="connsiteX0" fmla="*/ 2757487 w 2757487"/>
              <a:gd name="connsiteY0" fmla="*/ 0 h 1595437"/>
              <a:gd name="connsiteX1" fmla="*/ 2400300 w 2757487"/>
              <a:gd name="connsiteY1" fmla="*/ 357187 h 1595437"/>
              <a:gd name="connsiteX2" fmla="*/ 2400300 w 2757487"/>
              <a:gd name="connsiteY2" fmla="*/ 576262 h 1595437"/>
              <a:gd name="connsiteX3" fmla="*/ 2128837 w 2757487"/>
              <a:gd name="connsiteY3" fmla="*/ 847725 h 1595437"/>
              <a:gd name="connsiteX4" fmla="*/ 1614487 w 2757487"/>
              <a:gd name="connsiteY4" fmla="*/ 847725 h 1595437"/>
              <a:gd name="connsiteX5" fmla="*/ 976312 w 2757487"/>
              <a:gd name="connsiteY5" fmla="*/ 1485900 h 1595437"/>
              <a:gd name="connsiteX6" fmla="*/ 781050 w 2757487"/>
              <a:gd name="connsiteY6" fmla="*/ 1485900 h 1595437"/>
              <a:gd name="connsiteX7" fmla="*/ 723900 w 2757487"/>
              <a:gd name="connsiteY7" fmla="*/ 1428750 h 1595437"/>
              <a:gd name="connsiteX8" fmla="*/ 481012 w 2757487"/>
              <a:gd name="connsiteY8" fmla="*/ 1428750 h 1595437"/>
              <a:gd name="connsiteX9" fmla="*/ 419100 w 2757487"/>
              <a:gd name="connsiteY9" fmla="*/ 1366838 h 1595437"/>
              <a:gd name="connsiteX10" fmla="*/ 300037 w 2757487"/>
              <a:gd name="connsiteY10" fmla="*/ 1366838 h 1595437"/>
              <a:gd name="connsiteX11" fmla="*/ 161925 w 2757487"/>
              <a:gd name="connsiteY11" fmla="*/ 1504950 h 1595437"/>
              <a:gd name="connsiteX12" fmla="*/ 90487 w 2757487"/>
              <a:gd name="connsiteY12" fmla="*/ 1504950 h 1595437"/>
              <a:gd name="connsiteX13" fmla="*/ 0 w 2757487"/>
              <a:gd name="connsiteY13" fmla="*/ 1595437 h 159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7487" h="1595437">
                <a:moveTo>
                  <a:pt x="2757487" y="0"/>
                </a:moveTo>
                <a:lnTo>
                  <a:pt x="2400300" y="357187"/>
                </a:lnTo>
                <a:lnTo>
                  <a:pt x="2400300" y="576262"/>
                </a:lnTo>
                <a:lnTo>
                  <a:pt x="2128837" y="847725"/>
                </a:lnTo>
                <a:lnTo>
                  <a:pt x="1614487" y="847725"/>
                </a:lnTo>
                <a:lnTo>
                  <a:pt x="976312" y="1485900"/>
                </a:lnTo>
                <a:lnTo>
                  <a:pt x="781050" y="1485900"/>
                </a:lnTo>
                <a:lnTo>
                  <a:pt x="723900" y="1428750"/>
                </a:lnTo>
                <a:lnTo>
                  <a:pt x="481012" y="1428750"/>
                </a:lnTo>
                <a:lnTo>
                  <a:pt x="419100" y="1366838"/>
                </a:lnTo>
                <a:lnTo>
                  <a:pt x="300037" y="1366838"/>
                </a:lnTo>
                <a:lnTo>
                  <a:pt x="161925" y="1504950"/>
                </a:lnTo>
                <a:lnTo>
                  <a:pt x="90487" y="1504950"/>
                </a:lnTo>
                <a:lnTo>
                  <a:pt x="0" y="159543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endParaRPr>
          </a:p>
        </p:txBody>
      </p:sp>
      <p:sp>
        <p:nvSpPr>
          <p:cNvPr id="478" name="Freeform 477"/>
          <p:cNvSpPr/>
          <p:nvPr/>
        </p:nvSpPr>
        <p:spPr>
          <a:xfrm>
            <a:off x="9659939" y="2470151"/>
            <a:ext cx="2524125" cy="1681163"/>
          </a:xfrm>
          <a:custGeom>
            <a:avLst/>
            <a:gdLst>
              <a:gd name="connsiteX0" fmla="*/ 2524125 w 2524125"/>
              <a:gd name="connsiteY0" fmla="*/ 0 h 1681163"/>
              <a:gd name="connsiteX1" fmla="*/ 2243138 w 2524125"/>
              <a:gd name="connsiteY1" fmla="*/ 280987 h 1681163"/>
              <a:gd name="connsiteX2" fmla="*/ 2243138 w 2524125"/>
              <a:gd name="connsiteY2" fmla="*/ 509588 h 1681163"/>
              <a:gd name="connsiteX3" fmla="*/ 1947863 w 2524125"/>
              <a:gd name="connsiteY3" fmla="*/ 804863 h 1681163"/>
              <a:gd name="connsiteX4" fmla="*/ 1447800 w 2524125"/>
              <a:gd name="connsiteY4" fmla="*/ 804863 h 1681163"/>
              <a:gd name="connsiteX5" fmla="*/ 790575 w 2524125"/>
              <a:gd name="connsiteY5" fmla="*/ 1462088 h 1681163"/>
              <a:gd name="connsiteX6" fmla="*/ 528638 w 2524125"/>
              <a:gd name="connsiteY6" fmla="*/ 1462088 h 1681163"/>
              <a:gd name="connsiteX7" fmla="*/ 471488 w 2524125"/>
              <a:gd name="connsiteY7" fmla="*/ 1404938 h 1681163"/>
              <a:gd name="connsiteX8" fmla="*/ 266700 w 2524125"/>
              <a:gd name="connsiteY8" fmla="*/ 1404938 h 1681163"/>
              <a:gd name="connsiteX9" fmla="*/ 190500 w 2524125"/>
              <a:gd name="connsiteY9" fmla="*/ 1328738 h 1681163"/>
              <a:gd name="connsiteX10" fmla="*/ 104775 w 2524125"/>
              <a:gd name="connsiteY10" fmla="*/ 1328738 h 1681163"/>
              <a:gd name="connsiteX11" fmla="*/ 0 w 2524125"/>
              <a:gd name="connsiteY11" fmla="*/ 1433513 h 1681163"/>
              <a:gd name="connsiteX12" fmla="*/ 0 w 2524125"/>
              <a:gd name="connsiteY12" fmla="*/ 1681163 h 168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4125" h="1681163">
                <a:moveTo>
                  <a:pt x="2524125" y="0"/>
                </a:moveTo>
                <a:lnTo>
                  <a:pt x="2243138" y="280987"/>
                </a:lnTo>
                <a:lnTo>
                  <a:pt x="2243138" y="509588"/>
                </a:lnTo>
                <a:lnTo>
                  <a:pt x="1947863" y="804863"/>
                </a:lnTo>
                <a:lnTo>
                  <a:pt x="1447800" y="804863"/>
                </a:lnTo>
                <a:lnTo>
                  <a:pt x="790575" y="1462088"/>
                </a:lnTo>
                <a:lnTo>
                  <a:pt x="528638" y="1462088"/>
                </a:lnTo>
                <a:lnTo>
                  <a:pt x="471488" y="1404938"/>
                </a:lnTo>
                <a:lnTo>
                  <a:pt x="266700" y="1404938"/>
                </a:lnTo>
                <a:lnTo>
                  <a:pt x="190500" y="1328738"/>
                </a:lnTo>
                <a:lnTo>
                  <a:pt x="104775" y="1328738"/>
                </a:lnTo>
                <a:lnTo>
                  <a:pt x="0" y="1433513"/>
                </a:lnTo>
                <a:lnTo>
                  <a:pt x="0" y="1681163"/>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endParaRPr>
          </a:p>
        </p:txBody>
      </p:sp>
      <p:sp>
        <p:nvSpPr>
          <p:cNvPr id="675" name="Freeform 674"/>
          <p:cNvSpPr/>
          <p:nvPr/>
        </p:nvSpPr>
        <p:spPr>
          <a:xfrm>
            <a:off x="9736139" y="3260725"/>
            <a:ext cx="2462213" cy="1581150"/>
          </a:xfrm>
          <a:custGeom>
            <a:avLst/>
            <a:gdLst>
              <a:gd name="connsiteX0" fmla="*/ 2462213 w 2462213"/>
              <a:gd name="connsiteY0" fmla="*/ 0 h 1581150"/>
              <a:gd name="connsiteX1" fmla="*/ 2219325 w 2462213"/>
              <a:gd name="connsiteY1" fmla="*/ 242888 h 1581150"/>
              <a:gd name="connsiteX2" fmla="*/ 2119313 w 2462213"/>
              <a:gd name="connsiteY2" fmla="*/ 242888 h 1581150"/>
              <a:gd name="connsiteX3" fmla="*/ 1909763 w 2462213"/>
              <a:gd name="connsiteY3" fmla="*/ 452438 h 1581150"/>
              <a:gd name="connsiteX4" fmla="*/ 1762125 w 2462213"/>
              <a:gd name="connsiteY4" fmla="*/ 452438 h 1581150"/>
              <a:gd name="connsiteX5" fmla="*/ 1428750 w 2462213"/>
              <a:gd name="connsiteY5" fmla="*/ 785813 h 1581150"/>
              <a:gd name="connsiteX6" fmla="*/ 1066800 w 2462213"/>
              <a:gd name="connsiteY6" fmla="*/ 785813 h 1581150"/>
              <a:gd name="connsiteX7" fmla="*/ 719138 w 2462213"/>
              <a:gd name="connsiteY7" fmla="*/ 1133475 h 1581150"/>
              <a:gd name="connsiteX8" fmla="*/ 342900 w 2462213"/>
              <a:gd name="connsiteY8" fmla="*/ 1133475 h 1581150"/>
              <a:gd name="connsiteX9" fmla="*/ 9525 w 2462213"/>
              <a:gd name="connsiteY9" fmla="*/ 1466850 h 1581150"/>
              <a:gd name="connsiteX10" fmla="*/ 0 w 2462213"/>
              <a:gd name="connsiteY10" fmla="*/ 1581150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2213" h="1581150">
                <a:moveTo>
                  <a:pt x="2462213" y="0"/>
                </a:moveTo>
                <a:lnTo>
                  <a:pt x="2219325" y="242888"/>
                </a:lnTo>
                <a:lnTo>
                  <a:pt x="2119313" y="242888"/>
                </a:lnTo>
                <a:lnTo>
                  <a:pt x="1909763" y="452438"/>
                </a:lnTo>
                <a:lnTo>
                  <a:pt x="1762125" y="452438"/>
                </a:lnTo>
                <a:lnTo>
                  <a:pt x="1428750" y="785813"/>
                </a:lnTo>
                <a:lnTo>
                  <a:pt x="1066800" y="785813"/>
                </a:lnTo>
                <a:lnTo>
                  <a:pt x="719138" y="1133475"/>
                </a:lnTo>
                <a:lnTo>
                  <a:pt x="342900" y="1133475"/>
                </a:lnTo>
                <a:lnTo>
                  <a:pt x="9525" y="1466850"/>
                </a:lnTo>
                <a:lnTo>
                  <a:pt x="0" y="15811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76" name="Freeform 675"/>
          <p:cNvSpPr/>
          <p:nvPr/>
        </p:nvSpPr>
        <p:spPr>
          <a:xfrm>
            <a:off x="8561388" y="3841750"/>
            <a:ext cx="3644900" cy="2628900"/>
          </a:xfrm>
          <a:custGeom>
            <a:avLst/>
            <a:gdLst>
              <a:gd name="connsiteX0" fmla="*/ 3644900 w 3644900"/>
              <a:gd name="connsiteY0" fmla="*/ 0 h 2628900"/>
              <a:gd name="connsiteX1" fmla="*/ 3403600 w 3644900"/>
              <a:gd name="connsiteY1" fmla="*/ 0 h 2628900"/>
              <a:gd name="connsiteX2" fmla="*/ 3136900 w 3644900"/>
              <a:gd name="connsiteY2" fmla="*/ 266700 h 2628900"/>
              <a:gd name="connsiteX3" fmla="*/ 2882900 w 3644900"/>
              <a:gd name="connsiteY3" fmla="*/ 266700 h 2628900"/>
              <a:gd name="connsiteX4" fmla="*/ 2432050 w 3644900"/>
              <a:gd name="connsiteY4" fmla="*/ 717550 h 2628900"/>
              <a:gd name="connsiteX5" fmla="*/ 1854200 w 3644900"/>
              <a:gd name="connsiteY5" fmla="*/ 717550 h 2628900"/>
              <a:gd name="connsiteX6" fmla="*/ 1530350 w 3644900"/>
              <a:gd name="connsiteY6" fmla="*/ 1041400 h 2628900"/>
              <a:gd name="connsiteX7" fmla="*/ 1435100 w 3644900"/>
              <a:gd name="connsiteY7" fmla="*/ 1041400 h 2628900"/>
              <a:gd name="connsiteX8" fmla="*/ 863600 w 3644900"/>
              <a:gd name="connsiteY8" fmla="*/ 1612900 h 2628900"/>
              <a:gd name="connsiteX9" fmla="*/ 863600 w 3644900"/>
              <a:gd name="connsiteY9" fmla="*/ 1835150 h 2628900"/>
              <a:gd name="connsiteX10" fmla="*/ 793750 w 3644900"/>
              <a:gd name="connsiteY10" fmla="*/ 1835150 h 2628900"/>
              <a:gd name="connsiteX11" fmla="*/ 0 w 3644900"/>
              <a:gd name="connsiteY11"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44900" h="2628900">
                <a:moveTo>
                  <a:pt x="3644900" y="0"/>
                </a:moveTo>
                <a:lnTo>
                  <a:pt x="3403600" y="0"/>
                </a:lnTo>
                <a:lnTo>
                  <a:pt x="3136900" y="266700"/>
                </a:lnTo>
                <a:lnTo>
                  <a:pt x="2882900" y="266700"/>
                </a:lnTo>
                <a:lnTo>
                  <a:pt x="2432050" y="717550"/>
                </a:lnTo>
                <a:lnTo>
                  <a:pt x="1854200" y="717550"/>
                </a:lnTo>
                <a:lnTo>
                  <a:pt x="1530350" y="1041400"/>
                </a:lnTo>
                <a:lnTo>
                  <a:pt x="1435100" y="1041400"/>
                </a:lnTo>
                <a:lnTo>
                  <a:pt x="863600" y="1612900"/>
                </a:lnTo>
                <a:lnTo>
                  <a:pt x="863600" y="1835150"/>
                </a:lnTo>
                <a:lnTo>
                  <a:pt x="793750" y="1835150"/>
                </a:lnTo>
                <a:lnTo>
                  <a:pt x="0" y="2628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77" name="Freeform 676"/>
          <p:cNvSpPr/>
          <p:nvPr/>
        </p:nvSpPr>
        <p:spPr>
          <a:xfrm>
            <a:off x="8485188" y="3905250"/>
            <a:ext cx="3714750" cy="2781300"/>
          </a:xfrm>
          <a:custGeom>
            <a:avLst/>
            <a:gdLst>
              <a:gd name="connsiteX0" fmla="*/ 3714750 w 3714750"/>
              <a:gd name="connsiteY0" fmla="*/ 0 h 2781300"/>
              <a:gd name="connsiteX1" fmla="*/ 3511550 w 3714750"/>
              <a:gd name="connsiteY1" fmla="*/ 0 h 2781300"/>
              <a:gd name="connsiteX2" fmla="*/ 3219450 w 3714750"/>
              <a:gd name="connsiteY2" fmla="*/ 292100 h 2781300"/>
              <a:gd name="connsiteX3" fmla="*/ 2965450 w 3714750"/>
              <a:gd name="connsiteY3" fmla="*/ 292100 h 2781300"/>
              <a:gd name="connsiteX4" fmla="*/ 2520950 w 3714750"/>
              <a:gd name="connsiteY4" fmla="*/ 736600 h 2781300"/>
              <a:gd name="connsiteX5" fmla="*/ 1949450 w 3714750"/>
              <a:gd name="connsiteY5" fmla="*/ 736600 h 2781300"/>
              <a:gd name="connsiteX6" fmla="*/ 1612900 w 3714750"/>
              <a:gd name="connsiteY6" fmla="*/ 1073150 h 2781300"/>
              <a:gd name="connsiteX7" fmla="*/ 1517650 w 3714750"/>
              <a:gd name="connsiteY7" fmla="*/ 1073150 h 2781300"/>
              <a:gd name="connsiteX8" fmla="*/ 1041400 w 3714750"/>
              <a:gd name="connsiteY8" fmla="*/ 1549400 h 2781300"/>
              <a:gd name="connsiteX9" fmla="*/ 1041400 w 3714750"/>
              <a:gd name="connsiteY9" fmla="*/ 1879600 h 2781300"/>
              <a:gd name="connsiteX10" fmla="*/ 901700 w 3714750"/>
              <a:gd name="connsiteY10" fmla="*/ 1879600 h 2781300"/>
              <a:gd name="connsiteX11" fmla="*/ 0 w 3714750"/>
              <a:gd name="connsiteY11" fmla="*/ 278130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0" h="2781300">
                <a:moveTo>
                  <a:pt x="3714750" y="0"/>
                </a:moveTo>
                <a:lnTo>
                  <a:pt x="3511550" y="0"/>
                </a:lnTo>
                <a:lnTo>
                  <a:pt x="3219450" y="292100"/>
                </a:lnTo>
                <a:lnTo>
                  <a:pt x="2965450" y="292100"/>
                </a:lnTo>
                <a:lnTo>
                  <a:pt x="2520950" y="736600"/>
                </a:lnTo>
                <a:lnTo>
                  <a:pt x="1949450" y="736600"/>
                </a:lnTo>
                <a:lnTo>
                  <a:pt x="1612900" y="1073150"/>
                </a:lnTo>
                <a:lnTo>
                  <a:pt x="1517650" y="1073150"/>
                </a:lnTo>
                <a:lnTo>
                  <a:pt x="1041400" y="1549400"/>
                </a:lnTo>
                <a:lnTo>
                  <a:pt x="1041400" y="1879600"/>
                </a:lnTo>
                <a:lnTo>
                  <a:pt x="901700" y="1879600"/>
                </a:lnTo>
                <a:lnTo>
                  <a:pt x="0" y="27813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2" name="Freeform 821"/>
          <p:cNvSpPr/>
          <p:nvPr/>
        </p:nvSpPr>
        <p:spPr>
          <a:xfrm flipV="1">
            <a:off x="5143588" y="19050"/>
            <a:ext cx="1568450" cy="1511300"/>
          </a:xfrm>
          <a:custGeom>
            <a:avLst/>
            <a:gdLst>
              <a:gd name="connsiteX0" fmla="*/ 0 w 1568450"/>
              <a:gd name="connsiteY0" fmla="*/ 1511300 h 1511300"/>
              <a:gd name="connsiteX1" fmla="*/ 781050 w 1568450"/>
              <a:gd name="connsiteY1" fmla="*/ 730250 h 1511300"/>
              <a:gd name="connsiteX2" fmla="*/ 781050 w 1568450"/>
              <a:gd name="connsiteY2" fmla="*/ 539750 h 1511300"/>
              <a:gd name="connsiteX3" fmla="*/ 1250950 w 1568450"/>
              <a:gd name="connsiteY3" fmla="*/ 69850 h 1511300"/>
              <a:gd name="connsiteX4" fmla="*/ 1409700 w 1568450"/>
              <a:gd name="connsiteY4" fmla="*/ 69850 h 1511300"/>
              <a:gd name="connsiteX5" fmla="*/ 1479550 w 1568450"/>
              <a:gd name="connsiteY5" fmla="*/ 0 h 1511300"/>
              <a:gd name="connsiteX6" fmla="*/ 1568450 w 1568450"/>
              <a:gd name="connsiteY6" fmla="*/ 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8450" h="1511300">
                <a:moveTo>
                  <a:pt x="0" y="1511300"/>
                </a:moveTo>
                <a:lnTo>
                  <a:pt x="781050" y="730250"/>
                </a:lnTo>
                <a:lnTo>
                  <a:pt x="781050" y="539750"/>
                </a:lnTo>
                <a:lnTo>
                  <a:pt x="1250950" y="69850"/>
                </a:lnTo>
                <a:lnTo>
                  <a:pt x="1409700" y="69850"/>
                </a:lnTo>
                <a:lnTo>
                  <a:pt x="1479550" y="0"/>
                </a:lnTo>
                <a:lnTo>
                  <a:pt x="15684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3" name="Freeform 822"/>
          <p:cNvSpPr/>
          <p:nvPr/>
        </p:nvSpPr>
        <p:spPr>
          <a:xfrm flipV="1">
            <a:off x="5245188" y="12700"/>
            <a:ext cx="1390650" cy="1352550"/>
          </a:xfrm>
          <a:custGeom>
            <a:avLst/>
            <a:gdLst>
              <a:gd name="connsiteX0" fmla="*/ 0 w 1390650"/>
              <a:gd name="connsiteY0" fmla="*/ 1352550 h 1352550"/>
              <a:gd name="connsiteX1" fmla="*/ 850900 w 1390650"/>
              <a:gd name="connsiteY1" fmla="*/ 501650 h 1352550"/>
              <a:gd name="connsiteX2" fmla="*/ 908050 w 1390650"/>
              <a:gd name="connsiteY2" fmla="*/ 501650 h 1352550"/>
              <a:gd name="connsiteX3" fmla="*/ 958850 w 1390650"/>
              <a:gd name="connsiteY3" fmla="*/ 450850 h 1352550"/>
              <a:gd name="connsiteX4" fmla="*/ 958850 w 1390650"/>
              <a:gd name="connsiteY4" fmla="*/ 190500 h 1352550"/>
              <a:gd name="connsiteX5" fmla="*/ 1149350 w 1390650"/>
              <a:gd name="connsiteY5" fmla="*/ 0 h 1352550"/>
              <a:gd name="connsiteX6" fmla="*/ 1339850 w 1390650"/>
              <a:gd name="connsiteY6" fmla="*/ 0 h 1352550"/>
              <a:gd name="connsiteX7" fmla="*/ 1390650 w 1390650"/>
              <a:gd name="connsiteY7" fmla="*/ 5080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0650" h="1352550">
                <a:moveTo>
                  <a:pt x="0" y="1352550"/>
                </a:moveTo>
                <a:lnTo>
                  <a:pt x="850900" y="501650"/>
                </a:lnTo>
                <a:lnTo>
                  <a:pt x="908050" y="501650"/>
                </a:lnTo>
                <a:lnTo>
                  <a:pt x="958850" y="450850"/>
                </a:lnTo>
                <a:lnTo>
                  <a:pt x="958850" y="190500"/>
                </a:lnTo>
                <a:lnTo>
                  <a:pt x="1149350" y="0"/>
                </a:lnTo>
                <a:lnTo>
                  <a:pt x="1339850" y="0"/>
                </a:lnTo>
                <a:lnTo>
                  <a:pt x="1390650" y="508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4" name="Freeform 823"/>
          <p:cNvSpPr/>
          <p:nvPr/>
        </p:nvSpPr>
        <p:spPr>
          <a:xfrm flipV="1">
            <a:off x="5302338" y="19050"/>
            <a:ext cx="1301750" cy="1155700"/>
          </a:xfrm>
          <a:custGeom>
            <a:avLst/>
            <a:gdLst>
              <a:gd name="connsiteX0" fmla="*/ 0 w 1301750"/>
              <a:gd name="connsiteY0" fmla="*/ 1155700 h 1155700"/>
              <a:gd name="connsiteX1" fmla="*/ 781050 w 1301750"/>
              <a:gd name="connsiteY1" fmla="*/ 374650 h 1155700"/>
              <a:gd name="connsiteX2" fmla="*/ 927100 w 1301750"/>
              <a:gd name="connsiteY2" fmla="*/ 374650 h 1155700"/>
              <a:gd name="connsiteX3" fmla="*/ 1301750 w 1301750"/>
              <a:gd name="connsiteY3" fmla="*/ 0 h 1155700"/>
            </a:gdLst>
            <a:ahLst/>
            <a:cxnLst>
              <a:cxn ang="0">
                <a:pos x="connsiteX0" y="connsiteY0"/>
              </a:cxn>
              <a:cxn ang="0">
                <a:pos x="connsiteX1" y="connsiteY1"/>
              </a:cxn>
              <a:cxn ang="0">
                <a:pos x="connsiteX2" y="connsiteY2"/>
              </a:cxn>
              <a:cxn ang="0">
                <a:pos x="connsiteX3" y="connsiteY3"/>
              </a:cxn>
            </a:cxnLst>
            <a:rect l="l" t="t" r="r" b="b"/>
            <a:pathLst>
              <a:path w="1301750" h="1155700">
                <a:moveTo>
                  <a:pt x="0" y="1155700"/>
                </a:moveTo>
                <a:lnTo>
                  <a:pt x="781050" y="374650"/>
                </a:lnTo>
                <a:lnTo>
                  <a:pt x="927100" y="374650"/>
                </a:lnTo>
                <a:lnTo>
                  <a:pt x="13017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5" name="Freeform 824"/>
          <p:cNvSpPr/>
          <p:nvPr/>
        </p:nvSpPr>
        <p:spPr>
          <a:xfrm flipV="1">
            <a:off x="5359488" y="12700"/>
            <a:ext cx="2508250" cy="2216150"/>
          </a:xfrm>
          <a:custGeom>
            <a:avLst/>
            <a:gdLst>
              <a:gd name="connsiteX0" fmla="*/ 0 w 2508250"/>
              <a:gd name="connsiteY0" fmla="*/ 2216150 h 2216150"/>
              <a:gd name="connsiteX1" fmla="*/ 704850 w 2508250"/>
              <a:gd name="connsiteY1" fmla="*/ 1511300 h 2216150"/>
              <a:gd name="connsiteX2" fmla="*/ 946150 w 2508250"/>
              <a:gd name="connsiteY2" fmla="*/ 1511300 h 2216150"/>
              <a:gd name="connsiteX3" fmla="*/ 1638300 w 2508250"/>
              <a:gd name="connsiteY3" fmla="*/ 819150 h 2216150"/>
              <a:gd name="connsiteX4" fmla="*/ 1638300 w 2508250"/>
              <a:gd name="connsiteY4" fmla="*/ 679450 h 2216150"/>
              <a:gd name="connsiteX5" fmla="*/ 1752600 w 2508250"/>
              <a:gd name="connsiteY5" fmla="*/ 565150 h 2216150"/>
              <a:gd name="connsiteX6" fmla="*/ 1943100 w 2508250"/>
              <a:gd name="connsiteY6" fmla="*/ 565150 h 2216150"/>
              <a:gd name="connsiteX7" fmla="*/ 2508250 w 2508250"/>
              <a:gd name="connsiteY7" fmla="*/ 0 h 221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8250" h="2216150">
                <a:moveTo>
                  <a:pt x="0" y="2216150"/>
                </a:moveTo>
                <a:lnTo>
                  <a:pt x="704850" y="1511300"/>
                </a:lnTo>
                <a:lnTo>
                  <a:pt x="946150" y="1511300"/>
                </a:lnTo>
                <a:lnTo>
                  <a:pt x="1638300" y="819150"/>
                </a:lnTo>
                <a:lnTo>
                  <a:pt x="1638300" y="679450"/>
                </a:lnTo>
                <a:lnTo>
                  <a:pt x="1752600" y="565150"/>
                </a:lnTo>
                <a:lnTo>
                  <a:pt x="1943100" y="565150"/>
                </a:lnTo>
                <a:lnTo>
                  <a:pt x="25082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6" name="Freeform 825"/>
          <p:cNvSpPr/>
          <p:nvPr/>
        </p:nvSpPr>
        <p:spPr>
          <a:xfrm flipV="1">
            <a:off x="5562688" y="12700"/>
            <a:ext cx="1593850" cy="1562100"/>
          </a:xfrm>
          <a:custGeom>
            <a:avLst/>
            <a:gdLst>
              <a:gd name="connsiteX0" fmla="*/ 0 w 1593850"/>
              <a:gd name="connsiteY0" fmla="*/ 1562100 h 1562100"/>
              <a:gd name="connsiteX1" fmla="*/ 622300 w 1593850"/>
              <a:gd name="connsiteY1" fmla="*/ 939800 h 1562100"/>
              <a:gd name="connsiteX2" fmla="*/ 825500 w 1593850"/>
              <a:gd name="connsiteY2" fmla="*/ 939800 h 1562100"/>
              <a:gd name="connsiteX3" fmla="*/ 1593850 w 1593850"/>
              <a:gd name="connsiteY3" fmla="*/ 171450 h 1562100"/>
              <a:gd name="connsiteX4" fmla="*/ 1593850 w 1593850"/>
              <a:gd name="connsiteY4" fmla="*/ 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3850" h="1562100">
                <a:moveTo>
                  <a:pt x="0" y="1562100"/>
                </a:moveTo>
                <a:lnTo>
                  <a:pt x="622300" y="939800"/>
                </a:lnTo>
                <a:lnTo>
                  <a:pt x="825500" y="939800"/>
                </a:lnTo>
                <a:lnTo>
                  <a:pt x="1593850" y="171450"/>
                </a:lnTo>
                <a:lnTo>
                  <a:pt x="1593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7" name="Freeform 826"/>
          <p:cNvSpPr/>
          <p:nvPr/>
        </p:nvSpPr>
        <p:spPr>
          <a:xfrm flipV="1">
            <a:off x="6000838" y="25400"/>
            <a:ext cx="1365250" cy="1212850"/>
          </a:xfrm>
          <a:custGeom>
            <a:avLst/>
            <a:gdLst>
              <a:gd name="connsiteX0" fmla="*/ 0 w 1365250"/>
              <a:gd name="connsiteY0" fmla="*/ 1212850 h 1212850"/>
              <a:gd name="connsiteX1" fmla="*/ 730250 w 1365250"/>
              <a:gd name="connsiteY1" fmla="*/ 482600 h 1212850"/>
              <a:gd name="connsiteX2" fmla="*/ 863600 w 1365250"/>
              <a:gd name="connsiteY2" fmla="*/ 482600 h 1212850"/>
              <a:gd name="connsiteX3" fmla="*/ 927100 w 1365250"/>
              <a:gd name="connsiteY3" fmla="*/ 419100 h 1212850"/>
              <a:gd name="connsiteX4" fmla="*/ 927100 w 1365250"/>
              <a:gd name="connsiteY4" fmla="*/ 184150 h 1212850"/>
              <a:gd name="connsiteX5" fmla="*/ 1111250 w 1365250"/>
              <a:gd name="connsiteY5" fmla="*/ 0 h 1212850"/>
              <a:gd name="connsiteX6" fmla="*/ 1320800 w 1365250"/>
              <a:gd name="connsiteY6" fmla="*/ 0 h 1212850"/>
              <a:gd name="connsiteX7" fmla="*/ 1365250 w 1365250"/>
              <a:gd name="connsiteY7" fmla="*/ 44450 h 12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5250" h="1212850">
                <a:moveTo>
                  <a:pt x="0" y="1212850"/>
                </a:moveTo>
                <a:lnTo>
                  <a:pt x="730250" y="482600"/>
                </a:lnTo>
                <a:lnTo>
                  <a:pt x="863600" y="482600"/>
                </a:lnTo>
                <a:lnTo>
                  <a:pt x="927100" y="419100"/>
                </a:lnTo>
                <a:lnTo>
                  <a:pt x="927100" y="184150"/>
                </a:lnTo>
                <a:lnTo>
                  <a:pt x="1111250" y="0"/>
                </a:lnTo>
                <a:lnTo>
                  <a:pt x="1320800" y="0"/>
                </a:lnTo>
                <a:lnTo>
                  <a:pt x="1365250" y="44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8" name="Freeform 827"/>
          <p:cNvSpPr/>
          <p:nvPr/>
        </p:nvSpPr>
        <p:spPr>
          <a:xfrm flipV="1">
            <a:off x="6127838" y="19050"/>
            <a:ext cx="1460500" cy="1638300"/>
          </a:xfrm>
          <a:custGeom>
            <a:avLst/>
            <a:gdLst>
              <a:gd name="connsiteX0" fmla="*/ 0 w 1460500"/>
              <a:gd name="connsiteY0" fmla="*/ 1638300 h 1638300"/>
              <a:gd name="connsiteX1" fmla="*/ 641350 w 1460500"/>
              <a:gd name="connsiteY1" fmla="*/ 996950 h 1638300"/>
              <a:gd name="connsiteX2" fmla="*/ 857250 w 1460500"/>
              <a:gd name="connsiteY2" fmla="*/ 996950 h 1638300"/>
              <a:gd name="connsiteX3" fmla="*/ 1460500 w 1460500"/>
              <a:gd name="connsiteY3" fmla="*/ 393700 h 1638300"/>
              <a:gd name="connsiteX4" fmla="*/ 1460500 w 1460500"/>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500" h="1638300">
                <a:moveTo>
                  <a:pt x="0" y="1638300"/>
                </a:moveTo>
                <a:lnTo>
                  <a:pt x="641350" y="996950"/>
                </a:lnTo>
                <a:lnTo>
                  <a:pt x="857250" y="996950"/>
                </a:lnTo>
                <a:lnTo>
                  <a:pt x="1460500" y="393700"/>
                </a:lnTo>
                <a:lnTo>
                  <a:pt x="1460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29" name="Freeform 828"/>
          <p:cNvSpPr/>
          <p:nvPr/>
        </p:nvSpPr>
        <p:spPr>
          <a:xfrm flipV="1">
            <a:off x="6197688" y="12700"/>
            <a:ext cx="1847850" cy="2178050"/>
          </a:xfrm>
          <a:custGeom>
            <a:avLst/>
            <a:gdLst>
              <a:gd name="connsiteX0" fmla="*/ 0 w 1847850"/>
              <a:gd name="connsiteY0" fmla="*/ 2178050 h 2178050"/>
              <a:gd name="connsiteX1" fmla="*/ 584200 w 1847850"/>
              <a:gd name="connsiteY1" fmla="*/ 1593850 h 2178050"/>
              <a:gd name="connsiteX2" fmla="*/ 838200 w 1847850"/>
              <a:gd name="connsiteY2" fmla="*/ 1593850 h 2178050"/>
              <a:gd name="connsiteX3" fmla="*/ 1479550 w 1847850"/>
              <a:gd name="connsiteY3" fmla="*/ 952500 h 2178050"/>
              <a:gd name="connsiteX4" fmla="*/ 1479550 w 1847850"/>
              <a:gd name="connsiteY4" fmla="*/ 698500 h 2178050"/>
              <a:gd name="connsiteX5" fmla="*/ 1847850 w 1847850"/>
              <a:gd name="connsiteY5" fmla="*/ 330200 h 2178050"/>
              <a:gd name="connsiteX6" fmla="*/ 1847850 w 1847850"/>
              <a:gd name="connsiteY6" fmla="*/ 0 h 217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7850" h="2178050">
                <a:moveTo>
                  <a:pt x="0" y="2178050"/>
                </a:moveTo>
                <a:lnTo>
                  <a:pt x="584200" y="1593850"/>
                </a:lnTo>
                <a:lnTo>
                  <a:pt x="838200" y="1593850"/>
                </a:lnTo>
                <a:lnTo>
                  <a:pt x="1479550" y="952500"/>
                </a:lnTo>
                <a:lnTo>
                  <a:pt x="1479550" y="698500"/>
                </a:lnTo>
                <a:lnTo>
                  <a:pt x="1847850" y="330200"/>
                </a:lnTo>
                <a:lnTo>
                  <a:pt x="18478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30" name="Freeform 829"/>
          <p:cNvSpPr/>
          <p:nvPr/>
        </p:nvSpPr>
        <p:spPr>
          <a:xfrm flipV="1">
            <a:off x="6292938" y="12700"/>
            <a:ext cx="1536700" cy="1441450"/>
          </a:xfrm>
          <a:custGeom>
            <a:avLst/>
            <a:gdLst>
              <a:gd name="connsiteX0" fmla="*/ 0 w 1536700"/>
              <a:gd name="connsiteY0" fmla="*/ 1441450 h 1441450"/>
              <a:gd name="connsiteX1" fmla="*/ 508000 w 1536700"/>
              <a:gd name="connsiteY1" fmla="*/ 933450 h 1441450"/>
              <a:gd name="connsiteX2" fmla="*/ 793750 w 1536700"/>
              <a:gd name="connsiteY2" fmla="*/ 933450 h 1441450"/>
              <a:gd name="connsiteX3" fmla="*/ 1536700 w 1536700"/>
              <a:gd name="connsiteY3" fmla="*/ 190500 h 1441450"/>
              <a:gd name="connsiteX4" fmla="*/ 1536700 w 15367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441450">
                <a:moveTo>
                  <a:pt x="0" y="1441450"/>
                </a:moveTo>
                <a:lnTo>
                  <a:pt x="508000" y="933450"/>
                </a:lnTo>
                <a:lnTo>
                  <a:pt x="793750" y="933450"/>
                </a:lnTo>
                <a:lnTo>
                  <a:pt x="1536700" y="190500"/>
                </a:lnTo>
                <a:lnTo>
                  <a:pt x="15367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79" name="Freeform 678"/>
          <p:cNvSpPr/>
          <p:nvPr/>
        </p:nvSpPr>
        <p:spPr>
          <a:xfrm>
            <a:off x="10460038" y="4121150"/>
            <a:ext cx="1727200" cy="977900"/>
          </a:xfrm>
          <a:custGeom>
            <a:avLst/>
            <a:gdLst>
              <a:gd name="connsiteX0" fmla="*/ 1727200 w 1727200"/>
              <a:gd name="connsiteY0" fmla="*/ 0 h 977900"/>
              <a:gd name="connsiteX1" fmla="*/ 1562100 w 1727200"/>
              <a:gd name="connsiteY1" fmla="*/ 0 h 977900"/>
              <a:gd name="connsiteX2" fmla="*/ 812800 w 1727200"/>
              <a:gd name="connsiteY2" fmla="*/ 749300 h 977900"/>
              <a:gd name="connsiteX3" fmla="*/ 228600 w 1727200"/>
              <a:gd name="connsiteY3" fmla="*/ 749300 h 977900"/>
              <a:gd name="connsiteX4" fmla="*/ 0 w 1727200"/>
              <a:gd name="connsiteY4" fmla="*/ 977900 h 977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977900">
                <a:moveTo>
                  <a:pt x="1727200" y="0"/>
                </a:moveTo>
                <a:lnTo>
                  <a:pt x="1562100" y="0"/>
                </a:lnTo>
                <a:lnTo>
                  <a:pt x="812800" y="749300"/>
                </a:lnTo>
                <a:lnTo>
                  <a:pt x="228600" y="749300"/>
                </a:lnTo>
                <a:lnTo>
                  <a:pt x="0" y="9779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81" name="Freeform 680"/>
          <p:cNvSpPr/>
          <p:nvPr/>
        </p:nvSpPr>
        <p:spPr>
          <a:xfrm>
            <a:off x="7431088" y="4273550"/>
            <a:ext cx="2597150" cy="2616200"/>
          </a:xfrm>
          <a:custGeom>
            <a:avLst/>
            <a:gdLst>
              <a:gd name="connsiteX0" fmla="*/ 0 w 2597150"/>
              <a:gd name="connsiteY0" fmla="*/ 2616200 h 2616200"/>
              <a:gd name="connsiteX1" fmla="*/ 1885950 w 2597150"/>
              <a:gd name="connsiteY1" fmla="*/ 730250 h 2616200"/>
              <a:gd name="connsiteX2" fmla="*/ 1924050 w 2597150"/>
              <a:gd name="connsiteY2" fmla="*/ 692150 h 2616200"/>
              <a:gd name="connsiteX3" fmla="*/ 2082800 w 2597150"/>
              <a:gd name="connsiteY3" fmla="*/ 533400 h 2616200"/>
              <a:gd name="connsiteX4" fmla="*/ 2082800 w 2597150"/>
              <a:gd name="connsiteY4" fmla="*/ 330200 h 2616200"/>
              <a:gd name="connsiteX5" fmla="*/ 2279650 w 2597150"/>
              <a:gd name="connsiteY5" fmla="*/ 133350 h 2616200"/>
              <a:gd name="connsiteX6" fmla="*/ 2463800 w 2597150"/>
              <a:gd name="connsiteY6" fmla="*/ 133350 h 2616200"/>
              <a:gd name="connsiteX7" fmla="*/ 2597150 w 2597150"/>
              <a:gd name="connsiteY7" fmla="*/ 0 h 261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7150" h="2616200">
                <a:moveTo>
                  <a:pt x="0" y="2616200"/>
                </a:moveTo>
                <a:lnTo>
                  <a:pt x="1885950" y="730250"/>
                </a:lnTo>
                <a:lnTo>
                  <a:pt x="1924050" y="692150"/>
                </a:lnTo>
                <a:lnTo>
                  <a:pt x="2082800" y="533400"/>
                </a:lnTo>
                <a:lnTo>
                  <a:pt x="2082800" y="330200"/>
                </a:lnTo>
                <a:lnTo>
                  <a:pt x="2279650" y="133350"/>
                </a:lnTo>
                <a:lnTo>
                  <a:pt x="2463800" y="133350"/>
                </a:lnTo>
                <a:lnTo>
                  <a:pt x="25971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82" name="Freeform 681"/>
          <p:cNvSpPr/>
          <p:nvPr/>
        </p:nvSpPr>
        <p:spPr>
          <a:xfrm>
            <a:off x="7005638" y="4394200"/>
            <a:ext cx="2546350" cy="2463800"/>
          </a:xfrm>
          <a:custGeom>
            <a:avLst/>
            <a:gdLst>
              <a:gd name="connsiteX0" fmla="*/ 0 w 2546350"/>
              <a:gd name="connsiteY0" fmla="*/ 2463800 h 2463800"/>
              <a:gd name="connsiteX1" fmla="*/ 1428750 w 2546350"/>
              <a:gd name="connsiteY1" fmla="*/ 1035050 h 2463800"/>
              <a:gd name="connsiteX2" fmla="*/ 1835150 w 2546350"/>
              <a:gd name="connsiteY2" fmla="*/ 1035050 h 2463800"/>
              <a:gd name="connsiteX3" fmla="*/ 2063750 w 2546350"/>
              <a:gd name="connsiteY3" fmla="*/ 806450 h 2463800"/>
              <a:gd name="connsiteX4" fmla="*/ 2063750 w 2546350"/>
              <a:gd name="connsiteY4" fmla="*/ 654050 h 2463800"/>
              <a:gd name="connsiteX5" fmla="*/ 2343150 w 2546350"/>
              <a:gd name="connsiteY5" fmla="*/ 374650 h 2463800"/>
              <a:gd name="connsiteX6" fmla="*/ 2343150 w 2546350"/>
              <a:gd name="connsiteY6" fmla="*/ 107950 h 2463800"/>
              <a:gd name="connsiteX7" fmla="*/ 2451100 w 2546350"/>
              <a:gd name="connsiteY7" fmla="*/ 0 h 2463800"/>
              <a:gd name="connsiteX8" fmla="*/ 2546350 w 2546350"/>
              <a:gd name="connsiteY8"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6350" h="2463800">
                <a:moveTo>
                  <a:pt x="0" y="2463800"/>
                </a:moveTo>
                <a:lnTo>
                  <a:pt x="1428750" y="1035050"/>
                </a:lnTo>
                <a:lnTo>
                  <a:pt x="1835150" y="1035050"/>
                </a:lnTo>
                <a:lnTo>
                  <a:pt x="2063750" y="806450"/>
                </a:lnTo>
                <a:lnTo>
                  <a:pt x="2063750" y="654050"/>
                </a:lnTo>
                <a:lnTo>
                  <a:pt x="2343150" y="374650"/>
                </a:lnTo>
                <a:lnTo>
                  <a:pt x="2343150" y="107950"/>
                </a:lnTo>
                <a:lnTo>
                  <a:pt x="2451100" y="0"/>
                </a:lnTo>
                <a:lnTo>
                  <a:pt x="254635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683" name="Freeform 682"/>
          <p:cNvSpPr/>
          <p:nvPr/>
        </p:nvSpPr>
        <p:spPr>
          <a:xfrm>
            <a:off x="6865938" y="4273550"/>
            <a:ext cx="2971800" cy="2597150"/>
          </a:xfrm>
          <a:custGeom>
            <a:avLst/>
            <a:gdLst>
              <a:gd name="connsiteX0" fmla="*/ 0 w 2971800"/>
              <a:gd name="connsiteY0" fmla="*/ 2597150 h 2597150"/>
              <a:gd name="connsiteX1" fmla="*/ 1485900 w 2971800"/>
              <a:gd name="connsiteY1" fmla="*/ 1111250 h 2597150"/>
              <a:gd name="connsiteX2" fmla="*/ 1930400 w 2971800"/>
              <a:gd name="connsiteY2" fmla="*/ 1111250 h 2597150"/>
              <a:gd name="connsiteX3" fmla="*/ 2127250 w 2971800"/>
              <a:gd name="connsiteY3" fmla="*/ 914400 h 2597150"/>
              <a:gd name="connsiteX4" fmla="*/ 2127250 w 2971800"/>
              <a:gd name="connsiteY4" fmla="*/ 711200 h 2597150"/>
              <a:gd name="connsiteX5" fmla="*/ 2374900 w 2971800"/>
              <a:gd name="connsiteY5" fmla="*/ 463550 h 2597150"/>
              <a:gd name="connsiteX6" fmla="*/ 2374900 w 2971800"/>
              <a:gd name="connsiteY6" fmla="*/ 0 h 2597150"/>
              <a:gd name="connsiteX7" fmla="*/ 2971800 w 2971800"/>
              <a:gd name="connsiteY7" fmla="*/ 0 h 259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2597150">
                <a:moveTo>
                  <a:pt x="0" y="2597150"/>
                </a:moveTo>
                <a:lnTo>
                  <a:pt x="1485900" y="1111250"/>
                </a:lnTo>
                <a:lnTo>
                  <a:pt x="1930400" y="1111250"/>
                </a:lnTo>
                <a:lnTo>
                  <a:pt x="2127250" y="914400"/>
                </a:lnTo>
                <a:lnTo>
                  <a:pt x="2127250" y="711200"/>
                </a:lnTo>
                <a:lnTo>
                  <a:pt x="2374900" y="463550"/>
                </a:lnTo>
                <a:lnTo>
                  <a:pt x="2374900" y="0"/>
                </a:lnTo>
                <a:lnTo>
                  <a:pt x="29718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28" name="Freeform 727"/>
          <p:cNvSpPr/>
          <p:nvPr/>
        </p:nvSpPr>
        <p:spPr>
          <a:xfrm rot="8100000" flipH="1" flipV="1">
            <a:off x="5299032" y="3340640"/>
            <a:ext cx="2384108" cy="2272261"/>
          </a:xfrm>
          <a:custGeom>
            <a:avLst/>
            <a:gdLst>
              <a:gd name="connsiteX0" fmla="*/ 0 w 2571750"/>
              <a:gd name="connsiteY0" fmla="*/ 2451100 h 2451100"/>
              <a:gd name="connsiteX1" fmla="*/ 1670050 w 2571750"/>
              <a:gd name="connsiteY1" fmla="*/ 781050 h 2451100"/>
              <a:gd name="connsiteX2" fmla="*/ 2120900 w 2571750"/>
              <a:gd name="connsiteY2" fmla="*/ 781050 h 2451100"/>
              <a:gd name="connsiteX3" fmla="*/ 2324100 w 2571750"/>
              <a:gd name="connsiteY3" fmla="*/ 577850 h 2451100"/>
              <a:gd name="connsiteX4" fmla="*/ 2324100 w 2571750"/>
              <a:gd name="connsiteY4" fmla="*/ 438150 h 2451100"/>
              <a:gd name="connsiteX5" fmla="*/ 2571750 w 2571750"/>
              <a:gd name="connsiteY5" fmla="*/ 190500 h 2451100"/>
              <a:gd name="connsiteX6" fmla="*/ 2571750 w 2571750"/>
              <a:gd name="connsiteY6"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0" h="2451100">
                <a:moveTo>
                  <a:pt x="0" y="2451100"/>
                </a:moveTo>
                <a:lnTo>
                  <a:pt x="1670050" y="781050"/>
                </a:lnTo>
                <a:lnTo>
                  <a:pt x="2120900" y="781050"/>
                </a:lnTo>
                <a:lnTo>
                  <a:pt x="2324100" y="577850"/>
                </a:lnTo>
                <a:lnTo>
                  <a:pt x="2324100" y="438150"/>
                </a:lnTo>
                <a:lnTo>
                  <a:pt x="2571750" y="190500"/>
                </a:lnTo>
                <a:lnTo>
                  <a:pt x="2571750" y="0"/>
                </a:lnTo>
              </a:path>
            </a:pathLst>
          </a:custGeom>
          <a:noFill/>
          <a:ln w="19050">
            <a:solidFill>
              <a:schemeClr val="accent4">
                <a:alpha val="2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76" name="Freeform 775"/>
          <p:cNvSpPr/>
          <p:nvPr/>
        </p:nvSpPr>
        <p:spPr>
          <a:xfrm>
            <a:off x="2328319" y="2537759"/>
            <a:ext cx="2578769" cy="1294598"/>
          </a:xfrm>
          <a:custGeom>
            <a:avLst/>
            <a:gdLst>
              <a:gd name="connsiteX0" fmla="*/ 0 w 2685449"/>
              <a:gd name="connsiteY0" fmla="*/ 0 h 1751798"/>
              <a:gd name="connsiteX1" fmla="*/ 0 w 2685449"/>
              <a:gd name="connsiteY1" fmla="*/ 365760 h 1751798"/>
              <a:gd name="connsiteX2" fmla="*/ 413886 w 2685449"/>
              <a:gd name="connsiteY2" fmla="*/ 779646 h 1751798"/>
              <a:gd name="connsiteX3" fmla="*/ 1713297 w 2685449"/>
              <a:gd name="connsiteY3" fmla="*/ 779646 h 1751798"/>
              <a:gd name="connsiteX4" fmla="*/ 2685449 w 2685449"/>
              <a:gd name="connsiteY4" fmla="*/ 1751798 h 1751798"/>
              <a:gd name="connsiteX0" fmla="*/ 0 w 2685449"/>
              <a:gd name="connsiteY0" fmla="*/ 0 h 1386038"/>
              <a:gd name="connsiteX1" fmla="*/ 413886 w 2685449"/>
              <a:gd name="connsiteY1" fmla="*/ 413886 h 1386038"/>
              <a:gd name="connsiteX2" fmla="*/ 1713297 w 2685449"/>
              <a:gd name="connsiteY2" fmla="*/ 413886 h 1386038"/>
              <a:gd name="connsiteX3" fmla="*/ 2685449 w 2685449"/>
              <a:gd name="connsiteY3" fmla="*/ 1386038 h 1386038"/>
              <a:gd name="connsiteX0" fmla="*/ 0 w 2578769"/>
              <a:gd name="connsiteY0" fmla="*/ 0 h 1294598"/>
              <a:gd name="connsiteX1" fmla="*/ 307206 w 2578769"/>
              <a:gd name="connsiteY1" fmla="*/ 322446 h 1294598"/>
              <a:gd name="connsiteX2" fmla="*/ 1606617 w 2578769"/>
              <a:gd name="connsiteY2" fmla="*/ 322446 h 1294598"/>
              <a:gd name="connsiteX3" fmla="*/ 2578769 w 2578769"/>
              <a:gd name="connsiteY3" fmla="*/ 1294598 h 1294598"/>
            </a:gdLst>
            <a:ahLst/>
            <a:cxnLst>
              <a:cxn ang="0">
                <a:pos x="connsiteX0" y="connsiteY0"/>
              </a:cxn>
              <a:cxn ang="0">
                <a:pos x="connsiteX1" y="connsiteY1"/>
              </a:cxn>
              <a:cxn ang="0">
                <a:pos x="connsiteX2" y="connsiteY2"/>
              </a:cxn>
              <a:cxn ang="0">
                <a:pos x="connsiteX3" y="connsiteY3"/>
              </a:cxn>
            </a:cxnLst>
            <a:rect l="l" t="t" r="r" b="b"/>
            <a:pathLst>
              <a:path w="2578769" h="1294598">
                <a:moveTo>
                  <a:pt x="0" y="0"/>
                </a:moveTo>
                <a:lnTo>
                  <a:pt x="307206" y="322446"/>
                </a:lnTo>
                <a:lnTo>
                  <a:pt x="1606617" y="322446"/>
                </a:lnTo>
                <a:lnTo>
                  <a:pt x="2578769" y="1294598"/>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77" name="Freeform 776"/>
          <p:cNvSpPr/>
          <p:nvPr/>
        </p:nvSpPr>
        <p:spPr>
          <a:xfrm>
            <a:off x="2408720" y="127000"/>
            <a:ext cx="3231668" cy="1386840"/>
          </a:xfrm>
          <a:custGeom>
            <a:avLst/>
            <a:gdLst>
              <a:gd name="connsiteX0" fmla="*/ 0 w 3596640"/>
              <a:gd name="connsiteY0" fmla="*/ 228600 h 1386840"/>
              <a:gd name="connsiteX1" fmla="*/ 0 w 3596640"/>
              <a:gd name="connsiteY1" fmla="*/ 0 h 1386840"/>
              <a:gd name="connsiteX2" fmla="*/ 2369820 w 3596640"/>
              <a:gd name="connsiteY2" fmla="*/ 0 h 1386840"/>
              <a:gd name="connsiteX3" fmla="*/ 2674620 w 3596640"/>
              <a:gd name="connsiteY3" fmla="*/ 304800 h 1386840"/>
              <a:gd name="connsiteX4" fmla="*/ 2674620 w 3596640"/>
              <a:gd name="connsiteY4" fmla="*/ 1295400 h 1386840"/>
              <a:gd name="connsiteX5" fmla="*/ 2766060 w 3596640"/>
              <a:gd name="connsiteY5" fmla="*/ 1386840 h 1386840"/>
              <a:gd name="connsiteX6" fmla="*/ 3596640 w 3596640"/>
              <a:gd name="connsiteY6" fmla="*/ 1386840 h 1386840"/>
              <a:gd name="connsiteX0" fmla="*/ 0 w 3596640"/>
              <a:gd name="connsiteY0" fmla="*/ 0 h 1386840"/>
              <a:gd name="connsiteX1" fmla="*/ 2369820 w 3596640"/>
              <a:gd name="connsiteY1" fmla="*/ 0 h 1386840"/>
              <a:gd name="connsiteX2" fmla="*/ 2674620 w 3596640"/>
              <a:gd name="connsiteY2" fmla="*/ 304800 h 1386840"/>
              <a:gd name="connsiteX3" fmla="*/ 2674620 w 3596640"/>
              <a:gd name="connsiteY3" fmla="*/ 1295400 h 1386840"/>
              <a:gd name="connsiteX4" fmla="*/ 2766060 w 3596640"/>
              <a:gd name="connsiteY4" fmla="*/ 1386840 h 1386840"/>
              <a:gd name="connsiteX5" fmla="*/ 3596640 w 3596640"/>
              <a:gd name="connsiteY5" fmla="*/ 1386840 h 138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6640" h="1386840">
                <a:moveTo>
                  <a:pt x="0" y="0"/>
                </a:moveTo>
                <a:lnTo>
                  <a:pt x="2369820" y="0"/>
                </a:lnTo>
                <a:lnTo>
                  <a:pt x="2674620" y="304800"/>
                </a:lnTo>
                <a:lnTo>
                  <a:pt x="2674620" y="1295400"/>
                </a:lnTo>
                <a:lnTo>
                  <a:pt x="2766060" y="1386840"/>
                </a:lnTo>
                <a:lnTo>
                  <a:pt x="3596640" y="13868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80" name="Freeform 779"/>
          <p:cNvSpPr/>
          <p:nvPr/>
        </p:nvSpPr>
        <p:spPr>
          <a:xfrm>
            <a:off x="2425406" y="2179638"/>
            <a:ext cx="2510132" cy="342900"/>
          </a:xfrm>
          <a:custGeom>
            <a:avLst/>
            <a:gdLst>
              <a:gd name="connsiteX0" fmla="*/ 0 w 2686050"/>
              <a:gd name="connsiteY0" fmla="*/ 0 h 342900"/>
              <a:gd name="connsiteX1" fmla="*/ 1985963 w 2686050"/>
              <a:gd name="connsiteY1" fmla="*/ 0 h 342900"/>
              <a:gd name="connsiteX2" fmla="*/ 2114550 w 2686050"/>
              <a:gd name="connsiteY2" fmla="*/ 128587 h 342900"/>
              <a:gd name="connsiteX3" fmla="*/ 2309813 w 2686050"/>
              <a:gd name="connsiteY3" fmla="*/ 128587 h 342900"/>
              <a:gd name="connsiteX4" fmla="*/ 2419350 w 2686050"/>
              <a:gd name="connsiteY4" fmla="*/ 238124 h 342900"/>
              <a:gd name="connsiteX5" fmla="*/ 2686050 w 2686050"/>
              <a:gd name="connsiteY5" fmla="*/ 238124 h 342900"/>
              <a:gd name="connsiteX6" fmla="*/ 2686050 w 2686050"/>
              <a:gd name="connsiteY6"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6050" h="342900">
                <a:moveTo>
                  <a:pt x="0" y="0"/>
                </a:moveTo>
                <a:lnTo>
                  <a:pt x="1985963" y="0"/>
                </a:lnTo>
                <a:lnTo>
                  <a:pt x="2114550" y="128587"/>
                </a:lnTo>
                <a:lnTo>
                  <a:pt x="2309813" y="128587"/>
                </a:lnTo>
                <a:lnTo>
                  <a:pt x="2419350" y="238124"/>
                </a:lnTo>
                <a:lnTo>
                  <a:pt x="2686050" y="238124"/>
                </a:lnTo>
                <a:lnTo>
                  <a:pt x="2686050" y="342900"/>
                </a:lnTo>
              </a:path>
            </a:pathLst>
          </a:custGeom>
          <a:noFill/>
          <a:ln w="19050">
            <a:solidFill>
              <a:schemeClr val="accent4">
                <a:alpha val="20000"/>
              </a:schemeClr>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84" name="Freeform 783"/>
          <p:cNvSpPr/>
          <p:nvPr/>
        </p:nvSpPr>
        <p:spPr>
          <a:xfrm>
            <a:off x="6421639" y="2669273"/>
            <a:ext cx="2916454" cy="4215864"/>
          </a:xfrm>
          <a:custGeom>
            <a:avLst/>
            <a:gdLst>
              <a:gd name="connsiteX0" fmla="*/ 2916454 w 2916454"/>
              <a:gd name="connsiteY0" fmla="*/ 0 h 4215864"/>
              <a:gd name="connsiteX1" fmla="*/ 2916454 w 2916454"/>
              <a:gd name="connsiteY1" fmla="*/ 298383 h 4215864"/>
              <a:gd name="connsiteX2" fmla="*/ 2550694 w 2916454"/>
              <a:gd name="connsiteY2" fmla="*/ 664143 h 4215864"/>
              <a:gd name="connsiteX3" fmla="*/ 2550694 w 2916454"/>
              <a:gd name="connsiteY3" fmla="*/ 1973179 h 4215864"/>
              <a:gd name="connsiteX4" fmla="*/ 2358189 w 2916454"/>
              <a:gd name="connsiteY4" fmla="*/ 2165684 h 4215864"/>
              <a:gd name="connsiteX5" fmla="*/ 2358189 w 2916454"/>
              <a:gd name="connsiteY5" fmla="*/ 2319688 h 4215864"/>
              <a:gd name="connsiteX6" fmla="*/ 2127183 w 2916454"/>
              <a:gd name="connsiteY6" fmla="*/ 2550694 h 4215864"/>
              <a:gd name="connsiteX7" fmla="*/ 1665170 w 2916454"/>
              <a:gd name="connsiteY7" fmla="*/ 2550694 h 4215864"/>
              <a:gd name="connsiteX8" fmla="*/ 0 w 2916454"/>
              <a:gd name="connsiteY8" fmla="*/ 4215864 h 42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454" h="4215864">
                <a:moveTo>
                  <a:pt x="2916454" y="0"/>
                </a:moveTo>
                <a:lnTo>
                  <a:pt x="2916454" y="298383"/>
                </a:lnTo>
                <a:lnTo>
                  <a:pt x="2550694" y="664143"/>
                </a:lnTo>
                <a:lnTo>
                  <a:pt x="2550694" y="1973179"/>
                </a:lnTo>
                <a:lnTo>
                  <a:pt x="2358189" y="2165684"/>
                </a:lnTo>
                <a:lnTo>
                  <a:pt x="2358189" y="2319688"/>
                </a:lnTo>
                <a:lnTo>
                  <a:pt x="2127183" y="2550694"/>
                </a:lnTo>
                <a:lnTo>
                  <a:pt x="1665170" y="2550694"/>
                </a:lnTo>
                <a:lnTo>
                  <a:pt x="0" y="4215864"/>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85" name="Freeform 784"/>
          <p:cNvSpPr/>
          <p:nvPr/>
        </p:nvSpPr>
        <p:spPr>
          <a:xfrm>
            <a:off x="8750952" y="2650023"/>
            <a:ext cx="134754" cy="2021305"/>
          </a:xfrm>
          <a:custGeom>
            <a:avLst/>
            <a:gdLst>
              <a:gd name="connsiteX0" fmla="*/ 134754 w 134754"/>
              <a:gd name="connsiteY0" fmla="*/ 0 h 2021305"/>
              <a:gd name="connsiteX1" fmla="*/ 134754 w 134754"/>
              <a:gd name="connsiteY1" fmla="*/ 567891 h 2021305"/>
              <a:gd name="connsiteX2" fmla="*/ 0 w 134754"/>
              <a:gd name="connsiteY2" fmla="*/ 702645 h 2021305"/>
              <a:gd name="connsiteX3" fmla="*/ 0 w 134754"/>
              <a:gd name="connsiteY3" fmla="*/ 2021305 h 2021305"/>
            </a:gdLst>
            <a:ahLst/>
            <a:cxnLst>
              <a:cxn ang="0">
                <a:pos x="connsiteX0" y="connsiteY0"/>
              </a:cxn>
              <a:cxn ang="0">
                <a:pos x="connsiteX1" y="connsiteY1"/>
              </a:cxn>
              <a:cxn ang="0">
                <a:pos x="connsiteX2" y="connsiteY2"/>
              </a:cxn>
              <a:cxn ang="0">
                <a:pos x="connsiteX3" y="connsiteY3"/>
              </a:cxn>
            </a:cxnLst>
            <a:rect l="l" t="t" r="r" b="b"/>
            <a:pathLst>
              <a:path w="134754" h="2021305">
                <a:moveTo>
                  <a:pt x="134754" y="0"/>
                </a:moveTo>
                <a:lnTo>
                  <a:pt x="134754" y="567891"/>
                </a:lnTo>
                <a:lnTo>
                  <a:pt x="0" y="702645"/>
                </a:lnTo>
                <a:lnTo>
                  <a:pt x="0" y="2021305"/>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2" name="Freeform 801"/>
          <p:cNvSpPr/>
          <p:nvPr/>
        </p:nvSpPr>
        <p:spPr>
          <a:xfrm>
            <a:off x="2263776" y="1274763"/>
            <a:ext cx="723900" cy="176212"/>
          </a:xfrm>
          <a:custGeom>
            <a:avLst/>
            <a:gdLst>
              <a:gd name="connsiteX0" fmla="*/ 0 w 723900"/>
              <a:gd name="connsiteY0" fmla="*/ 176212 h 176212"/>
              <a:gd name="connsiteX1" fmla="*/ 723900 w 723900"/>
              <a:gd name="connsiteY1" fmla="*/ 176212 h 176212"/>
              <a:gd name="connsiteX2" fmla="*/ 723900 w 723900"/>
              <a:gd name="connsiteY2" fmla="*/ 0 h 176212"/>
            </a:gdLst>
            <a:ahLst/>
            <a:cxnLst>
              <a:cxn ang="0">
                <a:pos x="connsiteX0" y="connsiteY0"/>
              </a:cxn>
              <a:cxn ang="0">
                <a:pos x="connsiteX1" y="connsiteY1"/>
              </a:cxn>
              <a:cxn ang="0">
                <a:pos x="connsiteX2" y="connsiteY2"/>
              </a:cxn>
            </a:cxnLst>
            <a:rect l="l" t="t" r="r" b="b"/>
            <a:pathLst>
              <a:path w="723900" h="176212">
                <a:moveTo>
                  <a:pt x="0" y="176212"/>
                </a:moveTo>
                <a:lnTo>
                  <a:pt x="723900" y="176212"/>
                </a:lnTo>
                <a:lnTo>
                  <a:pt x="723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3" name="Freeform 802"/>
          <p:cNvSpPr/>
          <p:nvPr/>
        </p:nvSpPr>
        <p:spPr>
          <a:xfrm>
            <a:off x="2296395" y="1284288"/>
            <a:ext cx="938213" cy="214312"/>
          </a:xfrm>
          <a:custGeom>
            <a:avLst/>
            <a:gdLst>
              <a:gd name="connsiteX0" fmla="*/ 0 w 938213"/>
              <a:gd name="connsiteY0" fmla="*/ 214312 h 214312"/>
              <a:gd name="connsiteX1" fmla="*/ 938213 w 938213"/>
              <a:gd name="connsiteY1" fmla="*/ 214312 h 214312"/>
              <a:gd name="connsiteX2" fmla="*/ 938213 w 938213"/>
              <a:gd name="connsiteY2" fmla="*/ 0 h 214312"/>
            </a:gdLst>
            <a:ahLst/>
            <a:cxnLst>
              <a:cxn ang="0">
                <a:pos x="connsiteX0" y="connsiteY0"/>
              </a:cxn>
              <a:cxn ang="0">
                <a:pos x="connsiteX1" y="connsiteY1"/>
              </a:cxn>
              <a:cxn ang="0">
                <a:pos x="connsiteX2" y="connsiteY2"/>
              </a:cxn>
            </a:cxnLst>
            <a:rect l="l" t="t" r="r" b="b"/>
            <a:pathLst>
              <a:path w="938213" h="214312">
                <a:moveTo>
                  <a:pt x="0" y="214312"/>
                </a:moveTo>
                <a:lnTo>
                  <a:pt x="938213" y="214312"/>
                </a:lnTo>
                <a:lnTo>
                  <a:pt x="938213"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4" name="Freeform 803"/>
          <p:cNvSpPr/>
          <p:nvPr/>
        </p:nvSpPr>
        <p:spPr>
          <a:xfrm>
            <a:off x="3402014" y="1112838"/>
            <a:ext cx="671513" cy="366712"/>
          </a:xfrm>
          <a:custGeom>
            <a:avLst/>
            <a:gdLst>
              <a:gd name="connsiteX0" fmla="*/ 671513 w 671513"/>
              <a:gd name="connsiteY0" fmla="*/ 0 h 366712"/>
              <a:gd name="connsiteX1" fmla="*/ 481013 w 671513"/>
              <a:gd name="connsiteY1" fmla="*/ 190500 h 366712"/>
              <a:gd name="connsiteX2" fmla="*/ 481013 w 671513"/>
              <a:gd name="connsiteY2" fmla="*/ 319087 h 366712"/>
              <a:gd name="connsiteX3" fmla="*/ 433388 w 671513"/>
              <a:gd name="connsiteY3" fmla="*/ 366712 h 366712"/>
              <a:gd name="connsiteX4" fmla="*/ 0 w 671513"/>
              <a:gd name="connsiteY4" fmla="*/ 366712 h 366712"/>
              <a:gd name="connsiteX5" fmla="*/ 0 w 671513"/>
              <a:gd name="connsiteY5" fmla="*/ 171450 h 36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513" h="366712">
                <a:moveTo>
                  <a:pt x="671513" y="0"/>
                </a:moveTo>
                <a:lnTo>
                  <a:pt x="481013" y="190500"/>
                </a:lnTo>
                <a:lnTo>
                  <a:pt x="481013" y="319087"/>
                </a:lnTo>
                <a:lnTo>
                  <a:pt x="433388" y="366712"/>
                </a:lnTo>
                <a:lnTo>
                  <a:pt x="0" y="366712"/>
                </a:lnTo>
                <a:lnTo>
                  <a:pt x="0" y="17145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5" name="Freeform 804"/>
          <p:cNvSpPr/>
          <p:nvPr/>
        </p:nvSpPr>
        <p:spPr>
          <a:xfrm>
            <a:off x="8240814" y="2226511"/>
            <a:ext cx="433137" cy="1097280"/>
          </a:xfrm>
          <a:custGeom>
            <a:avLst/>
            <a:gdLst>
              <a:gd name="connsiteX0" fmla="*/ 221381 w 433137"/>
              <a:gd name="connsiteY0" fmla="*/ 0 h 1097280"/>
              <a:gd name="connsiteX1" fmla="*/ 86628 w 433137"/>
              <a:gd name="connsiteY1" fmla="*/ 0 h 1097280"/>
              <a:gd name="connsiteX2" fmla="*/ 86628 w 433137"/>
              <a:gd name="connsiteY2" fmla="*/ 182880 h 1097280"/>
              <a:gd name="connsiteX3" fmla="*/ 433137 w 433137"/>
              <a:gd name="connsiteY3" fmla="*/ 529389 h 1097280"/>
              <a:gd name="connsiteX4" fmla="*/ 433137 w 433137"/>
              <a:gd name="connsiteY4" fmla="*/ 1097280 h 1097280"/>
              <a:gd name="connsiteX5" fmla="*/ 0 w 433137"/>
              <a:gd name="connsiteY5" fmla="*/ 109728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37" h="1097280">
                <a:moveTo>
                  <a:pt x="221381" y="0"/>
                </a:moveTo>
                <a:lnTo>
                  <a:pt x="86628" y="0"/>
                </a:lnTo>
                <a:lnTo>
                  <a:pt x="86628" y="182880"/>
                </a:lnTo>
                <a:lnTo>
                  <a:pt x="433137" y="529389"/>
                </a:lnTo>
                <a:lnTo>
                  <a:pt x="433137" y="1097280"/>
                </a:lnTo>
                <a:lnTo>
                  <a:pt x="0" y="109728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6" name="Freeform 805"/>
          <p:cNvSpPr/>
          <p:nvPr/>
        </p:nvSpPr>
        <p:spPr>
          <a:xfrm>
            <a:off x="8221563" y="3651049"/>
            <a:ext cx="385010" cy="1078030"/>
          </a:xfrm>
          <a:custGeom>
            <a:avLst/>
            <a:gdLst>
              <a:gd name="connsiteX0" fmla="*/ 0 w 385010"/>
              <a:gd name="connsiteY0" fmla="*/ 0 h 1078030"/>
              <a:gd name="connsiteX1" fmla="*/ 385010 w 385010"/>
              <a:gd name="connsiteY1" fmla="*/ 0 h 1078030"/>
              <a:gd name="connsiteX2" fmla="*/ 385010 w 385010"/>
              <a:gd name="connsiteY2" fmla="*/ 1078030 h 1078030"/>
            </a:gdLst>
            <a:ahLst/>
            <a:cxnLst>
              <a:cxn ang="0">
                <a:pos x="connsiteX0" y="connsiteY0"/>
              </a:cxn>
              <a:cxn ang="0">
                <a:pos x="connsiteX1" y="connsiteY1"/>
              </a:cxn>
              <a:cxn ang="0">
                <a:pos x="connsiteX2" y="connsiteY2"/>
              </a:cxn>
            </a:cxnLst>
            <a:rect l="l" t="t" r="r" b="b"/>
            <a:pathLst>
              <a:path w="385010" h="1078030">
                <a:moveTo>
                  <a:pt x="0" y="0"/>
                </a:moveTo>
                <a:lnTo>
                  <a:pt x="385010" y="0"/>
                </a:lnTo>
                <a:lnTo>
                  <a:pt x="385010" y="107803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7" name="Freeform 806"/>
          <p:cNvSpPr/>
          <p:nvPr/>
        </p:nvSpPr>
        <p:spPr>
          <a:xfrm>
            <a:off x="8240814" y="3959059"/>
            <a:ext cx="231007" cy="0"/>
          </a:xfrm>
          <a:custGeom>
            <a:avLst/>
            <a:gdLst>
              <a:gd name="connsiteX0" fmla="*/ 0 w 231007"/>
              <a:gd name="connsiteY0" fmla="*/ 0 h 0"/>
              <a:gd name="connsiteX1" fmla="*/ 231007 w 231007"/>
              <a:gd name="connsiteY1" fmla="*/ 0 h 0"/>
            </a:gdLst>
            <a:ahLst/>
            <a:cxnLst>
              <a:cxn ang="0">
                <a:pos x="connsiteX0" y="connsiteY0"/>
              </a:cxn>
              <a:cxn ang="0">
                <a:pos x="connsiteX1" y="connsiteY1"/>
              </a:cxn>
            </a:cxnLst>
            <a:rect l="l" t="t" r="r" b="b"/>
            <a:pathLst>
              <a:path w="231007">
                <a:moveTo>
                  <a:pt x="0" y="0"/>
                </a:moveTo>
                <a:lnTo>
                  <a:pt x="231007"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8" name="Freeform 807"/>
          <p:cNvSpPr/>
          <p:nvPr/>
        </p:nvSpPr>
        <p:spPr>
          <a:xfrm>
            <a:off x="611188" y="3644900"/>
            <a:ext cx="6426200" cy="3238500"/>
          </a:xfrm>
          <a:custGeom>
            <a:avLst/>
            <a:gdLst>
              <a:gd name="connsiteX0" fmla="*/ 0 w 6451600"/>
              <a:gd name="connsiteY0" fmla="*/ 3175000 h 3175000"/>
              <a:gd name="connsiteX1" fmla="*/ 419100 w 6451600"/>
              <a:gd name="connsiteY1" fmla="*/ 2755900 h 3175000"/>
              <a:gd name="connsiteX2" fmla="*/ 5778500 w 6451600"/>
              <a:gd name="connsiteY2" fmla="*/ 2755900 h 3175000"/>
              <a:gd name="connsiteX3" fmla="*/ 6070600 w 6451600"/>
              <a:gd name="connsiteY3" fmla="*/ 2463800 h 3175000"/>
              <a:gd name="connsiteX4" fmla="*/ 6070600 w 6451600"/>
              <a:gd name="connsiteY4" fmla="*/ 190500 h 3175000"/>
              <a:gd name="connsiteX5" fmla="*/ 6261100 w 6451600"/>
              <a:gd name="connsiteY5" fmla="*/ 0 h 3175000"/>
              <a:gd name="connsiteX6" fmla="*/ 6451600 w 6451600"/>
              <a:gd name="connsiteY6" fmla="*/ 0 h 317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1600" h="3175000">
                <a:moveTo>
                  <a:pt x="0" y="3175000"/>
                </a:moveTo>
                <a:lnTo>
                  <a:pt x="419100" y="2755900"/>
                </a:lnTo>
                <a:lnTo>
                  <a:pt x="5778500" y="2755900"/>
                </a:lnTo>
                <a:lnTo>
                  <a:pt x="6070600" y="2463800"/>
                </a:lnTo>
                <a:lnTo>
                  <a:pt x="6070600" y="190500"/>
                </a:lnTo>
                <a:lnTo>
                  <a:pt x="6261100" y="0"/>
                </a:lnTo>
                <a:lnTo>
                  <a:pt x="64516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09" name="Freeform 808"/>
          <p:cNvSpPr/>
          <p:nvPr/>
        </p:nvSpPr>
        <p:spPr>
          <a:xfrm>
            <a:off x="763588" y="3975100"/>
            <a:ext cx="6261100" cy="2895600"/>
          </a:xfrm>
          <a:custGeom>
            <a:avLst/>
            <a:gdLst>
              <a:gd name="connsiteX0" fmla="*/ 0 w 6311900"/>
              <a:gd name="connsiteY0" fmla="*/ 2857500 h 2857500"/>
              <a:gd name="connsiteX1" fmla="*/ 317500 w 6311900"/>
              <a:gd name="connsiteY1" fmla="*/ 2540000 h 2857500"/>
              <a:gd name="connsiteX2" fmla="*/ 5638800 w 6311900"/>
              <a:gd name="connsiteY2" fmla="*/ 2540000 h 2857500"/>
              <a:gd name="connsiteX3" fmla="*/ 5994400 w 6311900"/>
              <a:gd name="connsiteY3" fmla="*/ 2184400 h 2857500"/>
              <a:gd name="connsiteX4" fmla="*/ 5994400 w 6311900"/>
              <a:gd name="connsiteY4" fmla="*/ 0 h 2857500"/>
              <a:gd name="connsiteX5" fmla="*/ 6311900 w 6311900"/>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1900" h="2857500">
                <a:moveTo>
                  <a:pt x="0" y="2857500"/>
                </a:moveTo>
                <a:lnTo>
                  <a:pt x="317500" y="2540000"/>
                </a:lnTo>
                <a:lnTo>
                  <a:pt x="5638800" y="2540000"/>
                </a:lnTo>
                <a:lnTo>
                  <a:pt x="5994400" y="2184400"/>
                </a:lnTo>
                <a:lnTo>
                  <a:pt x="5994400" y="0"/>
                </a:lnTo>
                <a:lnTo>
                  <a:pt x="63119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1" name="Freeform 810"/>
          <p:cNvSpPr/>
          <p:nvPr/>
        </p:nvSpPr>
        <p:spPr>
          <a:xfrm>
            <a:off x="1068388" y="4318000"/>
            <a:ext cx="6896100" cy="2540000"/>
          </a:xfrm>
          <a:custGeom>
            <a:avLst/>
            <a:gdLst>
              <a:gd name="connsiteX0" fmla="*/ 0 w 6921500"/>
              <a:gd name="connsiteY0" fmla="*/ 2540000 h 2540000"/>
              <a:gd name="connsiteX1" fmla="*/ 139700 w 6921500"/>
              <a:gd name="connsiteY1" fmla="*/ 2400300 h 2540000"/>
              <a:gd name="connsiteX2" fmla="*/ 5295900 w 6921500"/>
              <a:gd name="connsiteY2" fmla="*/ 2400300 h 2540000"/>
              <a:gd name="connsiteX3" fmla="*/ 6921500 w 6921500"/>
              <a:gd name="connsiteY3" fmla="*/ 774700 h 2540000"/>
              <a:gd name="connsiteX4" fmla="*/ 6921500 w 6921500"/>
              <a:gd name="connsiteY4" fmla="*/ 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1500" h="2540000">
                <a:moveTo>
                  <a:pt x="0" y="2540000"/>
                </a:moveTo>
                <a:lnTo>
                  <a:pt x="139700" y="2400300"/>
                </a:lnTo>
                <a:lnTo>
                  <a:pt x="5295900" y="2400300"/>
                </a:lnTo>
                <a:lnTo>
                  <a:pt x="6921500" y="774700"/>
                </a:lnTo>
                <a:lnTo>
                  <a:pt x="69215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2" name="Freeform 811"/>
          <p:cNvSpPr/>
          <p:nvPr/>
        </p:nvSpPr>
        <p:spPr>
          <a:xfrm>
            <a:off x="6923088" y="4241800"/>
            <a:ext cx="723900" cy="1651000"/>
          </a:xfrm>
          <a:custGeom>
            <a:avLst/>
            <a:gdLst>
              <a:gd name="connsiteX0" fmla="*/ 723900 w 723900"/>
              <a:gd name="connsiteY0" fmla="*/ 0 h 1651000"/>
              <a:gd name="connsiteX1" fmla="*/ 723900 w 723900"/>
              <a:gd name="connsiteY1" fmla="*/ 927100 h 1651000"/>
              <a:gd name="connsiteX2" fmla="*/ 0 w 723900"/>
              <a:gd name="connsiteY2" fmla="*/ 1651000 h 1651000"/>
            </a:gdLst>
            <a:ahLst/>
            <a:cxnLst>
              <a:cxn ang="0">
                <a:pos x="connsiteX0" y="connsiteY0"/>
              </a:cxn>
              <a:cxn ang="0">
                <a:pos x="connsiteX1" y="connsiteY1"/>
              </a:cxn>
              <a:cxn ang="0">
                <a:pos x="connsiteX2" y="connsiteY2"/>
              </a:cxn>
            </a:cxnLst>
            <a:rect l="l" t="t" r="r" b="b"/>
            <a:pathLst>
              <a:path w="723900" h="1651000">
                <a:moveTo>
                  <a:pt x="723900" y="0"/>
                </a:moveTo>
                <a:lnTo>
                  <a:pt x="723900" y="927100"/>
                </a:lnTo>
                <a:lnTo>
                  <a:pt x="0" y="16510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3" name="Freeform 812"/>
          <p:cNvSpPr/>
          <p:nvPr/>
        </p:nvSpPr>
        <p:spPr>
          <a:xfrm>
            <a:off x="7024688" y="4241800"/>
            <a:ext cx="330200" cy="1181100"/>
          </a:xfrm>
          <a:custGeom>
            <a:avLst/>
            <a:gdLst>
              <a:gd name="connsiteX0" fmla="*/ 330200 w 330200"/>
              <a:gd name="connsiteY0" fmla="*/ 0 h 1181100"/>
              <a:gd name="connsiteX1" fmla="*/ 330200 w 330200"/>
              <a:gd name="connsiteY1" fmla="*/ 292100 h 1181100"/>
              <a:gd name="connsiteX2" fmla="*/ 0 w 330200"/>
              <a:gd name="connsiteY2" fmla="*/ 622300 h 1181100"/>
              <a:gd name="connsiteX3" fmla="*/ 0 w 330200"/>
              <a:gd name="connsiteY3" fmla="*/ 1181100 h 1181100"/>
            </a:gdLst>
            <a:ahLst/>
            <a:cxnLst>
              <a:cxn ang="0">
                <a:pos x="connsiteX0" y="connsiteY0"/>
              </a:cxn>
              <a:cxn ang="0">
                <a:pos x="connsiteX1" y="connsiteY1"/>
              </a:cxn>
              <a:cxn ang="0">
                <a:pos x="connsiteX2" y="connsiteY2"/>
              </a:cxn>
              <a:cxn ang="0">
                <a:pos x="connsiteX3" y="connsiteY3"/>
              </a:cxn>
            </a:cxnLst>
            <a:rect l="l" t="t" r="r" b="b"/>
            <a:pathLst>
              <a:path w="330200" h="1181100">
                <a:moveTo>
                  <a:pt x="330200" y="0"/>
                </a:moveTo>
                <a:lnTo>
                  <a:pt x="330200" y="292100"/>
                </a:lnTo>
                <a:lnTo>
                  <a:pt x="0" y="622300"/>
                </a:lnTo>
                <a:lnTo>
                  <a:pt x="0" y="1181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4" name="Freeform 813"/>
          <p:cNvSpPr/>
          <p:nvPr/>
        </p:nvSpPr>
        <p:spPr>
          <a:xfrm>
            <a:off x="6797024" y="2274638"/>
            <a:ext cx="856648" cy="798897"/>
          </a:xfrm>
          <a:custGeom>
            <a:avLst/>
            <a:gdLst>
              <a:gd name="connsiteX0" fmla="*/ 0 w 856648"/>
              <a:gd name="connsiteY0" fmla="*/ 0 h 798897"/>
              <a:gd name="connsiteX1" fmla="*/ 606391 w 856648"/>
              <a:gd name="connsiteY1" fmla="*/ 0 h 798897"/>
              <a:gd name="connsiteX2" fmla="*/ 856648 w 856648"/>
              <a:gd name="connsiteY2" fmla="*/ 250257 h 798897"/>
              <a:gd name="connsiteX3" fmla="*/ 856648 w 856648"/>
              <a:gd name="connsiteY3" fmla="*/ 798897 h 798897"/>
            </a:gdLst>
            <a:ahLst/>
            <a:cxnLst>
              <a:cxn ang="0">
                <a:pos x="connsiteX0" y="connsiteY0"/>
              </a:cxn>
              <a:cxn ang="0">
                <a:pos x="connsiteX1" y="connsiteY1"/>
              </a:cxn>
              <a:cxn ang="0">
                <a:pos x="connsiteX2" y="connsiteY2"/>
              </a:cxn>
              <a:cxn ang="0">
                <a:pos x="connsiteX3" y="connsiteY3"/>
              </a:cxn>
            </a:cxnLst>
            <a:rect l="l" t="t" r="r" b="b"/>
            <a:pathLst>
              <a:path w="856648" h="798897">
                <a:moveTo>
                  <a:pt x="0" y="0"/>
                </a:moveTo>
                <a:lnTo>
                  <a:pt x="606391" y="0"/>
                </a:lnTo>
                <a:lnTo>
                  <a:pt x="856648" y="250257"/>
                </a:lnTo>
                <a:lnTo>
                  <a:pt x="856648" y="798897"/>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5" name="Freeform 814"/>
          <p:cNvSpPr/>
          <p:nvPr/>
        </p:nvSpPr>
        <p:spPr>
          <a:xfrm>
            <a:off x="6797025" y="2120633"/>
            <a:ext cx="1135781" cy="914400"/>
          </a:xfrm>
          <a:custGeom>
            <a:avLst/>
            <a:gdLst>
              <a:gd name="connsiteX0" fmla="*/ 0 w 1126155"/>
              <a:gd name="connsiteY0" fmla="*/ 0 h 914400"/>
              <a:gd name="connsiteX1" fmla="*/ 664143 w 1126155"/>
              <a:gd name="connsiteY1" fmla="*/ 0 h 914400"/>
              <a:gd name="connsiteX2" fmla="*/ 1126155 w 1126155"/>
              <a:gd name="connsiteY2" fmla="*/ 462012 h 914400"/>
              <a:gd name="connsiteX3" fmla="*/ 1126155 w 1126155"/>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1126155" h="914400">
                <a:moveTo>
                  <a:pt x="0" y="0"/>
                </a:moveTo>
                <a:lnTo>
                  <a:pt x="664143" y="0"/>
                </a:lnTo>
                <a:lnTo>
                  <a:pt x="1126155" y="462012"/>
                </a:lnTo>
                <a:lnTo>
                  <a:pt x="1126155" y="9144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6" name="Freeform 815"/>
          <p:cNvSpPr/>
          <p:nvPr/>
        </p:nvSpPr>
        <p:spPr>
          <a:xfrm>
            <a:off x="6787399" y="1976254"/>
            <a:ext cx="510138" cy="0"/>
          </a:xfrm>
          <a:custGeom>
            <a:avLst/>
            <a:gdLst>
              <a:gd name="connsiteX0" fmla="*/ 0 w 510138"/>
              <a:gd name="connsiteY0" fmla="*/ 0 h 0"/>
              <a:gd name="connsiteX1" fmla="*/ 510138 w 510138"/>
              <a:gd name="connsiteY1" fmla="*/ 0 h 0"/>
            </a:gdLst>
            <a:ahLst/>
            <a:cxnLst>
              <a:cxn ang="0">
                <a:pos x="connsiteX0" y="connsiteY0"/>
              </a:cxn>
              <a:cxn ang="0">
                <a:pos x="connsiteX1" y="connsiteY1"/>
              </a:cxn>
            </a:cxnLst>
            <a:rect l="l" t="t" r="r" b="b"/>
            <a:pathLst>
              <a:path w="510138">
                <a:moveTo>
                  <a:pt x="0" y="0"/>
                </a:moveTo>
                <a:lnTo>
                  <a:pt x="510138"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818" name="Freeform 817"/>
          <p:cNvSpPr/>
          <p:nvPr/>
        </p:nvSpPr>
        <p:spPr>
          <a:xfrm>
            <a:off x="9336088" y="523240"/>
            <a:ext cx="1059180" cy="419100"/>
          </a:xfrm>
          <a:custGeom>
            <a:avLst/>
            <a:gdLst>
              <a:gd name="connsiteX0" fmla="*/ 1005840 w 1005840"/>
              <a:gd name="connsiteY0" fmla="*/ 0 h 419100"/>
              <a:gd name="connsiteX1" fmla="*/ 312420 w 1005840"/>
              <a:gd name="connsiteY1" fmla="*/ 0 h 419100"/>
              <a:gd name="connsiteX2" fmla="*/ 190500 w 1005840"/>
              <a:gd name="connsiteY2" fmla="*/ 121920 h 419100"/>
              <a:gd name="connsiteX3" fmla="*/ 0 w 1005840"/>
              <a:gd name="connsiteY3" fmla="*/ 121920 h 419100"/>
              <a:gd name="connsiteX4" fmla="*/ 0 w 1005840"/>
              <a:gd name="connsiteY4" fmla="*/ 4191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 h="419100">
                <a:moveTo>
                  <a:pt x="1005840" y="0"/>
                </a:moveTo>
                <a:lnTo>
                  <a:pt x="312420" y="0"/>
                </a:lnTo>
                <a:lnTo>
                  <a:pt x="190500" y="121920"/>
                </a:lnTo>
                <a:lnTo>
                  <a:pt x="0" y="121920"/>
                </a:lnTo>
                <a:lnTo>
                  <a:pt x="0" y="41910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endParaRPr>
          </a:p>
        </p:txBody>
      </p:sp>
      <p:sp>
        <p:nvSpPr>
          <p:cNvPr id="819" name="Freeform 818"/>
          <p:cNvSpPr/>
          <p:nvPr/>
        </p:nvSpPr>
        <p:spPr>
          <a:xfrm>
            <a:off x="8932228" y="340360"/>
            <a:ext cx="1455420" cy="586740"/>
          </a:xfrm>
          <a:custGeom>
            <a:avLst/>
            <a:gdLst>
              <a:gd name="connsiteX0" fmla="*/ 1455420 w 1455420"/>
              <a:gd name="connsiteY0" fmla="*/ 0 h 586740"/>
              <a:gd name="connsiteX1" fmla="*/ 685800 w 1455420"/>
              <a:gd name="connsiteY1" fmla="*/ 0 h 586740"/>
              <a:gd name="connsiteX2" fmla="*/ 586740 w 1455420"/>
              <a:gd name="connsiteY2" fmla="*/ 99060 h 586740"/>
              <a:gd name="connsiteX3" fmla="*/ 175260 w 1455420"/>
              <a:gd name="connsiteY3" fmla="*/ 99060 h 586740"/>
              <a:gd name="connsiteX4" fmla="*/ 0 w 1455420"/>
              <a:gd name="connsiteY4" fmla="*/ 274320 h 586740"/>
              <a:gd name="connsiteX5" fmla="*/ 0 w 1455420"/>
              <a:gd name="connsiteY5" fmla="*/ 5867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420" h="586740">
                <a:moveTo>
                  <a:pt x="1455420" y="0"/>
                </a:moveTo>
                <a:lnTo>
                  <a:pt x="685800" y="0"/>
                </a:lnTo>
                <a:lnTo>
                  <a:pt x="586740" y="99060"/>
                </a:lnTo>
                <a:lnTo>
                  <a:pt x="175260" y="99060"/>
                </a:lnTo>
                <a:lnTo>
                  <a:pt x="0" y="274320"/>
                </a:lnTo>
                <a:lnTo>
                  <a:pt x="0" y="58674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158" name="Rounded Rectangle 5"/>
          <p:cNvSpPr/>
          <p:nvPr/>
        </p:nvSpPr>
        <p:spPr>
          <a:xfrm>
            <a:off x="7197130" y="3342052"/>
            <a:ext cx="871802" cy="596995"/>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nvGrpSpPr>
          <p:cNvPr id="1159" name="Group 1158"/>
          <p:cNvGrpSpPr/>
          <p:nvPr/>
        </p:nvGrpSpPr>
        <p:grpSpPr>
          <a:xfrm>
            <a:off x="7011121" y="3018642"/>
            <a:ext cx="1243820" cy="1243814"/>
            <a:chOff x="7172539" y="1843152"/>
            <a:chExt cx="1465201" cy="1465198"/>
          </a:xfrm>
          <a:solidFill>
            <a:srgbClr val="1A3762"/>
          </a:solidFill>
        </p:grpSpPr>
        <p:sp>
          <p:nvSpPr>
            <p:cNvPr id="1160" name="Rounded Rectangle 47"/>
            <p:cNvSpPr/>
            <p:nvPr/>
          </p:nvSpPr>
          <p:spPr>
            <a:xfrm rot="5400000">
              <a:off x="7172541" y="1843150"/>
              <a:ext cx="1465198" cy="1465201"/>
            </a:xfrm>
            <a:custGeom>
              <a:avLst/>
              <a:gdLst/>
              <a:ahLst/>
              <a:cxnLst/>
              <a:rect l="l" t="t" r="r" b="b"/>
              <a:pathLst>
                <a:path w="4796166" h="4796165">
                  <a:moveTo>
                    <a:pt x="4535493" y="1516069"/>
                  </a:moveTo>
                  <a:lnTo>
                    <a:pt x="4535493" y="921709"/>
                  </a:lnTo>
                  <a:lnTo>
                    <a:pt x="4697104" y="921709"/>
                  </a:lnTo>
                  <a:cubicBezTo>
                    <a:pt x="4751814" y="921709"/>
                    <a:pt x="4796166" y="966061"/>
                    <a:pt x="4796166" y="1020771"/>
                  </a:cubicBezTo>
                  <a:lnTo>
                    <a:pt x="4796166" y="1417007"/>
                  </a:lnTo>
                  <a:cubicBezTo>
                    <a:pt x="4796166" y="1471717"/>
                    <a:pt x="4751814" y="1516069"/>
                    <a:pt x="4697104" y="1516069"/>
                  </a:cubicBezTo>
                  <a:close/>
                  <a:moveTo>
                    <a:pt x="4535493" y="2695264"/>
                  </a:moveTo>
                  <a:lnTo>
                    <a:pt x="4535493" y="2100904"/>
                  </a:lnTo>
                  <a:lnTo>
                    <a:pt x="4697104" y="2100904"/>
                  </a:lnTo>
                  <a:cubicBezTo>
                    <a:pt x="4751814" y="2100904"/>
                    <a:pt x="4796166" y="2145256"/>
                    <a:pt x="4796166" y="2199966"/>
                  </a:cubicBezTo>
                  <a:lnTo>
                    <a:pt x="4796166" y="2596202"/>
                  </a:lnTo>
                  <a:cubicBezTo>
                    <a:pt x="4796166" y="2650912"/>
                    <a:pt x="4751814" y="2695264"/>
                    <a:pt x="4697104" y="2695264"/>
                  </a:cubicBezTo>
                  <a:close/>
                  <a:moveTo>
                    <a:pt x="4535493" y="3874459"/>
                  </a:moveTo>
                  <a:lnTo>
                    <a:pt x="4535493" y="3280099"/>
                  </a:lnTo>
                  <a:lnTo>
                    <a:pt x="4697104" y="3280099"/>
                  </a:lnTo>
                  <a:cubicBezTo>
                    <a:pt x="4751814" y="3280099"/>
                    <a:pt x="4796166" y="3324451"/>
                    <a:pt x="4796166" y="3379161"/>
                  </a:cubicBezTo>
                  <a:lnTo>
                    <a:pt x="4796166" y="3775397"/>
                  </a:lnTo>
                  <a:cubicBezTo>
                    <a:pt x="4796166" y="3830107"/>
                    <a:pt x="4751814" y="3874459"/>
                    <a:pt x="4697104" y="3874459"/>
                  </a:cubicBezTo>
                  <a:close/>
                  <a:moveTo>
                    <a:pt x="3280098" y="260673"/>
                  </a:moveTo>
                  <a:lnTo>
                    <a:pt x="3280098" y="99062"/>
                  </a:lnTo>
                  <a:cubicBezTo>
                    <a:pt x="3280098" y="44352"/>
                    <a:pt x="3324450" y="0"/>
                    <a:pt x="3379160" y="0"/>
                  </a:cubicBezTo>
                  <a:lnTo>
                    <a:pt x="3775396" y="0"/>
                  </a:lnTo>
                  <a:cubicBezTo>
                    <a:pt x="3830106" y="0"/>
                    <a:pt x="3874458" y="44352"/>
                    <a:pt x="3874458" y="99062"/>
                  </a:cubicBezTo>
                  <a:lnTo>
                    <a:pt x="3874458" y="260673"/>
                  </a:lnTo>
                  <a:close/>
                  <a:moveTo>
                    <a:pt x="3280098" y="4697103"/>
                  </a:moveTo>
                  <a:lnTo>
                    <a:pt x="3280098" y="4535493"/>
                  </a:lnTo>
                  <a:lnTo>
                    <a:pt x="3874458" y="4535493"/>
                  </a:lnTo>
                  <a:lnTo>
                    <a:pt x="3874458" y="4697103"/>
                  </a:lnTo>
                  <a:cubicBezTo>
                    <a:pt x="3874458" y="4751813"/>
                    <a:pt x="3830106" y="4796165"/>
                    <a:pt x="3775396" y="4796165"/>
                  </a:cubicBezTo>
                  <a:lnTo>
                    <a:pt x="3379160" y="4796165"/>
                  </a:lnTo>
                  <a:cubicBezTo>
                    <a:pt x="3324450" y="4796165"/>
                    <a:pt x="3280098" y="4751813"/>
                    <a:pt x="3280098" y="4697103"/>
                  </a:cubicBezTo>
                  <a:close/>
                  <a:moveTo>
                    <a:pt x="2100903" y="260673"/>
                  </a:moveTo>
                  <a:lnTo>
                    <a:pt x="2100903" y="99062"/>
                  </a:lnTo>
                  <a:cubicBezTo>
                    <a:pt x="2100903" y="44352"/>
                    <a:pt x="2145255" y="0"/>
                    <a:pt x="2199965" y="0"/>
                  </a:cubicBezTo>
                  <a:lnTo>
                    <a:pt x="2596201" y="0"/>
                  </a:lnTo>
                  <a:cubicBezTo>
                    <a:pt x="2650911" y="0"/>
                    <a:pt x="2695263" y="44352"/>
                    <a:pt x="2695263" y="99062"/>
                  </a:cubicBezTo>
                  <a:lnTo>
                    <a:pt x="2695263" y="260673"/>
                  </a:lnTo>
                  <a:close/>
                  <a:moveTo>
                    <a:pt x="2100903" y="4697103"/>
                  </a:moveTo>
                  <a:lnTo>
                    <a:pt x="2100903" y="4535493"/>
                  </a:lnTo>
                  <a:lnTo>
                    <a:pt x="2695263" y="4535493"/>
                  </a:lnTo>
                  <a:lnTo>
                    <a:pt x="2695263" y="4697103"/>
                  </a:lnTo>
                  <a:cubicBezTo>
                    <a:pt x="2695263" y="4751813"/>
                    <a:pt x="2650911" y="4796165"/>
                    <a:pt x="2596201" y="4796165"/>
                  </a:cubicBezTo>
                  <a:lnTo>
                    <a:pt x="2199965" y="4796165"/>
                  </a:lnTo>
                  <a:cubicBezTo>
                    <a:pt x="2145255" y="4796165"/>
                    <a:pt x="2100903" y="4751813"/>
                    <a:pt x="2100903" y="4697103"/>
                  </a:cubicBezTo>
                  <a:close/>
                  <a:moveTo>
                    <a:pt x="921708" y="260673"/>
                  </a:moveTo>
                  <a:lnTo>
                    <a:pt x="921708" y="99062"/>
                  </a:lnTo>
                  <a:cubicBezTo>
                    <a:pt x="921708" y="44352"/>
                    <a:pt x="966060" y="0"/>
                    <a:pt x="1020770" y="0"/>
                  </a:cubicBezTo>
                  <a:lnTo>
                    <a:pt x="1417006" y="0"/>
                  </a:lnTo>
                  <a:cubicBezTo>
                    <a:pt x="1471716" y="0"/>
                    <a:pt x="1516068" y="44352"/>
                    <a:pt x="1516068" y="99062"/>
                  </a:cubicBezTo>
                  <a:lnTo>
                    <a:pt x="1516068" y="260673"/>
                  </a:lnTo>
                  <a:close/>
                  <a:moveTo>
                    <a:pt x="921708" y="4697103"/>
                  </a:moveTo>
                  <a:lnTo>
                    <a:pt x="921708" y="4535493"/>
                  </a:lnTo>
                  <a:lnTo>
                    <a:pt x="1516068" y="4535493"/>
                  </a:lnTo>
                  <a:lnTo>
                    <a:pt x="1516068" y="4697103"/>
                  </a:lnTo>
                  <a:cubicBezTo>
                    <a:pt x="1516068" y="4751813"/>
                    <a:pt x="1471716" y="4796165"/>
                    <a:pt x="1417006" y="4796165"/>
                  </a:cubicBezTo>
                  <a:lnTo>
                    <a:pt x="1020770" y="4796165"/>
                  </a:lnTo>
                  <a:cubicBezTo>
                    <a:pt x="966060" y="4796165"/>
                    <a:pt x="921708" y="4751813"/>
                    <a:pt x="921708" y="4697103"/>
                  </a:cubicBezTo>
                  <a:close/>
                  <a:moveTo>
                    <a:pt x="0" y="1417007"/>
                  </a:moveTo>
                  <a:lnTo>
                    <a:pt x="0" y="1020771"/>
                  </a:lnTo>
                  <a:cubicBezTo>
                    <a:pt x="0" y="966061"/>
                    <a:pt x="44352" y="921709"/>
                    <a:pt x="99062" y="921709"/>
                  </a:cubicBezTo>
                  <a:lnTo>
                    <a:pt x="260673" y="921709"/>
                  </a:lnTo>
                  <a:lnTo>
                    <a:pt x="260673" y="1516069"/>
                  </a:lnTo>
                  <a:lnTo>
                    <a:pt x="99062" y="1516069"/>
                  </a:lnTo>
                  <a:cubicBezTo>
                    <a:pt x="44352" y="1516069"/>
                    <a:pt x="0" y="1471717"/>
                    <a:pt x="0" y="1417007"/>
                  </a:cubicBezTo>
                  <a:close/>
                  <a:moveTo>
                    <a:pt x="0" y="2596202"/>
                  </a:moveTo>
                  <a:lnTo>
                    <a:pt x="0" y="2199966"/>
                  </a:lnTo>
                  <a:cubicBezTo>
                    <a:pt x="0" y="2145256"/>
                    <a:pt x="44352" y="2100904"/>
                    <a:pt x="99062" y="2100904"/>
                  </a:cubicBezTo>
                  <a:lnTo>
                    <a:pt x="260673" y="2100904"/>
                  </a:lnTo>
                  <a:lnTo>
                    <a:pt x="260673" y="2695264"/>
                  </a:lnTo>
                  <a:lnTo>
                    <a:pt x="99062" y="2695264"/>
                  </a:lnTo>
                  <a:cubicBezTo>
                    <a:pt x="44352" y="2695264"/>
                    <a:pt x="0" y="2650912"/>
                    <a:pt x="0" y="2596202"/>
                  </a:cubicBezTo>
                  <a:close/>
                  <a:moveTo>
                    <a:pt x="0" y="3775397"/>
                  </a:moveTo>
                  <a:lnTo>
                    <a:pt x="0" y="3379161"/>
                  </a:lnTo>
                  <a:cubicBezTo>
                    <a:pt x="0" y="3324451"/>
                    <a:pt x="44352" y="3280099"/>
                    <a:pt x="99062" y="3280099"/>
                  </a:cubicBezTo>
                  <a:lnTo>
                    <a:pt x="260673" y="3280099"/>
                  </a:lnTo>
                  <a:lnTo>
                    <a:pt x="260673" y="3874459"/>
                  </a:lnTo>
                  <a:lnTo>
                    <a:pt x="99062" y="3874459"/>
                  </a:lnTo>
                  <a:cubicBezTo>
                    <a:pt x="44352" y="3874459"/>
                    <a:pt x="0" y="3830107"/>
                    <a:pt x="0" y="3775397"/>
                  </a:cubicBez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sp>
          <p:nvSpPr>
            <p:cNvPr id="1161" name="Freeform 1160"/>
            <p:cNvSpPr/>
            <p:nvPr/>
          </p:nvSpPr>
          <p:spPr>
            <a:xfrm>
              <a:off x="7283599" y="1954211"/>
              <a:ext cx="1243081" cy="1243078"/>
            </a:xfrm>
            <a:custGeom>
              <a:avLst/>
              <a:gdLst>
                <a:gd name="connsiteX0" fmla="*/ 93115 w 1243081"/>
                <a:gd name="connsiteY0" fmla="*/ 39574 h 1243078"/>
                <a:gd name="connsiteX1" fmla="*/ 84364 w 1243081"/>
                <a:gd name="connsiteY1" fmla="*/ 41341 h 1243078"/>
                <a:gd name="connsiteX2" fmla="*/ 37097 w 1243081"/>
                <a:gd name="connsiteY2" fmla="*/ 41341 h 1243078"/>
                <a:gd name="connsiteX3" fmla="*/ 37097 w 1243081"/>
                <a:gd name="connsiteY3" fmla="*/ 1201739 h 1243078"/>
                <a:gd name="connsiteX4" fmla="*/ 1205984 w 1243081"/>
                <a:gd name="connsiteY4" fmla="*/ 1201739 h 1243078"/>
                <a:gd name="connsiteX5" fmla="*/ 1205984 w 1243081"/>
                <a:gd name="connsiteY5" fmla="*/ 41341 h 1243078"/>
                <a:gd name="connsiteX6" fmla="*/ 101866 w 1243081"/>
                <a:gd name="connsiteY6" fmla="*/ 41341 h 1243078"/>
                <a:gd name="connsiteX7" fmla="*/ 0 w 1243081"/>
                <a:gd name="connsiteY7" fmla="*/ 0 h 1243078"/>
                <a:gd name="connsiteX8" fmla="*/ 1243081 w 1243081"/>
                <a:gd name="connsiteY8" fmla="*/ 0 h 1243078"/>
                <a:gd name="connsiteX9" fmla="*/ 1243081 w 1243081"/>
                <a:gd name="connsiteY9" fmla="*/ 1243078 h 1243078"/>
                <a:gd name="connsiteX10" fmla="*/ 0 w 1243081"/>
                <a:gd name="connsiteY10" fmla="*/ 1243078 h 124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81" h="1243078">
                  <a:moveTo>
                    <a:pt x="93115" y="39574"/>
                  </a:moveTo>
                  <a:lnTo>
                    <a:pt x="84364" y="41341"/>
                  </a:lnTo>
                  <a:lnTo>
                    <a:pt x="37097" y="41341"/>
                  </a:lnTo>
                  <a:lnTo>
                    <a:pt x="37097" y="1201739"/>
                  </a:lnTo>
                  <a:lnTo>
                    <a:pt x="1205984" y="1201739"/>
                  </a:lnTo>
                  <a:lnTo>
                    <a:pt x="1205984" y="41341"/>
                  </a:lnTo>
                  <a:lnTo>
                    <a:pt x="101866" y="41341"/>
                  </a:lnTo>
                  <a:close/>
                  <a:moveTo>
                    <a:pt x="0" y="0"/>
                  </a:moveTo>
                  <a:lnTo>
                    <a:pt x="1243081" y="0"/>
                  </a:lnTo>
                  <a:lnTo>
                    <a:pt x="1243081" y="1243078"/>
                  </a:lnTo>
                  <a:lnTo>
                    <a:pt x="0" y="1243078"/>
                  </a:lnTo>
                  <a:close/>
                </a:path>
              </a:pathLst>
            </a:custGeom>
            <a:solidFill>
              <a:srgbClr val="80B7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ndParaRPr>
            </a:p>
          </p:txBody>
        </p:sp>
      </p:grpSp>
      <p:grpSp>
        <p:nvGrpSpPr>
          <p:cNvPr id="956" name="Group 955"/>
          <p:cNvGrpSpPr/>
          <p:nvPr/>
        </p:nvGrpSpPr>
        <p:grpSpPr>
          <a:xfrm>
            <a:off x="107064" y="1293492"/>
            <a:ext cx="2253840" cy="3513705"/>
            <a:chOff x="3945730" y="1235076"/>
            <a:chExt cx="1850233" cy="2884487"/>
          </a:xfrm>
        </p:grpSpPr>
        <p:grpSp>
          <p:nvGrpSpPr>
            <p:cNvPr id="999" name="Group 998"/>
            <p:cNvGrpSpPr/>
            <p:nvPr/>
          </p:nvGrpSpPr>
          <p:grpSpPr>
            <a:xfrm>
              <a:off x="4614862" y="1235076"/>
              <a:ext cx="1181101" cy="2884487"/>
              <a:chOff x="4614862" y="1235076"/>
              <a:chExt cx="1181101" cy="2884487"/>
            </a:xfrm>
          </p:grpSpPr>
          <p:sp>
            <p:nvSpPr>
              <p:cNvPr id="1013" name="Freeform 1012"/>
              <p:cNvSpPr/>
              <p:nvPr/>
            </p:nvSpPr>
            <p:spPr>
              <a:xfrm>
                <a:off x="5143501"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4" name="Freeform 1013"/>
              <p:cNvSpPr/>
              <p:nvPr/>
            </p:nvSpPr>
            <p:spPr>
              <a:xfrm>
                <a:off x="5100638"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5" name="Freeform 1014"/>
              <p:cNvSpPr/>
              <p:nvPr/>
            </p:nvSpPr>
            <p:spPr>
              <a:xfrm>
                <a:off x="5053013"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6" name="Freeform 1015"/>
              <p:cNvSpPr/>
              <p:nvPr/>
            </p:nvSpPr>
            <p:spPr>
              <a:xfrm>
                <a:off x="5000626"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7" name="Freeform 1016"/>
              <p:cNvSpPr/>
              <p:nvPr/>
            </p:nvSpPr>
            <p:spPr>
              <a:xfrm>
                <a:off x="4957763" y="1612901"/>
                <a:ext cx="788987" cy="2506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788987"/>
                  <a:gd name="connsiteY0" fmla="*/ 2506662 h 2506662"/>
                  <a:gd name="connsiteX1" fmla="*/ 33337 w 788987"/>
                  <a:gd name="connsiteY1" fmla="*/ 1892300 h 2506662"/>
                  <a:gd name="connsiteX2" fmla="*/ 176212 w 788987"/>
                  <a:gd name="connsiteY2" fmla="*/ 1644650 h 2506662"/>
                  <a:gd name="connsiteX3" fmla="*/ 185737 w 788987"/>
                  <a:gd name="connsiteY3" fmla="*/ 1368425 h 2506662"/>
                  <a:gd name="connsiteX4" fmla="*/ 280987 w 788987"/>
                  <a:gd name="connsiteY4" fmla="*/ 1044575 h 2506662"/>
                  <a:gd name="connsiteX5" fmla="*/ 585787 w 788987"/>
                  <a:gd name="connsiteY5" fmla="*/ 558800 h 2506662"/>
                  <a:gd name="connsiteX6" fmla="*/ 788987 w 788987"/>
                  <a:gd name="connsiteY6" fmla="*/ 0 h 25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987" h="2506662">
                    <a:moveTo>
                      <a:pt x="0" y="2506662"/>
                    </a:moveTo>
                    <a:cubicBezTo>
                      <a:pt x="43656" y="2383631"/>
                      <a:pt x="3968" y="2035969"/>
                      <a:pt x="33337" y="1892300"/>
                    </a:cubicBezTo>
                    <a:cubicBezTo>
                      <a:pt x="62706" y="1748631"/>
                      <a:pt x="150812" y="1731962"/>
                      <a:pt x="176212" y="1644650"/>
                    </a:cubicBezTo>
                    <a:cubicBezTo>
                      <a:pt x="201612" y="1557338"/>
                      <a:pt x="168275" y="1468437"/>
                      <a:pt x="185737" y="1368425"/>
                    </a:cubicBezTo>
                    <a:cubicBezTo>
                      <a:pt x="203199" y="1268413"/>
                      <a:pt x="214312" y="1179512"/>
                      <a:pt x="280987" y="1044575"/>
                    </a:cubicBezTo>
                    <a:cubicBezTo>
                      <a:pt x="347662" y="909638"/>
                      <a:pt x="501120" y="732896"/>
                      <a:pt x="585787" y="558800"/>
                    </a:cubicBezTo>
                    <a:cubicBezTo>
                      <a:pt x="670454" y="384704"/>
                      <a:pt x="500855" y="182562"/>
                      <a:pt x="78898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8" name="Freeform 1017"/>
              <p:cNvSpPr/>
              <p:nvPr/>
            </p:nvSpPr>
            <p:spPr>
              <a:xfrm>
                <a:off x="4905376" y="1504951"/>
                <a:ext cx="804862" cy="261461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804862"/>
                  <a:gd name="connsiteY0" fmla="*/ 2614612 h 2614612"/>
                  <a:gd name="connsiteX1" fmla="*/ 33337 w 804862"/>
                  <a:gd name="connsiteY1" fmla="*/ 2000250 h 2614612"/>
                  <a:gd name="connsiteX2" fmla="*/ 176212 w 804862"/>
                  <a:gd name="connsiteY2" fmla="*/ 1752600 h 2614612"/>
                  <a:gd name="connsiteX3" fmla="*/ 185737 w 804862"/>
                  <a:gd name="connsiteY3" fmla="*/ 1476375 h 2614612"/>
                  <a:gd name="connsiteX4" fmla="*/ 280987 w 804862"/>
                  <a:gd name="connsiteY4" fmla="*/ 1152525 h 2614612"/>
                  <a:gd name="connsiteX5" fmla="*/ 585787 w 804862"/>
                  <a:gd name="connsiteY5" fmla="*/ 666750 h 2614612"/>
                  <a:gd name="connsiteX6" fmla="*/ 804862 w 804862"/>
                  <a:gd name="connsiteY6" fmla="*/ 0 h 26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4862" h="2614612">
                    <a:moveTo>
                      <a:pt x="0" y="2614612"/>
                    </a:moveTo>
                    <a:cubicBezTo>
                      <a:pt x="43656" y="2491581"/>
                      <a:pt x="3968" y="2143919"/>
                      <a:pt x="33337" y="2000250"/>
                    </a:cubicBezTo>
                    <a:cubicBezTo>
                      <a:pt x="62706" y="1856581"/>
                      <a:pt x="150812" y="1839912"/>
                      <a:pt x="176212" y="1752600"/>
                    </a:cubicBezTo>
                    <a:cubicBezTo>
                      <a:pt x="201612" y="1665288"/>
                      <a:pt x="168275" y="1576387"/>
                      <a:pt x="185737" y="1476375"/>
                    </a:cubicBezTo>
                    <a:cubicBezTo>
                      <a:pt x="203199" y="1376363"/>
                      <a:pt x="214312" y="1287462"/>
                      <a:pt x="280987" y="1152525"/>
                    </a:cubicBezTo>
                    <a:cubicBezTo>
                      <a:pt x="347662" y="1017588"/>
                      <a:pt x="498474" y="858838"/>
                      <a:pt x="585787" y="666750"/>
                    </a:cubicBezTo>
                    <a:cubicBezTo>
                      <a:pt x="673100" y="474662"/>
                      <a:pt x="519905" y="204787"/>
                      <a:pt x="8048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9" name="Freeform 1018"/>
              <p:cNvSpPr/>
              <p:nvPr/>
            </p:nvSpPr>
            <p:spPr>
              <a:xfrm>
                <a:off x="4852989" y="1435101"/>
                <a:ext cx="782637" cy="26844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782637"/>
                  <a:gd name="connsiteY0" fmla="*/ 2684462 h 2684462"/>
                  <a:gd name="connsiteX1" fmla="*/ 33337 w 782637"/>
                  <a:gd name="connsiteY1" fmla="*/ 2070100 h 2684462"/>
                  <a:gd name="connsiteX2" fmla="*/ 176212 w 782637"/>
                  <a:gd name="connsiteY2" fmla="*/ 1822450 h 2684462"/>
                  <a:gd name="connsiteX3" fmla="*/ 185737 w 782637"/>
                  <a:gd name="connsiteY3" fmla="*/ 1546225 h 2684462"/>
                  <a:gd name="connsiteX4" fmla="*/ 280987 w 782637"/>
                  <a:gd name="connsiteY4" fmla="*/ 1222375 h 2684462"/>
                  <a:gd name="connsiteX5" fmla="*/ 585787 w 782637"/>
                  <a:gd name="connsiteY5" fmla="*/ 736600 h 2684462"/>
                  <a:gd name="connsiteX6" fmla="*/ 782637 w 782637"/>
                  <a:gd name="connsiteY6" fmla="*/ 0 h 268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2637" h="2684462">
                    <a:moveTo>
                      <a:pt x="0" y="2684462"/>
                    </a:moveTo>
                    <a:cubicBezTo>
                      <a:pt x="43656" y="2561431"/>
                      <a:pt x="3968" y="2213769"/>
                      <a:pt x="33337" y="2070100"/>
                    </a:cubicBezTo>
                    <a:cubicBezTo>
                      <a:pt x="62706" y="1926431"/>
                      <a:pt x="150812" y="1909762"/>
                      <a:pt x="176212" y="1822450"/>
                    </a:cubicBezTo>
                    <a:cubicBezTo>
                      <a:pt x="201612" y="1735138"/>
                      <a:pt x="168275" y="1646237"/>
                      <a:pt x="185737" y="1546225"/>
                    </a:cubicBezTo>
                    <a:cubicBezTo>
                      <a:pt x="203199" y="1446213"/>
                      <a:pt x="214312" y="1357312"/>
                      <a:pt x="280987" y="1222375"/>
                    </a:cubicBezTo>
                    <a:cubicBezTo>
                      <a:pt x="347662" y="1087438"/>
                      <a:pt x="502179" y="940329"/>
                      <a:pt x="585787" y="736600"/>
                    </a:cubicBezTo>
                    <a:cubicBezTo>
                      <a:pt x="669395" y="532871"/>
                      <a:pt x="504030" y="255587"/>
                      <a:pt x="7826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20" name="Freeform 1019"/>
              <p:cNvSpPr/>
              <p:nvPr/>
            </p:nvSpPr>
            <p:spPr>
              <a:xfrm>
                <a:off x="4810125" y="1358901"/>
                <a:ext cx="769937" cy="2760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43795"/>
                  <a:gd name="connsiteY0" fmla="*/ 2659062 h 2662311"/>
                  <a:gd name="connsiteX1" fmla="*/ 228600 w 843795"/>
                  <a:gd name="connsiteY1" fmla="*/ 2535237 h 2662311"/>
                  <a:gd name="connsiteX2" fmla="*/ 261937 w 843795"/>
                  <a:gd name="connsiteY2" fmla="*/ 1920875 h 2662311"/>
                  <a:gd name="connsiteX3" fmla="*/ 404812 w 843795"/>
                  <a:gd name="connsiteY3" fmla="*/ 1673225 h 2662311"/>
                  <a:gd name="connsiteX4" fmla="*/ 414337 w 843795"/>
                  <a:gd name="connsiteY4" fmla="*/ 1397000 h 2662311"/>
                  <a:gd name="connsiteX5" fmla="*/ 509587 w 843795"/>
                  <a:gd name="connsiteY5" fmla="*/ 1073150 h 2662311"/>
                  <a:gd name="connsiteX6" fmla="*/ 814387 w 843795"/>
                  <a:gd name="connsiteY6" fmla="*/ 587375 h 2662311"/>
                  <a:gd name="connsiteX7" fmla="*/ 833437 w 843795"/>
                  <a:gd name="connsiteY7" fmla="*/ 0 h 266231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769937"/>
                  <a:gd name="connsiteY0" fmla="*/ 2760662 h 2760662"/>
                  <a:gd name="connsiteX1" fmla="*/ 33337 w 769937"/>
                  <a:gd name="connsiteY1" fmla="*/ 2146300 h 2760662"/>
                  <a:gd name="connsiteX2" fmla="*/ 176212 w 769937"/>
                  <a:gd name="connsiteY2" fmla="*/ 1898650 h 2760662"/>
                  <a:gd name="connsiteX3" fmla="*/ 185737 w 769937"/>
                  <a:gd name="connsiteY3" fmla="*/ 1622425 h 2760662"/>
                  <a:gd name="connsiteX4" fmla="*/ 280987 w 769937"/>
                  <a:gd name="connsiteY4" fmla="*/ 1298575 h 2760662"/>
                  <a:gd name="connsiteX5" fmla="*/ 585787 w 769937"/>
                  <a:gd name="connsiteY5" fmla="*/ 812800 h 2760662"/>
                  <a:gd name="connsiteX6" fmla="*/ 769937 w 769937"/>
                  <a:gd name="connsiteY6" fmla="*/ 0 h 27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9937" h="2760662">
                    <a:moveTo>
                      <a:pt x="0" y="2760662"/>
                    </a:moveTo>
                    <a:cubicBezTo>
                      <a:pt x="43656" y="2637631"/>
                      <a:pt x="3968" y="2289969"/>
                      <a:pt x="33337" y="2146300"/>
                    </a:cubicBezTo>
                    <a:cubicBezTo>
                      <a:pt x="62706" y="2002631"/>
                      <a:pt x="150812" y="1985962"/>
                      <a:pt x="176212" y="1898650"/>
                    </a:cubicBezTo>
                    <a:cubicBezTo>
                      <a:pt x="201612" y="1811338"/>
                      <a:pt x="168275" y="1722437"/>
                      <a:pt x="185737" y="1622425"/>
                    </a:cubicBezTo>
                    <a:cubicBezTo>
                      <a:pt x="203199" y="1522413"/>
                      <a:pt x="214312" y="1433512"/>
                      <a:pt x="280987" y="1298575"/>
                    </a:cubicBezTo>
                    <a:cubicBezTo>
                      <a:pt x="347662" y="1163638"/>
                      <a:pt x="504295" y="1029229"/>
                      <a:pt x="585787" y="812800"/>
                    </a:cubicBezTo>
                    <a:cubicBezTo>
                      <a:pt x="667279" y="596371"/>
                      <a:pt x="438942" y="441325"/>
                      <a:pt x="7699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21" name="Freeform 1020"/>
              <p:cNvSpPr/>
              <p:nvPr/>
            </p:nvSpPr>
            <p:spPr>
              <a:xfrm>
                <a:off x="4752976" y="1266826"/>
                <a:ext cx="738187" cy="285273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738187"/>
                  <a:gd name="connsiteY0" fmla="*/ 2852737 h 2852737"/>
                  <a:gd name="connsiteX1" fmla="*/ 33337 w 738187"/>
                  <a:gd name="connsiteY1" fmla="*/ 2238375 h 2852737"/>
                  <a:gd name="connsiteX2" fmla="*/ 176212 w 738187"/>
                  <a:gd name="connsiteY2" fmla="*/ 1990725 h 2852737"/>
                  <a:gd name="connsiteX3" fmla="*/ 185737 w 738187"/>
                  <a:gd name="connsiteY3" fmla="*/ 1714500 h 2852737"/>
                  <a:gd name="connsiteX4" fmla="*/ 280987 w 738187"/>
                  <a:gd name="connsiteY4" fmla="*/ 1390650 h 2852737"/>
                  <a:gd name="connsiteX5" fmla="*/ 585787 w 738187"/>
                  <a:gd name="connsiteY5" fmla="*/ 904875 h 2852737"/>
                  <a:gd name="connsiteX6" fmla="*/ 738187 w 738187"/>
                  <a:gd name="connsiteY6" fmla="*/ 0 h 285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187" h="2852737">
                    <a:moveTo>
                      <a:pt x="0" y="2852737"/>
                    </a:moveTo>
                    <a:cubicBezTo>
                      <a:pt x="43656" y="2729706"/>
                      <a:pt x="3968" y="2382044"/>
                      <a:pt x="33337" y="2238375"/>
                    </a:cubicBezTo>
                    <a:cubicBezTo>
                      <a:pt x="62706" y="2094706"/>
                      <a:pt x="150812" y="2078037"/>
                      <a:pt x="176212" y="1990725"/>
                    </a:cubicBezTo>
                    <a:cubicBezTo>
                      <a:pt x="201612" y="1903413"/>
                      <a:pt x="168275" y="1814512"/>
                      <a:pt x="185737" y="1714500"/>
                    </a:cubicBezTo>
                    <a:cubicBezTo>
                      <a:pt x="203199" y="1614488"/>
                      <a:pt x="214312" y="1525587"/>
                      <a:pt x="280987" y="1390650"/>
                    </a:cubicBezTo>
                    <a:cubicBezTo>
                      <a:pt x="347662" y="1255713"/>
                      <a:pt x="509587" y="1136650"/>
                      <a:pt x="585787" y="904875"/>
                    </a:cubicBezTo>
                    <a:cubicBezTo>
                      <a:pt x="661987" y="673100"/>
                      <a:pt x="383380" y="612774"/>
                      <a:pt x="73818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22" name="Freeform 1021"/>
              <p:cNvSpPr/>
              <p:nvPr/>
            </p:nvSpPr>
            <p:spPr>
              <a:xfrm>
                <a:off x="4705351" y="1235076"/>
                <a:ext cx="706437" cy="28844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706437"/>
                  <a:gd name="connsiteY0" fmla="*/ 2884487 h 2884487"/>
                  <a:gd name="connsiteX1" fmla="*/ 33337 w 706437"/>
                  <a:gd name="connsiteY1" fmla="*/ 2270125 h 2884487"/>
                  <a:gd name="connsiteX2" fmla="*/ 176212 w 706437"/>
                  <a:gd name="connsiteY2" fmla="*/ 2022475 h 2884487"/>
                  <a:gd name="connsiteX3" fmla="*/ 185737 w 706437"/>
                  <a:gd name="connsiteY3" fmla="*/ 1746250 h 2884487"/>
                  <a:gd name="connsiteX4" fmla="*/ 280987 w 706437"/>
                  <a:gd name="connsiteY4" fmla="*/ 1422400 h 2884487"/>
                  <a:gd name="connsiteX5" fmla="*/ 585787 w 706437"/>
                  <a:gd name="connsiteY5" fmla="*/ 936625 h 2884487"/>
                  <a:gd name="connsiteX6" fmla="*/ 706437 w 706437"/>
                  <a:gd name="connsiteY6" fmla="*/ 0 h 28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6437" h="2884487">
                    <a:moveTo>
                      <a:pt x="0" y="2884487"/>
                    </a:moveTo>
                    <a:cubicBezTo>
                      <a:pt x="43656" y="2761456"/>
                      <a:pt x="3968" y="2413794"/>
                      <a:pt x="33337" y="2270125"/>
                    </a:cubicBezTo>
                    <a:cubicBezTo>
                      <a:pt x="62706" y="2126456"/>
                      <a:pt x="150812" y="2109787"/>
                      <a:pt x="176212" y="2022475"/>
                    </a:cubicBezTo>
                    <a:cubicBezTo>
                      <a:pt x="201612" y="1935163"/>
                      <a:pt x="168275" y="1846262"/>
                      <a:pt x="185737" y="1746250"/>
                    </a:cubicBezTo>
                    <a:cubicBezTo>
                      <a:pt x="203199" y="1646238"/>
                      <a:pt x="214312" y="1557337"/>
                      <a:pt x="280987" y="1422400"/>
                    </a:cubicBezTo>
                    <a:cubicBezTo>
                      <a:pt x="347662" y="1287463"/>
                      <a:pt x="514879" y="1173692"/>
                      <a:pt x="585787" y="936625"/>
                    </a:cubicBezTo>
                    <a:cubicBezTo>
                      <a:pt x="656695" y="699558"/>
                      <a:pt x="348455" y="611187"/>
                      <a:pt x="7064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23" name="Freeform 1022"/>
              <p:cNvSpPr/>
              <p:nvPr/>
            </p:nvSpPr>
            <p:spPr>
              <a:xfrm>
                <a:off x="4662488" y="1287463"/>
                <a:ext cx="591708" cy="283209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642"/>
                  <a:gd name="connsiteY0" fmla="*/ 2800349 h 2803598"/>
                  <a:gd name="connsiteX1" fmla="*/ 228600 w 814642"/>
                  <a:gd name="connsiteY1" fmla="*/ 2676524 h 2803598"/>
                  <a:gd name="connsiteX2" fmla="*/ 261937 w 814642"/>
                  <a:gd name="connsiteY2" fmla="*/ 2062162 h 2803598"/>
                  <a:gd name="connsiteX3" fmla="*/ 404812 w 814642"/>
                  <a:gd name="connsiteY3" fmla="*/ 1814512 h 2803598"/>
                  <a:gd name="connsiteX4" fmla="*/ 414337 w 814642"/>
                  <a:gd name="connsiteY4" fmla="*/ 1538287 h 2803598"/>
                  <a:gd name="connsiteX5" fmla="*/ 509587 w 814642"/>
                  <a:gd name="connsiteY5" fmla="*/ 1214437 h 2803598"/>
                  <a:gd name="connsiteX6" fmla="*/ 814387 w 814642"/>
                  <a:gd name="connsiteY6" fmla="*/ 728662 h 2803598"/>
                  <a:gd name="connsiteX7" fmla="*/ 566737 w 814642"/>
                  <a:gd name="connsiteY7" fmla="*/ 0 h 2803598"/>
                  <a:gd name="connsiteX0" fmla="*/ 0 w 814548"/>
                  <a:gd name="connsiteY0" fmla="*/ 2800349 h 2803598"/>
                  <a:gd name="connsiteX1" fmla="*/ 228600 w 814548"/>
                  <a:gd name="connsiteY1" fmla="*/ 2676524 h 2803598"/>
                  <a:gd name="connsiteX2" fmla="*/ 261937 w 814548"/>
                  <a:gd name="connsiteY2" fmla="*/ 2062162 h 2803598"/>
                  <a:gd name="connsiteX3" fmla="*/ 404812 w 814548"/>
                  <a:gd name="connsiteY3" fmla="*/ 1814512 h 2803598"/>
                  <a:gd name="connsiteX4" fmla="*/ 414337 w 814548"/>
                  <a:gd name="connsiteY4" fmla="*/ 1538287 h 2803598"/>
                  <a:gd name="connsiteX5" fmla="*/ 509587 w 814548"/>
                  <a:gd name="connsiteY5" fmla="*/ 1214437 h 2803598"/>
                  <a:gd name="connsiteX6" fmla="*/ 814387 w 814548"/>
                  <a:gd name="connsiteY6" fmla="*/ 728662 h 2803598"/>
                  <a:gd name="connsiteX7" fmla="*/ 566737 w 814548"/>
                  <a:gd name="connsiteY7" fmla="*/ 0 h 2803598"/>
                  <a:gd name="connsiteX0" fmla="*/ 0 w 820308"/>
                  <a:gd name="connsiteY0" fmla="*/ 2955924 h 2959173"/>
                  <a:gd name="connsiteX1" fmla="*/ 228600 w 820308"/>
                  <a:gd name="connsiteY1" fmla="*/ 2832099 h 2959173"/>
                  <a:gd name="connsiteX2" fmla="*/ 261937 w 820308"/>
                  <a:gd name="connsiteY2" fmla="*/ 2217737 h 2959173"/>
                  <a:gd name="connsiteX3" fmla="*/ 404812 w 820308"/>
                  <a:gd name="connsiteY3" fmla="*/ 1970087 h 2959173"/>
                  <a:gd name="connsiteX4" fmla="*/ 414337 w 820308"/>
                  <a:gd name="connsiteY4" fmla="*/ 1693862 h 2959173"/>
                  <a:gd name="connsiteX5" fmla="*/ 509587 w 820308"/>
                  <a:gd name="connsiteY5" fmla="*/ 1370012 h 2959173"/>
                  <a:gd name="connsiteX6" fmla="*/ 814387 w 820308"/>
                  <a:gd name="connsiteY6" fmla="*/ 884237 h 2959173"/>
                  <a:gd name="connsiteX7" fmla="*/ 782637 w 820308"/>
                  <a:gd name="connsiteY7" fmla="*/ 0 h 2959173"/>
                  <a:gd name="connsiteX0" fmla="*/ 0 w 591708"/>
                  <a:gd name="connsiteY0" fmla="*/ 2832099 h 2832099"/>
                  <a:gd name="connsiteX1" fmla="*/ 33337 w 591708"/>
                  <a:gd name="connsiteY1" fmla="*/ 2217737 h 2832099"/>
                  <a:gd name="connsiteX2" fmla="*/ 176212 w 591708"/>
                  <a:gd name="connsiteY2" fmla="*/ 1970087 h 2832099"/>
                  <a:gd name="connsiteX3" fmla="*/ 185737 w 591708"/>
                  <a:gd name="connsiteY3" fmla="*/ 1693862 h 2832099"/>
                  <a:gd name="connsiteX4" fmla="*/ 280987 w 591708"/>
                  <a:gd name="connsiteY4" fmla="*/ 1370012 h 2832099"/>
                  <a:gd name="connsiteX5" fmla="*/ 585787 w 591708"/>
                  <a:gd name="connsiteY5" fmla="*/ 884237 h 2832099"/>
                  <a:gd name="connsiteX6" fmla="*/ 554037 w 591708"/>
                  <a:gd name="connsiteY6" fmla="*/ 0 h 283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708" h="2832099">
                    <a:moveTo>
                      <a:pt x="0" y="2832099"/>
                    </a:moveTo>
                    <a:cubicBezTo>
                      <a:pt x="43656" y="2709068"/>
                      <a:pt x="3968" y="2361406"/>
                      <a:pt x="33337" y="2217737"/>
                    </a:cubicBezTo>
                    <a:cubicBezTo>
                      <a:pt x="62706" y="2074068"/>
                      <a:pt x="150812" y="2057399"/>
                      <a:pt x="176212" y="1970087"/>
                    </a:cubicBezTo>
                    <a:cubicBezTo>
                      <a:pt x="201612" y="1882775"/>
                      <a:pt x="168275" y="1793874"/>
                      <a:pt x="185737" y="1693862"/>
                    </a:cubicBezTo>
                    <a:cubicBezTo>
                      <a:pt x="203199" y="1593850"/>
                      <a:pt x="214312" y="1504949"/>
                      <a:pt x="280987" y="1370012"/>
                    </a:cubicBezTo>
                    <a:cubicBezTo>
                      <a:pt x="347662" y="1235075"/>
                      <a:pt x="540279" y="1112572"/>
                      <a:pt x="585787" y="884237"/>
                    </a:cubicBezTo>
                    <a:cubicBezTo>
                      <a:pt x="631295" y="655902"/>
                      <a:pt x="394492" y="455612"/>
                      <a:pt x="5540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24" name="Freeform 1023"/>
              <p:cNvSpPr/>
              <p:nvPr/>
            </p:nvSpPr>
            <p:spPr>
              <a:xfrm>
                <a:off x="4614862" y="1309689"/>
                <a:ext cx="577533" cy="2809874"/>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909"/>
                  <a:gd name="connsiteY0" fmla="*/ 2800349 h 2803598"/>
                  <a:gd name="connsiteX1" fmla="*/ 228600 w 814909"/>
                  <a:gd name="connsiteY1" fmla="*/ 2676524 h 2803598"/>
                  <a:gd name="connsiteX2" fmla="*/ 261937 w 814909"/>
                  <a:gd name="connsiteY2" fmla="*/ 2062162 h 2803598"/>
                  <a:gd name="connsiteX3" fmla="*/ 404812 w 814909"/>
                  <a:gd name="connsiteY3" fmla="*/ 1814512 h 2803598"/>
                  <a:gd name="connsiteX4" fmla="*/ 414337 w 814909"/>
                  <a:gd name="connsiteY4" fmla="*/ 1538287 h 2803598"/>
                  <a:gd name="connsiteX5" fmla="*/ 509587 w 814909"/>
                  <a:gd name="connsiteY5" fmla="*/ 1214437 h 2803598"/>
                  <a:gd name="connsiteX6" fmla="*/ 814387 w 814909"/>
                  <a:gd name="connsiteY6" fmla="*/ 728662 h 2803598"/>
                  <a:gd name="connsiteX7" fmla="*/ 428624 w 814909"/>
                  <a:gd name="connsiteY7" fmla="*/ 0 h 2803598"/>
                  <a:gd name="connsiteX0" fmla="*/ 0 w 748375"/>
                  <a:gd name="connsiteY0" fmla="*/ 2800349 h 2803598"/>
                  <a:gd name="connsiteX1" fmla="*/ 228600 w 748375"/>
                  <a:gd name="connsiteY1" fmla="*/ 2676524 h 2803598"/>
                  <a:gd name="connsiteX2" fmla="*/ 261937 w 748375"/>
                  <a:gd name="connsiteY2" fmla="*/ 2062162 h 2803598"/>
                  <a:gd name="connsiteX3" fmla="*/ 404812 w 748375"/>
                  <a:gd name="connsiteY3" fmla="*/ 1814512 h 2803598"/>
                  <a:gd name="connsiteX4" fmla="*/ 414337 w 748375"/>
                  <a:gd name="connsiteY4" fmla="*/ 1538287 h 2803598"/>
                  <a:gd name="connsiteX5" fmla="*/ 509587 w 748375"/>
                  <a:gd name="connsiteY5" fmla="*/ 1214437 h 2803598"/>
                  <a:gd name="connsiteX6" fmla="*/ 747712 w 748375"/>
                  <a:gd name="connsiteY6" fmla="*/ 723900 h 2803598"/>
                  <a:gd name="connsiteX7" fmla="*/ 428624 w 748375"/>
                  <a:gd name="connsiteY7" fmla="*/ 0 h 2803598"/>
                  <a:gd name="connsiteX0" fmla="*/ 0 w 752341"/>
                  <a:gd name="connsiteY0" fmla="*/ 2955924 h 2959173"/>
                  <a:gd name="connsiteX1" fmla="*/ 228600 w 752341"/>
                  <a:gd name="connsiteY1" fmla="*/ 2832099 h 2959173"/>
                  <a:gd name="connsiteX2" fmla="*/ 261937 w 752341"/>
                  <a:gd name="connsiteY2" fmla="*/ 2217737 h 2959173"/>
                  <a:gd name="connsiteX3" fmla="*/ 404812 w 752341"/>
                  <a:gd name="connsiteY3" fmla="*/ 1970087 h 2959173"/>
                  <a:gd name="connsiteX4" fmla="*/ 414337 w 752341"/>
                  <a:gd name="connsiteY4" fmla="*/ 1693862 h 2959173"/>
                  <a:gd name="connsiteX5" fmla="*/ 509587 w 752341"/>
                  <a:gd name="connsiteY5" fmla="*/ 1370012 h 2959173"/>
                  <a:gd name="connsiteX6" fmla="*/ 747712 w 752341"/>
                  <a:gd name="connsiteY6" fmla="*/ 879475 h 2959173"/>
                  <a:gd name="connsiteX7" fmla="*/ 692149 w 752341"/>
                  <a:gd name="connsiteY7" fmla="*/ 0 h 2959173"/>
                  <a:gd name="connsiteX0" fmla="*/ 0 w 805083"/>
                  <a:gd name="connsiteY0" fmla="*/ 2955924 h 2959173"/>
                  <a:gd name="connsiteX1" fmla="*/ 228600 w 805083"/>
                  <a:gd name="connsiteY1" fmla="*/ 2832099 h 2959173"/>
                  <a:gd name="connsiteX2" fmla="*/ 261937 w 805083"/>
                  <a:gd name="connsiteY2" fmla="*/ 2217737 h 2959173"/>
                  <a:gd name="connsiteX3" fmla="*/ 404812 w 805083"/>
                  <a:gd name="connsiteY3" fmla="*/ 1970087 h 2959173"/>
                  <a:gd name="connsiteX4" fmla="*/ 414337 w 805083"/>
                  <a:gd name="connsiteY4" fmla="*/ 1693862 h 2959173"/>
                  <a:gd name="connsiteX5" fmla="*/ 509587 w 805083"/>
                  <a:gd name="connsiteY5" fmla="*/ 1370012 h 2959173"/>
                  <a:gd name="connsiteX6" fmla="*/ 801687 w 805083"/>
                  <a:gd name="connsiteY6" fmla="*/ 901700 h 2959173"/>
                  <a:gd name="connsiteX7" fmla="*/ 692149 w 805083"/>
                  <a:gd name="connsiteY7" fmla="*/ 0 h 2959173"/>
                  <a:gd name="connsiteX0" fmla="*/ 0 w 806133"/>
                  <a:gd name="connsiteY0" fmla="*/ 2933699 h 2936948"/>
                  <a:gd name="connsiteX1" fmla="*/ 228600 w 806133"/>
                  <a:gd name="connsiteY1" fmla="*/ 2809874 h 2936948"/>
                  <a:gd name="connsiteX2" fmla="*/ 261937 w 806133"/>
                  <a:gd name="connsiteY2" fmla="*/ 2195512 h 2936948"/>
                  <a:gd name="connsiteX3" fmla="*/ 404812 w 806133"/>
                  <a:gd name="connsiteY3" fmla="*/ 1947862 h 2936948"/>
                  <a:gd name="connsiteX4" fmla="*/ 414337 w 806133"/>
                  <a:gd name="connsiteY4" fmla="*/ 1671637 h 2936948"/>
                  <a:gd name="connsiteX5" fmla="*/ 509587 w 806133"/>
                  <a:gd name="connsiteY5" fmla="*/ 1347787 h 2936948"/>
                  <a:gd name="connsiteX6" fmla="*/ 801687 w 806133"/>
                  <a:gd name="connsiteY6" fmla="*/ 879475 h 2936948"/>
                  <a:gd name="connsiteX7" fmla="*/ 711199 w 806133"/>
                  <a:gd name="connsiteY7" fmla="*/ 0 h 2936948"/>
                  <a:gd name="connsiteX0" fmla="*/ 0 w 577533"/>
                  <a:gd name="connsiteY0" fmla="*/ 2809874 h 2809874"/>
                  <a:gd name="connsiteX1" fmla="*/ 33337 w 577533"/>
                  <a:gd name="connsiteY1" fmla="*/ 2195512 h 2809874"/>
                  <a:gd name="connsiteX2" fmla="*/ 176212 w 577533"/>
                  <a:gd name="connsiteY2" fmla="*/ 1947862 h 2809874"/>
                  <a:gd name="connsiteX3" fmla="*/ 185737 w 577533"/>
                  <a:gd name="connsiteY3" fmla="*/ 1671637 h 2809874"/>
                  <a:gd name="connsiteX4" fmla="*/ 280987 w 577533"/>
                  <a:gd name="connsiteY4" fmla="*/ 1347787 h 2809874"/>
                  <a:gd name="connsiteX5" fmla="*/ 573087 w 577533"/>
                  <a:gd name="connsiteY5" fmla="*/ 879475 h 2809874"/>
                  <a:gd name="connsiteX6" fmla="*/ 482599 w 577533"/>
                  <a:gd name="connsiteY6" fmla="*/ 0 h 280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533" h="2809874">
                    <a:moveTo>
                      <a:pt x="0" y="2809874"/>
                    </a:moveTo>
                    <a:cubicBezTo>
                      <a:pt x="43656" y="2686843"/>
                      <a:pt x="3968" y="2339181"/>
                      <a:pt x="33337" y="2195512"/>
                    </a:cubicBezTo>
                    <a:cubicBezTo>
                      <a:pt x="62706" y="2051843"/>
                      <a:pt x="150812" y="2035174"/>
                      <a:pt x="176212" y="1947862"/>
                    </a:cubicBezTo>
                    <a:cubicBezTo>
                      <a:pt x="201612" y="1860550"/>
                      <a:pt x="168275" y="1771649"/>
                      <a:pt x="185737" y="1671637"/>
                    </a:cubicBezTo>
                    <a:cubicBezTo>
                      <a:pt x="203199" y="1571625"/>
                      <a:pt x="216429" y="1479814"/>
                      <a:pt x="280987" y="1347787"/>
                    </a:cubicBezTo>
                    <a:cubicBezTo>
                      <a:pt x="345545" y="1215760"/>
                      <a:pt x="539485" y="1104106"/>
                      <a:pt x="573087" y="879475"/>
                    </a:cubicBezTo>
                    <a:cubicBezTo>
                      <a:pt x="606689" y="654844"/>
                      <a:pt x="437354" y="484187"/>
                      <a:pt x="482599"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grpSp>
          <p:nvGrpSpPr>
            <p:cNvPr id="1000" name="Group 999"/>
            <p:cNvGrpSpPr/>
            <p:nvPr/>
          </p:nvGrpSpPr>
          <p:grpSpPr>
            <a:xfrm flipH="1">
              <a:off x="3945730" y="1235076"/>
              <a:ext cx="1181101" cy="2884487"/>
              <a:chOff x="4614862" y="1235076"/>
              <a:chExt cx="1181101" cy="2884487"/>
            </a:xfrm>
          </p:grpSpPr>
          <p:sp>
            <p:nvSpPr>
              <p:cNvPr id="1001" name="Freeform 1000"/>
              <p:cNvSpPr/>
              <p:nvPr/>
            </p:nvSpPr>
            <p:spPr>
              <a:xfrm>
                <a:off x="5143501"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2" name="Freeform 1001"/>
              <p:cNvSpPr/>
              <p:nvPr/>
            </p:nvSpPr>
            <p:spPr>
              <a:xfrm>
                <a:off x="5100638"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3" name="Freeform 1002"/>
              <p:cNvSpPr/>
              <p:nvPr/>
            </p:nvSpPr>
            <p:spPr>
              <a:xfrm>
                <a:off x="5053013"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4" name="Freeform 1003"/>
              <p:cNvSpPr/>
              <p:nvPr/>
            </p:nvSpPr>
            <p:spPr>
              <a:xfrm>
                <a:off x="5000626" y="1781176"/>
                <a:ext cx="652462" cy="23383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652462"/>
                  <a:gd name="connsiteY0" fmla="*/ 2338387 h 2338387"/>
                  <a:gd name="connsiteX1" fmla="*/ 33337 w 652462"/>
                  <a:gd name="connsiteY1" fmla="*/ 1724025 h 2338387"/>
                  <a:gd name="connsiteX2" fmla="*/ 176212 w 652462"/>
                  <a:gd name="connsiteY2" fmla="*/ 1476375 h 2338387"/>
                  <a:gd name="connsiteX3" fmla="*/ 185737 w 652462"/>
                  <a:gd name="connsiteY3" fmla="*/ 1200150 h 2338387"/>
                  <a:gd name="connsiteX4" fmla="*/ 280987 w 652462"/>
                  <a:gd name="connsiteY4" fmla="*/ 876300 h 2338387"/>
                  <a:gd name="connsiteX5" fmla="*/ 585787 w 652462"/>
                  <a:gd name="connsiteY5" fmla="*/ 390525 h 2338387"/>
                  <a:gd name="connsiteX6" fmla="*/ 652462 w 652462"/>
                  <a:gd name="connsiteY6" fmla="*/ 0 h 23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2" h="2338387">
                    <a:moveTo>
                      <a:pt x="0" y="2338387"/>
                    </a:moveTo>
                    <a:cubicBezTo>
                      <a:pt x="43656" y="2215356"/>
                      <a:pt x="3968" y="1867694"/>
                      <a:pt x="33337" y="1724025"/>
                    </a:cubicBezTo>
                    <a:cubicBezTo>
                      <a:pt x="62706" y="1580356"/>
                      <a:pt x="150812" y="1563687"/>
                      <a:pt x="176212" y="1476375"/>
                    </a:cubicBezTo>
                    <a:cubicBezTo>
                      <a:pt x="201612" y="1389063"/>
                      <a:pt x="168275" y="1300162"/>
                      <a:pt x="185737" y="1200150"/>
                    </a:cubicBezTo>
                    <a:cubicBezTo>
                      <a:pt x="203199" y="1100138"/>
                      <a:pt x="214312" y="1011237"/>
                      <a:pt x="280987" y="876300"/>
                    </a:cubicBezTo>
                    <a:cubicBezTo>
                      <a:pt x="347662" y="741363"/>
                      <a:pt x="523875" y="536575"/>
                      <a:pt x="585787" y="390525"/>
                    </a:cubicBezTo>
                    <a:cubicBezTo>
                      <a:pt x="647699" y="244475"/>
                      <a:pt x="650080" y="122237"/>
                      <a:pt x="6524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5" name="Freeform 1004"/>
              <p:cNvSpPr/>
              <p:nvPr/>
            </p:nvSpPr>
            <p:spPr>
              <a:xfrm>
                <a:off x="4957763" y="1612901"/>
                <a:ext cx="788987" cy="2506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04887"/>
                  <a:gd name="connsiteY0" fmla="*/ 2681287 h 2684536"/>
                  <a:gd name="connsiteX1" fmla="*/ 228600 w 1004887"/>
                  <a:gd name="connsiteY1" fmla="*/ 2557462 h 2684536"/>
                  <a:gd name="connsiteX2" fmla="*/ 261937 w 1004887"/>
                  <a:gd name="connsiteY2" fmla="*/ 1943100 h 2684536"/>
                  <a:gd name="connsiteX3" fmla="*/ 404812 w 1004887"/>
                  <a:gd name="connsiteY3" fmla="*/ 1695450 h 2684536"/>
                  <a:gd name="connsiteX4" fmla="*/ 414337 w 1004887"/>
                  <a:gd name="connsiteY4" fmla="*/ 1419225 h 2684536"/>
                  <a:gd name="connsiteX5" fmla="*/ 509587 w 1004887"/>
                  <a:gd name="connsiteY5" fmla="*/ 1095375 h 2684536"/>
                  <a:gd name="connsiteX6" fmla="*/ 814387 w 1004887"/>
                  <a:gd name="connsiteY6" fmla="*/ 609600 h 2684536"/>
                  <a:gd name="connsiteX7" fmla="*/ 1004887 w 1004887"/>
                  <a:gd name="connsiteY7" fmla="*/ 0 h 26845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1017587"/>
                  <a:gd name="connsiteY0" fmla="*/ 2630487 h 2633736"/>
                  <a:gd name="connsiteX1" fmla="*/ 228600 w 1017587"/>
                  <a:gd name="connsiteY1" fmla="*/ 2506662 h 2633736"/>
                  <a:gd name="connsiteX2" fmla="*/ 261937 w 1017587"/>
                  <a:gd name="connsiteY2" fmla="*/ 1892300 h 2633736"/>
                  <a:gd name="connsiteX3" fmla="*/ 404812 w 1017587"/>
                  <a:gd name="connsiteY3" fmla="*/ 1644650 h 2633736"/>
                  <a:gd name="connsiteX4" fmla="*/ 414337 w 1017587"/>
                  <a:gd name="connsiteY4" fmla="*/ 1368425 h 2633736"/>
                  <a:gd name="connsiteX5" fmla="*/ 509587 w 1017587"/>
                  <a:gd name="connsiteY5" fmla="*/ 1044575 h 2633736"/>
                  <a:gd name="connsiteX6" fmla="*/ 814387 w 1017587"/>
                  <a:gd name="connsiteY6" fmla="*/ 558800 h 2633736"/>
                  <a:gd name="connsiteX7" fmla="*/ 1017587 w 1017587"/>
                  <a:gd name="connsiteY7" fmla="*/ 0 h 2633736"/>
                  <a:gd name="connsiteX0" fmla="*/ 0 w 788987"/>
                  <a:gd name="connsiteY0" fmla="*/ 2506662 h 2506662"/>
                  <a:gd name="connsiteX1" fmla="*/ 33337 w 788987"/>
                  <a:gd name="connsiteY1" fmla="*/ 1892300 h 2506662"/>
                  <a:gd name="connsiteX2" fmla="*/ 176212 w 788987"/>
                  <a:gd name="connsiteY2" fmla="*/ 1644650 h 2506662"/>
                  <a:gd name="connsiteX3" fmla="*/ 185737 w 788987"/>
                  <a:gd name="connsiteY3" fmla="*/ 1368425 h 2506662"/>
                  <a:gd name="connsiteX4" fmla="*/ 280987 w 788987"/>
                  <a:gd name="connsiteY4" fmla="*/ 1044575 h 2506662"/>
                  <a:gd name="connsiteX5" fmla="*/ 585787 w 788987"/>
                  <a:gd name="connsiteY5" fmla="*/ 558800 h 2506662"/>
                  <a:gd name="connsiteX6" fmla="*/ 788987 w 788987"/>
                  <a:gd name="connsiteY6" fmla="*/ 0 h 25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987" h="2506662">
                    <a:moveTo>
                      <a:pt x="0" y="2506662"/>
                    </a:moveTo>
                    <a:cubicBezTo>
                      <a:pt x="43656" y="2383631"/>
                      <a:pt x="3968" y="2035969"/>
                      <a:pt x="33337" y="1892300"/>
                    </a:cubicBezTo>
                    <a:cubicBezTo>
                      <a:pt x="62706" y="1748631"/>
                      <a:pt x="150812" y="1731962"/>
                      <a:pt x="176212" y="1644650"/>
                    </a:cubicBezTo>
                    <a:cubicBezTo>
                      <a:pt x="201612" y="1557338"/>
                      <a:pt x="168275" y="1468437"/>
                      <a:pt x="185737" y="1368425"/>
                    </a:cubicBezTo>
                    <a:cubicBezTo>
                      <a:pt x="203199" y="1268413"/>
                      <a:pt x="214312" y="1179512"/>
                      <a:pt x="280987" y="1044575"/>
                    </a:cubicBezTo>
                    <a:cubicBezTo>
                      <a:pt x="347662" y="909638"/>
                      <a:pt x="501120" y="732896"/>
                      <a:pt x="585787" y="558800"/>
                    </a:cubicBezTo>
                    <a:cubicBezTo>
                      <a:pt x="670454" y="384704"/>
                      <a:pt x="500855" y="182562"/>
                      <a:pt x="78898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6" name="Freeform 1005"/>
              <p:cNvSpPr/>
              <p:nvPr/>
            </p:nvSpPr>
            <p:spPr>
              <a:xfrm>
                <a:off x="4905376" y="1504951"/>
                <a:ext cx="804862" cy="261461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1033462"/>
                  <a:gd name="connsiteY0" fmla="*/ 2738437 h 2741686"/>
                  <a:gd name="connsiteX1" fmla="*/ 228600 w 1033462"/>
                  <a:gd name="connsiteY1" fmla="*/ 2614612 h 2741686"/>
                  <a:gd name="connsiteX2" fmla="*/ 261937 w 1033462"/>
                  <a:gd name="connsiteY2" fmla="*/ 2000250 h 2741686"/>
                  <a:gd name="connsiteX3" fmla="*/ 404812 w 1033462"/>
                  <a:gd name="connsiteY3" fmla="*/ 1752600 h 2741686"/>
                  <a:gd name="connsiteX4" fmla="*/ 414337 w 1033462"/>
                  <a:gd name="connsiteY4" fmla="*/ 1476375 h 2741686"/>
                  <a:gd name="connsiteX5" fmla="*/ 509587 w 1033462"/>
                  <a:gd name="connsiteY5" fmla="*/ 1152525 h 2741686"/>
                  <a:gd name="connsiteX6" fmla="*/ 814387 w 1033462"/>
                  <a:gd name="connsiteY6" fmla="*/ 666750 h 2741686"/>
                  <a:gd name="connsiteX7" fmla="*/ 1033462 w 1033462"/>
                  <a:gd name="connsiteY7" fmla="*/ 0 h 2741686"/>
                  <a:gd name="connsiteX0" fmla="*/ 0 w 804862"/>
                  <a:gd name="connsiteY0" fmla="*/ 2614612 h 2614612"/>
                  <a:gd name="connsiteX1" fmla="*/ 33337 w 804862"/>
                  <a:gd name="connsiteY1" fmla="*/ 2000250 h 2614612"/>
                  <a:gd name="connsiteX2" fmla="*/ 176212 w 804862"/>
                  <a:gd name="connsiteY2" fmla="*/ 1752600 h 2614612"/>
                  <a:gd name="connsiteX3" fmla="*/ 185737 w 804862"/>
                  <a:gd name="connsiteY3" fmla="*/ 1476375 h 2614612"/>
                  <a:gd name="connsiteX4" fmla="*/ 280987 w 804862"/>
                  <a:gd name="connsiteY4" fmla="*/ 1152525 h 2614612"/>
                  <a:gd name="connsiteX5" fmla="*/ 585787 w 804862"/>
                  <a:gd name="connsiteY5" fmla="*/ 666750 h 2614612"/>
                  <a:gd name="connsiteX6" fmla="*/ 804862 w 804862"/>
                  <a:gd name="connsiteY6" fmla="*/ 0 h 26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4862" h="2614612">
                    <a:moveTo>
                      <a:pt x="0" y="2614612"/>
                    </a:moveTo>
                    <a:cubicBezTo>
                      <a:pt x="43656" y="2491581"/>
                      <a:pt x="3968" y="2143919"/>
                      <a:pt x="33337" y="2000250"/>
                    </a:cubicBezTo>
                    <a:cubicBezTo>
                      <a:pt x="62706" y="1856581"/>
                      <a:pt x="150812" y="1839912"/>
                      <a:pt x="176212" y="1752600"/>
                    </a:cubicBezTo>
                    <a:cubicBezTo>
                      <a:pt x="201612" y="1665288"/>
                      <a:pt x="168275" y="1576387"/>
                      <a:pt x="185737" y="1476375"/>
                    </a:cubicBezTo>
                    <a:cubicBezTo>
                      <a:pt x="203199" y="1376363"/>
                      <a:pt x="214312" y="1287462"/>
                      <a:pt x="280987" y="1152525"/>
                    </a:cubicBezTo>
                    <a:cubicBezTo>
                      <a:pt x="347662" y="1017588"/>
                      <a:pt x="498474" y="858838"/>
                      <a:pt x="585787" y="666750"/>
                    </a:cubicBezTo>
                    <a:cubicBezTo>
                      <a:pt x="673100" y="474662"/>
                      <a:pt x="519905" y="204787"/>
                      <a:pt x="804862"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7" name="Freeform 1006"/>
              <p:cNvSpPr/>
              <p:nvPr/>
            </p:nvSpPr>
            <p:spPr>
              <a:xfrm>
                <a:off x="4852989" y="1435101"/>
                <a:ext cx="782637" cy="26844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1011237"/>
                  <a:gd name="connsiteY0" fmla="*/ 2808287 h 2811536"/>
                  <a:gd name="connsiteX1" fmla="*/ 228600 w 1011237"/>
                  <a:gd name="connsiteY1" fmla="*/ 2684462 h 2811536"/>
                  <a:gd name="connsiteX2" fmla="*/ 261937 w 1011237"/>
                  <a:gd name="connsiteY2" fmla="*/ 2070100 h 2811536"/>
                  <a:gd name="connsiteX3" fmla="*/ 404812 w 1011237"/>
                  <a:gd name="connsiteY3" fmla="*/ 1822450 h 2811536"/>
                  <a:gd name="connsiteX4" fmla="*/ 414337 w 1011237"/>
                  <a:gd name="connsiteY4" fmla="*/ 1546225 h 2811536"/>
                  <a:gd name="connsiteX5" fmla="*/ 509587 w 1011237"/>
                  <a:gd name="connsiteY5" fmla="*/ 1222375 h 2811536"/>
                  <a:gd name="connsiteX6" fmla="*/ 814387 w 1011237"/>
                  <a:gd name="connsiteY6" fmla="*/ 736600 h 2811536"/>
                  <a:gd name="connsiteX7" fmla="*/ 1011237 w 1011237"/>
                  <a:gd name="connsiteY7" fmla="*/ 0 h 2811536"/>
                  <a:gd name="connsiteX0" fmla="*/ 0 w 782637"/>
                  <a:gd name="connsiteY0" fmla="*/ 2684462 h 2684462"/>
                  <a:gd name="connsiteX1" fmla="*/ 33337 w 782637"/>
                  <a:gd name="connsiteY1" fmla="*/ 2070100 h 2684462"/>
                  <a:gd name="connsiteX2" fmla="*/ 176212 w 782637"/>
                  <a:gd name="connsiteY2" fmla="*/ 1822450 h 2684462"/>
                  <a:gd name="connsiteX3" fmla="*/ 185737 w 782637"/>
                  <a:gd name="connsiteY3" fmla="*/ 1546225 h 2684462"/>
                  <a:gd name="connsiteX4" fmla="*/ 280987 w 782637"/>
                  <a:gd name="connsiteY4" fmla="*/ 1222375 h 2684462"/>
                  <a:gd name="connsiteX5" fmla="*/ 585787 w 782637"/>
                  <a:gd name="connsiteY5" fmla="*/ 736600 h 2684462"/>
                  <a:gd name="connsiteX6" fmla="*/ 782637 w 782637"/>
                  <a:gd name="connsiteY6" fmla="*/ 0 h 268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2637" h="2684462">
                    <a:moveTo>
                      <a:pt x="0" y="2684462"/>
                    </a:moveTo>
                    <a:cubicBezTo>
                      <a:pt x="43656" y="2561431"/>
                      <a:pt x="3968" y="2213769"/>
                      <a:pt x="33337" y="2070100"/>
                    </a:cubicBezTo>
                    <a:cubicBezTo>
                      <a:pt x="62706" y="1926431"/>
                      <a:pt x="150812" y="1909762"/>
                      <a:pt x="176212" y="1822450"/>
                    </a:cubicBezTo>
                    <a:cubicBezTo>
                      <a:pt x="201612" y="1735138"/>
                      <a:pt x="168275" y="1646237"/>
                      <a:pt x="185737" y="1546225"/>
                    </a:cubicBezTo>
                    <a:cubicBezTo>
                      <a:pt x="203199" y="1446213"/>
                      <a:pt x="214312" y="1357312"/>
                      <a:pt x="280987" y="1222375"/>
                    </a:cubicBezTo>
                    <a:cubicBezTo>
                      <a:pt x="347662" y="1087438"/>
                      <a:pt x="502179" y="940329"/>
                      <a:pt x="585787" y="736600"/>
                    </a:cubicBezTo>
                    <a:cubicBezTo>
                      <a:pt x="669395" y="532871"/>
                      <a:pt x="504030" y="255587"/>
                      <a:pt x="7826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8" name="Freeform 1007"/>
              <p:cNvSpPr/>
              <p:nvPr/>
            </p:nvSpPr>
            <p:spPr>
              <a:xfrm>
                <a:off x="4810125" y="1358901"/>
                <a:ext cx="769937" cy="2760662"/>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43795"/>
                  <a:gd name="connsiteY0" fmla="*/ 2659062 h 2662311"/>
                  <a:gd name="connsiteX1" fmla="*/ 228600 w 843795"/>
                  <a:gd name="connsiteY1" fmla="*/ 2535237 h 2662311"/>
                  <a:gd name="connsiteX2" fmla="*/ 261937 w 843795"/>
                  <a:gd name="connsiteY2" fmla="*/ 1920875 h 2662311"/>
                  <a:gd name="connsiteX3" fmla="*/ 404812 w 843795"/>
                  <a:gd name="connsiteY3" fmla="*/ 1673225 h 2662311"/>
                  <a:gd name="connsiteX4" fmla="*/ 414337 w 843795"/>
                  <a:gd name="connsiteY4" fmla="*/ 1397000 h 2662311"/>
                  <a:gd name="connsiteX5" fmla="*/ 509587 w 843795"/>
                  <a:gd name="connsiteY5" fmla="*/ 1073150 h 2662311"/>
                  <a:gd name="connsiteX6" fmla="*/ 814387 w 843795"/>
                  <a:gd name="connsiteY6" fmla="*/ 587375 h 2662311"/>
                  <a:gd name="connsiteX7" fmla="*/ 833437 w 843795"/>
                  <a:gd name="connsiteY7" fmla="*/ 0 h 266231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1008062"/>
                  <a:gd name="connsiteY0" fmla="*/ 2868612 h 2871861"/>
                  <a:gd name="connsiteX1" fmla="*/ 228600 w 1008062"/>
                  <a:gd name="connsiteY1" fmla="*/ 2744787 h 2871861"/>
                  <a:gd name="connsiteX2" fmla="*/ 261937 w 1008062"/>
                  <a:gd name="connsiteY2" fmla="*/ 2130425 h 2871861"/>
                  <a:gd name="connsiteX3" fmla="*/ 404812 w 1008062"/>
                  <a:gd name="connsiteY3" fmla="*/ 1882775 h 2871861"/>
                  <a:gd name="connsiteX4" fmla="*/ 414337 w 1008062"/>
                  <a:gd name="connsiteY4" fmla="*/ 1606550 h 2871861"/>
                  <a:gd name="connsiteX5" fmla="*/ 509587 w 1008062"/>
                  <a:gd name="connsiteY5" fmla="*/ 1282700 h 2871861"/>
                  <a:gd name="connsiteX6" fmla="*/ 814387 w 1008062"/>
                  <a:gd name="connsiteY6" fmla="*/ 796925 h 2871861"/>
                  <a:gd name="connsiteX7" fmla="*/ 1008062 w 1008062"/>
                  <a:gd name="connsiteY7" fmla="*/ 0 h 2871861"/>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998537"/>
                  <a:gd name="connsiteY0" fmla="*/ 2884487 h 2887736"/>
                  <a:gd name="connsiteX1" fmla="*/ 228600 w 998537"/>
                  <a:gd name="connsiteY1" fmla="*/ 2760662 h 2887736"/>
                  <a:gd name="connsiteX2" fmla="*/ 261937 w 998537"/>
                  <a:gd name="connsiteY2" fmla="*/ 2146300 h 2887736"/>
                  <a:gd name="connsiteX3" fmla="*/ 404812 w 998537"/>
                  <a:gd name="connsiteY3" fmla="*/ 1898650 h 2887736"/>
                  <a:gd name="connsiteX4" fmla="*/ 414337 w 998537"/>
                  <a:gd name="connsiteY4" fmla="*/ 1622425 h 2887736"/>
                  <a:gd name="connsiteX5" fmla="*/ 509587 w 998537"/>
                  <a:gd name="connsiteY5" fmla="*/ 1298575 h 2887736"/>
                  <a:gd name="connsiteX6" fmla="*/ 814387 w 998537"/>
                  <a:gd name="connsiteY6" fmla="*/ 812800 h 2887736"/>
                  <a:gd name="connsiteX7" fmla="*/ 998537 w 998537"/>
                  <a:gd name="connsiteY7" fmla="*/ 0 h 2887736"/>
                  <a:gd name="connsiteX0" fmla="*/ 0 w 769937"/>
                  <a:gd name="connsiteY0" fmla="*/ 2760662 h 2760662"/>
                  <a:gd name="connsiteX1" fmla="*/ 33337 w 769937"/>
                  <a:gd name="connsiteY1" fmla="*/ 2146300 h 2760662"/>
                  <a:gd name="connsiteX2" fmla="*/ 176212 w 769937"/>
                  <a:gd name="connsiteY2" fmla="*/ 1898650 h 2760662"/>
                  <a:gd name="connsiteX3" fmla="*/ 185737 w 769937"/>
                  <a:gd name="connsiteY3" fmla="*/ 1622425 h 2760662"/>
                  <a:gd name="connsiteX4" fmla="*/ 280987 w 769937"/>
                  <a:gd name="connsiteY4" fmla="*/ 1298575 h 2760662"/>
                  <a:gd name="connsiteX5" fmla="*/ 585787 w 769937"/>
                  <a:gd name="connsiteY5" fmla="*/ 812800 h 2760662"/>
                  <a:gd name="connsiteX6" fmla="*/ 769937 w 769937"/>
                  <a:gd name="connsiteY6" fmla="*/ 0 h 276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9937" h="2760662">
                    <a:moveTo>
                      <a:pt x="0" y="2760662"/>
                    </a:moveTo>
                    <a:cubicBezTo>
                      <a:pt x="43656" y="2637631"/>
                      <a:pt x="3968" y="2289969"/>
                      <a:pt x="33337" y="2146300"/>
                    </a:cubicBezTo>
                    <a:cubicBezTo>
                      <a:pt x="62706" y="2002631"/>
                      <a:pt x="150812" y="1985962"/>
                      <a:pt x="176212" y="1898650"/>
                    </a:cubicBezTo>
                    <a:cubicBezTo>
                      <a:pt x="201612" y="1811338"/>
                      <a:pt x="168275" y="1722437"/>
                      <a:pt x="185737" y="1622425"/>
                    </a:cubicBezTo>
                    <a:cubicBezTo>
                      <a:pt x="203199" y="1522413"/>
                      <a:pt x="214312" y="1433512"/>
                      <a:pt x="280987" y="1298575"/>
                    </a:cubicBezTo>
                    <a:cubicBezTo>
                      <a:pt x="347662" y="1163638"/>
                      <a:pt x="504295" y="1029229"/>
                      <a:pt x="585787" y="812800"/>
                    </a:cubicBezTo>
                    <a:cubicBezTo>
                      <a:pt x="667279" y="596371"/>
                      <a:pt x="438942" y="441325"/>
                      <a:pt x="7699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09" name="Freeform 1008"/>
              <p:cNvSpPr/>
              <p:nvPr/>
            </p:nvSpPr>
            <p:spPr>
              <a:xfrm>
                <a:off x="4752976" y="1266826"/>
                <a:ext cx="738187" cy="285273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966787"/>
                  <a:gd name="connsiteY0" fmla="*/ 2976562 h 2979811"/>
                  <a:gd name="connsiteX1" fmla="*/ 228600 w 966787"/>
                  <a:gd name="connsiteY1" fmla="*/ 2852737 h 2979811"/>
                  <a:gd name="connsiteX2" fmla="*/ 261937 w 966787"/>
                  <a:gd name="connsiteY2" fmla="*/ 2238375 h 2979811"/>
                  <a:gd name="connsiteX3" fmla="*/ 404812 w 966787"/>
                  <a:gd name="connsiteY3" fmla="*/ 1990725 h 2979811"/>
                  <a:gd name="connsiteX4" fmla="*/ 414337 w 966787"/>
                  <a:gd name="connsiteY4" fmla="*/ 1714500 h 2979811"/>
                  <a:gd name="connsiteX5" fmla="*/ 509587 w 966787"/>
                  <a:gd name="connsiteY5" fmla="*/ 1390650 h 2979811"/>
                  <a:gd name="connsiteX6" fmla="*/ 814387 w 966787"/>
                  <a:gd name="connsiteY6" fmla="*/ 904875 h 2979811"/>
                  <a:gd name="connsiteX7" fmla="*/ 966787 w 966787"/>
                  <a:gd name="connsiteY7" fmla="*/ 0 h 2979811"/>
                  <a:gd name="connsiteX0" fmla="*/ 0 w 738187"/>
                  <a:gd name="connsiteY0" fmla="*/ 2852737 h 2852737"/>
                  <a:gd name="connsiteX1" fmla="*/ 33337 w 738187"/>
                  <a:gd name="connsiteY1" fmla="*/ 2238375 h 2852737"/>
                  <a:gd name="connsiteX2" fmla="*/ 176212 w 738187"/>
                  <a:gd name="connsiteY2" fmla="*/ 1990725 h 2852737"/>
                  <a:gd name="connsiteX3" fmla="*/ 185737 w 738187"/>
                  <a:gd name="connsiteY3" fmla="*/ 1714500 h 2852737"/>
                  <a:gd name="connsiteX4" fmla="*/ 280987 w 738187"/>
                  <a:gd name="connsiteY4" fmla="*/ 1390650 h 2852737"/>
                  <a:gd name="connsiteX5" fmla="*/ 585787 w 738187"/>
                  <a:gd name="connsiteY5" fmla="*/ 904875 h 2852737"/>
                  <a:gd name="connsiteX6" fmla="*/ 738187 w 738187"/>
                  <a:gd name="connsiteY6" fmla="*/ 0 h 285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187" h="2852737">
                    <a:moveTo>
                      <a:pt x="0" y="2852737"/>
                    </a:moveTo>
                    <a:cubicBezTo>
                      <a:pt x="43656" y="2729706"/>
                      <a:pt x="3968" y="2382044"/>
                      <a:pt x="33337" y="2238375"/>
                    </a:cubicBezTo>
                    <a:cubicBezTo>
                      <a:pt x="62706" y="2094706"/>
                      <a:pt x="150812" y="2078037"/>
                      <a:pt x="176212" y="1990725"/>
                    </a:cubicBezTo>
                    <a:cubicBezTo>
                      <a:pt x="201612" y="1903413"/>
                      <a:pt x="168275" y="1814512"/>
                      <a:pt x="185737" y="1714500"/>
                    </a:cubicBezTo>
                    <a:cubicBezTo>
                      <a:pt x="203199" y="1614488"/>
                      <a:pt x="214312" y="1525587"/>
                      <a:pt x="280987" y="1390650"/>
                    </a:cubicBezTo>
                    <a:cubicBezTo>
                      <a:pt x="347662" y="1255713"/>
                      <a:pt x="509587" y="1136650"/>
                      <a:pt x="585787" y="904875"/>
                    </a:cubicBezTo>
                    <a:cubicBezTo>
                      <a:pt x="661987" y="673100"/>
                      <a:pt x="383380" y="612774"/>
                      <a:pt x="73818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0" name="Freeform 1009"/>
              <p:cNvSpPr/>
              <p:nvPr/>
            </p:nvSpPr>
            <p:spPr>
              <a:xfrm>
                <a:off x="4705351" y="1235076"/>
                <a:ext cx="706437" cy="2884487"/>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935037"/>
                  <a:gd name="connsiteY0" fmla="*/ 3008312 h 3011561"/>
                  <a:gd name="connsiteX1" fmla="*/ 228600 w 935037"/>
                  <a:gd name="connsiteY1" fmla="*/ 2884487 h 3011561"/>
                  <a:gd name="connsiteX2" fmla="*/ 261937 w 935037"/>
                  <a:gd name="connsiteY2" fmla="*/ 2270125 h 3011561"/>
                  <a:gd name="connsiteX3" fmla="*/ 404812 w 935037"/>
                  <a:gd name="connsiteY3" fmla="*/ 2022475 h 3011561"/>
                  <a:gd name="connsiteX4" fmla="*/ 414337 w 935037"/>
                  <a:gd name="connsiteY4" fmla="*/ 1746250 h 3011561"/>
                  <a:gd name="connsiteX5" fmla="*/ 509587 w 935037"/>
                  <a:gd name="connsiteY5" fmla="*/ 1422400 h 3011561"/>
                  <a:gd name="connsiteX6" fmla="*/ 814387 w 935037"/>
                  <a:gd name="connsiteY6" fmla="*/ 936625 h 3011561"/>
                  <a:gd name="connsiteX7" fmla="*/ 935037 w 935037"/>
                  <a:gd name="connsiteY7" fmla="*/ 0 h 3011561"/>
                  <a:gd name="connsiteX0" fmla="*/ 0 w 706437"/>
                  <a:gd name="connsiteY0" fmla="*/ 2884487 h 2884487"/>
                  <a:gd name="connsiteX1" fmla="*/ 33337 w 706437"/>
                  <a:gd name="connsiteY1" fmla="*/ 2270125 h 2884487"/>
                  <a:gd name="connsiteX2" fmla="*/ 176212 w 706437"/>
                  <a:gd name="connsiteY2" fmla="*/ 2022475 h 2884487"/>
                  <a:gd name="connsiteX3" fmla="*/ 185737 w 706437"/>
                  <a:gd name="connsiteY3" fmla="*/ 1746250 h 2884487"/>
                  <a:gd name="connsiteX4" fmla="*/ 280987 w 706437"/>
                  <a:gd name="connsiteY4" fmla="*/ 1422400 h 2884487"/>
                  <a:gd name="connsiteX5" fmla="*/ 585787 w 706437"/>
                  <a:gd name="connsiteY5" fmla="*/ 936625 h 2884487"/>
                  <a:gd name="connsiteX6" fmla="*/ 706437 w 706437"/>
                  <a:gd name="connsiteY6" fmla="*/ 0 h 288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6437" h="2884487">
                    <a:moveTo>
                      <a:pt x="0" y="2884487"/>
                    </a:moveTo>
                    <a:cubicBezTo>
                      <a:pt x="43656" y="2761456"/>
                      <a:pt x="3968" y="2413794"/>
                      <a:pt x="33337" y="2270125"/>
                    </a:cubicBezTo>
                    <a:cubicBezTo>
                      <a:pt x="62706" y="2126456"/>
                      <a:pt x="150812" y="2109787"/>
                      <a:pt x="176212" y="2022475"/>
                    </a:cubicBezTo>
                    <a:cubicBezTo>
                      <a:pt x="201612" y="1935163"/>
                      <a:pt x="168275" y="1846262"/>
                      <a:pt x="185737" y="1746250"/>
                    </a:cubicBezTo>
                    <a:cubicBezTo>
                      <a:pt x="203199" y="1646238"/>
                      <a:pt x="214312" y="1557337"/>
                      <a:pt x="280987" y="1422400"/>
                    </a:cubicBezTo>
                    <a:cubicBezTo>
                      <a:pt x="347662" y="1287463"/>
                      <a:pt x="514879" y="1173692"/>
                      <a:pt x="585787" y="936625"/>
                    </a:cubicBezTo>
                    <a:cubicBezTo>
                      <a:pt x="656695" y="699558"/>
                      <a:pt x="348455" y="611187"/>
                      <a:pt x="7064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1" name="Freeform 1010"/>
              <p:cNvSpPr/>
              <p:nvPr/>
            </p:nvSpPr>
            <p:spPr>
              <a:xfrm>
                <a:off x="4662488" y="1287463"/>
                <a:ext cx="591708" cy="283209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642"/>
                  <a:gd name="connsiteY0" fmla="*/ 2800349 h 2803598"/>
                  <a:gd name="connsiteX1" fmla="*/ 228600 w 814642"/>
                  <a:gd name="connsiteY1" fmla="*/ 2676524 h 2803598"/>
                  <a:gd name="connsiteX2" fmla="*/ 261937 w 814642"/>
                  <a:gd name="connsiteY2" fmla="*/ 2062162 h 2803598"/>
                  <a:gd name="connsiteX3" fmla="*/ 404812 w 814642"/>
                  <a:gd name="connsiteY3" fmla="*/ 1814512 h 2803598"/>
                  <a:gd name="connsiteX4" fmla="*/ 414337 w 814642"/>
                  <a:gd name="connsiteY4" fmla="*/ 1538287 h 2803598"/>
                  <a:gd name="connsiteX5" fmla="*/ 509587 w 814642"/>
                  <a:gd name="connsiteY5" fmla="*/ 1214437 h 2803598"/>
                  <a:gd name="connsiteX6" fmla="*/ 814387 w 814642"/>
                  <a:gd name="connsiteY6" fmla="*/ 728662 h 2803598"/>
                  <a:gd name="connsiteX7" fmla="*/ 566737 w 814642"/>
                  <a:gd name="connsiteY7" fmla="*/ 0 h 2803598"/>
                  <a:gd name="connsiteX0" fmla="*/ 0 w 814548"/>
                  <a:gd name="connsiteY0" fmla="*/ 2800349 h 2803598"/>
                  <a:gd name="connsiteX1" fmla="*/ 228600 w 814548"/>
                  <a:gd name="connsiteY1" fmla="*/ 2676524 h 2803598"/>
                  <a:gd name="connsiteX2" fmla="*/ 261937 w 814548"/>
                  <a:gd name="connsiteY2" fmla="*/ 2062162 h 2803598"/>
                  <a:gd name="connsiteX3" fmla="*/ 404812 w 814548"/>
                  <a:gd name="connsiteY3" fmla="*/ 1814512 h 2803598"/>
                  <a:gd name="connsiteX4" fmla="*/ 414337 w 814548"/>
                  <a:gd name="connsiteY4" fmla="*/ 1538287 h 2803598"/>
                  <a:gd name="connsiteX5" fmla="*/ 509587 w 814548"/>
                  <a:gd name="connsiteY5" fmla="*/ 1214437 h 2803598"/>
                  <a:gd name="connsiteX6" fmla="*/ 814387 w 814548"/>
                  <a:gd name="connsiteY6" fmla="*/ 728662 h 2803598"/>
                  <a:gd name="connsiteX7" fmla="*/ 566737 w 814548"/>
                  <a:gd name="connsiteY7" fmla="*/ 0 h 2803598"/>
                  <a:gd name="connsiteX0" fmla="*/ 0 w 820308"/>
                  <a:gd name="connsiteY0" fmla="*/ 2955924 h 2959173"/>
                  <a:gd name="connsiteX1" fmla="*/ 228600 w 820308"/>
                  <a:gd name="connsiteY1" fmla="*/ 2832099 h 2959173"/>
                  <a:gd name="connsiteX2" fmla="*/ 261937 w 820308"/>
                  <a:gd name="connsiteY2" fmla="*/ 2217737 h 2959173"/>
                  <a:gd name="connsiteX3" fmla="*/ 404812 w 820308"/>
                  <a:gd name="connsiteY3" fmla="*/ 1970087 h 2959173"/>
                  <a:gd name="connsiteX4" fmla="*/ 414337 w 820308"/>
                  <a:gd name="connsiteY4" fmla="*/ 1693862 h 2959173"/>
                  <a:gd name="connsiteX5" fmla="*/ 509587 w 820308"/>
                  <a:gd name="connsiteY5" fmla="*/ 1370012 h 2959173"/>
                  <a:gd name="connsiteX6" fmla="*/ 814387 w 820308"/>
                  <a:gd name="connsiteY6" fmla="*/ 884237 h 2959173"/>
                  <a:gd name="connsiteX7" fmla="*/ 782637 w 820308"/>
                  <a:gd name="connsiteY7" fmla="*/ 0 h 2959173"/>
                  <a:gd name="connsiteX0" fmla="*/ 0 w 591708"/>
                  <a:gd name="connsiteY0" fmla="*/ 2832099 h 2832099"/>
                  <a:gd name="connsiteX1" fmla="*/ 33337 w 591708"/>
                  <a:gd name="connsiteY1" fmla="*/ 2217737 h 2832099"/>
                  <a:gd name="connsiteX2" fmla="*/ 176212 w 591708"/>
                  <a:gd name="connsiteY2" fmla="*/ 1970087 h 2832099"/>
                  <a:gd name="connsiteX3" fmla="*/ 185737 w 591708"/>
                  <a:gd name="connsiteY3" fmla="*/ 1693862 h 2832099"/>
                  <a:gd name="connsiteX4" fmla="*/ 280987 w 591708"/>
                  <a:gd name="connsiteY4" fmla="*/ 1370012 h 2832099"/>
                  <a:gd name="connsiteX5" fmla="*/ 585787 w 591708"/>
                  <a:gd name="connsiteY5" fmla="*/ 884237 h 2832099"/>
                  <a:gd name="connsiteX6" fmla="*/ 554037 w 591708"/>
                  <a:gd name="connsiteY6" fmla="*/ 0 h 283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708" h="2832099">
                    <a:moveTo>
                      <a:pt x="0" y="2832099"/>
                    </a:moveTo>
                    <a:cubicBezTo>
                      <a:pt x="43656" y="2709068"/>
                      <a:pt x="3968" y="2361406"/>
                      <a:pt x="33337" y="2217737"/>
                    </a:cubicBezTo>
                    <a:cubicBezTo>
                      <a:pt x="62706" y="2074068"/>
                      <a:pt x="150812" y="2057399"/>
                      <a:pt x="176212" y="1970087"/>
                    </a:cubicBezTo>
                    <a:cubicBezTo>
                      <a:pt x="201612" y="1882775"/>
                      <a:pt x="168275" y="1793874"/>
                      <a:pt x="185737" y="1693862"/>
                    </a:cubicBezTo>
                    <a:cubicBezTo>
                      <a:pt x="203199" y="1593850"/>
                      <a:pt x="214312" y="1504949"/>
                      <a:pt x="280987" y="1370012"/>
                    </a:cubicBezTo>
                    <a:cubicBezTo>
                      <a:pt x="347662" y="1235075"/>
                      <a:pt x="540279" y="1112572"/>
                      <a:pt x="585787" y="884237"/>
                    </a:cubicBezTo>
                    <a:cubicBezTo>
                      <a:pt x="631295" y="655902"/>
                      <a:pt x="394492" y="455612"/>
                      <a:pt x="554037"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012" name="Freeform 1011"/>
              <p:cNvSpPr/>
              <p:nvPr/>
            </p:nvSpPr>
            <p:spPr>
              <a:xfrm>
                <a:off x="4614862" y="1309689"/>
                <a:ext cx="577533" cy="2809874"/>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747"/>
                  <a:gd name="connsiteY0" fmla="*/ 2481262 h 2484511"/>
                  <a:gd name="connsiteX1" fmla="*/ 228600 w 814747"/>
                  <a:gd name="connsiteY1" fmla="*/ 2357437 h 2484511"/>
                  <a:gd name="connsiteX2" fmla="*/ 261937 w 814747"/>
                  <a:gd name="connsiteY2" fmla="*/ 1743075 h 2484511"/>
                  <a:gd name="connsiteX3" fmla="*/ 404812 w 814747"/>
                  <a:gd name="connsiteY3" fmla="*/ 1495425 h 2484511"/>
                  <a:gd name="connsiteX4" fmla="*/ 414337 w 814747"/>
                  <a:gd name="connsiteY4" fmla="*/ 1219200 h 2484511"/>
                  <a:gd name="connsiteX5" fmla="*/ 509587 w 814747"/>
                  <a:gd name="connsiteY5" fmla="*/ 895350 h 2484511"/>
                  <a:gd name="connsiteX6" fmla="*/ 814387 w 814747"/>
                  <a:gd name="connsiteY6" fmla="*/ 409575 h 2484511"/>
                  <a:gd name="connsiteX7" fmla="*/ 442912 w 814747"/>
                  <a:gd name="connsiteY7" fmla="*/ 0 h 2484511"/>
                  <a:gd name="connsiteX0" fmla="*/ 0 w 814909"/>
                  <a:gd name="connsiteY0" fmla="*/ 2800349 h 2803598"/>
                  <a:gd name="connsiteX1" fmla="*/ 228600 w 814909"/>
                  <a:gd name="connsiteY1" fmla="*/ 2676524 h 2803598"/>
                  <a:gd name="connsiteX2" fmla="*/ 261937 w 814909"/>
                  <a:gd name="connsiteY2" fmla="*/ 2062162 h 2803598"/>
                  <a:gd name="connsiteX3" fmla="*/ 404812 w 814909"/>
                  <a:gd name="connsiteY3" fmla="*/ 1814512 h 2803598"/>
                  <a:gd name="connsiteX4" fmla="*/ 414337 w 814909"/>
                  <a:gd name="connsiteY4" fmla="*/ 1538287 h 2803598"/>
                  <a:gd name="connsiteX5" fmla="*/ 509587 w 814909"/>
                  <a:gd name="connsiteY5" fmla="*/ 1214437 h 2803598"/>
                  <a:gd name="connsiteX6" fmla="*/ 814387 w 814909"/>
                  <a:gd name="connsiteY6" fmla="*/ 728662 h 2803598"/>
                  <a:gd name="connsiteX7" fmla="*/ 428624 w 814909"/>
                  <a:gd name="connsiteY7" fmla="*/ 0 h 2803598"/>
                  <a:gd name="connsiteX0" fmla="*/ 0 w 748375"/>
                  <a:gd name="connsiteY0" fmla="*/ 2800349 h 2803598"/>
                  <a:gd name="connsiteX1" fmla="*/ 228600 w 748375"/>
                  <a:gd name="connsiteY1" fmla="*/ 2676524 h 2803598"/>
                  <a:gd name="connsiteX2" fmla="*/ 261937 w 748375"/>
                  <a:gd name="connsiteY2" fmla="*/ 2062162 h 2803598"/>
                  <a:gd name="connsiteX3" fmla="*/ 404812 w 748375"/>
                  <a:gd name="connsiteY3" fmla="*/ 1814512 h 2803598"/>
                  <a:gd name="connsiteX4" fmla="*/ 414337 w 748375"/>
                  <a:gd name="connsiteY4" fmla="*/ 1538287 h 2803598"/>
                  <a:gd name="connsiteX5" fmla="*/ 509587 w 748375"/>
                  <a:gd name="connsiteY5" fmla="*/ 1214437 h 2803598"/>
                  <a:gd name="connsiteX6" fmla="*/ 747712 w 748375"/>
                  <a:gd name="connsiteY6" fmla="*/ 723900 h 2803598"/>
                  <a:gd name="connsiteX7" fmla="*/ 428624 w 748375"/>
                  <a:gd name="connsiteY7" fmla="*/ 0 h 2803598"/>
                  <a:gd name="connsiteX0" fmla="*/ 0 w 752341"/>
                  <a:gd name="connsiteY0" fmla="*/ 2955924 h 2959173"/>
                  <a:gd name="connsiteX1" fmla="*/ 228600 w 752341"/>
                  <a:gd name="connsiteY1" fmla="*/ 2832099 h 2959173"/>
                  <a:gd name="connsiteX2" fmla="*/ 261937 w 752341"/>
                  <a:gd name="connsiteY2" fmla="*/ 2217737 h 2959173"/>
                  <a:gd name="connsiteX3" fmla="*/ 404812 w 752341"/>
                  <a:gd name="connsiteY3" fmla="*/ 1970087 h 2959173"/>
                  <a:gd name="connsiteX4" fmla="*/ 414337 w 752341"/>
                  <a:gd name="connsiteY4" fmla="*/ 1693862 h 2959173"/>
                  <a:gd name="connsiteX5" fmla="*/ 509587 w 752341"/>
                  <a:gd name="connsiteY5" fmla="*/ 1370012 h 2959173"/>
                  <a:gd name="connsiteX6" fmla="*/ 747712 w 752341"/>
                  <a:gd name="connsiteY6" fmla="*/ 879475 h 2959173"/>
                  <a:gd name="connsiteX7" fmla="*/ 692149 w 752341"/>
                  <a:gd name="connsiteY7" fmla="*/ 0 h 2959173"/>
                  <a:gd name="connsiteX0" fmla="*/ 0 w 805083"/>
                  <a:gd name="connsiteY0" fmla="*/ 2955924 h 2959173"/>
                  <a:gd name="connsiteX1" fmla="*/ 228600 w 805083"/>
                  <a:gd name="connsiteY1" fmla="*/ 2832099 h 2959173"/>
                  <a:gd name="connsiteX2" fmla="*/ 261937 w 805083"/>
                  <a:gd name="connsiteY2" fmla="*/ 2217737 h 2959173"/>
                  <a:gd name="connsiteX3" fmla="*/ 404812 w 805083"/>
                  <a:gd name="connsiteY3" fmla="*/ 1970087 h 2959173"/>
                  <a:gd name="connsiteX4" fmla="*/ 414337 w 805083"/>
                  <a:gd name="connsiteY4" fmla="*/ 1693862 h 2959173"/>
                  <a:gd name="connsiteX5" fmla="*/ 509587 w 805083"/>
                  <a:gd name="connsiteY5" fmla="*/ 1370012 h 2959173"/>
                  <a:gd name="connsiteX6" fmla="*/ 801687 w 805083"/>
                  <a:gd name="connsiteY6" fmla="*/ 901700 h 2959173"/>
                  <a:gd name="connsiteX7" fmla="*/ 692149 w 805083"/>
                  <a:gd name="connsiteY7" fmla="*/ 0 h 2959173"/>
                  <a:gd name="connsiteX0" fmla="*/ 0 w 806133"/>
                  <a:gd name="connsiteY0" fmla="*/ 2933699 h 2936948"/>
                  <a:gd name="connsiteX1" fmla="*/ 228600 w 806133"/>
                  <a:gd name="connsiteY1" fmla="*/ 2809874 h 2936948"/>
                  <a:gd name="connsiteX2" fmla="*/ 261937 w 806133"/>
                  <a:gd name="connsiteY2" fmla="*/ 2195512 h 2936948"/>
                  <a:gd name="connsiteX3" fmla="*/ 404812 w 806133"/>
                  <a:gd name="connsiteY3" fmla="*/ 1947862 h 2936948"/>
                  <a:gd name="connsiteX4" fmla="*/ 414337 w 806133"/>
                  <a:gd name="connsiteY4" fmla="*/ 1671637 h 2936948"/>
                  <a:gd name="connsiteX5" fmla="*/ 509587 w 806133"/>
                  <a:gd name="connsiteY5" fmla="*/ 1347787 h 2936948"/>
                  <a:gd name="connsiteX6" fmla="*/ 801687 w 806133"/>
                  <a:gd name="connsiteY6" fmla="*/ 879475 h 2936948"/>
                  <a:gd name="connsiteX7" fmla="*/ 711199 w 806133"/>
                  <a:gd name="connsiteY7" fmla="*/ 0 h 2936948"/>
                  <a:gd name="connsiteX0" fmla="*/ 0 w 577533"/>
                  <a:gd name="connsiteY0" fmla="*/ 2809874 h 2809874"/>
                  <a:gd name="connsiteX1" fmla="*/ 33337 w 577533"/>
                  <a:gd name="connsiteY1" fmla="*/ 2195512 h 2809874"/>
                  <a:gd name="connsiteX2" fmla="*/ 176212 w 577533"/>
                  <a:gd name="connsiteY2" fmla="*/ 1947862 h 2809874"/>
                  <a:gd name="connsiteX3" fmla="*/ 185737 w 577533"/>
                  <a:gd name="connsiteY3" fmla="*/ 1671637 h 2809874"/>
                  <a:gd name="connsiteX4" fmla="*/ 280987 w 577533"/>
                  <a:gd name="connsiteY4" fmla="*/ 1347787 h 2809874"/>
                  <a:gd name="connsiteX5" fmla="*/ 573087 w 577533"/>
                  <a:gd name="connsiteY5" fmla="*/ 879475 h 2809874"/>
                  <a:gd name="connsiteX6" fmla="*/ 482599 w 577533"/>
                  <a:gd name="connsiteY6" fmla="*/ 0 h 280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533" h="2809874">
                    <a:moveTo>
                      <a:pt x="0" y="2809874"/>
                    </a:moveTo>
                    <a:cubicBezTo>
                      <a:pt x="43656" y="2686843"/>
                      <a:pt x="3968" y="2339181"/>
                      <a:pt x="33337" y="2195512"/>
                    </a:cubicBezTo>
                    <a:cubicBezTo>
                      <a:pt x="62706" y="2051843"/>
                      <a:pt x="150812" y="2035174"/>
                      <a:pt x="176212" y="1947862"/>
                    </a:cubicBezTo>
                    <a:cubicBezTo>
                      <a:pt x="201612" y="1860550"/>
                      <a:pt x="168275" y="1771649"/>
                      <a:pt x="185737" y="1671637"/>
                    </a:cubicBezTo>
                    <a:cubicBezTo>
                      <a:pt x="203199" y="1571625"/>
                      <a:pt x="216429" y="1479814"/>
                      <a:pt x="280987" y="1347787"/>
                    </a:cubicBezTo>
                    <a:cubicBezTo>
                      <a:pt x="345545" y="1215760"/>
                      <a:pt x="539485" y="1104106"/>
                      <a:pt x="573087" y="879475"/>
                    </a:cubicBezTo>
                    <a:cubicBezTo>
                      <a:pt x="606689" y="654844"/>
                      <a:pt x="437354" y="484187"/>
                      <a:pt x="482599"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grpSp>
      <p:sp>
        <p:nvSpPr>
          <p:cNvPr id="957" name="Freeform 956"/>
          <p:cNvSpPr/>
          <p:nvPr/>
        </p:nvSpPr>
        <p:spPr>
          <a:xfrm>
            <a:off x="1420910" y="867844"/>
            <a:ext cx="999637" cy="399298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826" h="3518407">
                <a:moveTo>
                  <a:pt x="0" y="3515158"/>
                </a:moveTo>
                <a:cubicBezTo>
                  <a:pt x="58737" y="3526270"/>
                  <a:pt x="184944" y="3514364"/>
                  <a:pt x="228600" y="3391333"/>
                </a:cubicBezTo>
                <a:cubicBezTo>
                  <a:pt x="272256" y="3268302"/>
                  <a:pt x="232568" y="2920640"/>
                  <a:pt x="261937" y="2776971"/>
                </a:cubicBezTo>
                <a:cubicBezTo>
                  <a:pt x="291306" y="2633302"/>
                  <a:pt x="379412" y="2616633"/>
                  <a:pt x="404812" y="2529321"/>
                </a:cubicBezTo>
                <a:cubicBezTo>
                  <a:pt x="430212" y="2442009"/>
                  <a:pt x="396875" y="2353108"/>
                  <a:pt x="414337" y="2253096"/>
                </a:cubicBezTo>
                <a:cubicBezTo>
                  <a:pt x="431799" y="2153084"/>
                  <a:pt x="448781" y="2057304"/>
                  <a:pt x="509587" y="1929246"/>
                </a:cubicBezTo>
                <a:cubicBezTo>
                  <a:pt x="570393" y="1801188"/>
                  <a:pt x="704080" y="1643496"/>
                  <a:pt x="779174" y="1484746"/>
                </a:cubicBezTo>
                <a:cubicBezTo>
                  <a:pt x="854268" y="1325996"/>
                  <a:pt x="1144804" y="548698"/>
                  <a:pt x="206808"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58" name="Freeform 957"/>
          <p:cNvSpPr/>
          <p:nvPr/>
        </p:nvSpPr>
        <p:spPr>
          <a:xfrm flipH="1">
            <a:off x="43587" y="867844"/>
            <a:ext cx="999637" cy="399298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826" h="3518407">
                <a:moveTo>
                  <a:pt x="0" y="3515158"/>
                </a:moveTo>
                <a:cubicBezTo>
                  <a:pt x="58737" y="3526270"/>
                  <a:pt x="184944" y="3514364"/>
                  <a:pt x="228600" y="3391333"/>
                </a:cubicBezTo>
                <a:cubicBezTo>
                  <a:pt x="272256" y="3268302"/>
                  <a:pt x="232568" y="2920640"/>
                  <a:pt x="261937" y="2776971"/>
                </a:cubicBezTo>
                <a:cubicBezTo>
                  <a:pt x="291306" y="2633302"/>
                  <a:pt x="379412" y="2616633"/>
                  <a:pt x="404812" y="2529321"/>
                </a:cubicBezTo>
                <a:cubicBezTo>
                  <a:pt x="430212" y="2442009"/>
                  <a:pt x="396875" y="2353108"/>
                  <a:pt x="414337" y="2253096"/>
                </a:cubicBezTo>
                <a:cubicBezTo>
                  <a:pt x="431799" y="2153084"/>
                  <a:pt x="448781" y="2057304"/>
                  <a:pt x="509587" y="1929246"/>
                </a:cubicBezTo>
                <a:cubicBezTo>
                  <a:pt x="570393" y="1801188"/>
                  <a:pt x="704080" y="1643496"/>
                  <a:pt x="779174" y="1484746"/>
                </a:cubicBezTo>
                <a:cubicBezTo>
                  <a:pt x="854268" y="1325996"/>
                  <a:pt x="1144804" y="548698"/>
                  <a:pt x="206808"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nvGrpSpPr>
          <p:cNvPr id="959" name="Group 958"/>
          <p:cNvGrpSpPr/>
          <p:nvPr/>
        </p:nvGrpSpPr>
        <p:grpSpPr>
          <a:xfrm>
            <a:off x="1226326" y="687828"/>
            <a:ext cx="349366" cy="2382386"/>
            <a:chOff x="4795828" y="569609"/>
            <a:chExt cx="307843" cy="2099231"/>
          </a:xfrm>
        </p:grpSpPr>
        <p:sp>
          <p:nvSpPr>
            <p:cNvPr id="996" name="Freeform 995"/>
            <p:cNvSpPr/>
            <p:nvPr/>
          </p:nvSpPr>
          <p:spPr>
            <a:xfrm rot="10800000">
              <a:off x="4798974" y="616871"/>
              <a:ext cx="304697" cy="205196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Lst>
              <a:ahLst/>
              <a:cxnLst>
                <a:cxn ang="0">
                  <a:pos x="connsiteX0" y="connsiteY0"/>
                </a:cxn>
                <a:cxn ang="0">
                  <a:pos x="connsiteX1" y="connsiteY1"/>
                </a:cxn>
                <a:cxn ang="0">
                  <a:pos x="connsiteX2" y="connsiteY2"/>
                </a:cxn>
                <a:cxn ang="0">
                  <a:pos x="connsiteX3" y="connsiteY3"/>
                </a:cxn>
              </a:cxnLst>
              <a:rect l="l" t="t" r="r" b="b"/>
              <a:pathLst>
                <a:path w="378537" h="1772866">
                  <a:moveTo>
                    <a:pt x="378537" y="0"/>
                  </a:moveTo>
                  <a:cubicBezTo>
                    <a:pt x="252529" y="231483"/>
                    <a:pt x="-76696" y="316422"/>
                    <a:pt x="30019" y="592247"/>
                  </a:cubicBezTo>
                  <a:cubicBezTo>
                    <a:pt x="136734" y="868072"/>
                    <a:pt x="195503" y="1112546"/>
                    <a:pt x="190500" y="1309316"/>
                  </a:cubicBezTo>
                  <a:cubicBezTo>
                    <a:pt x="185497" y="1506086"/>
                    <a:pt x="97896" y="1663857"/>
                    <a:pt x="0" y="1772866"/>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97" name="Freeform 996"/>
            <p:cNvSpPr/>
            <p:nvPr/>
          </p:nvSpPr>
          <p:spPr>
            <a:xfrm rot="10800000">
              <a:off x="4795828" y="584317"/>
              <a:ext cx="254954" cy="2074194"/>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Lst>
              <a:ahLst/>
              <a:cxnLst>
                <a:cxn ang="0">
                  <a:pos x="connsiteX0" y="connsiteY0"/>
                </a:cxn>
                <a:cxn ang="0">
                  <a:pos x="connsiteX1" y="connsiteY1"/>
                </a:cxn>
                <a:cxn ang="0">
                  <a:pos x="connsiteX2" y="connsiteY2"/>
                </a:cxn>
                <a:cxn ang="0">
                  <a:pos x="connsiteX3" y="connsiteY3"/>
                </a:cxn>
              </a:cxnLst>
              <a:rect l="l" t="t" r="r" b="b"/>
              <a:pathLst>
                <a:path w="316739" h="1792068">
                  <a:moveTo>
                    <a:pt x="316739" y="0"/>
                  </a:moveTo>
                  <a:cubicBezTo>
                    <a:pt x="190731" y="231483"/>
                    <a:pt x="-94447" y="324193"/>
                    <a:pt x="31333" y="614192"/>
                  </a:cubicBezTo>
                  <a:cubicBezTo>
                    <a:pt x="157113" y="904191"/>
                    <a:pt x="219826" y="1132205"/>
                    <a:pt x="219424" y="1328518"/>
                  </a:cubicBezTo>
                  <a:cubicBezTo>
                    <a:pt x="219023" y="1524831"/>
                    <a:pt x="126820" y="1683059"/>
                    <a:pt x="28924" y="1792068"/>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98" name="Freeform 997"/>
            <p:cNvSpPr/>
            <p:nvPr/>
          </p:nvSpPr>
          <p:spPr>
            <a:xfrm rot="10800000">
              <a:off x="4797350" y="569609"/>
              <a:ext cx="178722" cy="208371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 name="connsiteX0" fmla="*/ 212871 w 212871"/>
                <a:gd name="connsiteY0" fmla="*/ 0 h 1805784"/>
                <a:gd name="connsiteX1" fmla="*/ 2409 w 212871"/>
                <a:gd name="connsiteY1" fmla="*/ 627908 h 1805784"/>
                <a:gd name="connsiteX2" fmla="*/ 190500 w 212871"/>
                <a:gd name="connsiteY2" fmla="*/ 1342234 h 1805784"/>
                <a:gd name="connsiteX3" fmla="*/ 0 w 212871"/>
                <a:gd name="connsiteY3" fmla="*/ 1805784 h 1805784"/>
                <a:gd name="connsiteX0" fmla="*/ 244746 w 244746"/>
                <a:gd name="connsiteY0" fmla="*/ 0 h 1805784"/>
                <a:gd name="connsiteX1" fmla="*/ 34284 w 244746"/>
                <a:gd name="connsiteY1" fmla="*/ 627908 h 1805784"/>
                <a:gd name="connsiteX2" fmla="*/ 222375 w 244746"/>
                <a:gd name="connsiteY2" fmla="*/ 1342234 h 1805784"/>
                <a:gd name="connsiteX3" fmla="*/ 31875 w 244746"/>
                <a:gd name="connsiteY3" fmla="*/ 1805784 h 1805784"/>
                <a:gd name="connsiteX0" fmla="*/ 226986 w 226986"/>
                <a:gd name="connsiteY0" fmla="*/ 0 h 1805784"/>
                <a:gd name="connsiteX1" fmla="*/ 16524 w 226986"/>
                <a:gd name="connsiteY1" fmla="*/ 627908 h 1805784"/>
                <a:gd name="connsiteX2" fmla="*/ 204615 w 226986"/>
                <a:gd name="connsiteY2" fmla="*/ 1342234 h 1805784"/>
                <a:gd name="connsiteX3" fmla="*/ 14115 w 226986"/>
                <a:gd name="connsiteY3" fmla="*/ 1805784 h 1805784"/>
                <a:gd name="connsiteX0" fmla="*/ 243199 w 243199"/>
                <a:gd name="connsiteY0" fmla="*/ 0 h 1805784"/>
                <a:gd name="connsiteX1" fmla="*/ 32737 w 243199"/>
                <a:gd name="connsiteY1" fmla="*/ 627908 h 1805784"/>
                <a:gd name="connsiteX2" fmla="*/ 220828 w 243199"/>
                <a:gd name="connsiteY2" fmla="*/ 1342234 h 1805784"/>
                <a:gd name="connsiteX3" fmla="*/ 30328 w 243199"/>
                <a:gd name="connsiteY3" fmla="*/ 1805784 h 1805784"/>
                <a:gd name="connsiteX0" fmla="*/ 181315 w 190500"/>
                <a:gd name="connsiteY0" fmla="*/ 0 h 1800298"/>
                <a:gd name="connsiteX1" fmla="*/ 2409 w 190500"/>
                <a:gd name="connsiteY1" fmla="*/ 622422 h 1800298"/>
                <a:gd name="connsiteX2" fmla="*/ 190500 w 190500"/>
                <a:gd name="connsiteY2" fmla="*/ 1336748 h 1800298"/>
                <a:gd name="connsiteX3" fmla="*/ 0 w 190500"/>
                <a:gd name="connsiteY3" fmla="*/ 1800298 h 1800298"/>
                <a:gd name="connsiteX0" fmla="*/ 198733 w 207919"/>
                <a:gd name="connsiteY0" fmla="*/ 0 h 1800298"/>
                <a:gd name="connsiteX1" fmla="*/ 19827 w 207919"/>
                <a:gd name="connsiteY1" fmla="*/ 622422 h 1800298"/>
                <a:gd name="connsiteX2" fmla="*/ 207918 w 207919"/>
                <a:gd name="connsiteY2" fmla="*/ 1336748 h 1800298"/>
                <a:gd name="connsiteX3" fmla="*/ 17418 w 207919"/>
                <a:gd name="connsiteY3" fmla="*/ 1800298 h 1800298"/>
                <a:gd name="connsiteX0" fmla="*/ 211242 w 220428"/>
                <a:gd name="connsiteY0" fmla="*/ 0 h 1800298"/>
                <a:gd name="connsiteX1" fmla="*/ 32336 w 220428"/>
                <a:gd name="connsiteY1" fmla="*/ 622422 h 1800298"/>
                <a:gd name="connsiteX2" fmla="*/ 220427 w 220428"/>
                <a:gd name="connsiteY2" fmla="*/ 1336748 h 1800298"/>
                <a:gd name="connsiteX3" fmla="*/ 29927 w 220428"/>
                <a:gd name="connsiteY3" fmla="*/ 1800298 h 1800298"/>
                <a:gd name="connsiteX0" fmla="*/ 212848 w 222034"/>
                <a:gd name="connsiteY0" fmla="*/ 0 h 1800298"/>
                <a:gd name="connsiteX1" fmla="*/ 33942 w 222034"/>
                <a:gd name="connsiteY1" fmla="*/ 622422 h 1800298"/>
                <a:gd name="connsiteX2" fmla="*/ 222033 w 222034"/>
                <a:gd name="connsiteY2" fmla="*/ 1336748 h 1800298"/>
                <a:gd name="connsiteX3" fmla="*/ 31533 w 222034"/>
                <a:gd name="connsiteY3" fmla="*/ 1800298 h 1800298"/>
              </a:gdLst>
              <a:ahLst/>
              <a:cxnLst>
                <a:cxn ang="0">
                  <a:pos x="connsiteX0" y="connsiteY0"/>
                </a:cxn>
                <a:cxn ang="0">
                  <a:pos x="connsiteX1" y="connsiteY1"/>
                </a:cxn>
                <a:cxn ang="0">
                  <a:pos x="connsiteX2" y="connsiteY2"/>
                </a:cxn>
                <a:cxn ang="0">
                  <a:pos x="connsiteX3" y="connsiteY3"/>
                </a:cxn>
              </a:cxnLst>
              <a:rect l="l" t="t" r="r" b="b"/>
              <a:pathLst>
                <a:path w="222034" h="1800298">
                  <a:moveTo>
                    <a:pt x="212848" y="0"/>
                  </a:moveTo>
                  <a:cubicBezTo>
                    <a:pt x="86840" y="231483"/>
                    <a:pt x="-70144" y="331053"/>
                    <a:pt x="33942" y="622422"/>
                  </a:cubicBezTo>
                  <a:cubicBezTo>
                    <a:pt x="138028" y="913791"/>
                    <a:pt x="222435" y="1140435"/>
                    <a:pt x="222033" y="1336748"/>
                  </a:cubicBezTo>
                  <a:cubicBezTo>
                    <a:pt x="221632" y="1533061"/>
                    <a:pt x="129429" y="1691289"/>
                    <a:pt x="31533" y="1800298"/>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grpSp>
        <p:nvGrpSpPr>
          <p:cNvPr id="960" name="Group 959"/>
          <p:cNvGrpSpPr/>
          <p:nvPr/>
        </p:nvGrpSpPr>
        <p:grpSpPr>
          <a:xfrm flipH="1">
            <a:off x="888029" y="701776"/>
            <a:ext cx="349366" cy="2382386"/>
            <a:chOff x="4795828" y="569609"/>
            <a:chExt cx="307843" cy="2099231"/>
          </a:xfrm>
        </p:grpSpPr>
        <p:sp>
          <p:nvSpPr>
            <p:cNvPr id="993" name="Freeform 992"/>
            <p:cNvSpPr/>
            <p:nvPr/>
          </p:nvSpPr>
          <p:spPr>
            <a:xfrm rot="10800000">
              <a:off x="4798974" y="616871"/>
              <a:ext cx="304697" cy="205196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Lst>
              <a:ahLst/>
              <a:cxnLst>
                <a:cxn ang="0">
                  <a:pos x="connsiteX0" y="connsiteY0"/>
                </a:cxn>
                <a:cxn ang="0">
                  <a:pos x="connsiteX1" y="connsiteY1"/>
                </a:cxn>
                <a:cxn ang="0">
                  <a:pos x="connsiteX2" y="connsiteY2"/>
                </a:cxn>
                <a:cxn ang="0">
                  <a:pos x="connsiteX3" y="connsiteY3"/>
                </a:cxn>
              </a:cxnLst>
              <a:rect l="l" t="t" r="r" b="b"/>
              <a:pathLst>
                <a:path w="378537" h="1772866">
                  <a:moveTo>
                    <a:pt x="378537" y="0"/>
                  </a:moveTo>
                  <a:cubicBezTo>
                    <a:pt x="252529" y="231483"/>
                    <a:pt x="-76696" y="316422"/>
                    <a:pt x="30019" y="592247"/>
                  </a:cubicBezTo>
                  <a:cubicBezTo>
                    <a:pt x="136734" y="868072"/>
                    <a:pt x="195503" y="1112546"/>
                    <a:pt x="190500" y="1309316"/>
                  </a:cubicBezTo>
                  <a:cubicBezTo>
                    <a:pt x="185497" y="1506086"/>
                    <a:pt x="97896" y="1663857"/>
                    <a:pt x="0" y="1772866"/>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94" name="Freeform 993"/>
            <p:cNvSpPr/>
            <p:nvPr/>
          </p:nvSpPr>
          <p:spPr>
            <a:xfrm rot="10800000">
              <a:off x="4795828" y="584317"/>
              <a:ext cx="254954" cy="2074194"/>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Lst>
              <a:ahLst/>
              <a:cxnLst>
                <a:cxn ang="0">
                  <a:pos x="connsiteX0" y="connsiteY0"/>
                </a:cxn>
                <a:cxn ang="0">
                  <a:pos x="connsiteX1" y="connsiteY1"/>
                </a:cxn>
                <a:cxn ang="0">
                  <a:pos x="connsiteX2" y="connsiteY2"/>
                </a:cxn>
                <a:cxn ang="0">
                  <a:pos x="connsiteX3" y="connsiteY3"/>
                </a:cxn>
              </a:cxnLst>
              <a:rect l="l" t="t" r="r" b="b"/>
              <a:pathLst>
                <a:path w="316739" h="1792068">
                  <a:moveTo>
                    <a:pt x="316739" y="0"/>
                  </a:moveTo>
                  <a:cubicBezTo>
                    <a:pt x="190731" y="231483"/>
                    <a:pt x="-94447" y="324193"/>
                    <a:pt x="31333" y="614192"/>
                  </a:cubicBezTo>
                  <a:cubicBezTo>
                    <a:pt x="157113" y="904191"/>
                    <a:pt x="219826" y="1132205"/>
                    <a:pt x="219424" y="1328518"/>
                  </a:cubicBezTo>
                  <a:cubicBezTo>
                    <a:pt x="219023" y="1524831"/>
                    <a:pt x="126820" y="1683059"/>
                    <a:pt x="28924" y="1792068"/>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95" name="Freeform 994"/>
            <p:cNvSpPr/>
            <p:nvPr/>
          </p:nvSpPr>
          <p:spPr>
            <a:xfrm rot="10800000">
              <a:off x="4797350" y="569609"/>
              <a:ext cx="178722" cy="2083719"/>
            </a:xfrm>
            <a:custGeom>
              <a:avLst/>
              <a:gdLst>
                <a:gd name="connsiteX0" fmla="*/ 374650 w 374650"/>
                <a:gd name="connsiteY0" fmla="*/ 57606 h 1460956"/>
                <a:gd name="connsiteX1" fmla="*/ 82550 w 374650"/>
                <a:gd name="connsiteY1" fmla="*/ 102056 h 1460956"/>
                <a:gd name="connsiteX2" fmla="*/ 146050 w 374650"/>
                <a:gd name="connsiteY2" fmla="*/ 997406 h 1460956"/>
                <a:gd name="connsiteX3" fmla="*/ 0 w 374650"/>
                <a:gd name="connsiteY3" fmla="*/ 1460956 h 1460956"/>
                <a:gd name="connsiteX0" fmla="*/ 381000 w 381000"/>
                <a:gd name="connsiteY0" fmla="*/ 21034 h 1557734"/>
                <a:gd name="connsiteX1" fmla="*/ 82550 w 381000"/>
                <a:gd name="connsiteY1" fmla="*/ 198834 h 1557734"/>
                <a:gd name="connsiteX2" fmla="*/ 146050 w 381000"/>
                <a:gd name="connsiteY2" fmla="*/ 1094184 h 1557734"/>
                <a:gd name="connsiteX3" fmla="*/ 0 w 381000"/>
                <a:gd name="connsiteY3" fmla="*/ 1557734 h 1557734"/>
                <a:gd name="connsiteX0" fmla="*/ 381000 w 381000"/>
                <a:gd name="connsiteY0" fmla="*/ 0 h 1536700"/>
                <a:gd name="connsiteX1" fmla="*/ 82550 w 381000"/>
                <a:gd name="connsiteY1" fmla="*/ 1778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146050 w 381000"/>
                <a:gd name="connsiteY2" fmla="*/ 10731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1000 w 381000"/>
                <a:gd name="connsiteY0" fmla="*/ 0 h 1536700"/>
                <a:gd name="connsiteX1" fmla="*/ 69850 w 381000"/>
                <a:gd name="connsiteY1" fmla="*/ 266700 h 1536700"/>
                <a:gd name="connsiteX2" fmla="*/ 203200 w 381000"/>
                <a:gd name="connsiteY2" fmla="*/ 1162050 h 1536700"/>
                <a:gd name="connsiteX3" fmla="*/ 0 w 381000"/>
                <a:gd name="connsiteY3" fmla="*/ 1536700 h 153670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6375 w 384175"/>
                <a:gd name="connsiteY2" fmla="*/ 1162050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209550 w 384175"/>
                <a:gd name="connsiteY2" fmla="*/ 1152525 h 1619250"/>
                <a:gd name="connsiteX3" fmla="*/ 0 w 384175"/>
                <a:gd name="connsiteY3" fmla="*/ 1619250 h 1619250"/>
                <a:gd name="connsiteX0" fmla="*/ 384175 w 384175"/>
                <a:gd name="connsiteY0" fmla="*/ 0 h 1619250"/>
                <a:gd name="connsiteX1" fmla="*/ 73025 w 384175"/>
                <a:gd name="connsiteY1" fmla="*/ 266700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384175 w 384175"/>
                <a:gd name="connsiteY0" fmla="*/ 0 h 1619250"/>
                <a:gd name="connsiteX1" fmla="*/ 79375 w 384175"/>
                <a:gd name="connsiteY1" fmla="*/ 320675 h 1619250"/>
                <a:gd name="connsiteX2" fmla="*/ 190500 w 384175"/>
                <a:gd name="connsiteY2" fmla="*/ 1155700 h 1619250"/>
                <a:gd name="connsiteX3" fmla="*/ 0 w 384175"/>
                <a:gd name="connsiteY3" fmla="*/ 1619250 h 1619250"/>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79375 w 429815"/>
                <a:gd name="connsiteY1" fmla="*/ 474291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29815 w 429815"/>
                <a:gd name="connsiteY0" fmla="*/ 0 h 1772866"/>
                <a:gd name="connsiteX1" fmla="*/ 29171 w 429815"/>
                <a:gd name="connsiteY1" fmla="*/ 446860 h 1772866"/>
                <a:gd name="connsiteX2" fmla="*/ 190500 w 429815"/>
                <a:gd name="connsiteY2" fmla="*/ 1309316 h 1772866"/>
                <a:gd name="connsiteX3" fmla="*/ 0 w 429815"/>
                <a:gd name="connsiteY3" fmla="*/ 1772866 h 1772866"/>
                <a:gd name="connsiteX0" fmla="*/ 432595 w 432595"/>
                <a:gd name="connsiteY0" fmla="*/ 0 h 1772866"/>
                <a:gd name="connsiteX1" fmla="*/ 3 w 432595"/>
                <a:gd name="connsiteY1" fmla="*/ 534640 h 1772866"/>
                <a:gd name="connsiteX2" fmla="*/ 193280 w 432595"/>
                <a:gd name="connsiteY2" fmla="*/ 1309316 h 1772866"/>
                <a:gd name="connsiteX3" fmla="*/ 2780 w 432595"/>
                <a:gd name="connsiteY3" fmla="*/ 1772866 h 1772866"/>
                <a:gd name="connsiteX0" fmla="*/ 442496 w 442496"/>
                <a:gd name="connsiteY0" fmla="*/ 0 h 1772866"/>
                <a:gd name="connsiteX1" fmla="*/ 9904 w 442496"/>
                <a:gd name="connsiteY1" fmla="*/ 534640 h 1772866"/>
                <a:gd name="connsiteX2" fmla="*/ 203181 w 442496"/>
                <a:gd name="connsiteY2" fmla="*/ 1309316 h 1772866"/>
                <a:gd name="connsiteX3" fmla="*/ 12681 w 442496"/>
                <a:gd name="connsiteY3" fmla="*/ 1772866 h 1772866"/>
                <a:gd name="connsiteX0" fmla="*/ 429814 w 429814"/>
                <a:gd name="connsiteY0" fmla="*/ 0 h 1772866"/>
                <a:gd name="connsiteX1" fmla="*/ 33735 w 429814"/>
                <a:gd name="connsiteY1" fmla="*/ 488007 h 1772866"/>
                <a:gd name="connsiteX2" fmla="*/ 190499 w 429814"/>
                <a:gd name="connsiteY2" fmla="*/ 1309316 h 1772866"/>
                <a:gd name="connsiteX3" fmla="*/ -1 w 429814"/>
                <a:gd name="connsiteY3" fmla="*/ 1772866 h 1772866"/>
                <a:gd name="connsiteX0" fmla="*/ 429815 w 429815"/>
                <a:gd name="connsiteY0" fmla="*/ 0 h 1772866"/>
                <a:gd name="connsiteX1" fmla="*/ 33736 w 429815"/>
                <a:gd name="connsiteY1" fmla="*/ 488007 h 1772866"/>
                <a:gd name="connsiteX2" fmla="*/ 190500 w 429815"/>
                <a:gd name="connsiteY2" fmla="*/ 1309316 h 1772866"/>
                <a:gd name="connsiteX3" fmla="*/ 0 w 429815"/>
                <a:gd name="connsiteY3" fmla="*/ 1772866 h 1772866"/>
                <a:gd name="connsiteX0" fmla="*/ 429815 w 429815"/>
                <a:gd name="connsiteY0" fmla="*/ 0 h 1772866"/>
                <a:gd name="connsiteX1" fmla="*/ 6352 w 429815"/>
                <a:gd name="connsiteY1" fmla="*/ 515438 h 1772866"/>
                <a:gd name="connsiteX2" fmla="*/ 190500 w 429815"/>
                <a:gd name="connsiteY2" fmla="*/ 1309316 h 1772866"/>
                <a:gd name="connsiteX3" fmla="*/ 0 w 429815"/>
                <a:gd name="connsiteY3" fmla="*/ 1772866 h 1772866"/>
                <a:gd name="connsiteX0" fmla="*/ 434204 w 434204"/>
                <a:gd name="connsiteY0" fmla="*/ 0 h 1772866"/>
                <a:gd name="connsiteX1" fmla="*/ 10741 w 434204"/>
                <a:gd name="connsiteY1" fmla="*/ 515438 h 1772866"/>
                <a:gd name="connsiteX2" fmla="*/ 194889 w 434204"/>
                <a:gd name="connsiteY2" fmla="*/ 1309316 h 1772866"/>
                <a:gd name="connsiteX3" fmla="*/ 4389 w 434204"/>
                <a:gd name="connsiteY3" fmla="*/ 1772866 h 1772866"/>
                <a:gd name="connsiteX0" fmla="*/ 446160 w 446160"/>
                <a:gd name="connsiteY0" fmla="*/ 0 h 1772866"/>
                <a:gd name="connsiteX1" fmla="*/ 22697 w 446160"/>
                <a:gd name="connsiteY1" fmla="*/ 515438 h 1772866"/>
                <a:gd name="connsiteX2" fmla="*/ 206845 w 446160"/>
                <a:gd name="connsiteY2" fmla="*/ 1309316 h 1772866"/>
                <a:gd name="connsiteX3" fmla="*/ 16345 w 446160"/>
                <a:gd name="connsiteY3" fmla="*/ 1772866 h 1772866"/>
                <a:gd name="connsiteX0" fmla="*/ 446160 w 446160"/>
                <a:gd name="connsiteY0" fmla="*/ 0 h 1772866"/>
                <a:gd name="connsiteX1" fmla="*/ 22697 w 446160"/>
                <a:gd name="connsiteY1" fmla="*/ 594990 h 1772866"/>
                <a:gd name="connsiteX2" fmla="*/ 206845 w 446160"/>
                <a:gd name="connsiteY2" fmla="*/ 1309316 h 1772866"/>
                <a:gd name="connsiteX3" fmla="*/ 16345 w 446160"/>
                <a:gd name="connsiteY3" fmla="*/ 1772866 h 1772866"/>
                <a:gd name="connsiteX0" fmla="*/ 378537 w 378537"/>
                <a:gd name="connsiteY0" fmla="*/ 0 h 1772866"/>
                <a:gd name="connsiteX1" fmla="*/ 6352 w 378537"/>
                <a:gd name="connsiteY1" fmla="*/ 594990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49741 w 378537"/>
                <a:gd name="connsiteY1" fmla="*/ 586761 h 1772866"/>
                <a:gd name="connsiteX2" fmla="*/ 190500 w 378537"/>
                <a:gd name="connsiteY2" fmla="*/ 1309316 h 1772866"/>
                <a:gd name="connsiteX3" fmla="*/ 0 w 378537"/>
                <a:gd name="connsiteY3" fmla="*/ 1772866 h 1772866"/>
                <a:gd name="connsiteX0" fmla="*/ 378537 w 378537"/>
                <a:gd name="connsiteY0" fmla="*/ 0 h 1772866"/>
                <a:gd name="connsiteX1" fmla="*/ 30019 w 378537"/>
                <a:gd name="connsiteY1" fmla="*/ 592247 h 1772866"/>
                <a:gd name="connsiteX2" fmla="*/ 190500 w 378537"/>
                <a:gd name="connsiteY2" fmla="*/ 1309316 h 1772866"/>
                <a:gd name="connsiteX3" fmla="*/ 0 w 378537"/>
                <a:gd name="connsiteY3" fmla="*/ 1772866 h 1772866"/>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87815 w 287815"/>
                <a:gd name="connsiteY0" fmla="*/ 0 h 1792068"/>
                <a:gd name="connsiteX1" fmla="*/ 30019 w 287815"/>
                <a:gd name="connsiteY1" fmla="*/ 611449 h 1792068"/>
                <a:gd name="connsiteX2" fmla="*/ 190500 w 287815"/>
                <a:gd name="connsiteY2" fmla="*/ 1328518 h 1792068"/>
                <a:gd name="connsiteX3" fmla="*/ 0 w 287815"/>
                <a:gd name="connsiteY3" fmla="*/ 1792068 h 1792068"/>
                <a:gd name="connsiteX0" fmla="*/ 291510 w 291510"/>
                <a:gd name="connsiteY0" fmla="*/ 0 h 1792068"/>
                <a:gd name="connsiteX1" fmla="*/ 33714 w 291510"/>
                <a:gd name="connsiteY1" fmla="*/ 611449 h 1792068"/>
                <a:gd name="connsiteX2" fmla="*/ 194195 w 291510"/>
                <a:gd name="connsiteY2" fmla="*/ 1328518 h 1792068"/>
                <a:gd name="connsiteX3" fmla="*/ 3695 w 291510"/>
                <a:gd name="connsiteY3" fmla="*/ 1792068 h 1792068"/>
                <a:gd name="connsiteX0" fmla="*/ 316739 w 316739"/>
                <a:gd name="connsiteY0" fmla="*/ 0 h 1792068"/>
                <a:gd name="connsiteX1" fmla="*/ 31333 w 316739"/>
                <a:gd name="connsiteY1" fmla="*/ 614192 h 1792068"/>
                <a:gd name="connsiteX2" fmla="*/ 219424 w 316739"/>
                <a:gd name="connsiteY2" fmla="*/ 1328518 h 1792068"/>
                <a:gd name="connsiteX3" fmla="*/ 28924 w 316739"/>
                <a:gd name="connsiteY3" fmla="*/ 1792068 h 1792068"/>
                <a:gd name="connsiteX0" fmla="*/ 212871 w 212871"/>
                <a:gd name="connsiteY0" fmla="*/ 0 h 1805784"/>
                <a:gd name="connsiteX1" fmla="*/ 2409 w 212871"/>
                <a:gd name="connsiteY1" fmla="*/ 627908 h 1805784"/>
                <a:gd name="connsiteX2" fmla="*/ 190500 w 212871"/>
                <a:gd name="connsiteY2" fmla="*/ 1342234 h 1805784"/>
                <a:gd name="connsiteX3" fmla="*/ 0 w 212871"/>
                <a:gd name="connsiteY3" fmla="*/ 1805784 h 1805784"/>
                <a:gd name="connsiteX0" fmla="*/ 244746 w 244746"/>
                <a:gd name="connsiteY0" fmla="*/ 0 h 1805784"/>
                <a:gd name="connsiteX1" fmla="*/ 34284 w 244746"/>
                <a:gd name="connsiteY1" fmla="*/ 627908 h 1805784"/>
                <a:gd name="connsiteX2" fmla="*/ 222375 w 244746"/>
                <a:gd name="connsiteY2" fmla="*/ 1342234 h 1805784"/>
                <a:gd name="connsiteX3" fmla="*/ 31875 w 244746"/>
                <a:gd name="connsiteY3" fmla="*/ 1805784 h 1805784"/>
                <a:gd name="connsiteX0" fmla="*/ 226986 w 226986"/>
                <a:gd name="connsiteY0" fmla="*/ 0 h 1805784"/>
                <a:gd name="connsiteX1" fmla="*/ 16524 w 226986"/>
                <a:gd name="connsiteY1" fmla="*/ 627908 h 1805784"/>
                <a:gd name="connsiteX2" fmla="*/ 204615 w 226986"/>
                <a:gd name="connsiteY2" fmla="*/ 1342234 h 1805784"/>
                <a:gd name="connsiteX3" fmla="*/ 14115 w 226986"/>
                <a:gd name="connsiteY3" fmla="*/ 1805784 h 1805784"/>
                <a:gd name="connsiteX0" fmla="*/ 243199 w 243199"/>
                <a:gd name="connsiteY0" fmla="*/ 0 h 1805784"/>
                <a:gd name="connsiteX1" fmla="*/ 32737 w 243199"/>
                <a:gd name="connsiteY1" fmla="*/ 627908 h 1805784"/>
                <a:gd name="connsiteX2" fmla="*/ 220828 w 243199"/>
                <a:gd name="connsiteY2" fmla="*/ 1342234 h 1805784"/>
                <a:gd name="connsiteX3" fmla="*/ 30328 w 243199"/>
                <a:gd name="connsiteY3" fmla="*/ 1805784 h 1805784"/>
                <a:gd name="connsiteX0" fmla="*/ 181315 w 190500"/>
                <a:gd name="connsiteY0" fmla="*/ 0 h 1800298"/>
                <a:gd name="connsiteX1" fmla="*/ 2409 w 190500"/>
                <a:gd name="connsiteY1" fmla="*/ 622422 h 1800298"/>
                <a:gd name="connsiteX2" fmla="*/ 190500 w 190500"/>
                <a:gd name="connsiteY2" fmla="*/ 1336748 h 1800298"/>
                <a:gd name="connsiteX3" fmla="*/ 0 w 190500"/>
                <a:gd name="connsiteY3" fmla="*/ 1800298 h 1800298"/>
                <a:gd name="connsiteX0" fmla="*/ 198733 w 207919"/>
                <a:gd name="connsiteY0" fmla="*/ 0 h 1800298"/>
                <a:gd name="connsiteX1" fmla="*/ 19827 w 207919"/>
                <a:gd name="connsiteY1" fmla="*/ 622422 h 1800298"/>
                <a:gd name="connsiteX2" fmla="*/ 207918 w 207919"/>
                <a:gd name="connsiteY2" fmla="*/ 1336748 h 1800298"/>
                <a:gd name="connsiteX3" fmla="*/ 17418 w 207919"/>
                <a:gd name="connsiteY3" fmla="*/ 1800298 h 1800298"/>
                <a:gd name="connsiteX0" fmla="*/ 211242 w 220428"/>
                <a:gd name="connsiteY0" fmla="*/ 0 h 1800298"/>
                <a:gd name="connsiteX1" fmla="*/ 32336 w 220428"/>
                <a:gd name="connsiteY1" fmla="*/ 622422 h 1800298"/>
                <a:gd name="connsiteX2" fmla="*/ 220427 w 220428"/>
                <a:gd name="connsiteY2" fmla="*/ 1336748 h 1800298"/>
                <a:gd name="connsiteX3" fmla="*/ 29927 w 220428"/>
                <a:gd name="connsiteY3" fmla="*/ 1800298 h 1800298"/>
                <a:gd name="connsiteX0" fmla="*/ 212848 w 222034"/>
                <a:gd name="connsiteY0" fmla="*/ 0 h 1800298"/>
                <a:gd name="connsiteX1" fmla="*/ 33942 w 222034"/>
                <a:gd name="connsiteY1" fmla="*/ 622422 h 1800298"/>
                <a:gd name="connsiteX2" fmla="*/ 222033 w 222034"/>
                <a:gd name="connsiteY2" fmla="*/ 1336748 h 1800298"/>
                <a:gd name="connsiteX3" fmla="*/ 31533 w 222034"/>
                <a:gd name="connsiteY3" fmla="*/ 1800298 h 1800298"/>
              </a:gdLst>
              <a:ahLst/>
              <a:cxnLst>
                <a:cxn ang="0">
                  <a:pos x="connsiteX0" y="connsiteY0"/>
                </a:cxn>
                <a:cxn ang="0">
                  <a:pos x="connsiteX1" y="connsiteY1"/>
                </a:cxn>
                <a:cxn ang="0">
                  <a:pos x="connsiteX2" y="connsiteY2"/>
                </a:cxn>
                <a:cxn ang="0">
                  <a:pos x="connsiteX3" y="connsiteY3"/>
                </a:cxn>
              </a:cxnLst>
              <a:rect l="l" t="t" r="r" b="b"/>
              <a:pathLst>
                <a:path w="222034" h="1800298">
                  <a:moveTo>
                    <a:pt x="212848" y="0"/>
                  </a:moveTo>
                  <a:cubicBezTo>
                    <a:pt x="86840" y="231483"/>
                    <a:pt x="-70144" y="331053"/>
                    <a:pt x="33942" y="622422"/>
                  </a:cubicBezTo>
                  <a:cubicBezTo>
                    <a:pt x="138028" y="913791"/>
                    <a:pt x="222435" y="1140435"/>
                    <a:pt x="222033" y="1336748"/>
                  </a:cubicBezTo>
                  <a:cubicBezTo>
                    <a:pt x="221632" y="1533061"/>
                    <a:pt x="129429" y="1691289"/>
                    <a:pt x="31533" y="1800298"/>
                  </a:cubicBezTo>
                </a:path>
              </a:pathLst>
            </a:custGeom>
            <a:noFill/>
            <a:ln w="12700">
              <a:gradFill>
                <a:gsLst>
                  <a:gs pos="49000">
                    <a:schemeClr val="accent1">
                      <a:lumMod val="5000"/>
                      <a:lumOff val="95000"/>
                    </a:schemeClr>
                  </a:gs>
                  <a:gs pos="0">
                    <a:srgbClr val="4599D1"/>
                  </a:gs>
                  <a:gs pos="82000">
                    <a:schemeClr val="accent2"/>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grpSp>
      <p:sp>
        <p:nvSpPr>
          <p:cNvPr id="961" name="Freeform 960"/>
          <p:cNvSpPr/>
          <p:nvPr/>
        </p:nvSpPr>
        <p:spPr>
          <a:xfrm>
            <a:off x="1246259" y="2207657"/>
            <a:ext cx="140623" cy="875593"/>
          </a:xfrm>
          <a:custGeom>
            <a:avLst/>
            <a:gdLst>
              <a:gd name="connsiteX0" fmla="*/ 0 w 136990"/>
              <a:gd name="connsiteY0" fmla="*/ 752475 h 752475"/>
              <a:gd name="connsiteX1" fmla="*/ 28575 w 136990"/>
              <a:gd name="connsiteY1" fmla="*/ 450850 h 752475"/>
              <a:gd name="connsiteX2" fmla="*/ 136525 w 136990"/>
              <a:gd name="connsiteY2" fmla="*/ 269875 h 752475"/>
              <a:gd name="connsiteX3" fmla="*/ 60325 w 136990"/>
              <a:gd name="connsiteY3" fmla="*/ 0 h 752475"/>
              <a:gd name="connsiteX0" fmla="*/ 0 w 124290"/>
              <a:gd name="connsiteY0" fmla="*/ 771525 h 771525"/>
              <a:gd name="connsiteX1" fmla="*/ 15875 w 124290"/>
              <a:gd name="connsiteY1" fmla="*/ 450850 h 771525"/>
              <a:gd name="connsiteX2" fmla="*/ 123825 w 124290"/>
              <a:gd name="connsiteY2" fmla="*/ 269875 h 771525"/>
              <a:gd name="connsiteX3" fmla="*/ 47625 w 124290"/>
              <a:gd name="connsiteY3" fmla="*/ 0 h 771525"/>
              <a:gd name="connsiteX0" fmla="*/ 0 w 124008"/>
              <a:gd name="connsiteY0" fmla="*/ 771525 h 771525"/>
              <a:gd name="connsiteX1" fmla="*/ 28575 w 124008"/>
              <a:gd name="connsiteY1" fmla="*/ 527050 h 771525"/>
              <a:gd name="connsiteX2" fmla="*/ 123825 w 124008"/>
              <a:gd name="connsiteY2" fmla="*/ 269875 h 771525"/>
              <a:gd name="connsiteX3" fmla="*/ 47625 w 124008"/>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Lst>
            <a:ahLst/>
            <a:cxnLst>
              <a:cxn ang="0">
                <a:pos x="connsiteX0" y="connsiteY0"/>
              </a:cxn>
              <a:cxn ang="0">
                <a:pos x="connsiteX1" y="connsiteY1"/>
              </a:cxn>
              <a:cxn ang="0">
                <a:pos x="connsiteX2" y="connsiteY2"/>
              </a:cxn>
              <a:cxn ang="0">
                <a:pos x="connsiteX3" y="connsiteY3"/>
              </a:cxn>
            </a:cxnLst>
            <a:rect l="l" t="t" r="r" b="b"/>
            <a:pathLst>
              <a:path w="123910" h="771525">
                <a:moveTo>
                  <a:pt x="0" y="771525"/>
                </a:moveTo>
                <a:cubicBezTo>
                  <a:pt x="2910" y="660929"/>
                  <a:pt x="-1587" y="674158"/>
                  <a:pt x="34925" y="590550"/>
                </a:cubicBezTo>
                <a:cubicBezTo>
                  <a:pt x="71437" y="506942"/>
                  <a:pt x="121708" y="368300"/>
                  <a:pt x="123825" y="269875"/>
                </a:cubicBezTo>
                <a:cubicBezTo>
                  <a:pt x="125942" y="171450"/>
                  <a:pt x="88371" y="97366"/>
                  <a:pt x="47625"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62" name="Freeform 961"/>
          <p:cNvSpPr/>
          <p:nvPr/>
        </p:nvSpPr>
        <p:spPr>
          <a:xfrm flipH="1">
            <a:off x="1087487" y="2207657"/>
            <a:ext cx="140623" cy="875593"/>
          </a:xfrm>
          <a:custGeom>
            <a:avLst/>
            <a:gdLst>
              <a:gd name="connsiteX0" fmla="*/ 0 w 136990"/>
              <a:gd name="connsiteY0" fmla="*/ 752475 h 752475"/>
              <a:gd name="connsiteX1" fmla="*/ 28575 w 136990"/>
              <a:gd name="connsiteY1" fmla="*/ 450850 h 752475"/>
              <a:gd name="connsiteX2" fmla="*/ 136525 w 136990"/>
              <a:gd name="connsiteY2" fmla="*/ 269875 h 752475"/>
              <a:gd name="connsiteX3" fmla="*/ 60325 w 136990"/>
              <a:gd name="connsiteY3" fmla="*/ 0 h 752475"/>
              <a:gd name="connsiteX0" fmla="*/ 0 w 124290"/>
              <a:gd name="connsiteY0" fmla="*/ 771525 h 771525"/>
              <a:gd name="connsiteX1" fmla="*/ 15875 w 124290"/>
              <a:gd name="connsiteY1" fmla="*/ 450850 h 771525"/>
              <a:gd name="connsiteX2" fmla="*/ 123825 w 124290"/>
              <a:gd name="connsiteY2" fmla="*/ 269875 h 771525"/>
              <a:gd name="connsiteX3" fmla="*/ 47625 w 124290"/>
              <a:gd name="connsiteY3" fmla="*/ 0 h 771525"/>
              <a:gd name="connsiteX0" fmla="*/ 0 w 124008"/>
              <a:gd name="connsiteY0" fmla="*/ 771525 h 771525"/>
              <a:gd name="connsiteX1" fmla="*/ 28575 w 124008"/>
              <a:gd name="connsiteY1" fmla="*/ 527050 h 771525"/>
              <a:gd name="connsiteX2" fmla="*/ 123825 w 124008"/>
              <a:gd name="connsiteY2" fmla="*/ 269875 h 771525"/>
              <a:gd name="connsiteX3" fmla="*/ 47625 w 124008"/>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847"/>
              <a:gd name="connsiteY0" fmla="*/ 771525 h 771525"/>
              <a:gd name="connsiteX1" fmla="*/ 41275 w 123847"/>
              <a:gd name="connsiteY1" fmla="*/ 565150 h 771525"/>
              <a:gd name="connsiteX2" fmla="*/ 123825 w 123847"/>
              <a:gd name="connsiteY2" fmla="*/ 269875 h 771525"/>
              <a:gd name="connsiteX3" fmla="*/ 47625 w 123847"/>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 name="connsiteX0" fmla="*/ 0 w 123910"/>
              <a:gd name="connsiteY0" fmla="*/ 771525 h 771525"/>
              <a:gd name="connsiteX1" fmla="*/ 34925 w 123910"/>
              <a:gd name="connsiteY1" fmla="*/ 590550 h 771525"/>
              <a:gd name="connsiteX2" fmla="*/ 123825 w 123910"/>
              <a:gd name="connsiteY2" fmla="*/ 269875 h 771525"/>
              <a:gd name="connsiteX3" fmla="*/ 47625 w 123910"/>
              <a:gd name="connsiteY3" fmla="*/ 0 h 771525"/>
            </a:gdLst>
            <a:ahLst/>
            <a:cxnLst>
              <a:cxn ang="0">
                <a:pos x="connsiteX0" y="connsiteY0"/>
              </a:cxn>
              <a:cxn ang="0">
                <a:pos x="connsiteX1" y="connsiteY1"/>
              </a:cxn>
              <a:cxn ang="0">
                <a:pos x="connsiteX2" y="connsiteY2"/>
              </a:cxn>
              <a:cxn ang="0">
                <a:pos x="connsiteX3" y="connsiteY3"/>
              </a:cxn>
            </a:cxnLst>
            <a:rect l="l" t="t" r="r" b="b"/>
            <a:pathLst>
              <a:path w="123910" h="771525">
                <a:moveTo>
                  <a:pt x="0" y="771525"/>
                </a:moveTo>
                <a:cubicBezTo>
                  <a:pt x="2910" y="660929"/>
                  <a:pt x="-1587" y="674158"/>
                  <a:pt x="34925" y="590550"/>
                </a:cubicBezTo>
                <a:cubicBezTo>
                  <a:pt x="71437" y="506942"/>
                  <a:pt x="121708" y="368300"/>
                  <a:pt x="123825" y="269875"/>
                </a:cubicBezTo>
                <a:cubicBezTo>
                  <a:pt x="125942" y="171450"/>
                  <a:pt x="88371" y="97366"/>
                  <a:pt x="47625"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cxnSp>
        <p:nvCxnSpPr>
          <p:cNvPr id="963" name="Straight Connector 962"/>
          <p:cNvCxnSpPr/>
          <p:nvPr/>
        </p:nvCxnSpPr>
        <p:spPr>
          <a:xfrm flipV="1">
            <a:off x="1235317" y="1956183"/>
            <a:ext cx="0" cy="1130670"/>
          </a:xfrm>
          <a:prstGeom prst="line">
            <a:avLst/>
          </a:prstGeom>
          <a:noFill/>
          <a:ln w="12700">
            <a:gradFill>
              <a:gsLst>
                <a:gs pos="9400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cxnSp>
      <p:sp>
        <p:nvSpPr>
          <p:cNvPr id="964" name="Freeform 963"/>
          <p:cNvSpPr/>
          <p:nvPr/>
        </p:nvSpPr>
        <p:spPr>
          <a:xfrm>
            <a:off x="1595606" y="944619"/>
            <a:ext cx="824359" cy="161923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 name="connsiteX0" fmla="*/ 0 w 804781"/>
              <a:gd name="connsiteY0" fmla="*/ 3464575 h 3467824"/>
              <a:gd name="connsiteX1" fmla="*/ 228600 w 804781"/>
              <a:gd name="connsiteY1" fmla="*/ 3340750 h 3467824"/>
              <a:gd name="connsiteX2" fmla="*/ 261937 w 804781"/>
              <a:gd name="connsiteY2" fmla="*/ 2726388 h 3467824"/>
              <a:gd name="connsiteX3" fmla="*/ 404812 w 804781"/>
              <a:gd name="connsiteY3" fmla="*/ 2478738 h 3467824"/>
              <a:gd name="connsiteX4" fmla="*/ 414337 w 804781"/>
              <a:gd name="connsiteY4" fmla="*/ 2202513 h 3467824"/>
              <a:gd name="connsiteX5" fmla="*/ 509587 w 804781"/>
              <a:gd name="connsiteY5" fmla="*/ 1878663 h 3467824"/>
              <a:gd name="connsiteX6" fmla="*/ 779174 w 804781"/>
              <a:gd name="connsiteY6" fmla="*/ 1434163 h 3467824"/>
              <a:gd name="connsiteX7" fmla="*/ 156225 w 804781"/>
              <a:gd name="connsiteY7" fmla="*/ 0 h 3467824"/>
              <a:gd name="connsiteX0" fmla="*/ 0 w 849795"/>
              <a:gd name="connsiteY0" fmla="*/ 3464575 h 3467824"/>
              <a:gd name="connsiteX1" fmla="*/ 228600 w 849795"/>
              <a:gd name="connsiteY1" fmla="*/ 3340750 h 3467824"/>
              <a:gd name="connsiteX2" fmla="*/ 261937 w 849795"/>
              <a:gd name="connsiteY2" fmla="*/ 2726388 h 3467824"/>
              <a:gd name="connsiteX3" fmla="*/ 404812 w 849795"/>
              <a:gd name="connsiteY3" fmla="*/ 2478738 h 3467824"/>
              <a:gd name="connsiteX4" fmla="*/ 414337 w 849795"/>
              <a:gd name="connsiteY4" fmla="*/ 2202513 h 3467824"/>
              <a:gd name="connsiteX5" fmla="*/ 509587 w 849795"/>
              <a:gd name="connsiteY5" fmla="*/ 1878663 h 3467824"/>
              <a:gd name="connsiteX6" fmla="*/ 779174 w 849795"/>
              <a:gd name="connsiteY6" fmla="*/ 1434163 h 3467824"/>
              <a:gd name="connsiteX7" fmla="*/ 156225 w 849795"/>
              <a:gd name="connsiteY7" fmla="*/ 0 h 3467824"/>
              <a:gd name="connsiteX0" fmla="*/ 0 w 936807"/>
              <a:gd name="connsiteY0" fmla="*/ 3464575 h 3467824"/>
              <a:gd name="connsiteX1" fmla="*/ 228600 w 936807"/>
              <a:gd name="connsiteY1" fmla="*/ 3340750 h 3467824"/>
              <a:gd name="connsiteX2" fmla="*/ 261937 w 936807"/>
              <a:gd name="connsiteY2" fmla="*/ 2726388 h 3467824"/>
              <a:gd name="connsiteX3" fmla="*/ 404812 w 936807"/>
              <a:gd name="connsiteY3" fmla="*/ 2478738 h 3467824"/>
              <a:gd name="connsiteX4" fmla="*/ 414337 w 936807"/>
              <a:gd name="connsiteY4" fmla="*/ 2202513 h 3467824"/>
              <a:gd name="connsiteX5" fmla="*/ 509587 w 936807"/>
              <a:gd name="connsiteY5" fmla="*/ 1878663 h 3467824"/>
              <a:gd name="connsiteX6" fmla="*/ 779174 w 936807"/>
              <a:gd name="connsiteY6" fmla="*/ 1434163 h 3467824"/>
              <a:gd name="connsiteX7" fmla="*/ 156225 w 936807"/>
              <a:gd name="connsiteY7" fmla="*/ 0 h 3467824"/>
              <a:gd name="connsiteX0" fmla="*/ 0 w 898890"/>
              <a:gd name="connsiteY0" fmla="*/ 3464575 h 3467824"/>
              <a:gd name="connsiteX1" fmla="*/ 228600 w 898890"/>
              <a:gd name="connsiteY1" fmla="*/ 3340750 h 3467824"/>
              <a:gd name="connsiteX2" fmla="*/ 261937 w 898890"/>
              <a:gd name="connsiteY2" fmla="*/ 2726388 h 3467824"/>
              <a:gd name="connsiteX3" fmla="*/ 404812 w 898890"/>
              <a:gd name="connsiteY3" fmla="*/ 2478738 h 3467824"/>
              <a:gd name="connsiteX4" fmla="*/ 414337 w 898890"/>
              <a:gd name="connsiteY4" fmla="*/ 2202513 h 3467824"/>
              <a:gd name="connsiteX5" fmla="*/ 509587 w 898890"/>
              <a:gd name="connsiteY5" fmla="*/ 1878663 h 3467824"/>
              <a:gd name="connsiteX6" fmla="*/ 779174 w 898890"/>
              <a:gd name="connsiteY6" fmla="*/ 1434163 h 3467824"/>
              <a:gd name="connsiteX7" fmla="*/ 156225 w 898890"/>
              <a:gd name="connsiteY7" fmla="*/ 0 h 3467824"/>
              <a:gd name="connsiteX0" fmla="*/ 0 w 898021"/>
              <a:gd name="connsiteY0" fmla="*/ 3464575 h 3467824"/>
              <a:gd name="connsiteX1" fmla="*/ 228600 w 898021"/>
              <a:gd name="connsiteY1" fmla="*/ 3340750 h 3467824"/>
              <a:gd name="connsiteX2" fmla="*/ 261937 w 898021"/>
              <a:gd name="connsiteY2" fmla="*/ 2726388 h 3467824"/>
              <a:gd name="connsiteX3" fmla="*/ 404812 w 898021"/>
              <a:gd name="connsiteY3" fmla="*/ 2478738 h 3467824"/>
              <a:gd name="connsiteX4" fmla="*/ 414337 w 898021"/>
              <a:gd name="connsiteY4" fmla="*/ 2202513 h 3467824"/>
              <a:gd name="connsiteX5" fmla="*/ 509587 w 898021"/>
              <a:gd name="connsiteY5" fmla="*/ 1878663 h 3467824"/>
              <a:gd name="connsiteX6" fmla="*/ 779174 w 898021"/>
              <a:gd name="connsiteY6" fmla="*/ 1434163 h 3467824"/>
              <a:gd name="connsiteX7" fmla="*/ 156225 w 898021"/>
              <a:gd name="connsiteY7" fmla="*/ 0 h 3467824"/>
              <a:gd name="connsiteX0" fmla="*/ 0 w 887090"/>
              <a:gd name="connsiteY0" fmla="*/ 3464575 h 3467824"/>
              <a:gd name="connsiteX1" fmla="*/ 228600 w 887090"/>
              <a:gd name="connsiteY1" fmla="*/ 3340750 h 3467824"/>
              <a:gd name="connsiteX2" fmla="*/ 261937 w 887090"/>
              <a:gd name="connsiteY2" fmla="*/ 2726388 h 3467824"/>
              <a:gd name="connsiteX3" fmla="*/ 404812 w 887090"/>
              <a:gd name="connsiteY3" fmla="*/ 2478738 h 3467824"/>
              <a:gd name="connsiteX4" fmla="*/ 414337 w 887090"/>
              <a:gd name="connsiteY4" fmla="*/ 2202513 h 3467824"/>
              <a:gd name="connsiteX5" fmla="*/ 509587 w 887090"/>
              <a:gd name="connsiteY5" fmla="*/ 1878663 h 3467824"/>
              <a:gd name="connsiteX6" fmla="*/ 760206 w 887090"/>
              <a:gd name="connsiteY6" fmla="*/ 1429948 h 3467824"/>
              <a:gd name="connsiteX7" fmla="*/ 156225 w 887090"/>
              <a:gd name="connsiteY7" fmla="*/ 0 h 3467824"/>
              <a:gd name="connsiteX0" fmla="*/ 72375 w 730865"/>
              <a:gd name="connsiteY0" fmla="*/ 3340750 h 3340750"/>
              <a:gd name="connsiteX1" fmla="*/ 105712 w 730865"/>
              <a:gd name="connsiteY1" fmla="*/ 2726388 h 3340750"/>
              <a:gd name="connsiteX2" fmla="*/ 248587 w 730865"/>
              <a:gd name="connsiteY2" fmla="*/ 2478738 h 3340750"/>
              <a:gd name="connsiteX3" fmla="*/ 258112 w 730865"/>
              <a:gd name="connsiteY3" fmla="*/ 2202513 h 3340750"/>
              <a:gd name="connsiteX4" fmla="*/ 353362 w 730865"/>
              <a:gd name="connsiteY4" fmla="*/ 1878663 h 3340750"/>
              <a:gd name="connsiteX5" fmla="*/ 603981 w 730865"/>
              <a:gd name="connsiteY5" fmla="*/ 1429948 h 3340750"/>
              <a:gd name="connsiteX6" fmla="*/ 0 w 730865"/>
              <a:gd name="connsiteY6" fmla="*/ 0 h 3340750"/>
              <a:gd name="connsiteX0" fmla="*/ 105712 w 730865"/>
              <a:gd name="connsiteY0" fmla="*/ 2726388 h 2726388"/>
              <a:gd name="connsiteX1" fmla="*/ 248587 w 730865"/>
              <a:gd name="connsiteY1" fmla="*/ 2478738 h 2726388"/>
              <a:gd name="connsiteX2" fmla="*/ 258112 w 730865"/>
              <a:gd name="connsiteY2" fmla="*/ 2202513 h 2726388"/>
              <a:gd name="connsiteX3" fmla="*/ 353362 w 730865"/>
              <a:gd name="connsiteY3" fmla="*/ 1878663 h 2726388"/>
              <a:gd name="connsiteX4" fmla="*/ 603981 w 730865"/>
              <a:gd name="connsiteY4" fmla="*/ 1429948 h 2726388"/>
              <a:gd name="connsiteX5" fmla="*/ 0 w 730865"/>
              <a:gd name="connsiteY5" fmla="*/ 0 h 2726388"/>
              <a:gd name="connsiteX0" fmla="*/ 248587 w 730865"/>
              <a:gd name="connsiteY0" fmla="*/ 2478738 h 2478738"/>
              <a:gd name="connsiteX1" fmla="*/ 258112 w 730865"/>
              <a:gd name="connsiteY1" fmla="*/ 2202513 h 2478738"/>
              <a:gd name="connsiteX2" fmla="*/ 353362 w 730865"/>
              <a:gd name="connsiteY2" fmla="*/ 1878663 h 2478738"/>
              <a:gd name="connsiteX3" fmla="*/ 603981 w 730865"/>
              <a:gd name="connsiteY3" fmla="*/ 1429948 h 2478738"/>
              <a:gd name="connsiteX4" fmla="*/ 0 w 730865"/>
              <a:gd name="connsiteY4" fmla="*/ 0 h 2478738"/>
              <a:gd name="connsiteX0" fmla="*/ 258112 w 730865"/>
              <a:gd name="connsiteY0" fmla="*/ 2202513 h 2202513"/>
              <a:gd name="connsiteX1" fmla="*/ 353362 w 730865"/>
              <a:gd name="connsiteY1" fmla="*/ 1878663 h 2202513"/>
              <a:gd name="connsiteX2" fmla="*/ 603981 w 730865"/>
              <a:gd name="connsiteY2" fmla="*/ 1429948 h 2202513"/>
              <a:gd name="connsiteX3" fmla="*/ 0 w 730865"/>
              <a:gd name="connsiteY3" fmla="*/ 0 h 2202513"/>
              <a:gd name="connsiteX0" fmla="*/ 353362 w 730865"/>
              <a:gd name="connsiteY0" fmla="*/ 1878663 h 1878663"/>
              <a:gd name="connsiteX1" fmla="*/ 603981 w 730865"/>
              <a:gd name="connsiteY1" fmla="*/ 1429948 h 1878663"/>
              <a:gd name="connsiteX2" fmla="*/ 0 w 730865"/>
              <a:gd name="connsiteY2" fmla="*/ 0 h 1878663"/>
              <a:gd name="connsiteX0" fmla="*/ 603981 w 730865"/>
              <a:gd name="connsiteY0" fmla="*/ 1429948 h 1429948"/>
              <a:gd name="connsiteX1" fmla="*/ 0 w 730865"/>
              <a:gd name="connsiteY1" fmla="*/ 0 h 1429948"/>
              <a:gd name="connsiteX0" fmla="*/ 619788 w 739955"/>
              <a:gd name="connsiteY0" fmla="*/ 1426787 h 1426787"/>
              <a:gd name="connsiteX1" fmla="*/ 0 w 739955"/>
              <a:gd name="connsiteY1" fmla="*/ 0 h 1426787"/>
              <a:gd name="connsiteX0" fmla="*/ 619788 w 726381"/>
              <a:gd name="connsiteY0" fmla="*/ 1426787 h 1426787"/>
              <a:gd name="connsiteX1" fmla="*/ 0 w 726381"/>
              <a:gd name="connsiteY1" fmla="*/ 0 h 1426787"/>
            </a:gdLst>
            <a:ahLst/>
            <a:cxnLst>
              <a:cxn ang="0">
                <a:pos x="connsiteX0" y="connsiteY0"/>
              </a:cxn>
              <a:cxn ang="0">
                <a:pos x="connsiteX1" y="connsiteY1"/>
              </a:cxn>
            </a:cxnLst>
            <a:rect l="l" t="t" r="r" b="b"/>
            <a:pathLst>
              <a:path w="726381" h="1426787">
                <a:moveTo>
                  <a:pt x="619788" y="1426787"/>
                </a:moveTo>
                <a:cubicBezTo>
                  <a:pt x="646991" y="1334871"/>
                  <a:pt x="1074571" y="558815"/>
                  <a:pt x="0"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65" name="Freeform 964"/>
          <p:cNvSpPr/>
          <p:nvPr/>
        </p:nvSpPr>
        <p:spPr>
          <a:xfrm flipH="1">
            <a:off x="39875" y="944619"/>
            <a:ext cx="824359" cy="1619239"/>
          </a:xfrm>
          <a:custGeom>
            <a:avLst/>
            <a:gdLst>
              <a:gd name="connsiteX0" fmla="*/ 0 w 771525"/>
              <a:gd name="connsiteY0" fmla="*/ 2428875 h 2435408"/>
              <a:gd name="connsiteX1" fmla="*/ 142875 w 771525"/>
              <a:gd name="connsiteY1" fmla="*/ 2333625 h 2435408"/>
              <a:gd name="connsiteX2" fmla="*/ 152400 w 771525"/>
              <a:gd name="connsiteY2" fmla="*/ 1724025 h 2435408"/>
              <a:gd name="connsiteX3" fmla="*/ 295275 w 771525"/>
              <a:gd name="connsiteY3" fmla="*/ 1476375 h 2435408"/>
              <a:gd name="connsiteX4" fmla="*/ 304800 w 771525"/>
              <a:gd name="connsiteY4" fmla="*/ 1200150 h 2435408"/>
              <a:gd name="connsiteX5" fmla="*/ 400050 w 771525"/>
              <a:gd name="connsiteY5" fmla="*/ 876300 h 2435408"/>
              <a:gd name="connsiteX6" fmla="*/ 704850 w 771525"/>
              <a:gd name="connsiteY6" fmla="*/ 390525 h 2435408"/>
              <a:gd name="connsiteX7" fmla="*/ 771525 w 771525"/>
              <a:gd name="connsiteY7" fmla="*/ 0 h 2435408"/>
              <a:gd name="connsiteX0" fmla="*/ 0 w 833437"/>
              <a:gd name="connsiteY0" fmla="*/ 2447925 h 2451899"/>
              <a:gd name="connsiteX1" fmla="*/ 204787 w 833437"/>
              <a:gd name="connsiteY1" fmla="*/ 2333625 h 2451899"/>
              <a:gd name="connsiteX2" fmla="*/ 214312 w 833437"/>
              <a:gd name="connsiteY2" fmla="*/ 1724025 h 2451899"/>
              <a:gd name="connsiteX3" fmla="*/ 357187 w 833437"/>
              <a:gd name="connsiteY3" fmla="*/ 1476375 h 2451899"/>
              <a:gd name="connsiteX4" fmla="*/ 366712 w 833437"/>
              <a:gd name="connsiteY4" fmla="*/ 1200150 h 2451899"/>
              <a:gd name="connsiteX5" fmla="*/ 461962 w 833437"/>
              <a:gd name="connsiteY5" fmla="*/ 876300 h 2451899"/>
              <a:gd name="connsiteX6" fmla="*/ 766762 w 833437"/>
              <a:gd name="connsiteY6" fmla="*/ 390525 h 2451899"/>
              <a:gd name="connsiteX7" fmla="*/ 833437 w 833437"/>
              <a:gd name="connsiteY7" fmla="*/ 0 h 2451899"/>
              <a:gd name="connsiteX0" fmla="*/ 0 w 833437"/>
              <a:gd name="connsiteY0" fmla="*/ 2447925 h 2452496"/>
              <a:gd name="connsiteX1" fmla="*/ 180975 w 833437"/>
              <a:gd name="connsiteY1" fmla="*/ 2338387 h 2452496"/>
              <a:gd name="connsiteX2" fmla="*/ 214312 w 833437"/>
              <a:gd name="connsiteY2" fmla="*/ 1724025 h 2452496"/>
              <a:gd name="connsiteX3" fmla="*/ 357187 w 833437"/>
              <a:gd name="connsiteY3" fmla="*/ 1476375 h 2452496"/>
              <a:gd name="connsiteX4" fmla="*/ 366712 w 833437"/>
              <a:gd name="connsiteY4" fmla="*/ 1200150 h 2452496"/>
              <a:gd name="connsiteX5" fmla="*/ 461962 w 833437"/>
              <a:gd name="connsiteY5" fmla="*/ 876300 h 2452496"/>
              <a:gd name="connsiteX6" fmla="*/ 766762 w 833437"/>
              <a:gd name="connsiteY6" fmla="*/ 390525 h 2452496"/>
              <a:gd name="connsiteX7" fmla="*/ 833437 w 833437"/>
              <a:gd name="connsiteY7" fmla="*/ 0 h 2452496"/>
              <a:gd name="connsiteX0" fmla="*/ 0 w 881062"/>
              <a:gd name="connsiteY0" fmla="*/ 2462212 h 2465461"/>
              <a:gd name="connsiteX1" fmla="*/ 228600 w 881062"/>
              <a:gd name="connsiteY1" fmla="*/ 2338387 h 2465461"/>
              <a:gd name="connsiteX2" fmla="*/ 261937 w 881062"/>
              <a:gd name="connsiteY2" fmla="*/ 1724025 h 2465461"/>
              <a:gd name="connsiteX3" fmla="*/ 404812 w 881062"/>
              <a:gd name="connsiteY3" fmla="*/ 1476375 h 2465461"/>
              <a:gd name="connsiteX4" fmla="*/ 414337 w 881062"/>
              <a:gd name="connsiteY4" fmla="*/ 1200150 h 2465461"/>
              <a:gd name="connsiteX5" fmla="*/ 509587 w 881062"/>
              <a:gd name="connsiteY5" fmla="*/ 876300 h 2465461"/>
              <a:gd name="connsiteX6" fmla="*/ 814387 w 881062"/>
              <a:gd name="connsiteY6" fmla="*/ 390525 h 2465461"/>
              <a:gd name="connsiteX7" fmla="*/ 881062 w 881062"/>
              <a:gd name="connsiteY7" fmla="*/ 0 h 2465461"/>
              <a:gd name="connsiteX0" fmla="*/ 0 w 820275"/>
              <a:gd name="connsiteY0" fmla="*/ 3515158 h 3518407"/>
              <a:gd name="connsiteX1" fmla="*/ 228600 w 820275"/>
              <a:gd name="connsiteY1" fmla="*/ 3391333 h 3518407"/>
              <a:gd name="connsiteX2" fmla="*/ 261937 w 820275"/>
              <a:gd name="connsiteY2" fmla="*/ 2776971 h 3518407"/>
              <a:gd name="connsiteX3" fmla="*/ 404812 w 820275"/>
              <a:gd name="connsiteY3" fmla="*/ 2529321 h 3518407"/>
              <a:gd name="connsiteX4" fmla="*/ 414337 w 820275"/>
              <a:gd name="connsiteY4" fmla="*/ 2253096 h 3518407"/>
              <a:gd name="connsiteX5" fmla="*/ 509587 w 820275"/>
              <a:gd name="connsiteY5" fmla="*/ 1929246 h 3518407"/>
              <a:gd name="connsiteX6" fmla="*/ 814387 w 820275"/>
              <a:gd name="connsiteY6" fmla="*/ 1443471 h 3518407"/>
              <a:gd name="connsiteX7" fmla="*/ 206808 w 820275"/>
              <a:gd name="connsiteY7" fmla="*/ 0 h 3518407"/>
              <a:gd name="connsiteX0" fmla="*/ 0 w 874138"/>
              <a:gd name="connsiteY0" fmla="*/ 3515158 h 3518407"/>
              <a:gd name="connsiteX1" fmla="*/ 228600 w 874138"/>
              <a:gd name="connsiteY1" fmla="*/ 3391333 h 3518407"/>
              <a:gd name="connsiteX2" fmla="*/ 261937 w 874138"/>
              <a:gd name="connsiteY2" fmla="*/ 2776971 h 3518407"/>
              <a:gd name="connsiteX3" fmla="*/ 404812 w 874138"/>
              <a:gd name="connsiteY3" fmla="*/ 2529321 h 3518407"/>
              <a:gd name="connsiteX4" fmla="*/ 414337 w 874138"/>
              <a:gd name="connsiteY4" fmla="*/ 2253096 h 3518407"/>
              <a:gd name="connsiteX5" fmla="*/ 509587 w 874138"/>
              <a:gd name="connsiteY5" fmla="*/ 1929246 h 3518407"/>
              <a:gd name="connsiteX6" fmla="*/ 814387 w 874138"/>
              <a:gd name="connsiteY6" fmla="*/ 1443471 h 3518407"/>
              <a:gd name="connsiteX7" fmla="*/ 206808 w 874138"/>
              <a:gd name="connsiteY7" fmla="*/ 0 h 3518407"/>
              <a:gd name="connsiteX0" fmla="*/ 0 w 867909"/>
              <a:gd name="connsiteY0" fmla="*/ 3515158 h 3518407"/>
              <a:gd name="connsiteX1" fmla="*/ 228600 w 867909"/>
              <a:gd name="connsiteY1" fmla="*/ 3391333 h 3518407"/>
              <a:gd name="connsiteX2" fmla="*/ 261937 w 867909"/>
              <a:gd name="connsiteY2" fmla="*/ 2776971 h 3518407"/>
              <a:gd name="connsiteX3" fmla="*/ 404812 w 867909"/>
              <a:gd name="connsiteY3" fmla="*/ 2529321 h 3518407"/>
              <a:gd name="connsiteX4" fmla="*/ 414337 w 867909"/>
              <a:gd name="connsiteY4" fmla="*/ 2253096 h 3518407"/>
              <a:gd name="connsiteX5" fmla="*/ 509587 w 867909"/>
              <a:gd name="connsiteY5" fmla="*/ 1929246 h 3518407"/>
              <a:gd name="connsiteX6" fmla="*/ 814387 w 867909"/>
              <a:gd name="connsiteY6" fmla="*/ 1443471 h 3518407"/>
              <a:gd name="connsiteX7" fmla="*/ 206808 w 867909"/>
              <a:gd name="connsiteY7" fmla="*/ 0 h 3518407"/>
              <a:gd name="connsiteX0" fmla="*/ 0 w 873259"/>
              <a:gd name="connsiteY0" fmla="*/ 3515158 h 3518407"/>
              <a:gd name="connsiteX1" fmla="*/ 228600 w 873259"/>
              <a:gd name="connsiteY1" fmla="*/ 3391333 h 3518407"/>
              <a:gd name="connsiteX2" fmla="*/ 261937 w 873259"/>
              <a:gd name="connsiteY2" fmla="*/ 2776971 h 3518407"/>
              <a:gd name="connsiteX3" fmla="*/ 404812 w 873259"/>
              <a:gd name="connsiteY3" fmla="*/ 2529321 h 3518407"/>
              <a:gd name="connsiteX4" fmla="*/ 414337 w 873259"/>
              <a:gd name="connsiteY4" fmla="*/ 2253096 h 3518407"/>
              <a:gd name="connsiteX5" fmla="*/ 509587 w 873259"/>
              <a:gd name="connsiteY5" fmla="*/ 1929246 h 3518407"/>
              <a:gd name="connsiteX6" fmla="*/ 823624 w 873259"/>
              <a:gd name="connsiteY6" fmla="*/ 1443471 h 3518407"/>
              <a:gd name="connsiteX7" fmla="*/ 206808 w 873259"/>
              <a:gd name="connsiteY7" fmla="*/ 0 h 3518407"/>
              <a:gd name="connsiteX0" fmla="*/ 0 w 979043"/>
              <a:gd name="connsiteY0" fmla="*/ 3515158 h 3518407"/>
              <a:gd name="connsiteX1" fmla="*/ 228600 w 979043"/>
              <a:gd name="connsiteY1" fmla="*/ 3391333 h 3518407"/>
              <a:gd name="connsiteX2" fmla="*/ 261937 w 979043"/>
              <a:gd name="connsiteY2" fmla="*/ 2776971 h 3518407"/>
              <a:gd name="connsiteX3" fmla="*/ 404812 w 979043"/>
              <a:gd name="connsiteY3" fmla="*/ 2529321 h 3518407"/>
              <a:gd name="connsiteX4" fmla="*/ 414337 w 979043"/>
              <a:gd name="connsiteY4" fmla="*/ 2253096 h 3518407"/>
              <a:gd name="connsiteX5" fmla="*/ 509587 w 979043"/>
              <a:gd name="connsiteY5" fmla="*/ 1929246 h 3518407"/>
              <a:gd name="connsiteX6" fmla="*/ 823624 w 979043"/>
              <a:gd name="connsiteY6" fmla="*/ 1443471 h 3518407"/>
              <a:gd name="connsiteX7" fmla="*/ 206808 w 979043"/>
              <a:gd name="connsiteY7" fmla="*/ 0 h 3518407"/>
              <a:gd name="connsiteX0" fmla="*/ 0 w 943504"/>
              <a:gd name="connsiteY0" fmla="*/ 3515158 h 3518407"/>
              <a:gd name="connsiteX1" fmla="*/ 228600 w 943504"/>
              <a:gd name="connsiteY1" fmla="*/ 3391333 h 3518407"/>
              <a:gd name="connsiteX2" fmla="*/ 261937 w 943504"/>
              <a:gd name="connsiteY2" fmla="*/ 2776971 h 3518407"/>
              <a:gd name="connsiteX3" fmla="*/ 404812 w 943504"/>
              <a:gd name="connsiteY3" fmla="*/ 2529321 h 3518407"/>
              <a:gd name="connsiteX4" fmla="*/ 414337 w 943504"/>
              <a:gd name="connsiteY4" fmla="*/ 2253096 h 3518407"/>
              <a:gd name="connsiteX5" fmla="*/ 509587 w 943504"/>
              <a:gd name="connsiteY5" fmla="*/ 1929246 h 3518407"/>
              <a:gd name="connsiteX6" fmla="*/ 823624 w 943504"/>
              <a:gd name="connsiteY6" fmla="*/ 1443471 h 3518407"/>
              <a:gd name="connsiteX7" fmla="*/ 206808 w 943504"/>
              <a:gd name="connsiteY7" fmla="*/ 0 h 3518407"/>
              <a:gd name="connsiteX0" fmla="*/ 0 w 924540"/>
              <a:gd name="connsiteY0" fmla="*/ 3515158 h 3518407"/>
              <a:gd name="connsiteX1" fmla="*/ 228600 w 924540"/>
              <a:gd name="connsiteY1" fmla="*/ 3391333 h 3518407"/>
              <a:gd name="connsiteX2" fmla="*/ 261937 w 924540"/>
              <a:gd name="connsiteY2" fmla="*/ 2776971 h 3518407"/>
              <a:gd name="connsiteX3" fmla="*/ 404812 w 924540"/>
              <a:gd name="connsiteY3" fmla="*/ 2529321 h 3518407"/>
              <a:gd name="connsiteX4" fmla="*/ 414337 w 924540"/>
              <a:gd name="connsiteY4" fmla="*/ 2253096 h 3518407"/>
              <a:gd name="connsiteX5" fmla="*/ 509587 w 924540"/>
              <a:gd name="connsiteY5" fmla="*/ 1929246 h 3518407"/>
              <a:gd name="connsiteX6" fmla="*/ 823624 w 924540"/>
              <a:gd name="connsiteY6" fmla="*/ 1443471 h 3518407"/>
              <a:gd name="connsiteX7" fmla="*/ 206808 w 924540"/>
              <a:gd name="connsiteY7" fmla="*/ 0 h 3518407"/>
              <a:gd name="connsiteX0" fmla="*/ 0 w 897710"/>
              <a:gd name="connsiteY0" fmla="*/ 3515158 h 3518407"/>
              <a:gd name="connsiteX1" fmla="*/ 228600 w 897710"/>
              <a:gd name="connsiteY1" fmla="*/ 3391333 h 3518407"/>
              <a:gd name="connsiteX2" fmla="*/ 261937 w 897710"/>
              <a:gd name="connsiteY2" fmla="*/ 2776971 h 3518407"/>
              <a:gd name="connsiteX3" fmla="*/ 404812 w 897710"/>
              <a:gd name="connsiteY3" fmla="*/ 2529321 h 3518407"/>
              <a:gd name="connsiteX4" fmla="*/ 414337 w 897710"/>
              <a:gd name="connsiteY4" fmla="*/ 2253096 h 3518407"/>
              <a:gd name="connsiteX5" fmla="*/ 509587 w 897710"/>
              <a:gd name="connsiteY5" fmla="*/ 1929246 h 3518407"/>
              <a:gd name="connsiteX6" fmla="*/ 779174 w 897710"/>
              <a:gd name="connsiteY6" fmla="*/ 1484746 h 3518407"/>
              <a:gd name="connsiteX7" fmla="*/ 206808 w 897710"/>
              <a:gd name="connsiteY7" fmla="*/ 0 h 3518407"/>
              <a:gd name="connsiteX0" fmla="*/ 0 w 929423"/>
              <a:gd name="connsiteY0" fmla="*/ 3515158 h 3518407"/>
              <a:gd name="connsiteX1" fmla="*/ 228600 w 929423"/>
              <a:gd name="connsiteY1" fmla="*/ 3391333 h 3518407"/>
              <a:gd name="connsiteX2" fmla="*/ 261937 w 929423"/>
              <a:gd name="connsiteY2" fmla="*/ 2776971 h 3518407"/>
              <a:gd name="connsiteX3" fmla="*/ 404812 w 929423"/>
              <a:gd name="connsiteY3" fmla="*/ 2529321 h 3518407"/>
              <a:gd name="connsiteX4" fmla="*/ 414337 w 929423"/>
              <a:gd name="connsiteY4" fmla="*/ 2253096 h 3518407"/>
              <a:gd name="connsiteX5" fmla="*/ 509587 w 929423"/>
              <a:gd name="connsiteY5" fmla="*/ 1929246 h 3518407"/>
              <a:gd name="connsiteX6" fmla="*/ 779174 w 929423"/>
              <a:gd name="connsiteY6" fmla="*/ 1484746 h 3518407"/>
              <a:gd name="connsiteX7" fmla="*/ 206808 w 929423"/>
              <a:gd name="connsiteY7" fmla="*/ 0 h 3518407"/>
              <a:gd name="connsiteX0" fmla="*/ 0 w 909534"/>
              <a:gd name="connsiteY0" fmla="*/ 3515158 h 3518407"/>
              <a:gd name="connsiteX1" fmla="*/ 228600 w 909534"/>
              <a:gd name="connsiteY1" fmla="*/ 3391333 h 3518407"/>
              <a:gd name="connsiteX2" fmla="*/ 261937 w 909534"/>
              <a:gd name="connsiteY2" fmla="*/ 2776971 h 3518407"/>
              <a:gd name="connsiteX3" fmla="*/ 404812 w 909534"/>
              <a:gd name="connsiteY3" fmla="*/ 2529321 h 3518407"/>
              <a:gd name="connsiteX4" fmla="*/ 414337 w 909534"/>
              <a:gd name="connsiteY4" fmla="*/ 2253096 h 3518407"/>
              <a:gd name="connsiteX5" fmla="*/ 509587 w 909534"/>
              <a:gd name="connsiteY5" fmla="*/ 1929246 h 3518407"/>
              <a:gd name="connsiteX6" fmla="*/ 779174 w 909534"/>
              <a:gd name="connsiteY6" fmla="*/ 1484746 h 3518407"/>
              <a:gd name="connsiteX7" fmla="*/ 206808 w 909534"/>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99019"/>
              <a:gd name="connsiteY0" fmla="*/ 3515158 h 3518407"/>
              <a:gd name="connsiteX1" fmla="*/ 228600 w 899019"/>
              <a:gd name="connsiteY1" fmla="*/ 3391333 h 3518407"/>
              <a:gd name="connsiteX2" fmla="*/ 261937 w 899019"/>
              <a:gd name="connsiteY2" fmla="*/ 2776971 h 3518407"/>
              <a:gd name="connsiteX3" fmla="*/ 404812 w 899019"/>
              <a:gd name="connsiteY3" fmla="*/ 2529321 h 3518407"/>
              <a:gd name="connsiteX4" fmla="*/ 414337 w 899019"/>
              <a:gd name="connsiteY4" fmla="*/ 2253096 h 3518407"/>
              <a:gd name="connsiteX5" fmla="*/ 509587 w 899019"/>
              <a:gd name="connsiteY5" fmla="*/ 1929246 h 3518407"/>
              <a:gd name="connsiteX6" fmla="*/ 779174 w 899019"/>
              <a:gd name="connsiteY6" fmla="*/ 1484746 h 3518407"/>
              <a:gd name="connsiteX7" fmla="*/ 206808 w 899019"/>
              <a:gd name="connsiteY7" fmla="*/ 0 h 3518407"/>
              <a:gd name="connsiteX0" fmla="*/ 0 w 880826"/>
              <a:gd name="connsiteY0" fmla="*/ 3515158 h 3518407"/>
              <a:gd name="connsiteX1" fmla="*/ 228600 w 880826"/>
              <a:gd name="connsiteY1" fmla="*/ 3391333 h 3518407"/>
              <a:gd name="connsiteX2" fmla="*/ 261937 w 880826"/>
              <a:gd name="connsiteY2" fmla="*/ 2776971 h 3518407"/>
              <a:gd name="connsiteX3" fmla="*/ 404812 w 880826"/>
              <a:gd name="connsiteY3" fmla="*/ 2529321 h 3518407"/>
              <a:gd name="connsiteX4" fmla="*/ 414337 w 880826"/>
              <a:gd name="connsiteY4" fmla="*/ 2253096 h 3518407"/>
              <a:gd name="connsiteX5" fmla="*/ 509587 w 880826"/>
              <a:gd name="connsiteY5" fmla="*/ 1929246 h 3518407"/>
              <a:gd name="connsiteX6" fmla="*/ 779174 w 880826"/>
              <a:gd name="connsiteY6" fmla="*/ 1484746 h 3518407"/>
              <a:gd name="connsiteX7" fmla="*/ 206808 w 880826"/>
              <a:gd name="connsiteY7" fmla="*/ 0 h 3518407"/>
              <a:gd name="connsiteX0" fmla="*/ 0 w 804781"/>
              <a:gd name="connsiteY0" fmla="*/ 3464575 h 3467824"/>
              <a:gd name="connsiteX1" fmla="*/ 228600 w 804781"/>
              <a:gd name="connsiteY1" fmla="*/ 3340750 h 3467824"/>
              <a:gd name="connsiteX2" fmla="*/ 261937 w 804781"/>
              <a:gd name="connsiteY2" fmla="*/ 2726388 h 3467824"/>
              <a:gd name="connsiteX3" fmla="*/ 404812 w 804781"/>
              <a:gd name="connsiteY3" fmla="*/ 2478738 h 3467824"/>
              <a:gd name="connsiteX4" fmla="*/ 414337 w 804781"/>
              <a:gd name="connsiteY4" fmla="*/ 2202513 h 3467824"/>
              <a:gd name="connsiteX5" fmla="*/ 509587 w 804781"/>
              <a:gd name="connsiteY5" fmla="*/ 1878663 h 3467824"/>
              <a:gd name="connsiteX6" fmla="*/ 779174 w 804781"/>
              <a:gd name="connsiteY6" fmla="*/ 1434163 h 3467824"/>
              <a:gd name="connsiteX7" fmla="*/ 156225 w 804781"/>
              <a:gd name="connsiteY7" fmla="*/ 0 h 3467824"/>
              <a:gd name="connsiteX0" fmla="*/ 0 w 849795"/>
              <a:gd name="connsiteY0" fmla="*/ 3464575 h 3467824"/>
              <a:gd name="connsiteX1" fmla="*/ 228600 w 849795"/>
              <a:gd name="connsiteY1" fmla="*/ 3340750 h 3467824"/>
              <a:gd name="connsiteX2" fmla="*/ 261937 w 849795"/>
              <a:gd name="connsiteY2" fmla="*/ 2726388 h 3467824"/>
              <a:gd name="connsiteX3" fmla="*/ 404812 w 849795"/>
              <a:gd name="connsiteY3" fmla="*/ 2478738 h 3467824"/>
              <a:gd name="connsiteX4" fmla="*/ 414337 w 849795"/>
              <a:gd name="connsiteY4" fmla="*/ 2202513 h 3467824"/>
              <a:gd name="connsiteX5" fmla="*/ 509587 w 849795"/>
              <a:gd name="connsiteY5" fmla="*/ 1878663 h 3467824"/>
              <a:gd name="connsiteX6" fmla="*/ 779174 w 849795"/>
              <a:gd name="connsiteY6" fmla="*/ 1434163 h 3467824"/>
              <a:gd name="connsiteX7" fmla="*/ 156225 w 849795"/>
              <a:gd name="connsiteY7" fmla="*/ 0 h 3467824"/>
              <a:gd name="connsiteX0" fmla="*/ 0 w 936807"/>
              <a:gd name="connsiteY0" fmla="*/ 3464575 h 3467824"/>
              <a:gd name="connsiteX1" fmla="*/ 228600 w 936807"/>
              <a:gd name="connsiteY1" fmla="*/ 3340750 h 3467824"/>
              <a:gd name="connsiteX2" fmla="*/ 261937 w 936807"/>
              <a:gd name="connsiteY2" fmla="*/ 2726388 h 3467824"/>
              <a:gd name="connsiteX3" fmla="*/ 404812 w 936807"/>
              <a:gd name="connsiteY3" fmla="*/ 2478738 h 3467824"/>
              <a:gd name="connsiteX4" fmla="*/ 414337 w 936807"/>
              <a:gd name="connsiteY4" fmla="*/ 2202513 h 3467824"/>
              <a:gd name="connsiteX5" fmla="*/ 509587 w 936807"/>
              <a:gd name="connsiteY5" fmla="*/ 1878663 h 3467824"/>
              <a:gd name="connsiteX6" fmla="*/ 779174 w 936807"/>
              <a:gd name="connsiteY6" fmla="*/ 1434163 h 3467824"/>
              <a:gd name="connsiteX7" fmla="*/ 156225 w 936807"/>
              <a:gd name="connsiteY7" fmla="*/ 0 h 3467824"/>
              <a:gd name="connsiteX0" fmla="*/ 0 w 898890"/>
              <a:gd name="connsiteY0" fmla="*/ 3464575 h 3467824"/>
              <a:gd name="connsiteX1" fmla="*/ 228600 w 898890"/>
              <a:gd name="connsiteY1" fmla="*/ 3340750 h 3467824"/>
              <a:gd name="connsiteX2" fmla="*/ 261937 w 898890"/>
              <a:gd name="connsiteY2" fmla="*/ 2726388 h 3467824"/>
              <a:gd name="connsiteX3" fmla="*/ 404812 w 898890"/>
              <a:gd name="connsiteY3" fmla="*/ 2478738 h 3467824"/>
              <a:gd name="connsiteX4" fmla="*/ 414337 w 898890"/>
              <a:gd name="connsiteY4" fmla="*/ 2202513 h 3467824"/>
              <a:gd name="connsiteX5" fmla="*/ 509587 w 898890"/>
              <a:gd name="connsiteY5" fmla="*/ 1878663 h 3467824"/>
              <a:gd name="connsiteX6" fmla="*/ 779174 w 898890"/>
              <a:gd name="connsiteY6" fmla="*/ 1434163 h 3467824"/>
              <a:gd name="connsiteX7" fmla="*/ 156225 w 898890"/>
              <a:gd name="connsiteY7" fmla="*/ 0 h 3467824"/>
              <a:gd name="connsiteX0" fmla="*/ 0 w 898021"/>
              <a:gd name="connsiteY0" fmla="*/ 3464575 h 3467824"/>
              <a:gd name="connsiteX1" fmla="*/ 228600 w 898021"/>
              <a:gd name="connsiteY1" fmla="*/ 3340750 h 3467824"/>
              <a:gd name="connsiteX2" fmla="*/ 261937 w 898021"/>
              <a:gd name="connsiteY2" fmla="*/ 2726388 h 3467824"/>
              <a:gd name="connsiteX3" fmla="*/ 404812 w 898021"/>
              <a:gd name="connsiteY3" fmla="*/ 2478738 h 3467824"/>
              <a:gd name="connsiteX4" fmla="*/ 414337 w 898021"/>
              <a:gd name="connsiteY4" fmla="*/ 2202513 h 3467824"/>
              <a:gd name="connsiteX5" fmla="*/ 509587 w 898021"/>
              <a:gd name="connsiteY5" fmla="*/ 1878663 h 3467824"/>
              <a:gd name="connsiteX6" fmla="*/ 779174 w 898021"/>
              <a:gd name="connsiteY6" fmla="*/ 1434163 h 3467824"/>
              <a:gd name="connsiteX7" fmla="*/ 156225 w 898021"/>
              <a:gd name="connsiteY7" fmla="*/ 0 h 3467824"/>
              <a:gd name="connsiteX0" fmla="*/ 0 w 887090"/>
              <a:gd name="connsiteY0" fmla="*/ 3464575 h 3467824"/>
              <a:gd name="connsiteX1" fmla="*/ 228600 w 887090"/>
              <a:gd name="connsiteY1" fmla="*/ 3340750 h 3467824"/>
              <a:gd name="connsiteX2" fmla="*/ 261937 w 887090"/>
              <a:gd name="connsiteY2" fmla="*/ 2726388 h 3467824"/>
              <a:gd name="connsiteX3" fmla="*/ 404812 w 887090"/>
              <a:gd name="connsiteY3" fmla="*/ 2478738 h 3467824"/>
              <a:gd name="connsiteX4" fmla="*/ 414337 w 887090"/>
              <a:gd name="connsiteY4" fmla="*/ 2202513 h 3467824"/>
              <a:gd name="connsiteX5" fmla="*/ 509587 w 887090"/>
              <a:gd name="connsiteY5" fmla="*/ 1878663 h 3467824"/>
              <a:gd name="connsiteX6" fmla="*/ 760206 w 887090"/>
              <a:gd name="connsiteY6" fmla="*/ 1429948 h 3467824"/>
              <a:gd name="connsiteX7" fmla="*/ 156225 w 887090"/>
              <a:gd name="connsiteY7" fmla="*/ 0 h 3467824"/>
              <a:gd name="connsiteX0" fmla="*/ 72375 w 730865"/>
              <a:gd name="connsiteY0" fmla="*/ 3340750 h 3340750"/>
              <a:gd name="connsiteX1" fmla="*/ 105712 w 730865"/>
              <a:gd name="connsiteY1" fmla="*/ 2726388 h 3340750"/>
              <a:gd name="connsiteX2" fmla="*/ 248587 w 730865"/>
              <a:gd name="connsiteY2" fmla="*/ 2478738 h 3340750"/>
              <a:gd name="connsiteX3" fmla="*/ 258112 w 730865"/>
              <a:gd name="connsiteY3" fmla="*/ 2202513 h 3340750"/>
              <a:gd name="connsiteX4" fmla="*/ 353362 w 730865"/>
              <a:gd name="connsiteY4" fmla="*/ 1878663 h 3340750"/>
              <a:gd name="connsiteX5" fmla="*/ 603981 w 730865"/>
              <a:gd name="connsiteY5" fmla="*/ 1429948 h 3340750"/>
              <a:gd name="connsiteX6" fmla="*/ 0 w 730865"/>
              <a:gd name="connsiteY6" fmla="*/ 0 h 3340750"/>
              <a:gd name="connsiteX0" fmla="*/ 105712 w 730865"/>
              <a:gd name="connsiteY0" fmla="*/ 2726388 h 2726388"/>
              <a:gd name="connsiteX1" fmla="*/ 248587 w 730865"/>
              <a:gd name="connsiteY1" fmla="*/ 2478738 h 2726388"/>
              <a:gd name="connsiteX2" fmla="*/ 258112 w 730865"/>
              <a:gd name="connsiteY2" fmla="*/ 2202513 h 2726388"/>
              <a:gd name="connsiteX3" fmla="*/ 353362 w 730865"/>
              <a:gd name="connsiteY3" fmla="*/ 1878663 h 2726388"/>
              <a:gd name="connsiteX4" fmla="*/ 603981 w 730865"/>
              <a:gd name="connsiteY4" fmla="*/ 1429948 h 2726388"/>
              <a:gd name="connsiteX5" fmla="*/ 0 w 730865"/>
              <a:gd name="connsiteY5" fmla="*/ 0 h 2726388"/>
              <a:gd name="connsiteX0" fmla="*/ 248587 w 730865"/>
              <a:gd name="connsiteY0" fmla="*/ 2478738 h 2478738"/>
              <a:gd name="connsiteX1" fmla="*/ 258112 w 730865"/>
              <a:gd name="connsiteY1" fmla="*/ 2202513 h 2478738"/>
              <a:gd name="connsiteX2" fmla="*/ 353362 w 730865"/>
              <a:gd name="connsiteY2" fmla="*/ 1878663 h 2478738"/>
              <a:gd name="connsiteX3" fmla="*/ 603981 w 730865"/>
              <a:gd name="connsiteY3" fmla="*/ 1429948 h 2478738"/>
              <a:gd name="connsiteX4" fmla="*/ 0 w 730865"/>
              <a:gd name="connsiteY4" fmla="*/ 0 h 2478738"/>
              <a:gd name="connsiteX0" fmla="*/ 258112 w 730865"/>
              <a:gd name="connsiteY0" fmla="*/ 2202513 h 2202513"/>
              <a:gd name="connsiteX1" fmla="*/ 353362 w 730865"/>
              <a:gd name="connsiteY1" fmla="*/ 1878663 h 2202513"/>
              <a:gd name="connsiteX2" fmla="*/ 603981 w 730865"/>
              <a:gd name="connsiteY2" fmla="*/ 1429948 h 2202513"/>
              <a:gd name="connsiteX3" fmla="*/ 0 w 730865"/>
              <a:gd name="connsiteY3" fmla="*/ 0 h 2202513"/>
              <a:gd name="connsiteX0" fmla="*/ 353362 w 730865"/>
              <a:gd name="connsiteY0" fmla="*/ 1878663 h 1878663"/>
              <a:gd name="connsiteX1" fmla="*/ 603981 w 730865"/>
              <a:gd name="connsiteY1" fmla="*/ 1429948 h 1878663"/>
              <a:gd name="connsiteX2" fmla="*/ 0 w 730865"/>
              <a:gd name="connsiteY2" fmla="*/ 0 h 1878663"/>
              <a:gd name="connsiteX0" fmla="*/ 603981 w 730865"/>
              <a:gd name="connsiteY0" fmla="*/ 1429948 h 1429948"/>
              <a:gd name="connsiteX1" fmla="*/ 0 w 730865"/>
              <a:gd name="connsiteY1" fmla="*/ 0 h 1429948"/>
              <a:gd name="connsiteX0" fmla="*/ 619788 w 739955"/>
              <a:gd name="connsiteY0" fmla="*/ 1426787 h 1426787"/>
              <a:gd name="connsiteX1" fmla="*/ 0 w 739955"/>
              <a:gd name="connsiteY1" fmla="*/ 0 h 1426787"/>
              <a:gd name="connsiteX0" fmla="*/ 619788 w 726381"/>
              <a:gd name="connsiteY0" fmla="*/ 1426787 h 1426787"/>
              <a:gd name="connsiteX1" fmla="*/ 0 w 726381"/>
              <a:gd name="connsiteY1" fmla="*/ 0 h 1426787"/>
            </a:gdLst>
            <a:ahLst/>
            <a:cxnLst>
              <a:cxn ang="0">
                <a:pos x="connsiteX0" y="connsiteY0"/>
              </a:cxn>
              <a:cxn ang="0">
                <a:pos x="connsiteX1" y="connsiteY1"/>
              </a:cxn>
            </a:cxnLst>
            <a:rect l="l" t="t" r="r" b="b"/>
            <a:pathLst>
              <a:path w="726381" h="1426787">
                <a:moveTo>
                  <a:pt x="619788" y="1426787"/>
                </a:moveTo>
                <a:cubicBezTo>
                  <a:pt x="646991" y="1334871"/>
                  <a:pt x="1074571" y="558815"/>
                  <a:pt x="0" y="0"/>
                </a:cubicBezTo>
              </a:path>
            </a:pathLst>
          </a:custGeom>
          <a:noFill/>
          <a:ln w="12700">
            <a:gradFill>
              <a:gsLst>
                <a:gs pos="0">
                  <a:schemeClr val="accent1">
                    <a:lumMod val="5000"/>
                    <a:lumOff val="95000"/>
                  </a:schemeClr>
                </a:gs>
                <a:gs pos="37000">
                  <a:srgbClr val="4599D1"/>
                </a:gs>
                <a:gs pos="100000">
                  <a:schemeClr val="tx2">
                    <a:alpha val="20000"/>
                    <a:lumMod val="86000"/>
                  </a:schemeClr>
                </a:gs>
              </a:gsLst>
              <a:lin ang="5400000" scaled="1"/>
            </a:gra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966" name="Freeform 2191"/>
          <p:cNvSpPr>
            <a:spLocks noEditPoints="1"/>
          </p:cNvSpPr>
          <p:nvPr/>
        </p:nvSpPr>
        <p:spPr bwMode="auto">
          <a:xfrm>
            <a:off x="781880" y="4114526"/>
            <a:ext cx="326797" cy="32819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67" name="Freeform 2191"/>
          <p:cNvSpPr>
            <a:spLocks noEditPoints="1"/>
          </p:cNvSpPr>
          <p:nvPr/>
        </p:nvSpPr>
        <p:spPr bwMode="auto">
          <a:xfrm>
            <a:off x="941499" y="3831933"/>
            <a:ext cx="334544" cy="33597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68" name="Freeform 2191"/>
          <p:cNvSpPr>
            <a:spLocks noEditPoints="1"/>
          </p:cNvSpPr>
          <p:nvPr/>
        </p:nvSpPr>
        <p:spPr bwMode="auto">
          <a:xfrm>
            <a:off x="1037139" y="4247598"/>
            <a:ext cx="421927" cy="423734"/>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69" name="Freeform 2191"/>
          <p:cNvSpPr>
            <a:spLocks noEditPoints="1"/>
          </p:cNvSpPr>
          <p:nvPr/>
        </p:nvSpPr>
        <p:spPr bwMode="auto">
          <a:xfrm>
            <a:off x="1105822" y="4171076"/>
            <a:ext cx="96529" cy="9694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0" name="Freeform 2191"/>
          <p:cNvSpPr>
            <a:spLocks noEditPoints="1"/>
          </p:cNvSpPr>
          <p:nvPr/>
        </p:nvSpPr>
        <p:spPr bwMode="auto">
          <a:xfrm>
            <a:off x="1195791" y="4139654"/>
            <a:ext cx="96529" cy="9694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1" name="Freeform 2191"/>
          <p:cNvSpPr>
            <a:spLocks noEditPoints="1"/>
          </p:cNvSpPr>
          <p:nvPr/>
        </p:nvSpPr>
        <p:spPr bwMode="auto">
          <a:xfrm>
            <a:off x="1269424" y="4029919"/>
            <a:ext cx="164362" cy="16506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2" name="Freeform 2191"/>
          <p:cNvSpPr>
            <a:spLocks noEditPoints="1"/>
          </p:cNvSpPr>
          <p:nvPr/>
        </p:nvSpPr>
        <p:spPr bwMode="auto">
          <a:xfrm>
            <a:off x="1292262" y="4203573"/>
            <a:ext cx="87671" cy="8804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3" name="Freeform 2191"/>
          <p:cNvSpPr>
            <a:spLocks noEditPoints="1"/>
          </p:cNvSpPr>
          <p:nvPr/>
        </p:nvSpPr>
        <p:spPr bwMode="auto">
          <a:xfrm>
            <a:off x="1396581" y="4077998"/>
            <a:ext cx="326797" cy="32819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4" name="Freeform 2191"/>
          <p:cNvSpPr>
            <a:spLocks noEditPoints="1"/>
          </p:cNvSpPr>
          <p:nvPr/>
        </p:nvSpPr>
        <p:spPr bwMode="auto">
          <a:xfrm>
            <a:off x="1288937" y="3823165"/>
            <a:ext cx="215296" cy="216218"/>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5" name="Freeform 2191"/>
          <p:cNvSpPr>
            <a:spLocks noEditPoints="1"/>
          </p:cNvSpPr>
          <p:nvPr/>
        </p:nvSpPr>
        <p:spPr bwMode="auto">
          <a:xfrm>
            <a:off x="1430698" y="4014792"/>
            <a:ext cx="96529" cy="9694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6" name="Freeform 2191"/>
          <p:cNvSpPr>
            <a:spLocks noEditPoints="1"/>
          </p:cNvSpPr>
          <p:nvPr/>
        </p:nvSpPr>
        <p:spPr bwMode="auto">
          <a:xfrm>
            <a:off x="1499191" y="3902026"/>
            <a:ext cx="134844" cy="13542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7" name="Freeform 2191"/>
          <p:cNvSpPr>
            <a:spLocks noEditPoints="1"/>
          </p:cNvSpPr>
          <p:nvPr/>
        </p:nvSpPr>
        <p:spPr bwMode="auto">
          <a:xfrm>
            <a:off x="1435468" y="4414187"/>
            <a:ext cx="279310" cy="28050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8" name="Freeform 2191"/>
          <p:cNvSpPr>
            <a:spLocks noEditPoints="1"/>
          </p:cNvSpPr>
          <p:nvPr/>
        </p:nvSpPr>
        <p:spPr bwMode="auto">
          <a:xfrm>
            <a:off x="820128" y="4457110"/>
            <a:ext cx="241586" cy="242621"/>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79" name="Freeform 2191"/>
          <p:cNvSpPr>
            <a:spLocks noEditPoints="1"/>
          </p:cNvSpPr>
          <p:nvPr/>
        </p:nvSpPr>
        <p:spPr bwMode="auto">
          <a:xfrm>
            <a:off x="1269424" y="4640467"/>
            <a:ext cx="164362" cy="16506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0" name="Freeform 2191"/>
          <p:cNvSpPr>
            <a:spLocks noEditPoints="1"/>
          </p:cNvSpPr>
          <p:nvPr/>
        </p:nvSpPr>
        <p:spPr bwMode="auto">
          <a:xfrm>
            <a:off x="1057539" y="4640467"/>
            <a:ext cx="164362" cy="165066"/>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1" name="Freeform 2191"/>
          <p:cNvSpPr>
            <a:spLocks noEditPoints="1"/>
          </p:cNvSpPr>
          <p:nvPr/>
        </p:nvSpPr>
        <p:spPr bwMode="auto">
          <a:xfrm>
            <a:off x="1573647" y="3731322"/>
            <a:ext cx="206990" cy="20787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2" name="Freeform 2191"/>
          <p:cNvSpPr>
            <a:spLocks noEditPoints="1"/>
          </p:cNvSpPr>
          <p:nvPr/>
        </p:nvSpPr>
        <p:spPr bwMode="auto">
          <a:xfrm>
            <a:off x="1485602" y="3814124"/>
            <a:ext cx="96529" cy="9694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3" name="Freeform 2191"/>
          <p:cNvSpPr>
            <a:spLocks noEditPoints="1"/>
          </p:cNvSpPr>
          <p:nvPr/>
        </p:nvSpPr>
        <p:spPr bwMode="auto">
          <a:xfrm>
            <a:off x="1219718" y="3814124"/>
            <a:ext cx="96529" cy="96942"/>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4" name="Freeform 2191"/>
          <p:cNvSpPr>
            <a:spLocks noEditPoints="1"/>
          </p:cNvSpPr>
          <p:nvPr/>
        </p:nvSpPr>
        <p:spPr bwMode="auto">
          <a:xfrm>
            <a:off x="669889" y="3731322"/>
            <a:ext cx="206990" cy="20787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5" name="Freeform 2191"/>
          <p:cNvSpPr>
            <a:spLocks noEditPoints="1"/>
          </p:cNvSpPr>
          <p:nvPr/>
        </p:nvSpPr>
        <p:spPr bwMode="auto">
          <a:xfrm>
            <a:off x="862466" y="3853703"/>
            <a:ext cx="111905" cy="112385"/>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6" name="Freeform 2191"/>
          <p:cNvSpPr>
            <a:spLocks noEditPoints="1"/>
          </p:cNvSpPr>
          <p:nvPr/>
        </p:nvSpPr>
        <p:spPr bwMode="auto">
          <a:xfrm>
            <a:off x="826798" y="3963627"/>
            <a:ext cx="111905" cy="112385"/>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7" name="Freeform 2191"/>
          <p:cNvSpPr>
            <a:spLocks noEditPoints="1"/>
          </p:cNvSpPr>
          <p:nvPr/>
        </p:nvSpPr>
        <p:spPr bwMode="auto">
          <a:xfrm>
            <a:off x="723282" y="3963627"/>
            <a:ext cx="97250" cy="9766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8" name="Freeform 2191"/>
          <p:cNvSpPr>
            <a:spLocks noEditPoints="1"/>
          </p:cNvSpPr>
          <p:nvPr/>
        </p:nvSpPr>
        <p:spPr bwMode="auto">
          <a:xfrm>
            <a:off x="739539" y="4066913"/>
            <a:ext cx="97250" cy="9766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89" name="Freeform 2191"/>
          <p:cNvSpPr>
            <a:spLocks noEditPoints="1"/>
          </p:cNvSpPr>
          <p:nvPr/>
        </p:nvSpPr>
        <p:spPr bwMode="auto">
          <a:xfrm>
            <a:off x="756956" y="4405387"/>
            <a:ext cx="111905" cy="112385"/>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90" name="Freeform 2191"/>
          <p:cNvSpPr>
            <a:spLocks noEditPoints="1"/>
          </p:cNvSpPr>
          <p:nvPr/>
        </p:nvSpPr>
        <p:spPr bwMode="auto">
          <a:xfrm>
            <a:off x="944076" y="4680636"/>
            <a:ext cx="111905" cy="112385"/>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91" name="Freeform 2191"/>
          <p:cNvSpPr>
            <a:spLocks noEditPoints="1"/>
          </p:cNvSpPr>
          <p:nvPr/>
        </p:nvSpPr>
        <p:spPr bwMode="auto">
          <a:xfrm>
            <a:off x="1433992" y="4680636"/>
            <a:ext cx="98243" cy="98664"/>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992" name="Freeform 2191"/>
          <p:cNvSpPr>
            <a:spLocks noEditPoints="1"/>
          </p:cNvSpPr>
          <p:nvPr/>
        </p:nvSpPr>
        <p:spPr bwMode="auto">
          <a:xfrm>
            <a:off x="1607742" y="3975936"/>
            <a:ext cx="147476" cy="148107"/>
          </a:xfrm>
          <a:custGeom>
            <a:avLst/>
            <a:gdLst>
              <a:gd name="T0" fmla="*/ 468 w 468"/>
              <a:gd name="T1" fmla="*/ 192 h 468"/>
              <a:gd name="T2" fmla="*/ 406 w 468"/>
              <a:gd name="T3" fmla="*/ 175 h 468"/>
              <a:gd name="T4" fmla="*/ 398 w 468"/>
              <a:gd name="T5" fmla="*/ 156 h 468"/>
              <a:gd name="T6" fmla="*/ 431 w 468"/>
              <a:gd name="T7" fmla="*/ 100 h 468"/>
              <a:gd name="T8" fmla="*/ 322 w 468"/>
              <a:gd name="T9" fmla="*/ 76 h 468"/>
              <a:gd name="T10" fmla="*/ 303 w 468"/>
              <a:gd name="T11" fmla="*/ 67 h 468"/>
              <a:gd name="T12" fmla="*/ 284 w 468"/>
              <a:gd name="T13" fmla="*/ 61 h 468"/>
              <a:gd name="T14" fmla="*/ 192 w 468"/>
              <a:gd name="T15" fmla="*/ 0 h 468"/>
              <a:gd name="T16" fmla="*/ 175 w 468"/>
              <a:gd name="T17" fmla="*/ 64 h 468"/>
              <a:gd name="T18" fmla="*/ 156 w 468"/>
              <a:gd name="T19" fmla="*/ 72 h 468"/>
              <a:gd name="T20" fmla="*/ 100 w 468"/>
              <a:gd name="T21" fmla="*/ 39 h 468"/>
              <a:gd name="T22" fmla="*/ 77 w 468"/>
              <a:gd name="T23" fmla="*/ 146 h 468"/>
              <a:gd name="T24" fmla="*/ 67 w 468"/>
              <a:gd name="T25" fmla="*/ 165 h 468"/>
              <a:gd name="T26" fmla="*/ 61 w 468"/>
              <a:gd name="T27" fmla="*/ 184 h 468"/>
              <a:gd name="T28" fmla="*/ 0 w 468"/>
              <a:gd name="T29" fmla="*/ 278 h 468"/>
              <a:gd name="T30" fmla="*/ 64 w 468"/>
              <a:gd name="T31" fmla="*/ 293 h 468"/>
              <a:gd name="T32" fmla="*/ 72 w 468"/>
              <a:gd name="T33" fmla="*/ 312 h 468"/>
              <a:gd name="T34" fmla="*/ 39 w 468"/>
              <a:gd name="T35" fmla="*/ 370 h 468"/>
              <a:gd name="T36" fmla="*/ 147 w 468"/>
              <a:gd name="T37" fmla="*/ 393 h 468"/>
              <a:gd name="T38" fmla="*/ 166 w 468"/>
              <a:gd name="T39" fmla="*/ 401 h 468"/>
              <a:gd name="T40" fmla="*/ 184 w 468"/>
              <a:gd name="T41" fmla="*/ 409 h 468"/>
              <a:gd name="T42" fmla="*/ 278 w 468"/>
              <a:gd name="T43" fmla="*/ 468 h 468"/>
              <a:gd name="T44" fmla="*/ 294 w 468"/>
              <a:gd name="T45" fmla="*/ 404 h 468"/>
              <a:gd name="T46" fmla="*/ 312 w 468"/>
              <a:gd name="T47" fmla="*/ 396 h 468"/>
              <a:gd name="T48" fmla="*/ 370 w 468"/>
              <a:gd name="T49" fmla="*/ 431 h 468"/>
              <a:gd name="T50" fmla="*/ 393 w 468"/>
              <a:gd name="T51" fmla="*/ 321 h 468"/>
              <a:gd name="T52" fmla="*/ 401 w 468"/>
              <a:gd name="T53" fmla="*/ 303 h 468"/>
              <a:gd name="T54" fmla="*/ 409 w 468"/>
              <a:gd name="T55" fmla="*/ 284 h 468"/>
              <a:gd name="T56" fmla="*/ 468 w 468"/>
              <a:gd name="T57" fmla="*/ 278 h 468"/>
              <a:gd name="T58" fmla="*/ 325 w 468"/>
              <a:gd name="T59" fmla="*/ 243 h 468"/>
              <a:gd name="T60" fmla="*/ 320 w 468"/>
              <a:gd name="T61" fmla="*/ 260 h 468"/>
              <a:gd name="T62" fmla="*/ 314 w 468"/>
              <a:gd name="T63" fmla="*/ 278 h 468"/>
              <a:gd name="T64" fmla="*/ 304 w 468"/>
              <a:gd name="T65" fmla="*/ 292 h 468"/>
              <a:gd name="T66" fmla="*/ 292 w 468"/>
              <a:gd name="T67" fmla="*/ 304 h 468"/>
              <a:gd name="T68" fmla="*/ 278 w 468"/>
              <a:gd name="T69" fmla="*/ 314 h 468"/>
              <a:gd name="T70" fmla="*/ 261 w 468"/>
              <a:gd name="T71" fmla="*/ 320 h 468"/>
              <a:gd name="T72" fmla="*/ 244 w 468"/>
              <a:gd name="T73" fmla="*/ 325 h 468"/>
              <a:gd name="T74" fmla="*/ 225 w 468"/>
              <a:gd name="T75" fmla="*/ 325 h 468"/>
              <a:gd name="T76" fmla="*/ 208 w 468"/>
              <a:gd name="T77" fmla="*/ 320 h 468"/>
              <a:gd name="T78" fmla="*/ 191 w 468"/>
              <a:gd name="T79" fmla="*/ 314 h 468"/>
              <a:gd name="T80" fmla="*/ 176 w 468"/>
              <a:gd name="T81" fmla="*/ 304 h 468"/>
              <a:gd name="T82" fmla="*/ 164 w 468"/>
              <a:gd name="T83" fmla="*/ 292 h 468"/>
              <a:gd name="T84" fmla="*/ 155 w 468"/>
              <a:gd name="T85" fmla="*/ 278 h 468"/>
              <a:gd name="T86" fmla="*/ 148 w 468"/>
              <a:gd name="T87" fmla="*/ 260 h 468"/>
              <a:gd name="T88" fmla="*/ 144 w 468"/>
              <a:gd name="T89" fmla="*/ 243 h 468"/>
              <a:gd name="T90" fmla="*/ 144 w 468"/>
              <a:gd name="T91" fmla="*/ 225 h 468"/>
              <a:gd name="T92" fmla="*/ 148 w 468"/>
              <a:gd name="T93" fmla="*/ 207 h 468"/>
              <a:gd name="T94" fmla="*/ 155 w 468"/>
              <a:gd name="T95" fmla="*/ 190 h 468"/>
              <a:gd name="T96" fmla="*/ 164 w 468"/>
              <a:gd name="T97" fmla="*/ 176 h 468"/>
              <a:gd name="T98" fmla="*/ 176 w 468"/>
              <a:gd name="T99" fmla="*/ 164 h 468"/>
              <a:gd name="T100" fmla="*/ 191 w 468"/>
              <a:gd name="T101" fmla="*/ 154 h 468"/>
              <a:gd name="T102" fmla="*/ 208 w 468"/>
              <a:gd name="T103" fmla="*/ 148 h 468"/>
              <a:gd name="T104" fmla="*/ 225 w 468"/>
              <a:gd name="T105" fmla="*/ 143 h 468"/>
              <a:gd name="T106" fmla="*/ 244 w 468"/>
              <a:gd name="T107" fmla="*/ 143 h 468"/>
              <a:gd name="T108" fmla="*/ 261 w 468"/>
              <a:gd name="T109" fmla="*/ 148 h 468"/>
              <a:gd name="T110" fmla="*/ 278 w 468"/>
              <a:gd name="T111" fmla="*/ 154 h 468"/>
              <a:gd name="T112" fmla="*/ 292 w 468"/>
              <a:gd name="T113" fmla="*/ 164 h 468"/>
              <a:gd name="T114" fmla="*/ 304 w 468"/>
              <a:gd name="T115" fmla="*/ 176 h 468"/>
              <a:gd name="T116" fmla="*/ 314 w 468"/>
              <a:gd name="T117" fmla="*/ 190 h 468"/>
              <a:gd name="T118" fmla="*/ 320 w 468"/>
              <a:gd name="T119" fmla="*/ 207 h 468"/>
              <a:gd name="T120" fmla="*/ 325 w 468"/>
              <a:gd name="T121" fmla="*/ 225 h 468"/>
              <a:gd name="T122" fmla="*/ 325 w 468"/>
              <a:gd name="T1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468">
                <a:moveTo>
                  <a:pt x="468" y="278"/>
                </a:moveTo>
                <a:lnTo>
                  <a:pt x="468" y="192"/>
                </a:lnTo>
                <a:lnTo>
                  <a:pt x="409" y="184"/>
                </a:lnTo>
                <a:lnTo>
                  <a:pt x="406" y="175"/>
                </a:lnTo>
                <a:lnTo>
                  <a:pt x="401" y="165"/>
                </a:lnTo>
                <a:lnTo>
                  <a:pt x="398" y="156"/>
                </a:lnTo>
                <a:lnTo>
                  <a:pt x="393" y="146"/>
                </a:lnTo>
                <a:lnTo>
                  <a:pt x="431" y="100"/>
                </a:lnTo>
                <a:lnTo>
                  <a:pt x="370" y="39"/>
                </a:lnTo>
                <a:lnTo>
                  <a:pt x="322" y="76"/>
                </a:lnTo>
                <a:lnTo>
                  <a:pt x="312" y="72"/>
                </a:lnTo>
                <a:lnTo>
                  <a:pt x="303" y="67"/>
                </a:lnTo>
                <a:lnTo>
                  <a:pt x="294" y="64"/>
                </a:lnTo>
                <a:lnTo>
                  <a:pt x="284" y="61"/>
                </a:lnTo>
                <a:lnTo>
                  <a:pt x="278" y="0"/>
                </a:lnTo>
                <a:lnTo>
                  <a:pt x="192" y="0"/>
                </a:lnTo>
                <a:lnTo>
                  <a:pt x="184" y="61"/>
                </a:lnTo>
                <a:lnTo>
                  <a:pt x="175" y="64"/>
                </a:lnTo>
                <a:lnTo>
                  <a:pt x="166" y="67"/>
                </a:lnTo>
                <a:lnTo>
                  <a:pt x="156" y="72"/>
                </a:lnTo>
                <a:lnTo>
                  <a:pt x="147" y="76"/>
                </a:lnTo>
                <a:lnTo>
                  <a:pt x="100" y="39"/>
                </a:lnTo>
                <a:lnTo>
                  <a:pt x="39" y="100"/>
                </a:lnTo>
                <a:lnTo>
                  <a:pt x="77" y="146"/>
                </a:lnTo>
                <a:lnTo>
                  <a:pt x="72" y="156"/>
                </a:lnTo>
                <a:lnTo>
                  <a:pt x="67" y="165"/>
                </a:lnTo>
                <a:lnTo>
                  <a:pt x="64" y="175"/>
                </a:lnTo>
                <a:lnTo>
                  <a:pt x="61" y="184"/>
                </a:lnTo>
                <a:lnTo>
                  <a:pt x="0" y="192"/>
                </a:lnTo>
                <a:lnTo>
                  <a:pt x="0" y="278"/>
                </a:lnTo>
                <a:lnTo>
                  <a:pt x="61" y="284"/>
                </a:lnTo>
                <a:lnTo>
                  <a:pt x="64" y="293"/>
                </a:lnTo>
                <a:lnTo>
                  <a:pt x="67" y="303"/>
                </a:lnTo>
                <a:lnTo>
                  <a:pt x="72" y="312"/>
                </a:lnTo>
                <a:lnTo>
                  <a:pt x="77" y="321"/>
                </a:lnTo>
                <a:lnTo>
                  <a:pt x="39" y="370"/>
                </a:lnTo>
                <a:lnTo>
                  <a:pt x="100" y="431"/>
                </a:lnTo>
                <a:lnTo>
                  <a:pt x="147" y="393"/>
                </a:lnTo>
                <a:lnTo>
                  <a:pt x="156" y="396"/>
                </a:lnTo>
                <a:lnTo>
                  <a:pt x="166" y="401"/>
                </a:lnTo>
                <a:lnTo>
                  <a:pt x="175" y="404"/>
                </a:lnTo>
                <a:lnTo>
                  <a:pt x="184" y="409"/>
                </a:lnTo>
                <a:lnTo>
                  <a:pt x="192" y="468"/>
                </a:lnTo>
                <a:lnTo>
                  <a:pt x="278" y="468"/>
                </a:lnTo>
                <a:lnTo>
                  <a:pt x="284" y="409"/>
                </a:lnTo>
                <a:lnTo>
                  <a:pt x="294" y="404"/>
                </a:lnTo>
                <a:lnTo>
                  <a:pt x="303" y="401"/>
                </a:lnTo>
                <a:lnTo>
                  <a:pt x="312" y="396"/>
                </a:lnTo>
                <a:lnTo>
                  <a:pt x="322" y="393"/>
                </a:lnTo>
                <a:lnTo>
                  <a:pt x="370" y="431"/>
                </a:lnTo>
                <a:lnTo>
                  <a:pt x="431" y="370"/>
                </a:lnTo>
                <a:lnTo>
                  <a:pt x="393" y="321"/>
                </a:lnTo>
                <a:lnTo>
                  <a:pt x="398" y="312"/>
                </a:lnTo>
                <a:lnTo>
                  <a:pt x="401" y="303"/>
                </a:lnTo>
                <a:lnTo>
                  <a:pt x="406" y="293"/>
                </a:lnTo>
                <a:lnTo>
                  <a:pt x="409" y="284"/>
                </a:lnTo>
                <a:lnTo>
                  <a:pt x="468" y="278"/>
                </a:lnTo>
                <a:lnTo>
                  <a:pt x="468" y="278"/>
                </a:lnTo>
                <a:close/>
                <a:moveTo>
                  <a:pt x="325" y="234"/>
                </a:moveTo>
                <a:lnTo>
                  <a:pt x="325" y="243"/>
                </a:lnTo>
                <a:lnTo>
                  <a:pt x="323" y="253"/>
                </a:lnTo>
                <a:lnTo>
                  <a:pt x="320" y="260"/>
                </a:lnTo>
                <a:lnTo>
                  <a:pt x="317" y="270"/>
                </a:lnTo>
                <a:lnTo>
                  <a:pt x="314" y="278"/>
                </a:lnTo>
                <a:lnTo>
                  <a:pt x="309" y="284"/>
                </a:lnTo>
                <a:lnTo>
                  <a:pt x="304" y="292"/>
                </a:lnTo>
                <a:lnTo>
                  <a:pt x="298" y="298"/>
                </a:lnTo>
                <a:lnTo>
                  <a:pt x="292" y="304"/>
                </a:lnTo>
                <a:lnTo>
                  <a:pt x="284" y="309"/>
                </a:lnTo>
                <a:lnTo>
                  <a:pt x="278" y="314"/>
                </a:lnTo>
                <a:lnTo>
                  <a:pt x="270" y="317"/>
                </a:lnTo>
                <a:lnTo>
                  <a:pt x="261" y="320"/>
                </a:lnTo>
                <a:lnTo>
                  <a:pt x="253" y="323"/>
                </a:lnTo>
                <a:lnTo>
                  <a:pt x="244" y="325"/>
                </a:lnTo>
                <a:lnTo>
                  <a:pt x="234" y="325"/>
                </a:lnTo>
                <a:lnTo>
                  <a:pt x="225" y="325"/>
                </a:lnTo>
                <a:lnTo>
                  <a:pt x="215" y="323"/>
                </a:lnTo>
                <a:lnTo>
                  <a:pt x="208" y="320"/>
                </a:lnTo>
                <a:lnTo>
                  <a:pt x="198" y="317"/>
                </a:lnTo>
                <a:lnTo>
                  <a:pt x="191" y="314"/>
                </a:lnTo>
                <a:lnTo>
                  <a:pt x="184" y="309"/>
                </a:lnTo>
                <a:lnTo>
                  <a:pt x="176" y="304"/>
                </a:lnTo>
                <a:lnTo>
                  <a:pt x="170" y="298"/>
                </a:lnTo>
                <a:lnTo>
                  <a:pt x="164" y="292"/>
                </a:lnTo>
                <a:lnTo>
                  <a:pt x="159" y="284"/>
                </a:lnTo>
                <a:lnTo>
                  <a:pt x="155" y="278"/>
                </a:lnTo>
                <a:lnTo>
                  <a:pt x="152" y="270"/>
                </a:lnTo>
                <a:lnTo>
                  <a:pt x="148" y="260"/>
                </a:lnTo>
                <a:lnTo>
                  <a:pt x="145" y="253"/>
                </a:lnTo>
                <a:lnTo>
                  <a:pt x="144" y="243"/>
                </a:lnTo>
                <a:lnTo>
                  <a:pt x="144" y="234"/>
                </a:lnTo>
                <a:lnTo>
                  <a:pt x="144" y="225"/>
                </a:lnTo>
                <a:lnTo>
                  <a:pt x="145" y="215"/>
                </a:lnTo>
                <a:lnTo>
                  <a:pt x="148" y="207"/>
                </a:lnTo>
                <a:lnTo>
                  <a:pt x="152" y="198"/>
                </a:lnTo>
                <a:lnTo>
                  <a:pt x="155" y="190"/>
                </a:lnTo>
                <a:lnTo>
                  <a:pt x="159" y="184"/>
                </a:lnTo>
                <a:lnTo>
                  <a:pt x="164" y="176"/>
                </a:lnTo>
                <a:lnTo>
                  <a:pt x="170" y="170"/>
                </a:lnTo>
                <a:lnTo>
                  <a:pt x="176" y="164"/>
                </a:lnTo>
                <a:lnTo>
                  <a:pt x="184" y="159"/>
                </a:lnTo>
                <a:lnTo>
                  <a:pt x="191" y="154"/>
                </a:lnTo>
                <a:lnTo>
                  <a:pt x="198" y="151"/>
                </a:lnTo>
                <a:lnTo>
                  <a:pt x="208" y="148"/>
                </a:lnTo>
                <a:lnTo>
                  <a:pt x="215" y="145"/>
                </a:lnTo>
                <a:lnTo>
                  <a:pt x="225" y="143"/>
                </a:lnTo>
                <a:lnTo>
                  <a:pt x="234" y="143"/>
                </a:lnTo>
                <a:lnTo>
                  <a:pt x="244" y="143"/>
                </a:lnTo>
                <a:lnTo>
                  <a:pt x="253" y="145"/>
                </a:lnTo>
                <a:lnTo>
                  <a:pt x="261" y="148"/>
                </a:lnTo>
                <a:lnTo>
                  <a:pt x="270" y="151"/>
                </a:lnTo>
                <a:lnTo>
                  <a:pt x="278" y="154"/>
                </a:lnTo>
                <a:lnTo>
                  <a:pt x="284" y="159"/>
                </a:lnTo>
                <a:lnTo>
                  <a:pt x="292" y="164"/>
                </a:lnTo>
                <a:lnTo>
                  <a:pt x="298" y="170"/>
                </a:lnTo>
                <a:lnTo>
                  <a:pt x="304" y="176"/>
                </a:lnTo>
                <a:lnTo>
                  <a:pt x="309" y="184"/>
                </a:lnTo>
                <a:lnTo>
                  <a:pt x="314" y="190"/>
                </a:lnTo>
                <a:lnTo>
                  <a:pt x="317" y="198"/>
                </a:lnTo>
                <a:lnTo>
                  <a:pt x="320" y="207"/>
                </a:lnTo>
                <a:lnTo>
                  <a:pt x="323" y="215"/>
                </a:lnTo>
                <a:lnTo>
                  <a:pt x="325" y="225"/>
                </a:lnTo>
                <a:lnTo>
                  <a:pt x="325" y="234"/>
                </a:lnTo>
                <a:lnTo>
                  <a:pt x="325" y="234"/>
                </a:lnTo>
                <a:close/>
              </a:path>
            </a:pathLst>
          </a:custGeom>
          <a:solidFill>
            <a:srgbClr val="80B7E1"/>
          </a:solidFill>
          <a:ln>
            <a:noFill/>
          </a:ln>
          <a:extLst/>
        </p:spPr>
        <p:txBody>
          <a:bodyPr vert="horz" wrap="square" lIns="82305" tIns="41153" rIns="82305" bIns="41153" numCol="1" anchor="t" anchorCtr="0" compatLnSpc="1">
            <a:prstTxWarp prst="textNoShape">
              <a:avLst/>
            </a:prstTxWarp>
          </a:bodyPr>
          <a:lstStyle/>
          <a:p>
            <a:pPr marL="0" marR="0" lvl="0" indent="0" defTabSz="1088105"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endParaRPr>
          </a:p>
        </p:txBody>
      </p:sp>
      <p:sp>
        <p:nvSpPr>
          <p:cNvPr id="448" name="Freeform 447"/>
          <p:cNvSpPr/>
          <p:nvPr/>
        </p:nvSpPr>
        <p:spPr>
          <a:xfrm>
            <a:off x="753869" y="5138367"/>
            <a:ext cx="2498446" cy="164507"/>
          </a:xfrm>
          <a:custGeom>
            <a:avLst/>
            <a:gdLst>
              <a:gd name="connsiteX0" fmla="*/ 0 w 3086100"/>
              <a:gd name="connsiteY0" fmla="*/ 203200 h 203200"/>
              <a:gd name="connsiteX1" fmla="*/ 203200 w 3086100"/>
              <a:gd name="connsiteY1" fmla="*/ 0 h 203200"/>
              <a:gd name="connsiteX2" fmla="*/ 3086100 w 3086100"/>
              <a:gd name="connsiteY2" fmla="*/ 0 h 203200"/>
            </a:gdLst>
            <a:ahLst/>
            <a:cxnLst>
              <a:cxn ang="0">
                <a:pos x="connsiteX0" y="connsiteY0"/>
              </a:cxn>
              <a:cxn ang="0">
                <a:pos x="connsiteX1" y="connsiteY1"/>
              </a:cxn>
              <a:cxn ang="0">
                <a:pos x="connsiteX2" y="connsiteY2"/>
              </a:cxn>
            </a:cxnLst>
            <a:rect l="l" t="t" r="r" b="b"/>
            <a:pathLst>
              <a:path w="3086100" h="203200">
                <a:moveTo>
                  <a:pt x="0" y="203200"/>
                </a:moveTo>
                <a:lnTo>
                  <a:pt x="203200" y="0"/>
                </a:lnTo>
                <a:lnTo>
                  <a:pt x="3086100" y="0"/>
                </a:lnTo>
              </a:path>
            </a:pathLst>
          </a:custGeom>
          <a:noFill/>
          <a:ln w="19050">
            <a:solidFill>
              <a:schemeClr val="bg1">
                <a:alpha val="1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89" name="Freeform 788"/>
          <p:cNvSpPr/>
          <p:nvPr/>
        </p:nvSpPr>
        <p:spPr>
          <a:xfrm>
            <a:off x="10183882" y="4851338"/>
            <a:ext cx="271697" cy="391563"/>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90" name="Freeform 789"/>
          <p:cNvSpPr/>
          <p:nvPr/>
        </p:nvSpPr>
        <p:spPr>
          <a:xfrm>
            <a:off x="10887097" y="5003167"/>
            <a:ext cx="159822" cy="26370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791" name="Freeform 790"/>
          <p:cNvSpPr/>
          <p:nvPr/>
        </p:nvSpPr>
        <p:spPr>
          <a:xfrm>
            <a:off x="9184995" y="5602499"/>
            <a:ext cx="663260" cy="807100"/>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dirty="0">
              <a:ln>
                <a:noFill/>
              </a:ln>
              <a:solidFill>
                <a:prstClr val="white"/>
              </a:solidFill>
              <a:effectLst/>
              <a:uLnTx/>
              <a:uFillTx/>
            </a:endParaRPr>
          </a:p>
        </p:txBody>
      </p:sp>
      <p:sp>
        <p:nvSpPr>
          <p:cNvPr id="196" name="Title 2"/>
          <p:cNvSpPr txBox="1">
            <a:spLocks/>
          </p:cNvSpPr>
          <p:nvPr>
            <p:custDataLst>
              <p:tags r:id="rId3"/>
            </p:custDataLst>
          </p:nvPr>
        </p:nvSpPr>
        <p:spPr>
          <a:xfrm>
            <a:off x="-5398" y="4519245"/>
            <a:ext cx="12211686" cy="2386328"/>
          </a:xfrm>
          <a:prstGeom prst="rect">
            <a:avLst/>
          </a:prstGeom>
          <a:solidFill>
            <a:schemeClr val="bg1"/>
          </a:solidFill>
          <a:ln>
            <a:noFill/>
          </a:ln>
        </p:spPr>
        <p:txBody>
          <a:bodyPr wrap="square" lIns="365760" rIns="4389120" bIns="45720"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marL="0" marR="0" lvl="0" indent="0" algn="l" defTabSz="914325" rtl="0" eaLnBrk="1" fontAlgn="auto" latinLnBrk="0" hangingPunct="1">
              <a:lnSpc>
                <a:spcPct val="90000"/>
              </a:lnSpc>
              <a:spcBef>
                <a:spcPts val="1200"/>
              </a:spcBef>
              <a:spcAft>
                <a:spcPts val="0"/>
              </a:spcAft>
              <a:buClrTx/>
              <a:buSzTx/>
              <a:buFontTx/>
              <a:buNone/>
              <a:tabLst/>
              <a:defRPr/>
            </a:pPr>
            <a:r>
              <a:rPr kumimoji="0" lang="en-US" sz="3600" b="0" i="0" u="none" strike="noStrike" kern="1200" cap="none" spc="-58" normalizeH="0" baseline="0" noProof="0" dirty="0">
                <a:ln>
                  <a:noFill/>
                </a:ln>
                <a:solidFill>
                  <a:srgbClr val="0072C6"/>
                </a:solidFill>
                <a:effectLst/>
                <a:uLnTx/>
                <a:uFillTx/>
                <a:latin typeface="Segoe UI Light"/>
                <a:ea typeface="Segoe UI" pitchFamily="34" charset="0"/>
                <a:cs typeface="Segoe UI" pitchFamily="34" charset="0"/>
              </a:rPr>
              <a:t>What to be prepared for ?</a:t>
            </a:r>
          </a:p>
          <a:p>
            <a:pPr marL="0" marR="0" lvl="0" indent="0" algn="l" defTabSz="914325" rtl="0" eaLnBrk="1" fontAlgn="auto" latinLnBrk="0" hangingPunct="1">
              <a:lnSpc>
                <a:spcPct val="90000"/>
              </a:lnSpc>
              <a:spcBef>
                <a:spcPts val="1200"/>
              </a:spcBef>
              <a:spcAft>
                <a:spcPts val="0"/>
              </a:spcAft>
              <a:buClrTx/>
              <a:buSzTx/>
              <a:buFontTx/>
              <a:buNone/>
              <a:tabLst/>
              <a:defRPr/>
            </a:pPr>
            <a:endParaRPr kumimoji="0" lang="en-US" sz="100" b="0" i="0" u="none" strike="noStrike" kern="1200" cap="none" spc="-100" normalizeH="0" baseline="0" noProof="0" dirty="0">
              <a:ln w="3175">
                <a:noFill/>
              </a:ln>
              <a:solidFill>
                <a:srgbClr val="0072C6"/>
              </a:solidFill>
              <a:effectLst/>
              <a:uLnTx/>
              <a:uFillTx/>
              <a:latin typeface="Segoe UI Light"/>
              <a:ea typeface="Segoe UI" pitchFamily="34" charset="0"/>
              <a:cs typeface="Segoe UI" pitchFamily="34" charset="0"/>
            </a:endParaRPr>
          </a:p>
        </p:txBody>
      </p:sp>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89" y="1"/>
            <a:ext cx="2187575" cy="804685"/>
          </a:xfrm>
          <a:prstGeom prst="rect">
            <a:avLst/>
          </a:prstGeom>
        </p:spPr>
      </p:pic>
      <p:sp>
        <p:nvSpPr>
          <p:cNvPr id="382" name="Title 2"/>
          <p:cNvSpPr txBox="1">
            <a:spLocks/>
          </p:cNvSpPr>
          <p:nvPr/>
        </p:nvSpPr>
        <p:spPr>
          <a:xfrm>
            <a:off x="2429515" y="1646346"/>
            <a:ext cx="7473033" cy="1067659"/>
          </a:xfrm>
          <a:prstGeom prst="rect">
            <a:avLst/>
          </a:prstGeom>
          <a:noFill/>
          <a:ln>
            <a:noFill/>
          </a:ln>
        </p:spPr>
        <p:txBody>
          <a:bodyPr wrap="square" lIns="365760" bIns="45720"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marL="0" marR="0" lvl="0" indent="0" algn="l" defTabSz="914325" rtl="0" eaLnBrk="1" fontAlgn="auto" latinLnBrk="0" hangingPunct="1">
              <a:lnSpc>
                <a:spcPct val="90000"/>
              </a:lnSpc>
              <a:spcBef>
                <a:spcPts val="1200"/>
              </a:spcBef>
              <a:spcAft>
                <a:spcPts val="0"/>
              </a:spcAft>
              <a:buClrTx/>
              <a:buSzTx/>
              <a:buFontTx/>
              <a:buNone/>
              <a:tabLst/>
              <a:defRPr/>
            </a:pPr>
            <a:r>
              <a:rPr kumimoji="0" lang="en-US" sz="5400" b="0" i="0" u="none" strike="noStrike" kern="1200" cap="none" spc="-58" normalizeH="0" baseline="0" noProof="0" dirty="0">
                <a:ln>
                  <a:noFill/>
                </a:ln>
                <a:solidFill>
                  <a:prstClr val="white"/>
                </a:solidFill>
                <a:effectLst/>
                <a:uLnTx/>
                <a:uFillTx/>
                <a:latin typeface="Segoe UI Light"/>
                <a:ea typeface="Segoe UI" pitchFamily="34" charset="0"/>
                <a:cs typeface="Segoe UI" pitchFamily="34" charset="0"/>
              </a:rPr>
              <a:t>Future Cities &amp; </a:t>
            </a:r>
          </a:p>
          <a:p>
            <a:pPr marL="0" marR="0" lvl="0" indent="0" algn="l" defTabSz="914325" rtl="0" eaLnBrk="1" fontAlgn="auto" latinLnBrk="0" hangingPunct="1">
              <a:lnSpc>
                <a:spcPct val="90000"/>
              </a:lnSpc>
              <a:spcBef>
                <a:spcPts val="1200"/>
              </a:spcBef>
              <a:spcAft>
                <a:spcPts val="0"/>
              </a:spcAft>
              <a:buClrTx/>
              <a:buSzTx/>
              <a:buFontTx/>
              <a:buNone/>
              <a:tabLst/>
              <a:defRPr/>
            </a:pPr>
            <a:r>
              <a:rPr kumimoji="0" lang="en-US" sz="5400" b="0" i="0" u="none" strike="noStrike" kern="1200" cap="none" spc="-58" normalizeH="0" baseline="0" noProof="0" dirty="0">
                <a:ln>
                  <a:noFill/>
                </a:ln>
                <a:solidFill>
                  <a:prstClr val="white"/>
                </a:solidFill>
                <a:effectLst/>
                <a:uLnTx/>
                <a:uFillTx/>
                <a:latin typeface="Segoe UI Light"/>
                <a:ea typeface="Segoe UI" pitchFamily="34" charset="0"/>
                <a:cs typeface="Segoe UI" pitchFamily="34" charset="0"/>
              </a:rPr>
              <a:t>Impact of Cybersecurity</a:t>
            </a:r>
          </a:p>
        </p:txBody>
      </p:sp>
      <p:sp>
        <p:nvSpPr>
          <p:cNvPr id="374" name="Freeform 788"/>
          <p:cNvSpPr/>
          <p:nvPr/>
        </p:nvSpPr>
        <p:spPr>
          <a:xfrm>
            <a:off x="10212389" y="4861084"/>
            <a:ext cx="271697" cy="391563"/>
          </a:xfrm>
          <a:custGeom>
            <a:avLst/>
            <a:gdLst>
              <a:gd name="connsiteX0" fmla="*/ 0 w 259080"/>
              <a:gd name="connsiteY0" fmla="*/ 373380 h 373380"/>
              <a:gd name="connsiteX1" fmla="*/ 0 w 259080"/>
              <a:gd name="connsiteY1" fmla="*/ 259080 h 373380"/>
              <a:gd name="connsiteX2" fmla="*/ 259080 w 259080"/>
              <a:gd name="connsiteY2" fmla="*/ 0 h 373380"/>
            </a:gdLst>
            <a:ahLst/>
            <a:cxnLst>
              <a:cxn ang="0">
                <a:pos x="connsiteX0" y="connsiteY0"/>
              </a:cxn>
              <a:cxn ang="0">
                <a:pos x="connsiteX1" y="connsiteY1"/>
              </a:cxn>
              <a:cxn ang="0">
                <a:pos x="connsiteX2" y="connsiteY2"/>
              </a:cxn>
            </a:cxnLst>
            <a:rect l="l" t="t" r="r" b="b"/>
            <a:pathLst>
              <a:path w="259080" h="373380">
                <a:moveTo>
                  <a:pt x="0" y="373380"/>
                </a:moveTo>
                <a:lnTo>
                  <a:pt x="0" y="259080"/>
                </a:lnTo>
                <a:lnTo>
                  <a:pt x="25908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88105"/>
            <a:endParaRPr lang="en-US" sz="2200" dirty="0">
              <a:solidFill>
                <a:prstClr val="white"/>
              </a:solidFill>
            </a:endParaRPr>
          </a:p>
        </p:txBody>
      </p:sp>
      <p:sp>
        <p:nvSpPr>
          <p:cNvPr id="375" name="Freeform 789"/>
          <p:cNvSpPr/>
          <p:nvPr/>
        </p:nvSpPr>
        <p:spPr>
          <a:xfrm>
            <a:off x="10915604" y="5012913"/>
            <a:ext cx="159822" cy="263706"/>
          </a:xfrm>
          <a:custGeom>
            <a:avLst/>
            <a:gdLst>
              <a:gd name="connsiteX0" fmla="*/ 0 w 152400"/>
              <a:gd name="connsiteY0" fmla="*/ 251460 h 251460"/>
              <a:gd name="connsiteX1" fmla="*/ 0 w 152400"/>
              <a:gd name="connsiteY1" fmla="*/ 152400 h 251460"/>
              <a:gd name="connsiteX2" fmla="*/ 152400 w 152400"/>
              <a:gd name="connsiteY2" fmla="*/ 0 h 251460"/>
            </a:gdLst>
            <a:ahLst/>
            <a:cxnLst>
              <a:cxn ang="0">
                <a:pos x="connsiteX0" y="connsiteY0"/>
              </a:cxn>
              <a:cxn ang="0">
                <a:pos x="connsiteX1" y="connsiteY1"/>
              </a:cxn>
              <a:cxn ang="0">
                <a:pos x="connsiteX2" y="connsiteY2"/>
              </a:cxn>
            </a:cxnLst>
            <a:rect l="l" t="t" r="r" b="b"/>
            <a:pathLst>
              <a:path w="152400" h="251460">
                <a:moveTo>
                  <a:pt x="0" y="251460"/>
                </a:moveTo>
                <a:lnTo>
                  <a:pt x="0" y="152400"/>
                </a:lnTo>
                <a:lnTo>
                  <a:pt x="152400" y="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88105"/>
            <a:endParaRPr lang="en-US" sz="2200" dirty="0">
              <a:solidFill>
                <a:prstClr val="white"/>
              </a:solidFill>
            </a:endParaRPr>
          </a:p>
        </p:txBody>
      </p:sp>
      <p:sp>
        <p:nvSpPr>
          <p:cNvPr id="376" name="Freeform 790"/>
          <p:cNvSpPr/>
          <p:nvPr/>
        </p:nvSpPr>
        <p:spPr>
          <a:xfrm>
            <a:off x="9213502" y="5612245"/>
            <a:ext cx="663260" cy="807100"/>
          </a:xfrm>
          <a:custGeom>
            <a:avLst/>
            <a:gdLst>
              <a:gd name="connsiteX0" fmla="*/ 632460 w 632460"/>
              <a:gd name="connsiteY0" fmla="*/ 0 h 769620"/>
              <a:gd name="connsiteX1" fmla="*/ 464820 w 632460"/>
              <a:gd name="connsiteY1" fmla="*/ 0 h 769620"/>
              <a:gd name="connsiteX2" fmla="*/ 464820 w 632460"/>
              <a:gd name="connsiteY2" fmla="*/ 304800 h 769620"/>
              <a:gd name="connsiteX3" fmla="*/ 0 w 632460"/>
              <a:gd name="connsiteY3" fmla="*/ 769620 h 769620"/>
            </a:gdLst>
            <a:ahLst/>
            <a:cxnLst>
              <a:cxn ang="0">
                <a:pos x="connsiteX0" y="connsiteY0"/>
              </a:cxn>
              <a:cxn ang="0">
                <a:pos x="connsiteX1" y="connsiteY1"/>
              </a:cxn>
              <a:cxn ang="0">
                <a:pos x="connsiteX2" y="connsiteY2"/>
              </a:cxn>
              <a:cxn ang="0">
                <a:pos x="connsiteX3" y="connsiteY3"/>
              </a:cxn>
            </a:cxnLst>
            <a:rect l="l" t="t" r="r" b="b"/>
            <a:pathLst>
              <a:path w="632460" h="769620">
                <a:moveTo>
                  <a:pt x="632460" y="0"/>
                </a:moveTo>
                <a:lnTo>
                  <a:pt x="464820" y="0"/>
                </a:lnTo>
                <a:lnTo>
                  <a:pt x="464820" y="304800"/>
                </a:lnTo>
                <a:lnTo>
                  <a:pt x="0" y="769620"/>
                </a:lnTo>
              </a:path>
            </a:pathLst>
          </a:custGeom>
          <a:noFill/>
          <a:ln w="19050">
            <a:solidFill>
              <a:schemeClr val="accent4">
                <a:alpha val="20000"/>
              </a:schemeClr>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88105"/>
            <a:endParaRPr lang="en-US" sz="2200" dirty="0">
              <a:solidFill>
                <a:prstClr val="white"/>
              </a:solidFill>
            </a:endParaRPr>
          </a:p>
        </p:txBody>
      </p:sp>
      <p:grpSp>
        <p:nvGrpSpPr>
          <p:cNvPr id="377" name="Group 376"/>
          <p:cNvGrpSpPr/>
          <p:nvPr/>
        </p:nvGrpSpPr>
        <p:grpSpPr>
          <a:xfrm>
            <a:off x="8242069" y="4679019"/>
            <a:ext cx="3800779" cy="2037717"/>
            <a:chOff x="8246271" y="4669272"/>
            <a:chExt cx="3800779" cy="2037717"/>
          </a:xfrm>
        </p:grpSpPr>
        <p:sp>
          <p:nvSpPr>
            <p:cNvPr id="378" name="Rectangle 377"/>
            <p:cNvSpPr/>
            <p:nvPr/>
          </p:nvSpPr>
          <p:spPr>
            <a:xfrm>
              <a:off x="8246271" y="4669272"/>
              <a:ext cx="2747546" cy="20377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088105"/>
              <a:endParaRPr lang="en-US" sz="1200" dirty="0">
                <a:solidFill>
                  <a:prstClr val="white"/>
                </a:solidFill>
              </a:endParaRPr>
            </a:p>
          </p:txBody>
        </p:sp>
        <p:grpSp>
          <p:nvGrpSpPr>
            <p:cNvPr id="379" name="Group 378"/>
            <p:cNvGrpSpPr/>
            <p:nvPr/>
          </p:nvGrpSpPr>
          <p:grpSpPr>
            <a:xfrm>
              <a:off x="8799402" y="4805534"/>
              <a:ext cx="1673901" cy="1655048"/>
              <a:chOff x="10028285" y="16223"/>
              <a:chExt cx="2145645" cy="2081343"/>
            </a:xfrm>
          </p:grpSpPr>
          <p:sp>
            <p:nvSpPr>
              <p:cNvPr id="442" name="Freeform 594"/>
              <p:cNvSpPr>
                <a:spLocks/>
              </p:cNvSpPr>
              <p:nvPr/>
            </p:nvSpPr>
            <p:spPr bwMode="auto">
              <a:xfrm rot="5400000">
                <a:off x="10396525" y="55967"/>
                <a:ext cx="1408022" cy="2144502"/>
              </a:xfrm>
              <a:custGeom>
                <a:avLst/>
                <a:gdLst>
                  <a:gd name="connsiteX0" fmla="*/ 0 w 1408022"/>
                  <a:gd name="connsiteY0" fmla="*/ 5689 h 2144502"/>
                  <a:gd name="connsiteX1" fmla="*/ 37313 w 1408022"/>
                  <a:gd name="connsiteY1" fmla="*/ 0 h 2144502"/>
                  <a:gd name="connsiteX2" fmla="*/ 39508 w 1408022"/>
                  <a:gd name="connsiteY2" fmla="*/ 113781 h 2144502"/>
                  <a:gd name="connsiteX3" fmla="*/ 68042 w 1408022"/>
                  <a:gd name="connsiteY3" fmla="*/ 270799 h 2144502"/>
                  <a:gd name="connsiteX4" fmla="*/ 199735 w 1408022"/>
                  <a:gd name="connsiteY4" fmla="*/ 309485 h 2144502"/>
                  <a:gd name="connsiteX5" fmla="*/ 567379 w 1408022"/>
                  <a:gd name="connsiteY5" fmla="*/ 309485 h 2144502"/>
                  <a:gd name="connsiteX6" fmla="*/ 911977 w 1408022"/>
                  <a:gd name="connsiteY6" fmla="*/ 508602 h 2144502"/>
                  <a:gd name="connsiteX7" fmla="*/ 911977 w 1408022"/>
                  <a:gd name="connsiteY7" fmla="*/ 512016 h 2144502"/>
                  <a:gd name="connsiteX8" fmla="*/ 913074 w 1408022"/>
                  <a:gd name="connsiteY8" fmla="*/ 629211 h 2144502"/>
                  <a:gd name="connsiteX9" fmla="*/ 962459 w 1408022"/>
                  <a:gd name="connsiteY9" fmla="*/ 880668 h 2144502"/>
                  <a:gd name="connsiteX10" fmla="*/ 1213774 w 1408022"/>
                  <a:gd name="connsiteY10" fmla="*/ 926180 h 2144502"/>
                  <a:gd name="connsiteX11" fmla="*/ 1402535 w 1408022"/>
                  <a:gd name="connsiteY11" fmla="*/ 1108230 h 2144502"/>
                  <a:gd name="connsiteX12" fmla="*/ 1408022 w 1408022"/>
                  <a:gd name="connsiteY12" fmla="*/ 1144640 h 2144502"/>
                  <a:gd name="connsiteX13" fmla="*/ 1408022 w 1408022"/>
                  <a:gd name="connsiteY13" fmla="*/ 1149192 h 2144502"/>
                  <a:gd name="connsiteX14" fmla="*/ 1403632 w 1408022"/>
                  <a:gd name="connsiteY14" fmla="*/ 1656657 h 2144502"/>
                  <a:gd name="connsiteX15" fmla="*/ 1403632 w 1408022"/>
                  <a:gd name="connsiteY15" fmla="*/ 1658932 h 2144502"/>
                  <a:gd name="connsiteX16" fmla="*/ 1181948 w 1408022"/>
                  <a:gd name="connsiteY16" fmla="*/ 1899011 h 2144502"/>
                  <a:gd name="connsiteX17" fmla="*/ 1178656 w 1408022"/>
                  <a:gd name="connsiteY17" fmla="*/ 1899011 h 2144502"/>
                  <a:gd name="connsiteX18" fmla="*/ 1030501 w 1408022"/>
                  <a:gd name="connsiteY18" fmla="*/ 1894460 h 2144502"/>
                  <a:gd name="connsiteX19" fmla="*/ 848325 w 1408022"/>
                  <a:gd name="connsiteY19" fmla="*/ 2053754 h 2144502"/>
                  <a:gd name="connsiteX20" fmla="*/ 847471 w 1408022"/>
                  <a:gd name="connsiteY20" fmla="*/ 2144502 h 2144502"/>
                  <a:gd name="connsiteX21" fmla="*/ 810158 w 1408022"/>
                  <a:gd name="connsiteY21" fmla="*/ 2144502 h 2144502"/>
                  <a:gd name="connsiteX22" fmla="*/ 810463 w 1408022"/>
                  <a:gd name="connsiteY22" fmla="*/ 2112067 h 2144502"/>
                  <a:gd name="connsiteX23" fmla="*/ 811012 w 1408022"/>
                  <a:gd name="connsiteY23" fmla="*/ 2053754 h 2144502"/>
                  <a:gd name="connsiteX24" fmla="*/ 811012 w 1408022"/>
                  <a:gd name="connsiteY24" fmla="*/ 2052616 h 2144502"/>
                  <a:gd name="connsiteX25" fmla="*/ 1028306 w 1408022"/>
                  <a:gd name="connsiteY25" fmla="*/ 1855774 h 2144502"/>
                  <a:gd name="connsiteX26" fmla="*/ 1030501 w 1408022"/>
                  <a:gd name="connsiteY26" fmla="*/ 1855774 h 2144502"/>
                  <a:gd name="connsiteX27" fmla="*/ 1178656 w 1408022"/>
                  <a:gd name="connsiteY27" fmla="*/ 1860325 h 2144502"/>
                  <a:gd name="connsiteX28" fmla="*/ 1366319 w 1408022"/>
                  <a:gd name="connsiteY28" fmla="*/ 1654381 h 2144502"/>
                  <a:gd name="connsiteX29" fmla="*/ 1370709 w 1408022"/>
                  <a:gd name="connsiteY29" fmla="*/ 1151467 h 2144502"/>
                  <a:gd name="connsiteX30" fmla="*/ 1365222 w 1408022"/>
                  <a:gd name="connsiteY30" fmla="*/ 1113919 h 2144502"/>
                  <a:gd name="connsiteX31" fmla="*/ 1217067 w 1408022"/>
                  <a:gd name="connsiteY31" fmla="*/ 964866 h 2144502"/>
                  <a:gd name="connsiteX32" fmla="*/ 937218 w 1408022"/>
                  <a:gd name="connsiteY32" fmla="*/ 909113 h 2144502"/>
                  <a:gd name="connsiteX33" fmla="*/ 875761 w 1408022"/>
                  <a:gd name="connsiteY33" fmla="*/ 628073 h 2144502"/>
                  <a:gd name="connsiteX34" fmla="*/ 874664 w 1408022"/>
                  <a:gd name="connsiteY34" fmla="*/ 515429 h 2144502"/>
                  <a:gd name="connsiteX35" fmla="*/ 569574 w 1408022"/>
                  <a:gd name="connsiteY35" fmla="*/ 348171 h 2144502"/>
                  <a:gd name="connsiteX36" fmla="*/ 568477 w 1408022"/>
                  <a:gd name="connsiteY36" fmla="*/ 348171 h 2144502"/>
                  <a:gd name="connsiteX37" fmla="*/ 199735 w 1408022"/>
                  <a:gd name="connsiteY37" fmla="*/ 348171 h 2144502"/>
                  <a:gd name="connsiteX38" fmla="*/ 40605 w 1408022"/>
                  <a:gd name="connsiteY38" fmla="*/ 296969 h 2144502"/>
                  <a:gd name="connsiteX39" fmla="*/ 2195 w 1408022"/>
                  <a:gd name="connsiteY39" fmla="*/ 112643 h 2144502"/>
                  <a:gd name="connsiteX40" fmla="*/ 0 w 1408022"/>
                  <a:gd name="connsiteY40" fmla="*/ 5689 h 214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08022" h="2144502">
                    <a:moveTo>
                      <a:pt x="0" y="5689"/>
                    </a:moveTo>
                    <a:cubicBezTo>
                      <a:pt x="37313" y="0"/>
                      <a:pt x="37313" y="0"/>
                      <a:pt x="37313" y="0"/>
                    </a:cubicBezTo>
                    <a:cubicBezTo>
                      <a:pt x="41703" y="38685"/>
                      <a:pt x="40605" y="77371"/>
                      <a:pt x="39508" y="113781"/>
                    </a:cubicBezTo>
                    <a:cubicBezTo>
                      <a:pt x="37313" y="179774"/>
                      <a:pt x="36216" y="236665"/>
                      <a:pt x="68042" y="270799"/>
                    </a:cubicBezTo>
                    <a:cubicBezTo>
                      <a:pt x="92185" y="296969"/>
                      <a:pt x="134986" y="309485"/>
                      <a:pt x="199735" y="309485"/>
                    </a:cubicBezTo>
                    <a:cubicBezTo>
                      <a:pt x="567379" y="309485"/>
                      <a:pt x="567379" y="309485"/>
                      <a:pt x="567379" y="309485"/>
                    </a:cubicBezTo>
                    <a:cubicBezTo>
                      <a:pt x="688098" y="301520"/>
                      <a:pt x="881248" y="359549"/>
                      <a:pt x="911977" y="508602"/>
                    </a:cubicBezTo>
                    <a:cubicBezTo>
                      <a:pt x="911977" y="509740"/>
                      <a:pt x="911977" y="510878"/>
                      <a:pt x="911977" y="512016"/>
                    </a:cubicBezTo>
                    <a:cubicBezTo>
                      <a:pt x="914172" y="552977"/>
                      <a:pt x="913074" y="591663"/>
                      <a:pt x="913074" y="629211"/>
                    </a:cubicBezTo>
                    <a:cubicBezTo>
                      <a:pt x="911977" y="741854"/>
                      <a:pt x="910879" y="831742"/>
                      <a:pt x="962459" y="880668"/>
                    </a:cubicBezTo>
                    <a:cubicBezTo>
                      <a:pt x="1006357" y="922767"/>
                      <a:pt x="1085373" y="937558"/>
                      <a:pt x="1213774" y="926180"/>
                    </a:cubicBezTo>
                    <a:cubicBezTo>
                      <a:pt x="1376196" y="914802"/>
                      <a:pt x="1392658" y="1036548"/>
                      <a:pt x="1402535" y="1108230"/>
                    </a:cubicBezTo>
                    <a:cubicBezTo>
                      <a:pt x="1403632" y="1121884"/>
                      <a:pt x="1405827" y="1134400"/>
                      <a:pt x="1408022" y="1144640"/>
                    </a:cubicBezTo>
                    <a:cubicBezTo>
                      <a:pt x="1408022" y="1146916"/>
                      <a:pt x="1408022" y="1148054"/>
                      <a:pt x="1408022" y="1149192"/>
                    </a:cubicBezTo>
                    <a:cubicBezTo>
                      <a:pt x="1403632" y="1656657"/>
                      <a:pt x="1403632" y="1656657"/>
                      <a:pt x="1403632" y="1656657"/>
                    </a:cubicBezTo>
                    <a:cubicBezTo>
                      <a:pt x="1403632" y="1656657"/>
                      <a:pt x="1403632" y="1657794"/>
                      <a:pt x="1403632" y="1658932"/>
                    </a:cubicBezTo>
                    <a:cubicBezTo>
                      <a:pt x="1381683" y="1843258"/>
                      <a:pt x="1298278" y="1887633"/>
                      <a:pt x="1181948" y="1899011"/>
                    </a:cubicBezTo>
                    <a:cubicBezTo>
                      <a:pt x="1180851" y="1899011"/>
                      <a:pt x="1179753" y="1899011"/>
                      <a:pt x="1178656" y="1899011"/>
                    </a:cubicBezTo>
                    <a:cubicBezTo>
                      <a:pt x="1030501" y="1894460"/>
                      <a:pt x="1030501" y="1894460"/>
                      <a:pt x="1030501" y="1894460"/>
                    </a:cubicBezTo>
                    <a:cubicBezTo>
                      <a:pt x="859300" y="1909251"/>
                      <a:pt x="849423" y="2037824"/>
                      <a:pt x="848325" y="2053754"/>
                    </a:cubicBezTo>
                    <a:lnTo>
                      <a:pt x="847471" y="2144502"/>
                    </a:lnTo>
                    <a:lnTo>
                      <a:pt x="810158" y="2144502"/>
                    </a:lnTo>
                    <a:lnTo>
                      <a:pt x="810463" y="2112067"/>
                    </a:lnTo>
                    <a:cubicBezTo>
                      <a:pt x="811012" y="2053754"/>
                      <a:pt x="811012" y="2053754"/>
                      <a:pt x="811012" y="2053754"/>
                    </a:cubicBezTo>
                    <a:cubicBezTo>
                      <a:pt x="811012" y="2052616"/>
                      <a:pt x="811012" y="2052616"/>
                      <a:pt x="811012" y="2052616"/>
                    </a:cubicBezTo>
                    <a:cubicBezTo>
                      <a:pt x="812109" y="2034411"/>
                      <a:pt x="823084" y="1872841"/>
                      <a:pt x="1028306" y="1855774"/>
                    </a:cubicBezTo>
                    <a:cubicBezTo>
                      <a:pt x="1029404" y="1855774"/>
                      <a:pt x="1030501" y="1855774"/>
                      <a:pt x="1030501" y="1855774"/>
                    </a:cubicBezTo>
                    <a:cubicBezTo>
                      <a:pt x="1178656" y="1860325"/>
                      <a:pt x="1178656" y="1860325"/>
                      <a:pt x="1178656" y="1860325"/>
                    </a:cubicBezTo>
                    <a:cubicBezTo>
                      <a:pt x="1285108" y="1850085"/>
                      <a:pt x="1346565" y="1813675"/>
                      <a:pt x="1366319" y="1654381"/>
                    </a:cubicBezTo>
                    <a:cubicBezTo>
                      <a:pt x="1370709" y="1151467"/>
                      <a:pt x="1370709" y="1151467"/>
                      <a:pt x="1370709" y="1151467"/>
                    </a:cubicBezTo>
                    <a:cubicBezTo>
                      <a:pt x="1368514" y="1140089"/>
                      <a:pt x="1367417" y="1127573"/>
                      <a:pt x="1365222" y="1113919"/>
                    </a:cubicBezTo>
                    <a:cubicBezTo>
                      <a:pt x="1354247" y="1036548"/>
                      <a:pt x="1344370" y="955763"/>
                      <a:pt x="1217067" y="964866"/>
                    </a:cubicBezTo>
                    <a:cubicBezTo>
                      <a:pt x="1077691" y="977382"/>
                      <a:pt x="988798" y="959177"/>
                      <a:pt x="937218" y="909113"/>
                    </a:cubicBezTo>
                    <a:cubicBezTo>
                      <a:pt x="873566" y="847671"/>
                      <a:pt x="874664" y="746406"/>
                      <a:pt x="875761" y="628073"/>
                    </a:cubicBezTo>
                    <a:cubicBezTo>
                      <a:pt x="875761" y="592801"/>
                      <a:pt x="876859" y="555253"/>
                      <a:pt x="874664" y="515429"/>
                    </a:cubicBezTo>
                    <a:cubicBezTo>
                      <a:pt x="848325" y="394821"/>
                      <a:pt x="681513" y="341344"/>
                      <a:pt x="569574" y="348171"/>
                    </a:cubicBezTo>
                    <a:cubicBezTo>
                      <a:pt x="569574" y="348171"/>
                      <a:pt x="568477" y="348171"/>
                      <a:pt x="568477" y="348171"/>
                    </a:cubicBezTo>
                    <a:cubicBezTo>
                      <a:pt x="199735" y="348171"/>
                      <a:pt x="199735" y="348171"/>
                      <a:pt x="199735" y="348171"/>
                    </a:cubicBezTo>
                    <a:cubicBezTo>
                      <a:pt x="124011" y="348171"/>
                      <a:pt x="72431" y="331103"/>
                      <a:pt x="40605" y="296969"/>
                    </a:cubicBezTo>
                    <a:cubicBezTo>
                      <a:pt x="-2195" y="251456"/>
                      <a:pt x="0" y="184325"/>
                      <a:pt x="2195" y="112643"/>
                    </a:cubicBezTo>
                    <a:cubicBezTo>
                      <a:pt x="3292" y="77371"/>
                      <a:pt x="4390" y="39823"/>
                      <a:pt x="0" y="5689"/>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3" name="Freeform 595"/>
              <p:cNvSpPr>
                <a:spLocks/>
              </p:cNvSpPr>
              <p:nvPr/>
            </p:nvSpPr>
            <p:spPr bwMode="auto">
              <a:xfrm rot="5400000">
                <a:off x="10542060" y="-149976"/>
                <a:ext cx="1109410" cy="2136959"/>
              </a:xfrm>
              <a:custGeom>
                <a:avLst/>
                <a:gdLst>
                  <a:gd name="connsiteX0" fmla="*/ 0 w 1109410"/>
                  <a:gd name="connsiteY0" fmla="*/ 897480 h 2136959"/>
                  <a:gd name="connsiteX1" fmla="*/ 0 w 1109410"/>
                  <a:gd name="connsiteY1" fmla="*/ 895205 h 2136959"/>
                  <a:gd name="connsiteX2" fmla="*/ 77903 w 1109410"/>
                  <a:gd name="connsiteY2" fmla="*/ 723444 h 2136959"/>
                  <a:gd name="connsiteX3" fmla="*/ 274307 w 1109410"/>
                  <a:gd name="connsiteY3" fmla="*/ 679082 h 2136959"/>
                  <a:gd name="connsiteX4" fmla="*/ 904116 w 1109410"/>
                  <a:gd name="connsiteY4" fmla="*/ 684770 h 2136959"/>
                  <a:gd name="connsiteX5" fmla="*/ 1053339 w 1109410"/>
                  <a:gd name="connsiteY5" fmla="*/ 478884 h 2136959"/>
                  <a:gd name="connsiteX6" fmla="*/ 1048950 w 1109410"/>
                  <a:gd name="connsiteY6" fmla="*/ 0 h 2136959"/>
                  <a:gd name="connsiteX7" fmla="*/ 1086256 w 1109410"/>
                  <a:gd name="connsiteY7" fmla="*/ 0 h 2136959"/>
                  <a:gd name="connsiteX8" fmla="*/ 1090645 w 1109410"/>
                  <a:gd name="connsiteY8" fmla="*/ 480022 h 2136959"/>
                  <a:gd name="connsiteX9" fmla="*/ 1090645 w 1109410"/>
                  <a:gd name="connsiteY9" fmla="*/ 483434 h 2136959"/>
                  <a:gd name="connsiteX10" fmla="*/ 907408 w 1109410"/>
                  <a:gd name="connsiteY10" fmla="*/ 723444 h 2136959"/>
                  <a:gd name="connsiteX11" fmla="*/ 905213 w 1109410"/>
                  <a:gd name="connsiteY11" fmla="*/ 723444 h 2136959"/>
                  <a:gd name="connsiteX12" fmla="*/ 273210 w 1109410"/>
                  <a:gd name="connsiteY12" fmla="*/ 717757 h 2136959"/>
                  <a:gd name="connsiteX13" fmla="*/ 271015 w 1109410"/>
                  <a:gd name="connsiteY13" fmla="*/ 717757 h 2136959"/>
                  <a:gd name="connsiteX14" fmla="*/ 100945 w 1109410"/>
                  <a:gd name="connsiteY14" fmla="*/ 753019 h 2136959"/>
                  <a:gd name="connsiteX15" fmla="*/ 37306 w 1109410"/>
                  <a:gd name="connsiteY15" fmla="*/ 897480 h 2136959"/>
                  <a:gd name="connsiteX16" fmla="*/ 39500 w 1109410"/>
                  <a:gd name="connsiteY16" fmla="*/ 990754 h 2136959"/>
                  <a:gd name="connsiteX17" fmla="*/ 46084 w 1109410"/>
                  <a:gd name="connsiteY17" fmla="*/ 1152278 h 2136959"/>
                  <a:gd name="connsiteX18" fmla="*/ 254557 w 1109410"/>
                  <a:gd name="connsiteY18" fmla="*/ 1319489 h 2136959"/>
                  <a:gd name="connsiteX19" fmla="*/ 255654 w 1109410"/>
                  <a:gd name="connsiteY19" fmla="*/ 1318351 h 2136959"/>
                  <a:gd name="connsiteX20" fmla="*/ 869005 w 1109410"/>
                  <a:gd name="connsiteY20" fmla="*/ 1318351 h 2136959"/>
                  <a:gd name="connsiteX21" fmla="*/ 1035784 w 1109410"/>
                  <a:gd name="connsiteY21" fmla="*/ 1370676 h 2136959"/>
                  <a:gd name="connsiteX22" fmla="*/ 1108201 w 1109410"/>
                  <a:gd name="connsiteY22" fmla="*/ 1592486 h 2136959"/>
                  <a:gd name="connsiteX23" fmla="*/ 1103007 w 1109410"/>
                  <a:gd name="connsiteY23" fmla="*/ 2136959 h 2136959"/>
                  <a:gd name="connsiteX24" fmla="*/ 1065697 w 1109410"/>
                  <a:gd name="connsiteY24" fmla="*/ 2136959 h 2136959"/>
                  <a:gd name="connsiteX25" fmla="*/ 1066187 w 1109410"/>
                  <a:gd name="connsiteY25" fmla="*/ 2085548 h 2136959"/>
                  <a:gd name="connsiteX26" fmla="*/ 1070895 w 1109410"/>
                  <a:gd name="connsiteY26" fmla="*/ 1591349 h 2136959"/>
                  <a:gd name="connsiteX27" fmla="*/ 1070895 w 1109410"/>
                  <a:gd name="connsiteY27" fmla="*/ 1589073 h 2136959"/>
                  <a:gd name="connsiteX28" fmla="*/ 1010547 w 1109410"/>
                  <a:gd name="connsiteY28" fmla="*/ 1397975 h 2136959"/>
                  <a:gd name="connsiteX29" fmla="*/ 872297 w 1109410"/>
                  <a:gd name="connsiteY29" fmla="*/ 1357026 h 2136959"/>
                  <a:gd name="connsiteX30" fmla="*/ 870102 w 1109410"/>
                  <a:gd name="connsiteY30" fmla="*/ 1358163 h 2136959"/>
                  <a:gd name="connsiteX31" fmla="*/ 256751 w 1109410"/>
                  <a:gd name="connsiteY31" fmla="*/ 1358163 h 2136959"/>
                  <a:gd name="connsiteX32" fmla="*/ 8778 w 1109410"/>
                  <a:gd name="connsiteY32" fmla="*/ 1157965 h 2136959"/>
                  <a:gd name="connsiteX33" fmla="*/ 8778 w 1109410"/>
                  <a:gd name="connsiteY33" fmla="*/ 1156828 h 2136959"/>
                  <a:gd name="connsiteX34" fmla="*/ 1097 w 1109410"/>
                  <a:gd name="connsiteY34" fmla="*/ 990754 h 2136959"/>
                  <a:gd name="connsiteX35" fmla="*/ 0 w 1109410"/>
                  <a:gd name="connsiteY35" fmla="*/ 897480 h 213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09410" h="2136959">
                    <a:moveTo>
                      <a:pt x="0" y="897480"/>
                    </a:moveTo>
                    <a:cubicBezTo>
                      <a:pt x="0" y="896343"/>
                      <a:pt x="0" y="896343"/>
                      <a:pt x="0" y="895205"/>
                    </a:cubicBezTo>
                    <a:cubicBezTo>
                      <a:pt x="6583" y="818993"/>
                      <a:pt x="32917" y="760982"/>
                      <a:pt x="77903" y="723444"/>
                    </a:cubicBezTo>
                    <a:cubicBezTo>
                      <a:pt x="123987" y="683632"/>
                      <a:pt x="190918" y="668845"/>
                      <a:pt x="274307" y="679082"/>
                    </a:cubicBezTo>
                    <a:cubicBezTo>
                      <a:pt x="904116" y="684770"/>
                      <a:pt x="904116" y="684770"/>
                      <a:pt x="904116" y="684770"/>
                    </a:cubicBezTo>
                    <a:cubicBezTo>
                      <a:pt x="985311" y="674532"/>
                      <a:pt x="1034686" y="605146"/>
                      <a:pt x="1053339" y="478884"/>
                    </a:cubicBezTo>
                    <a:cubicBezTo>
                      <a:pt x="1048950" y="0"/>
                      <a:pt x="1048950" y="0"/>
                      <a:pt x="1048950" y="0"/>
                    </a:cubicBezTo>
                    <a:cubicBezTo>
                      <a:pt x="1086256" y="0"/>
                      <a:pt x="1086256" y="0"/>
                      <a:pt x="1086256" y="0"/>
                    </a:cubicBezTo>
                    <a:cubicBezTo>
                      <a:pt x="1090645" y="480022"/>
                      <a:pt x="1090645" y="480022"/>
                      <a:pt x="1090645" y="480022"/>
                    </a:cubicBezTo>
                    <a:cubicBezTo>
                      <a:pt x="1090645" y="481159"/>
                      <a:pt x="1090645" y="482297"/>
                      <a:pt x="1090645" y="483434"/>
                    </a:cubicBezTo>
                    <a:cubicBezTo>
                      <a:pt x="1064312" y="666570"/>
                      <a:pt x="976533" y="715482"/>
                      <a:pt x="907408" y="723444"/>
                    </a:cubicBezTo>
                    <a:cubicBezTo>
                      <a:pt x="906311" y="723444"/>
                      <a:pt x="906311" y="723444"/>
                      <a:pt x="905213" y="723444"/>
                    </a:cubicBezTo>
                    <a:cubicBezTo>
                      <a:pt x="273210" y="717757"/>
                      <a:pt x="273210" y="717757"/>
                      <a:pt x="273210" y="717757"/>
                    </a:cubicBezTo>
                    <a:cubicBezTo>
                      <a:pt x="272113" y="717757"/>
                      <a:pt x="272113" y="717757"/>
                      <a:pt x="271015" y="717757"/>
                    </a:cubicBezTo>
                    <a:cubicBezTo>
                      <a:pt x="197501" y="708657"/>
                      <a:pt x="139348" y="721169"/>
                      <a:pt x="100945" y="753019"/>
                    </a:cubicBezTo>
                    <a:cubicBezTo>
                      <a:pt x="64737" y="783731"/>
                      <a:pt x="43889" y="832643"/>
                      <a:pt x="37306" y="897480"/>
                    </a:cubicBezTo>
                    <a:cubicBezTo>
                      <a:pt x="38403" y="936155"/>
                      <a:pt x="38403" y="964592"/>
                      <a:pt x="39500" y="990754"/>
                    </a:cubicBezTo>
                    <a:cubicBezTo>
                      <a:pt x="39500" y="1046491"/>
                      <a:pt x="39500" y="1082891"/>
                      <a:pt x="46084" y="1152278"/>
                    </a:cubicBezTo>
                    <a:cubicBezTo>
                      <a:pt x="60348" y="1241002"/>
                      <a:pt x="122890" y="1330863"/>
                      <a:pt x="254557" y="1319489"/>
                    </a:cubicBezTo>
                    <a:cubicBezTo>
                      <a:pt x="254557" y="1318351"/>
                      <a:pt x="255654" y="1318351"/>
                      <a:pt x="255654" y="1318351"/>
                    </a:cubicBezTo>
                    <a:cubicBezTo>
                      <a:pt x="869005" y="1318351"/>
                      <a:pt x="869005" y="1318351"/>
                      <a:pt x="869005" y="1318351"/>
                    </a:cubicBezTo>
                    <a:cubicBezTo>
                      <a:pt x="935936" y="1309251"/>
                      <a:pt x="992992" y="1327451"/>
                      <a:pt x="1035784" y="1370676"/>
                    </a:cubicBezTo>
                    <a:cubicBezTo>
                      <a:pt x="1095034" y="1428688"/>
                      <a:pt x="1114784" y="1524237"/>
                      <a:pt x="1108201" y="1592486"/>
                    </a:cubicBezTo>
                    <a:lnTo>
                      <a:pt x="1103007" y="2136959"/>
                    </a:lnTo>
                    <a:lnTo>
                      <a:pt x="1065697" y="2136959"/>
                    </a:lnTo>
                    <a:lnTo>
                      <a:pt x="1066187" y="2085548"/>
                    </a:lnTo>
                    <a:cubicBezTo>
                      <a:pt x="1070895" y="1591349"/>
                      <a:pt x="1070895" y="1591349"/>
                      <a:pt x="1070895" y="1591349"/>
                    </a:cubicBezTo>
                    <a:cubicBezTo>
                      <a:pt x="1070895" y="1590211"/>
                      <a:pt x="1070895" y="1590211"/>
                      <a:pt x="1070895" y="1589073"/>
                    </a:cubicBezTo>
                    <a:cubicBezTo>
                      <a:pt x="1076381" y="1532199"/>
                      <a:pt x="1059923" y="1448025"/>
                      <a:pt x="1010547" y="1397975"/>
                    </a:cubicBezTo>
                    <a:cubicBezTo>
                      <a:pt x="975436" y="1362713"/>
                      <a:pt x="929353" y="1349063"/>
                      <a:pt x="872297" y="1357026"/>
                    </a:cubicBezTo>
                    <a:cubicBezTo>
                      <a:pt x="872297" y="1358163"/>
                      <a:pt x="871199" y="1358163"/>
                      <a:pt x="870102" y="1358163"/>
                    </a:cubicBezTo>
                    <a:cubicBezTo>
                      <a:pt x="256751" y="1358163"/>
                      <a:pt x="256751" y="1358163"/>
                      <a:pt x="256751" y="1358163"/>
                    </a:cubicBezTo>
                    <a:cubicBezTo>
                      <a:pt x="99848" y="1371813"/>
                      <a:pt x="25236" y="1259202"/>
                      <a:pt x="8778" y="1157965"/>
                    </a:cubicBezTo>
                    <a:cubicBezTo>
                      <a:pt x="8778" y="1157965"/>
                      <a:pt x="8778" y="1156828"/>
                      <a:pt x="8778" y="1156828"/>
                    </a:cubicBezTo>
                    <a:cubicBezTo>
                      <a:pt x="2195" y="1085166"/>
                      <a:pt x="2195" y="1045354"/>
                      <a:pt x="1097" y="990754"/>
                    </a:cubicBezTo>
                    <a:cubicBezTo>
                      <a:pt x="1097" y="964592"/>
                      <a:pt x="1097" y="936155"/>
                      <a:pt x="0" y="89748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4" name="Freeform 188"/>
              <p:cNvSpPr>
                <a:spLocks/>
              </p:cNvSpPr>
              <p:nvPr/>
            </p:nvSpPr>
            <p:spPr bwMode="auto">
              <a:xfrm rot="5400000">
                <a:off x="11664279" y="1486985"/>
                <a:ext cx="371110" cy="630819"/>
              </a:xfrm>
              <a:custGeom>
                <a:avLst/>
                <a:gdLst>
                  <a:gd name="T0" fmla="*/ 266 w 338"/>
                  <a:gd name="T1" fmla="*/ 555 h 555"/>
                  <a:gd name="T2" fmla="*/ 52 w 338"/>
                  <a:gd name="T3" fmla="*/ 498 h 555"/>
                  <a:gd name="T4" fmla="*/ 0 w 338"/>
                  <a:gd name="T5" fmla="*/ 350 h 555"/>
                  <a:gd name="T6" fmla="*/ 0 w 338"/>
                  <a:gd name="T7" fmla="*/ 0 h 555"/>
                  <a:gd name="T8" fmla="*/ 34 w 338"/>
                  <a:gd name="T9" fmla="*/ 0 h 555"/>
                  <a:gd name="T10" fmla="*/ 34 w 338"/>
                  <a:gd name="T11" fmla="*/ 349 h 555"/>
                  <a:gd name="T12" fmla="*/ 75 w 338"/>
                  <a:gd name="T13" fmla="*/ 472 h 555"/>
                  <a:gd name="T14" fmla="*/ 336 w 338"/>
                  <a:gd name="T15" fmla="*/ 519 h 555"/>
                  <a:gd name="T16" fmla="*/ 338 w 338"/>
                  <a:gd name="T17" fmla="*/ 553 h 555"/>
                  <a:gd name="T18" fmla="*/ 266 w 338"/>
                  <a:gd name="T19" fmla="*/ 555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555">
                    <a:moveTo>
                      <a:pt x="266" y="555"/>
                    </a:moveTo>
                    <a:cubicBezTo>
                      <a:pt x="165" y="555"/>
                      <a:pt x="95" y="536"/>
                      <a:pt x="52" y="498"/>
                    </a:cubicBezTo>
                    <a:cubicBezTo>
                      <a:pt x="7" y="456"/>
                      <a:pt x="0" y="399"/>
                      <a:pt x="0" y="350"/>
                    </a:cubicBezTo>
                    <a:cubicBezTo>
                      <a:pt x="0" y="0"/>
                      <a:pt x="0" y="0"/>
                      <a:pt x="0" y="0"/>
                    </a:cubicBezTo>
                    <a:cubicBezTo>
                      <a:pt x="34" y="0"/>
                      <a:pt x="34" y="0"/>
                      <a:pt x="34" y="0"/>
                    </a:cubicBezTo>
                    <a:cubicBezTo>
                      <a:pt x="34" y="349"/>
                      <a:pt x="34" y="349"/>
                      <a:pt x="34" y="349"/>
                    </a:cubicBezTo>
                    <a:cubicBezTo>
                      <a:pt x="34" y="392"/>
                      <a:pt x="40" y="440"/>
                      <a:pt x="75" y="472"/>
                    </a:cubicBezTo>
                    <a:cubicBezTo>
                      <a:pt x="120" y="513"/>
                      <a:pt x="205" y="528"/>
                      <a:pt x="336" y="519"/>
                    </a:cubicBezTo>
                    <a:cubicBezTo>
                      <a:pt x="338" y="553"/>
                      <a:pt x="338" y="553"/>
                      <a:pt x="338" y="553"/>
                    </a:cubicBezTo>
                    <a:cubicBezTo>
                      <a:pt x="312" y="555"/>
                      <a:pt x="288" y="555"/>
                      <a:pt x="266" y="555"/>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5" name="Freeform 597"/>
              <p:cNvSpPr>
                <a:spLocks/>
              </p:cNvSpPr>
              <p:nvPr/>
            </p:nvSpPr>
            <p:spPr bwMode="auto">
              <a:xfrm rot="5400000">
                <a:off x="10137309" y="1406308"/>
                <a:ext cx="498812" cy="716860"/>
              </a:xfrm>
              <a:custGeom>
                <a:avLst/>
                <a:gdLst>
                  <a:gd name="connsiteX0" fmla="*/ 266 w 498812"/>
                  <a:gd name="connsiteY0" fmla="*/ 294156 h 716860"/>
                  <a:gd name="connsiteX1" fmla="*/ 48040 w 498812"/>
                  <a:gd name="connsiteY1" fmla="*/ 152511 h 716860"/>
                  <a:gd name="connsiteX2" fmla="*/ 176675 w 498812"/>
                  <a:gd name="connsiteY2" fmla="*/ 75117 h 716860"/>
                  <a:gd name="connsiteX3" fmla="*/ 178874 w 498812"/>
                  <a:gd name="connsiteY3" fmla="*/ 75117 h 716860"/>
                  <a:gd name="connsiteX4" fmla="*/ 281122 w 498812"/>
                  <a:gd name="connsiteY4" fmla="*/ 75117 h 716860"/>
                  <a:gd name="connsiteX5" fmla="*/ 349288 w 498812"/>
                  <a:gd name="connsiteY5" fmla="*/ 62598 h 716860"/>
                  <a:gd name="connsiteX6" fmla="*/ 465829 w 498812"/>
                  <a:gd name="connsiteY6" fmla="*/ 0 h 716860"/>
                  <a:gd name="connsiteX7" fmla="*/ 498812 w 498812"/>
                  <a:gd name="connsiteY7" fmla="*/ 18210 h 716860"/>
                  <a:gd name="connsiteX8" fmla="*/ 352586 w 498812"/>
                  <a:gd name="connsiteY8" fmla="*/ 101295 h 716860"/>
                  <a:gd name="connsiteX9" fmla="*/ 292117 w 498812"/>
                  <a:gd name="connsiteY9" fmla="*/ 112676 h 716860"/>
                  <a:gd name="connsiteX10" fmla="*/ 284421 w 498812"/>
                  <a:gd name="connsiteY10" fmla="*/ 113814 h 716860"/>
                  <a:gd name="connsiteX11" fmla="*/ 179974 w 498812"/>
                  <a:gd name="connsiteY11" fmla="*/ 113814 h 716860"/>
                  <a:gd name="connsiteX12" fmla="*/ 77725 w 498812"/>
                  <a:gd name="connsiteY12" fmla="*/ 175274 h 716860"/>
                  <a:gd name="connsiteX13" fmla="*/ 39245 w 498812"/>
                  <a:gd name="connsiteY13" fmla="*/ 324370 h 716860"/>
                  <a:gd name="connsiteX14" fmla="*/ 39245 w 498812"/>
                  <a:gd name="connsiteY14" fmla="*/ 327784 h 716860"/>
                  <a:gd name="connsiteX15" fmla="*/ 39245 w 498812"/>
                  <a:gd name="connsiteY15" fmla="*/ 716860 h 716860"/>
                  <a:gd name="connsiteX16" fmla="*/ 1864 w 498812"/>
                  <a:gd name="connsiteY16" fmla="*/ 716860 h 716860"/>
                  <a:gd name="connsiteX17" fmla="*/ 1864 w 498812"/>
                  <a:gd name="connsiteY17" fmla="*/ 651763 h 716860"/>
                  <a:gd name="connsiteX18" fmla="*/ 1864 w 498812"/>
                  <a:gd name="connsiteY18" fmla="*/ 330061 h 716860"/>
                  <a:gd name="connsiteX19" fmla="*/ 266 w 498812"/>
                  <a:gd name="connsiteY19" fmla="*/ 294156 h 71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8812" h="716860">
                    <a:moveTo>
                      <a:pt x="266" y="294156"/>
                    </a:moveTo>
                    <a:cubicBezTo>
                      <a:pt x="2276" y="252383"/>
                      <a:pt x="15882" y="196045"/>
                      <a:pt x="48040" y="152511"/>
                    </a:cubicBezTo>
                    <a:cubicBezTo>
                      <a:pt x="78825" y="106985"/>
                      <a:pt x="122802" y="81946"/>
                      <a:pt x="176675" y="75117"/>
                    </a:cubicBezTo>
                    <a:cubicBezTo>
                      <a:pt x="177775" y="75117"/>
                      <a:pt x="177775" y="75117"/>
                      <a:pt x="178874" y="75117"/>
                    </a:cubicBezTo>
                    <a:cubicBezTo>
                      <a:pt x="281122" y="75117"/>
                      <a:pt x="281122" y="75117"/>
                      <a:pt x="281122" y="75117"/>
                    </a:cubicBezTo>
                    <a:cubicBezTo>
                      <a:pt x="303111" y="66012"/>
                      <a:pt x="326199" y="64874"/>
                      <a:pt x="349288" y="62598"/>
                    </a:cubicBezTo>
                    <a:cubicBezTo>
                      <a:pt x="396564" y="59183"/>
                      <a:pt x="438343" y="56907"/>
                      <a:pt x="465829" y="0"/>
                    </a:cubicBezTo>
                    <a:cubicBezTo>
                      <a:pt x="498812" y="18210"/>
                      <a:pt x="498812" y="18210"/>
                      <a:pt x="498812" y="18210"/>
                    </a:cubicBezTo>
                    <a:cubicBezTo>
                      <a:pt x="461431" y="93328"/>
                      <a:pt x="400962" y="97880"/>
                      <a:pt x="352586" y="101295"/>
                    </a:cubicBezTo>
                    <a:cubicBezTo>
                      <a:pt x="330597" y="103571"/>
                      <a:pt x="308608" y="104709"/>
                      <a:pt x="292117" y="112676"/>
                    </a:cubicBezTo>
                    <a:cubicBezTo>
                      <a:pt x="288818" y="113814"/>
                      <a:pt x="286620" y="113814"/>
                      <a:pt x="284421" y="113814"/>
                    </a:cubicBezTo>
                    <a:cubicBezTo>
                      <a:pt x="179974" y="113814"/>
                      <a:pt x="179974" y="113814"/>
                      <a:pt x="179974" y="113814"/>
                    </a:cubicBezTo>
                    <a:cubicBezTo>
                      <a:pt x="137095" y="119505"/>
                      <a:pt x="103013" y="139991"/>
                      <a:pt x="77725" y="175274"/>
                    </a:cubicBezTo>
                    <a:cubicBezTo>
                      <a:pt x="40344" y="227628"/>
                      <a:pt x="33748" y="298193"/>
                      <a:pt x="39245" y="324370"/>
                    </a:cubicBezTo>
                    <a:cubicBezTo>
                      <a:pt x="39245" y="325508"/>
                      <a:pt x="39245" y="326646"/>
                      <a:pt x="39245" y="327784"/>
                    </a:cubicBezTo>
                    <a:lnTo>
                      <a:pt x="39245" y="716860"/>
                    </a:lnTo>
                    <a:lnTo>
                      <a:pt x="1864" y="716860"/>
                    </a:lnTo>
                    <a:lnTo>
                      <a:pt x="1864" y="651763"/>
                    </a:lnTo>
                    <a:cubicBezTo>
                      <a:pt x="1864" y="330061"/>
                      <a:pt x="1864" y="330061"/>
                      <a:pt x="1864" y="330061"/>
                    </a:cubicBezTo>
                    <a:cubicBezTo>
                      <a:pt x="215" y="320387"/>
                      <a:pt x="-404" y="308081"/>
                      <a:pt x="266" y="294156"/>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6" name="Freeform 598"/>
              <p:cNvSpPr>
                <a:spLocks/>
              </p:cNvSpPr>
              <p:nvPr/>
            </p:nvSpPr>
            <p:spPr bwMode="auto">
              <a:xfrm rot="5400000">
                <a:off x="9945058" y="1692033"/>
                <a:ext cx="377688" cy="211234"/>
              </a:xfrm>
              <a:custGeom>
                <a:avLst/>
                <a:gdLst>
                  <a:gd name="connsiteX0" fmla="*/ 0 w 377688"/>
                  <a:gd name="connsiteY0" fmla="*/ 211234 h 211234"/>
                  <a:gd name="connsiteX1" fmla="*/ 2434 w 377688"/>
                  <a:gd name="connsiteY1" fmla="*/ 162783 h 211234"/>
                  <a:gd name="connsiteX2" fmla="*/ 47888 w 377688"/>
                  <a:gd name="connsiteY2" fmla="*/ 54959 h 211234"/>
                  <a:gd name="connsiteX3" fmla="*/ 377688 w 377688"/>
                  <a:gd name="connsiteY3" fmla="*/ 3766 h 211234"/>
                  <a:gd name="connsiteX4" fmla="*/ 375497 w 377688"/>
                  <a:gd name="connsiteY4" fmla="*/ 42445 h 211234"/>
                  <a:gd name="connsiteX5" fmla="*/ 74184 w 377688"/>
                  <a:gd name="connsiteY5" fmla="*/ 83399 h 211234"/>
                  <a:gd name="connsiteX6" fmla="*/ 39516 w 377688"/>
                  <a:gd name="connsiteY6" fmla="*/ 170906 h 211234"/>
                  <a:gd name="connsiteX7" fmla="*/ 38231 w 377688"/>
                  <a:gd name="connsiteY7" fmla="*/ 211234 h 21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688" h="211234">
                    <a:moveTo>
                      <a:pt x="0" y="211234"/>
                    </a:moveTo>
                    <a:lnTo>
                      <a:pt x="2434" y="162783"/>
                    </a:lnTo>
                    <a:cubicBezTo>
                      <a:pt x="8033" y="113403"/>
                      <a:pt x="22413" y="79701"/>
                      <a:pt x="47888" y="54959"/>
                    </a:cubicBezTo>
                    <a:cubicBezTo>
                      <a:pt x="98289" y="6041"/>
                      <a:pt x="187040" y="-7610"/>
                      <a:pt x="377688" y="3766"/>
                    </a:cubicBezTo>
                    <a:cubicBezTo>
                      <a:pt x="375497" y="42445"/>
                      <a:pt x="375497" y="42445"/>
                      <a:pt x="375497" y="42445"/>
                    </a:cubicBezTo>
                    <a:cubicBezTo>
                      <a:pt x="199092" y="31069"/>
                      <a:pt x="114725" y="42445"/>
                      <a:pt x="74184" y="83399"/>
                    </a:cubicBezTo>
                    <a:cubicBezTo>
                      <a:pt x="54462" y="102169"/>
                      <a:pt x="43368" y="129259"/>
                      <a:pt x="39516" y="170906"/>
                    </a:cubicBezTo>
                    <a:lnTo>
                      <a:pt x="38231" y="211234"/>
                    </a:ln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7" name="Freeform 599"/>
              <p:cNvSpPr>
                <a:spLocks/>
              </p:cNvSpPr>
              <p:nvPr/>
            </p:nvSpPr>
            <p:spPr bwMode="auto">
              <a:xfrm rot="5400000">
                <a:off x="10216505" y="118823"/>
                <a:ext cx="874655" cy="1251093"/>
              </a:xfrm>
              <a:custGeom>
                <a:avLst/>
                <a:gdLst>
                  <a:gd name="connsiteX0" fmla="*/ 0 w 874655"/>
                  <a:gd name="connsiteY0" fmla="*/ 38680 h 1251093"/>
                  <a:gd name="connsiteX1" fmla="*/ 0 w 874655"/>
                  <a:gd name="connsiteY1" fmla="*/ 0 h 1251093"/>
                  <a:gd name="connsiteX2" fmla="*/ 233754 w 874655"/>
                  <a:gd name="connsiteY2" fmla="*/ 3412 h 1251093"/>
                  <a:gd name="connsiteX3" fmla="*/ 237046 w 874655"/>
                  <a:gd name="connsiteY3" fmla="*/ 3412 h 1251093"/>
                  <a:gd name="connsiteX4" fmla="*/ 398369 w 874655"/>
                  <a:gd name="connsiteY4" fmla="*/ 179749 h 1251093"/>
                  <a:gd name="connsiteX5" fmla="*/ 399466 w 874655"/>
                  <a:gd name="connsiteY5" fmla="*/ 183162 h 1251093"/>
                  <a:gd name="connsiteX6" fmla="*/ 390687 w 874655"/>
                  <a:gd name="connsiteY6" fmla="*/ 906712 h 1251093"/>
                  <a:gd name="connsiteX7" fmla="*/ 545425 w 874655"/>
                  <a:gd name="connsiteY7" fmla="*/ 1068260 h 1251093"/>
                  <a:gd name="connsiteX8" fmla="*/ 683701 w 874655"/>
                  <a:gd name="connsiteY8" fmla="*/ 1068260 h 1251093"/>
                  <a:gd name="connsiteX9" fmla="*/ 874655 w 874655"/>
                  <a:gd name="connsiteY9" fmla="*/ 1233220 h 1251093"/>
                  <a:gd name="connsiteX10" fmla="*/ 874655 w 874655"/>
                  <a:gd name="connsiteY10" fmla="*/ 1237771 h 1251093"/>
                  <a:gd name="connsiteX11" fmla="*/ 874655 w 874655"/>
                  <a:gd name="connsiteY11" fmla="*/ 1251093 h 1251093"/>
                  <a:gd name="connsiteX12" fmla="*/ 837342 w 874655"/>
                  <a:gd name="connsiteY12" fmla="*/ 1251093 h 1251093"/>
                  <a:gd name="connsiteX13" fmla="*/ 837342 w 874655"/>
                  <a:gd name="connsiteY13" fmla="*/ 1247210 h 1251093"/>
                  <a:gd name="connsiteX14" fmla="*/ 837342 w 874655"/>
                  <a:gd name="connsiteY14" fmla="*/ 1241184 h 1251093"/>
                  <a:gd name="connsiteX15" fmla="*/ 683701 w 874655"/>
                  <a:gd name="connsiteY15" fmla="*/ 1106940 h 1251093"/>
                  <a:gd name="connsiteX16" fmla="*/ 544327 w 874655"/>
                  <a:gd name="connsiteY16" fmla="*/ 1106940 h 1251093"/>
                  <a:gd name="connsiteX17" fmla="*/ 542133 w 874655"/>
                  <a:gd name="connsiteY17" fmla="*/ 1106940 h 1251093"/>
                  <a:gd name="connsiteX18" fmla="*/ 353374 w 874655"/>
                  <a:gd name="connsiteY18" fmla="*/ 908988 h 1251093"/>
                  <a:gd name="connsiteX19" fmla="*/ 353374 w 874655"/>
                  <a:gd name="connsiteY19" fmla="*/ 907850 h 1251093"/>
                  <a:gd name="connsiteX20" fmla="*/ 362153 w 874655"/>
                  <a:gd name="connsiteY20" fmla="*/ 184300 h 1251093"/>
                  <a:gd name="connsiteX21" fmla="*/ 230461 w 874655"/>
                  <a:gd name="connsiteY21" fmla="*/ 42093 h 1251093"/>
                  <a:gd name="connsiteX22" fmla="*/ 0 w 874655"/>
                  <a:gd name="connsiteY22" fmla="*/ 38680 h 125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655" h="1251093">
                    <a:moveTo>
                      <a:pt x="0" y="38680"/>
                    </a:moveTo>
                    <a:cubicBezTo>
                      <a:pt x="0" y="0"/>
                      <a:pt x="0" y="0"/>
                      <a:pt x="0" y="0"/>
                    </a:cubicBezTo>
                    <a:cubicBezTo>
                      <a:pt x="233754" y="3412"/>
                      <a:pt x="233754" y="3412"/>
                      <a:pt x="233754" y="3412"/>
                    </a:cubicBezTo>
                    <a:cubicBezTo>
                      <a:pt x="234851" y="3412"/>
                      <a:pt x="235948" y="3412"/>
                      <a:pt x="237046" y="3412"/>
                    </a:cubicBezTo>
                    <a:cubicBezTo>
                      <a:pt x="358861" y="30716"/>
                      <a:pt x="387394" y="112628"/>
                      <a:pt x="398369" y="179749"/>
                    </a:cubicBezTo>
                    <a:cubicBezTo>
                      <a:pt x="399466" y="180887"/>
                      <a:pt x="399466" y="182025"/>
                      <a:pt x="399466" y="183162"/>
                    </a:cubicBezTo>
                    <a:cubicBezTo>
                      <a:pt x="390687" y="906712"/>
                      <a:pt x="390687" y="906712"/>
                      <a:pt x="390687" y="906712"/>
                    </a:cubicBezTo>
                    <a:cubicBezTo>
                      <a:pt x="400564" y="1029579"/>
                      <a:pt x="470799" y="1056883"/>
                      <a:pt x="545425" y="1068260"/>
                    </a:cubicBezTo>
                    <a:cubicBezTo>
                      <a:pt x="683701" y="1068260"/>
                      <a:pt x="683701" y="1068260"/>
                      <a:pt x="683701" y="1068260"/>
                    </a:cubicBezTo>
                    <a:cubicBezTo>
                      <a:pt x="823076" y="1069397"/>
                      <a:pt x="864778" y="1194540"/>
                      <a:pt x="874655" y="1233220"/>
                    </a:cubicBezTo>
                    <a:cubicBezTo>
                      <a:pt x="874655" y="1235495"/>
                      <a:pt x="874655" y="1236633"/>
                      <a:pt x="874655" y="1237771"/>
                    </a:cubicBezTo>
                    <a:lnTo>
                      <a:pt x="874655" y="1251093"/>
                    </a:lnTo>
                    <a:lnTo>
                      <a:pt x="837342" y="1251093"/>
                    </a:lnTo>
                    <a:lnTo>
                      <a:pt x="837342" y="1247210"/>
                    </a:lnTo>
                    <a:cubicBezTo>
                      <a:pt x="837342" y="1241184"/>
                      <a:pt x="837342" y="1241184"/>
                      <a:pt x="837342" y="1241184"/>
                    </a:cubicBezTo>
                    <a:cubicBezTo>
                      <a:pt x="826368" y="1199090"/>
                      <a:pt x="791250" y="1108078"/>
                      <a:pt x="683701" y="1106940"/>
                    </a:cubicBezTo>
                    <a:cubicBezTo>
                      <a:pt x="544327" y="1106940"/>
                      <a:pt x="544327" y="1106940"/>
                      <a:pt x="544327" y="1106940"/>
                    </a:cubicBezTo>
                    <a:cubicBezTo>
                      <a:pt x="543230" y="1106940"/>
                      <a:pt x="543230" y="1106940"/>
                      <a:pt x="542133" y="1106940"/>
                    </a:cubicBezTo>
                    <a:cubicBezTo>
                      <a:pt x="460922" y="1094426"/>
                      <a:pt x="365446" y="1061434"/>
                      <a:pt x="353374" y="908988"/>
                    </a:cubicBezTo>
                    <a:cubicBezTo>
                      <a:pt x="353374" y="908988"/>
                      <a:pt x="353374" y="907850"/>
                      <a:pt x="353374" y="907850"/>
                    </a:cubicBezTo>
                    <a:cubicBezTo>
                      <a:pt x="362153" y="184300"/>
                      <a:pt x="362153" y="184300"/>
                      <a:pt x="362153" y="184300"/>
                    </a:cubicBezTo>
                    <a:cubicBezTo>
                      <a:pt x="351179" y="124004"/>
                      <a:pt x="328133" y="64846"/>
                      <a:pt x="230461" y="42093"/>
                    </a:cubicBezTo>
                    <a:cubicBezTo>
                      <a:pt x="0" y="38680"/>
                      <a:pt x="0" y="38680"/>
                      <a:pt x="0" y="3868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9" name="Freeform 600"/>
              <p:cNvSpPr>
                <a:spLocks/>
              </p:cNvSpPr>
              <p:nvPr/>
            </p:nvSpPr>
            <p:spPr bwMode="auto">
              <a:xfrm rot="5400000">
                <a:off x="9938317" y="1410617"/>
                <a:ext cx="664391" cy="484452"/>
              </a:xfrm>
              <a:custGeom>
                <a:avLst/>
                <a:gdLst>
                  <a:gd name="connsiteX0" fmla="*/ 45 w 664391"/>
                  <a:gd name="connsiteY0" fmla="*/ 252601 h 484452"/>
                  <a:gd name="connsiteX1" fmla="*/ 192211 w 664391"/>
                  <a:gd name="connsiteY1" fmla="*/ 13654 h 484452"/>
                  <a:gd name="connsiteX2" fmla="*/ 304217 w 664391"/>
                  <a:gd name="connsiteY2" fmla="*/ 9103 h 484452"/>
                  <a:gd name="connsiteX3" fmla="*/ 664391 w 664391"/>
                  <a:gd name="connsiteY3" fmla="*/ 0 h 484452"/>
                  <a:gd name="connsiteX4" fmla="*/ 664391 w 664391"/>
                  <a:gd name="connsiteY4" fmla="*/ 38687 h 484452"/>
                  <a:gd name="connsiteX5" fmla="*/ 306413 w 664391"/>
                  <a:gd name="connsiteY5" fmla="*/ 47789 h 484452"/>
                  <a:gd name="connsiteX6" fmla="*/ 193309 w 664391"/>
                  <a:gd name="connsiteY6" fmla="*/ 52341 h 484452"/>
                  <a:gd name="connsiteX7" fmla="*/ 37380 w 664391"/>
                  <a:gd name="connsiteY7" fmla="*/ 252601 h 484452"/>
                  <a:gd name="connsiteX8" fmla="*/ 38830 w 664391"/>
                  <a:gd name="connsiteY8" fmla="*/ 453159 h 484452"/>
                  <a:gd name="connsiteX9" fmla="*/ 39056 w 664391"/>
                  <a:gd name="connsiteY9" fmla="*/ 484452 h 484452"/>
                  <a:gd name="connsiteX10" fmla="*/ 1721 w 664391"/>
                  <a:gd name="connsiteY10" fmla="*/ 484452 h 484452"/>
                  <a:gd name="connsiteX11" fmla="*/ 1473 w 664391"/>
                  <a:gd name="connsiteY11" fmla="*/ 450044 h 484452"/>
                  <a:gd name="connsiteX12" fmla="*/ 45 w 664391"/>
                  <a:gd name="connsiteY12" fmla="*/ 252601 h 48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4391" h="484452">
                    <a:moveTo>
                      <a:pt x="45" y="252601"/>
                    </a:moveTo>
                    <a:cubicBezTo>
                      <a:pt x="-2151" y="119473"/>
                      <a:pt x="78010" y="18205"/>
                      <a:pt x="192211" y="13654"/>
                    </a:cubicBezTo>
                    <a:cubicBezTo>
                      <a:pt x="227350" y="12516"/>
                      <a:pt x="264685" y="10241"/>
                      <a:pt x="304217" y="9103"/>
                    </a:cubicBezTo>
                    <a:cubicBezTo>
                      <a:pt x="415124" y="4551"/>
                      <a:pt x="541405" y="0"/>
                      <a:pt x="664391" y="0"/>
                    </a:cubicBezTo>
                    <a:cubicBezTo>
                      <a:pt x="664391" y="38687"/>
                      <a:pt x="664391" y="38687"/>
                      <a:pt x="664391" y="38687"/>
                    </a:cubicBezTo>
                    <a:cubicBezTo>
                      <a:pt x="542503" y="38687"/>
                      <a:pt x="416222" y="43238"/>
                      <a:pt x="306413" y="47789"/>
                    </a:cubicBezTo>
                    <a:cubicBezTo>
                      <a:pt x="266882" y="48927"/>
                      <a:pt x="229547" y="51203"/>
                      <a:pt x="193309" y="52341"/>
                    </a:cubicBezTo>
                    <a:cubicBezTo>
                      <a:pt x="101070" y="55754"/>
                      <a:pt x="35184" y="139954"/>
                      <a:pt x="37380" y="252601"/>
                    </a:cubicBezTo>
                    <a:cubicBezTo>
                      <a:pt x="37929" y="328552"/>
                      <a:pt x="38410" y="395009"/>
                      <a:pt x="38830" y="453159"/>
                    </a:cubicBezTo>
                    <a:lnTo>
                      <a:pt x="39056" y="484452"/>
                    </a:lnTo>
                    <a:lnTo>
                      <a:pt x="1721" y="484452"/>
                    </a:lnTo>
                    <a:lnTo>
                      <a:pt x="1473" y="450044"/>
                    </a:lnTo>
                    <a:cubicBezTo>
                      <a:pt x="45" y="252601"/>
                      <a:pt x="45" y="252601"/>
                      <a:pt x="45" y="252601"/>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0" name="Freeform 193"/>
              <p:cNvSpPr>
                <a:spLocks noEditPoints="1"/>
              </p:cNvSpPr>
              <p:nvPr/>
            </p:nvSpPr>
            <p:spPr bwMode="auto">
              <a:xfrm>
                <a:off x="10242246" y="1048594"/>
                <a:ext cx="184828" cy="241462"/>
              </a:xfrm>
              <a:custGeom>
                <a:avLst/>
                <a:gdLst>
                  <a:gd name="T0" fmla="*/ 95 w 169"/>
                  <a:gd name="T1" fmla="*/ 105 h 212"/>
                  <a:gd name="T2" fmla="*/ 134 w 169"/>
                  <a:gd name="T3" fmla="*/ 212 h 212"/>
                  <a:gd name="T4" fmla="*/ 113 w 169"/>
                  <a:gd name="T5" fmla="*/ 212 h 212"/>
                  <a:gd name="T6" fmla="*/ 85 w 169"/>
                  <a:gd name="T7" fmla="*/ 188 h 212"/>
                  <a:gd name="T8" fmla="*/ 56 w 169"/>
                  <a:gd name="T9" fmla="*/ 212 h 212"/>
                  <a:gd name="T10" fmla="*/ 36 w 169"/>
                  <a:gd name="T11" fmla="*/ 212 h 212"/>
                  <a:gd name="T12" fmla="*/ 74 w 169"/>
                  <a:gd name="T13" fmla="*/ 105 h 212"/>
                  <a:gd name="T14" fmla="*/ 67 w 169"/>
                  <a:gd name="T15" fmla="*/ 90 h 212"/>
                  <a:gd name="T16" fmla="*/ 85 w 169"/>
                  <a:gd name="T17" fmla="*/ 72 h 212"/>
                  <a:gd name="T18" fmla="*/ 102 w 169"/>
                  <a:gd name="T19" fmla="*/ 90 h 212"/>
                  <a:gd name="T20" fmla="*/ 95 w 169"/>
                  <a:gd name="T21" fmla="*/ 105 h 212"/>
                  <a:gd name="T22" fmla="*/ 85 w 169"/>
                  <a:gd name="T23" fmla="*/ 36 h 212"/>
                  <a:gd name="T24" fmla="*/ 136 w 169"/>
                  <a:gd name="T25" fmla="*/ 87 h 212"/>
                  <a:gd name="T26" fmla="*/ 112 w 169"/>
                  <a:gd name="T27" fmla="*/ 129 h 212"/>
                  <a:gd name="T28" fmla="*/ 111 w 169"/>
                  <a:gd name="T29" fmla="*/ 122 h 212"/>
                  <a:gd name="T30" fmla="*/ 126 w 169"/>
                  <a:gd name="T31" fmla="*/ 90 h 212"/>
                  <a:gd name="T32" fmla="*/ 85 w 169"/>
                  <a:gd name="T33" fmla="*/ 49 h 212"/>
                  <a:gd name="T34" fmla="*/ 44 w 169"/>
                  <a:gd name="T35" fmla="*/ 90 h 212"/>
                  <a:gd name="T36" fmla="*/ 59 w 169"/>
                  <a:gd name="T37" fmla="*/ 122 h 212"/>
                  <a:gd name="T38" fmla="*/ 57 w 169"/>
                  <a:gd name="T39" fmla="*/ 129 h 212"/>
                  <a:gd name="T40" fmla="*/ 35 w 169"/>
                  <a:gd name="T41" fmla="*/ 87 h 212"/>
                  <a:gd name="T42" fmla="*/ 85 w 169"/>
                  <a:gd name="T43" fmla="*/ 36 h 212"/>
                  <a:gd name="T44" fmla="*/ 85 w 169"/>
                  <a:gd name="T45" fmla="*/ 0 h 212"/>
                  <a:gd name="T46" fmla="*/ 169 w 169"/>
                  <a:gd name="T47" fmla="*/ 85 h 212"/>
                  <a:gd name="T48" fmla="*/ 123 w 169"/>
                  <a:gd name="T49" fmla="*/ 161 h 212"/>
                  <a:gd name="T50" fmla="*/ 120 w 169"/>
                  <a:gd name="T51" fmla="*/ 155 h 212"/>
                  <a:gd name="T52" fmla="*/ 160 w 169"/>
                  <a:gd name="T53" fmla="*/ 89 h 212"/>
                  <a:gd name="T54" fmla="*/ 85 w 169"/>
                  <a:gd name="T55" fmla="*/ 14 h 212"/>
                  <a:gd name="T56" fmla="*/ 11 w 169"/>
                  <a:gd name="T57" fmla="*/ 89 h 212"/>
                  <a:gd name="T58" fmla="*/ 49 w 169"/>
                  <a:gd name="T59" fmla="*/ 155 h 212"/>
                  <a:gd name="T60" fmla="*/ 47 w 169"/>
                  <a:gd name="T61" fmla="*/ 161 h 212"/>
                  <a:gd name="T62" fmla="*/ 0 w 169"/>
                  <a:gd name="T63" fmla="*/ 85 h 212"/>
                  <a:gd name="T64" fmla="*/ 85 w 169"/>
                  <a:gd name="T65" fmla="*/ 0 h 212"/>
                  <a:gd name="T66" fmla="*/ 85 w 169"/>
                  <a:gd name="T67" fmla="*/ 130 h 212"/>
                  <a:gd name="T68" fmla="*/ 93 w 169"/>
                  <a:gd name="T69" fmla="*/ 138 h 212"/>
                  <a:gd name="T70" fmla="*/ 85 w 169"/>
                  <a:gd name="T71" fmla="*/ 145 h 212"/>
                  <a:gd name="T72" fmla="*/ 76 w 169"/>
                  <a:gd name="T73" fmla="*/ 138 h 212"/>
                  <a:gd name="T74" fmla="*/ 85 w 169"/>
                  <a:gd name="T75" fmla="*/ 130 h 212"/>
                  <a:gd name="T76" fmla="*/ 85 w 169"/>
                  <a:gd name="T77" fmla="*/ 179 h 212"/>
                  <a:gd name="T78" fmla="*/ 99 w 169"/>
                  <a:gd name="T79" fmla="*/ 167 h 212"/>
                  <a:gd name="T80" fmla="*/ 85 w 169"/>
                  <a:gd name="T81" fmla="*/ 156 h 212"/>
                  <a:gd name="T82" fmla="*/ 71 w 169"/>
                  <a:gd name="T83" fmla="*/ 167 h 212"/>
                  <a:gd name="T84" fmla="*/ 85 w 169"/>
                  <a:gd name="T85" fmla="*/ 17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9" h="212">
                    <a:moveTo>
                      <a:pt x="95" y="105"/>
                    </a:moveTo>
                    <a:cubicBezTo>
                      <a:pt x="102" y="151"/>
                      <a:pt x="119" y="189"/>
                      <a:pt x="134" y="212"/>
                    </a:cubicBezTo>
                    <a:cubicBezTo>
                      <a:pt x="113" y="212"/>
                      <a:pt x="113" y="212"/>
                      <a:pt x="113" y="212"/>
                    </a:cubicBezTo>
                    <a:cubicBezTo>
                      <a:pt x="113" y="199"/>
                      <a:pt x="104" y="188"/>
                      <a:pt x="85" y="188"/>
                    </a:cubicBezTo>
                    <a:cubicBezTo>
                      <a:pt x="66" y="188"/>
                      <a:pt x="57" y="199"/>
                      <a:pt x="56" y="212"/>
                    </a:cubicBezTo>
                    <a:cubicBezTo>
                      <a:pt x="36" y="212"/>
                      <a:pt x="36" y="212"/>
                      <a:pt x="36" y="212"/>
                    </a:cubicBezTo>
                    <a:cubicBezTo>
                      <a:pt x="51" y="189"/>
                      <a:pt x="67" y="151"/>
                      <a:pt x="74" y="105"/>
                    </a:cubicBezTo>
                    <a:cubicBezTo>
                      <a:pt x="70" y="102"/>
                      <a:pt x="67" y="96"/>
                      <a:pt x="67" y="90"/>
                    </a:cubicBezTo>
                    <a:cubicBezTo>
                      <a:pt x="67" y="81"/>
                      <a:pt x="75" y="72"/>
                      <a:pt x="85" y="72"/>
                    </a:cubicBezTo>
                    <a:cubicBezTo>
                      <a:pt x="95" y="72"/>
                      <a:pt x="102" y="81"/>
                      <a:pt x="102" y="90"/>
                    </a:cubicBezTo>
                    <a:cubicBezTo>
                      <a:pt x="102" y="96"/>
                      <a:pt x="100" y="102"/>
                      <a:pt x="95" y="105"/>
                    </a:cubicBezTo>
                    <a:close/>
                    <a:moveTo>
                      <a:pt x="85" y="36"/>
                    </a:moveTo>
                    <a:cubicBezTo>
                      <a:pt x="113" y="36"/>
                      <a:pt x="136" y="59"/>
                      <a:pt x="136" y="87"/>
                    </a:cubicBezTo>
                    <a:cubicBezTo>
                      <a:pt x="136" y="105"/>
                      <a:pt x="126" y="120"/>
                      <a:pt x="112" y="129"/>
                    </a:cubicBezTo>
                    <a:cubicBezTo>
                      <a:pt x="112" y="127"/>
                      <a:pt x="111" y="125"/>
                      <a:pt x="111" y="122"/>
                    </a:cubicBezTo>
                    <a:cubicBezTo>
                      <a:pt x="120" y="115"/>
                      <a:pt x="126" y="104"/>
                      <a:pt x="126" y="90"/>
                    </a:cubicBezTo>
                    <a:cubicBezTo>
                      <a:pt x="126" y="67"/>
                      <a:pt x="108" y="49"/>
                      <a:pt x="85" y="49"/>
                    </a:cubicBezTo>
                    <a:cubicBezTo>
                      <a:pt x="62" y="49"/>
                      <a:pt x="44" y="67"/>
                      <a:pt x="44" y="90"/>
                    </a:cubicBezTo>
                    <a:cubicBezTo>
                      <a:pt x="44" y="104"/>
                      <a:pt x="49" y="115"/>
                      <a:pt x="59" y="122"/>
                    </a:cubicBezTo>
                    <a:cubicBezTo>
                      <a:pt x="59" y="125"/>
                      <a:pt x="57" y="127"/>
                      <a:pt x="57" y="129"/>
                    </a:cubicBezTo>
                    <a:cubicBezTo>
                      <a:pt x="44" y="120"/>
                      <a:pt x="35" y="105"/>
                      <a:pt x="35" y="87"/>
                    </a:cubicBezTo>
                    <a:cubicBezTo>
                      <a:pt x="35" y="59"/>
                      <a:pt x="56" y="36"/>
                      <a:pt x="85" y="36"/>
                    </a:cubicBezTo>
                    <a:close/>
                    <a:moveTo>
                      <a:pt x="85" y="0"/>
                    </a:moveTo>
                    <a:cubicBezTo>
                      <a:pt x="132" y="0"/>
                      <a:pt x="169" y="39"/>
                      <a:pt x="169" y="85"/>
                    </a:cubicBezTo>
                    <a:cubicBezTo>
                      <a:pt x="169" y="118"/>
                      <a:pt x="150" y="148"/>
                      <a:pt x="123" y="161"/>
                    </a:cubicBezTo>
                    <a:cubicBezTo>
                      <a:pt x="122" y="159"/>
                      <a:pt x="121" y="157"/>
                      <a:pt x="120" y="155"/>
                    </a:cubicBezTo>
                    <a:cubicBezTo>
                      <a:pt x="144" y="142"/>
                      <a:pt x="160" y="117"/>
                      <a:pt x="160" y="89"/>
                    </a:cubicBezTo>
                    <a:cubicBezTo>
                      <a:pt x="160" y="47"/>
                      <a:pt x="126" y="14"/>
                      <a:pt x="85" y="14"/>
                    </a:cubicBezTo>
                    <a:cubicBezTo>
                      <a:pt x="44" y="14"/>
                      <a:pt x="11" y="47"/>
                      <a:pt x="11" y="89"/>
                    </a:cubicBezTo>
                    <a:cubicBezTo>
                      <a:pt x="11" y="117"/>
                      <a:pt x="26" y="142"/>
                      <a:pt x="49" y="155"/>
                    </a:cubicBezTo>
                    <a:cubicBezTo>
                      <a:pt x="48" y="157"/>
                      <a:pt x="48" y="159"/>
                      <a:pt x="47" y="161"/>
                    </a:cubicBezTo>
                    <a:cubicBezTo>
                      <a:pt x="19" y="148"/>
                      <a:pt x="0" y="118"/>
                      <a:pt x="0" y="85"/>
                    </a:cubicBezTo>
                    <a:cubicBezTo>
                      <a:pt x="0" y="39"/>
                      <a:pt x="38" y="0"/>
                      <a:pt x="85" y="0"/>
                    </a:cubicBezTo>
                    <a:close/>
                    <a:moveTo>
                      <a:pt x="85" y="130"/>
                    </a:moveTo>
                    <a:cubicBezTo>
                      <a:pt x="91" y="130"/>
                      <a:pt x="93" y="134"/>
                      <a:pt x="93" y="138"/>
                    </a:cubicBezTo>
                    <a:cubicBezTo>
                      <a:pt x="93" y="141"/>
                      <a:pt x="91" y="145"/>
                      <a:pt x="85" y="145"/>
                    </a:cubicBezTo>
                    <a:cubicBezTo>
                      <a:pt x="78" y="145"/>
                      <a:pt x="76" y="141"/>
                      <a:pt x="76" y="138"/>
                    </a:cubicBezTo>
                    <a:cubicBezTo>
                      <a:pt x="76" y="134"/>
                      <a:pt x="78" y="130"/>
                      <a:pt x="85" y="130"/>
                    </a:cubicBezTo>
                    <a:close/>
                    <a:moveTo>
                      <a:pt x="85" y="179"/>
                    </a:moveTo>
                    <a:cubicBezTo>
                      <a:pt x="95" y="179"/>
                      <a:pt x="99" y="174"/>
                      <a:pt x="99" y="167"/>
                    </a:cubicBezTo>
                    <a:cubicBezTo>
                      <a:pt x="99" y="161"/>
                      <a:pt x="95" y="156"/>
                      <a:pt x="85" y="156"/>
                    </a:cubicBezTo>
                    <a:cubicBezTo>
                      <a:pt x="74" y="156"/>
                      <a:pt x="71" y="161"/>
                      <a:pt x="71" y="167"/>
                    </a:cubicBezTo>
                    <a:cubicBezTo>
                      <a:pt x="71" y="174"/>
                      <a:pt x="74" y="179"/>
                      <a:pt x="85" y="179"/>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1" name="Freeform 194"/>
              <p:cNvSpPr>
                <a:spLocks noEditPoints="1"/>
              </p:cNvSpPr>
              <p:nvPr/>
            </p:nvSpPr>
            <p:spPr bwMode="auto">
              <a:xfrm>
                <a:off x="11233665" y="802912"/>
                <a:ext cx="188741" cy="320267"/>
              </a:xfrm>
              <a:custGeom>
                <a:avLst/>
                <a:gdLst>
                  <a:gd name="T0" fmla="*/ 180 w 219"/>
                  <a:gd name="T1" fmla="*/ 29 h 358"/>
                  <a:gd name="T2" fmla="*/ 159 w 219"/>
                  <a:gd name="T3" fmla="*/ 35 h 358"/>
                  <a:gd name="T4" fmla="*/ 104 w 219"/>
                  <a:gd name="T5" fmla="*/ 0 h 358"/>
                  <a:gd name="T6" fmla="*/ 44 w 219"/>
                  <a:gd name="T7" fmla="*/ 48 h 358"/>
                  <a:gd name="T8" fmla="*/ 31 w 219"/>
                  <a:gd name="T9" fmla="*/ 45 h 358"/>
                  <a:gd name="T10" fmla="*/ 0 w 219"/>
                  <a:gd name="T11" fmla="*/ 76 h 358"/>
                  <a:gd name="T12" fmla="*/ 31 w 219"/>
                  <a:gd name="T13" fmla="*/ 108 h 358"/>
                  <a:gd name="T14" fmla="*/ 180 w 219"/>
                  <a:gd name="T15" fmla="*/ 108 h 358"/>
                  <a:gd name="T16" fmla="*/ 219 w 219"/>
                  <a:gd name="T17" fmla="*/ 68 h 358"/>
                  <a:gd name="T18" fmla="*/ 180 w 219"/>
                  <a:gd name="T19" fmla="*/ 29 h 358"/>
                  <a:gd name="T20" fmla="*/ 47 w 219"/>
                  <a:gd name="T21" fmla="*/ 299 h 358"/>
                  <a:gd name="T22" fmla="*/ 47 w 219"/>
                  <a:gd name="T23" fmla="*/ 353 h 358"/>
                  <a:gd name="T24" fmla="*/ 51 w 219"/>
                  <a:gd name="T25" fmla="*/ 358 h 358"/>
                  <a:gd name="T26" fmla="*/ 89 w 219"/>
                  <a:gd name="T27" fmla="*/ 358 h 358"/>
                  <a:gd name="T28" fmla="*/ 89 w 219"/>
                  <a:gd name="T29" fmla="*/ 307 h 358"/>
                  <a:gd name="T30" fmla="*/ 94 w 219"/>
                  <a:gd name="T31" fmla="*/ 303 h 358"/>
                  <a:gd name="T32" fmla="*/ 125 w 219"/>
                  <a:gd name="T33" fmla="*/ 303 h 358"/>
                  <a:gd name="T34" fmla="*/ 130 w 219"/>
                  <a:gd name="T35" fmla="*/ 307 h 358"/>
                  <a:gd name="T36" fmla="*/ 130 w 219"/>
                  <a:gd name="T37" fmla="*/ 358 h 358"/>
                  <a:gd name="T38" fmla="*/ 168 w 219"/>
                  <a:gd name="T39" fmla="*/ 358 h 358"/>
                  <a:gd name="T40" fmla="*/ 172 w 219"/>
                  <a:gd name="T41" fmla="*/ 353 h 358"/>
                  <a:gd name="T42" fmla="*/ 172 w 219"/>
                  <a:gd name="T43" fmla="*/ 299 h 358"/>
                  <a:gd name="T44" fmla="*/ 109 w 219"/>
                  <a:gd name="T45" fmla="*/ 243 h 358"/>
                  <a:gd name="T46" fmla="*/ 47 w 219"/>
                  <a:gd name="T47" fmla="*/ 299 h 358"/>
                  <a:gd name="T48" fmla="*/ 47 w 219"/>
                  <a:gd name="T49" fmla="*/ 299 h 358"/>
                  <a:gd name="T50" fmla="*/ 160 w 219"/>
                  <a:gd name="T51" fmla="*/ 218 h 358"/>
                  <a:gd name="T52" fmla="*/ 136 w 219"/>
                  <a:gd name="T53" fmla="*/ 218 h 358"/>
                  <a:gd name="T54" fmla="*/ 136 w 219"/>
                  <a:gd name="T55" fmla="*/ 235 h 358"/>
                  <a:gd name="T56" fmla="*/ 109 w 219"/>
                  <a:gd name="T57" fmla="*/ 212 h 358"/>
                  <a:gd name="T58" fmla="*/ 29 w 219"/>
                  <a:gd name="T59" fmla="*/ 283 h 358"/>
                  <a:gd name="T60" fmla="*/ 29 w 219"/>
                  <a:gd name="T61" fmla="*/ 304 h 358"/>
                  <a:gd name="T62" fmla="*/ 109 w 219"/>
                  <a:gd name="T63" fmla="*/ 234 h 358"/>
                  <a:gd name="T64" fmla="*/ 190 w 219"/>
                  <a:gd name="T65" fmla="*/ 304 h 358"/>
                  <a:gd name="T66" fmla="*/ 190 w 219"/>
                  <a:gd name="T67" fmla="*/ 283 h 358"/>
                  <a:gd name="T68" fmla="*/ 160 w 219"/>
                  <a:gd name="T69" fmla="*/ 256 h 358"/>
                  <a:gd name="T70" fmla="*/ 160 w 219"/>
                  <a:gd name="T71" fmla="*/ 218 h 358"/>
                  <a:gd name="T72" fmla="*/ 160 w 219"/>
                  <a:gd name="T73" fmla="*/ 218 h 358"/>
                  <a:gd name="T74" fmla="*/ 109 w 219"/>
                  <a:gd name="T75" fmla="*/ 189 h 358"/>
                  <a:gd name="T76" fmla="*/ 160 w 219"/>
                  <a:gd name="T77" fmla="*/ 159 h 358"/>
                  <a:gd name="T78" fmla="*/ 109 w 219"/>
                  <a:gd name="T79" fmla="*/ 180 h 358"/>
                  <a:gd name="T80" fmla="*/ 59 w 219"/>
                  <a:gd name="T81" fmla="*/ 159 h 358"/>
                  <a:gd name="T82" fmla="*/ 109 w 219"/>
                  <a:gd name="T83" fmla="*/ 189 h 358"/>
                  <a:gd name="T84" fmla="*/ 109 w 219"/>
                  <a:gd name="T85" fmla="*/ 164 h 358"/>
                  <a:gd name="T86" fmla="*/ 144 w 219"/>
                  <a:gd name="T87" fmla="*/ 141 h 358"/>
                  <a:gd name="T88" fmla="*/ 109 w 219"/>
                  <a:gd name="T89" fmla="*/ 156 h 358"/>
                  <a:gd name="T90" fmla="*/ 75 w 219"/>
                  <a:gd name="T91" fmla="*/ 141 h 358"/>
                  <a:gd name="T92" fmla="*/ 109 w 219"/>
                  <a:gd name="T93" fmla="*/ 164 h 358"/>
                  <a:gd name="T94" fmla="*/ 130 w 219"/>
                  <a:gd name="T95" fmla="*/ 127 h 358"/>
                  <a:gd name="T96" fmla="*/ 109 w 219"/>
                  <a:gd name="T97" fmla="*/ 135 h 358"/>
                  <a:gd name="T98" fmla="*/ 89 w 219"/>
                  <a:gd name="T99" fmla="*/ 127 h 358"/>
                  <a:gd name="T100" fmla="*/ 109 w 219"/>
                  <a:gd name="T101" fmla="*/ 142 h 358"/>
                  <a:gd name="T102" fmla="*/ 130 w 219"/>
                  <a:gd name="T103" fmla="*/ 12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 h="358">
                    <a:moveTo>
                      <a:pt x="180" y="29"/>
                    </a:moveTo>
                    <a:cubicBezTo>
                      <a:pt x="172" y="29"/>
                      <a:pt x="165" y="31"/>
                      <a:pt x="159" y="35"/>
                    </a:cubicBezTo>
                    <a:cubicBezTo>
                      <a:pt x="149" y="14"/>
                      <a:pt x="128" y="0"/>
                      <a:pt x="104" y="0"/>
                    </a:cubicBezTo>
                    <a:cubicBezTo>
                      <a:pt x="74" y="0"/>
                      <a:pt x="50" y="20"/>
                      <a:pt x="44" y="48"/>
                    </a:cubicBezTo>
                    <a:cubicBezTo>
                      <a:pt x="40" y="46"/>
                      <a:pt x="36" y="45"/>
                      <a:pt x="31" y="45"/>
                    </a:cubicBezTo>
                    <a:cubicBezTo>
                      <a:pt x="14" y="45"/>
                      <a:pt x="0" y="59"/>
                      <a:pt x="0" y="76"/>
                    </a:cubicBezTo>
                    <a:cubicBezTo>
                      <a:pt x="0" y="94"/>
                      <a:pt x="14" y="108"/>
                      <a:pt x="31" y="108"/>
                    </a:cubicBezTo>
                    <a:cubicBezTo>
                      <a:pt x="180" y="108"/>
                      <a:pt x="180" y="108"/>
                      <a:pt x="180" y="108"/>
                    </a:cubicBezTo>
                    <a:cubicBezTo>
                      <a:pt x="201" y="108"/>
                      <a:pt x="219" y="90"/>
                      <a:pt x="219" y="68"/>
                    </a:cubicBezTo>
                    <a:cubicBezTo>
                      <a:pt x="219" y="46"/>
                      <a:pt x="201" y="29"/>
                      <a:pt x="180" y="29"/>
                    </a:cubicBezTo>
                    <a:close/>
                    <a:moveTo>
                      <a:pt x="47" y="299"/>
                    </a:moveTo>
                    <a:cubicBezTo>
                      <a:pt x="47" y="353"/>
                      <a:pt x="47" y="353"/>
                      <a:pt x="47" y="353"/>
                    </a:cubicBezTo>
                    <a:cubicBezTo>
                      <a:pt x="47" y="355"/>
                      <a:pt x="49" y="358"/>
                      <a:pt x="51" y="358"/>
                    </a:cubicBezTo>
                    <a:cubicBezTo>
                      <a:pt x="89" y="358"/>
                      <a:pt x="89" y="358"/>
                      <a:pt x="89" y="358"/>
                    </a:cubicBezTo>
                    <a:cubicBezTo>
                      <a:pt x="89" y="307"/>
                      <a:pt x="89" y="307"/>
                      <a:pt x="89" y="307"/>
                    </a:cubicBezTo>
                    <a:cubicBezTo>
                      <a:pt x="89" y="305"/>
                      <a:pt x="91" y="303"/>
                      <a:pt x="94" y="303"/>
                    </a:cubicBezTo>
                    <a:cubicBezTo>
                      <a:pt x="125" y="303"/>
                      <a:pt x="125" y="303"/>
                      <a:pt x="125" y="303"/>
                    </a:cubicBezTo>
                    <a:cubicBezTo>
                      <a:pt x="128" y="303"/>
                      <a:pt x="130" y="305"/>
                      <a:pt x="130" y="307"/>
                    </a:cubicBezTo>
                    <a:cubicBezTo>
                      <a:pt x="130" y="358"/>
                      <a:pt x="130" y="358"/>
                      <a:pt x="130" y="358"/>
                    </a:cubicBezTo>
                    <a:cubicBezTo>
                      <a:pt x="168" y="358"/>
                      <a:pt x="168" y="358"/>
                      <a:pt x="168" y="358"/>
                    </a:cubicBezTo>
                    <a:cubicBezTo>
                      <a:pt x="170" y="358"/>
                      <a:pt x="172" y="355"/>
                      <a:pt x="172" y="353"/>
                    </a:cubicBezTo>
                    <a:cubicBezTo>
                      <a:pt x="172" y="299"/>
                      <a:pt x="172" y="299"/>
                      <a:pt x="172" y="299"/>
                    </a:cubicBezTo>
                    <a:cubicBezTo>
                      <a:pt x="109" y="243"/>
                      <a:pt x="109" y="243"/>
                      <a:pt x="109" y="243"/>
                    </a:cubicBezTo>
                    <a:cubicBezTo>
                      <a:pt x="47" y="299"/>
                      <a:pt x="47" y="299"/>
                      <a:pt x="47" y="299"/>
                    </a:cubicBezTo>
                    <a:cubicBezTo>
                      <a:pt x="47" y="299"/>
                      <a:pt x="47" y="299"/>
                      <a:pt x="47" y="299"/>
                    </a:cubicBezTo>
                    <a:close/>
                    <a:moveTo>
                      <a:pt x="160" y="218"/>
                    </a:moveTo>
                    <a:cubicBezTo>
                      <a:pt x="136" y="218"/>
                      <a:pt x="136" y="218"/>
                      <a:pt x="136" y="218"/>
                    </a:cubicBezTo>
                    <a:cubicBezTo>
                      <a:pt x="136" y="235"/>
                      <a:pt x="136" y="235"/>
                      <a:pt x="136" y="235"/>
                    </a:cubicBezTo>
                    <a:cubicBezTo>
                      <a:pt x="109" y="212"/>
                      <a:pt x="109" y="212"/>
                      <a:pt x="109" y="212"/>
                    </a:cubicBezTo>
                    <a:cubicBezTo>
                      <a:pt x="29" y="283"/>
                      <a:pt x="29" y="283"/>
                      <a:pt x="29" y="283"/>
                    </a:cubicBezTo>
                    <a:cubicBezTo>
                      <a:pt x="29" y="304"/>
                      <a:pt x="29" y="304"/>
                      <a:pt x="29" y="304"/>
                    </a:cubicBezTo>
                    <a:cubicBezTo>
                      <a:pt x="109" y="234"/>
                      <a:pt x="109" y="234"/>
                      <a:pt x="109" y="234"/>
                    </a:cubicBezTo>
                    <a:cubicBezTo>
                      <a:pt x="190" y="304"/>
                      <a:pt x="190" y="304"/>
                      <a:pt x="190" y="304"/>
                    </a:cubicBezTo>
                    <a:cubicBezTo>
                      <a:pt x="190" y="283"/>
                      <a:pt x="190" y="283"/>
                      <a:pt x="190" y="283"/>
                    </a:cubicBezTo>
                    <a:cubicBezTo>
                      <a:pt x="160" y="256"/>
                      <a:pt x="160" y="256"/>
                      <a:pt x="160" y="256"/>
                    </a:cubicBezTo>
                    <a:cubicBezTo>
                      <a:pt x="160" y="218"/>
                      <a:pt x="160" y="218"/>
                      <a:pt x="160" y="218"/>
                    </a:cubicBezTo>
                    <a:cubicBezTo>
                      <a:pt x="160" y="218"/>
                      <a:pt x="160" y="218"/>
                      <a:pt x="160" y="218"/>
                    </a:cubicBezTo>
                    <a:close/>
                    <a:moveTo>
                      <a:pt x="109" y="189"/>
                    </a:moveTo>
                    <a:cubicBezTo>
                      <a:pt x="133" y="189"/>
                      <a:pt x="153" y="175"/>
                      <a:pt x="160" y="159"/>
                    </a:cubicBezTo>
                    <a:cubicBezTo>
                      <a:pt x="147" y="173"/>
                      <a:pt x="128" y="180"/>
                      <a:pt x="109" y="180"/>
                    </a:cubicBezTo>
                    <a:cubicBezTo>
                      <a:pt x="91" y="180"/>
                      <a:pt x="72" y="173"/>
                      <a:pt x="59" y="159"/>
                    </a:cubicBezTo>
                    <a:cubicBezTo>
                      <a:pt x="66" y="175"/>
                      <a:pt x="86" y="189"/>
                      <a:pt x="109" y="189"/>
                    </a:cubicBezTo>
                    <a:close/>
                    <a:moveTo>
                      <a:pt x="109" y="164"/>
                    </a:moveTo>
                    <a:cubicBezTo>
                      <a:pt x="127" y="164"/>
                      <a:pt x="140" y="152"/>
                      <a:pt x="144" y="141"/>
                    </a:cubicBezTo>
                    <a:cubicBezTo>
                      <a:pt x="135" y="150"/>
                      <a:pt x="122" y="156"/>
                      <a:pt x="109" y="156"/>
                    </a:cubicBezTo>
                    <a:cubicBezTo>
                      <a:pt x="96" y="156"/>
                      <a:pt x="84" y="150"/>
                      <a:pt x="75" y="141"/>
                    </a:cubicBezTo>
                    <a:cubicBezTo>
                      <a:pt x="79" y="152"/>
                      <a:pt x="92" y="164"/>
                      <a:pt x="109" y="164"/>
                    </a:cubicBezTo>
                    <a:close/>
                    <a:moveTo>
                      <a:pt x="130" y="127"/>
                    </a:moveTo>
                    <a:cubicBezTo>
                      <a:pt x="124" y="132"/>
                      <a:pt x="117" y="135"/>
                      <a:pt x="109" y="135"/>
                    </a:cubicBezTo>
                    <a:cubicBezTo>
                      <a:pt x="102" y="135"/>
                      <a:pt x="95" y="132"/>
                      <a:pt x="89" y="127"/>
                    </a:cubicBezTo>
                    <a:cubicBezTo>
                      <a:pt x="91" y="135"/>
                      <a:pt x="99" y="142"/>
                      <a:pt x="109" y="142"/>
                    </a:cubicBezTo>
                    <a:cubicBezTo>
                      <a:pt x="120" y="142"/>
                      <a:pt x="128" y="135"/>
                      <a:pt x="130" y="127"/>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2" name="Freeform 195"/>
              <p:cNvSpPr>
                <a:spLocks noEditPoints="1"/>
              </p:cNvSpPr>
              <p:nvPr/>
            </p:nvSpPr>
            <p:spPr bwMode="auto">
              <a:xfrm>
                <a:off x="11639761" y="1680208"/>
                <a:ext cx="187738" cy="241462"/>
              </a:xfrm>
              <a:custGeom>
                <a:avLst/>
                <a:gdLst>
                  <a:gd name="T0" fmla="*/ 62 w 171"/>
                  <a:gd name="T1" fmla="*/ 187 h 212"/>
                  <a:gd name="T2" fmla="*/ 118 w 171"/>
                  <a:gd name="T3" fmla="*/ 175 h 212"/>
                  <a:gd name="T4" fmla="*/ 118 w 171"/>
                  <a:gd name="T5" fmla="*/ 11 h 212"/>
                  <a:gd name="T6" fmla="*/ 62 w 171"/>
                  <a:gd name="T7" fmla="*/ 0 h 212"/>
                  <a:gd name="T8" fmla="*/ 55 w 171"/>
                  <a:gd name="T9" fmla="*/ 34 h 212"/>
                  <a:gd name="T10" fmla="*/ 74 w 171"/>
                  <a:gd name="T11" fmla="*/ 45 h 212"/>
                  <a:gd name="T12" fmla="*/ 58 w 171"/>
                  <a:gd name="T13" fmla="*/ 56 h 212"/>
                  <a:gd name="T14" fmla="*/ 74 w 171"/>
                  <a:gd name="T15" fmla="*/ 67 h 212"/>
                  <a:gd name="T16" fmla="*/ 59 w 171"/>
                  <a:gd name="T17" fmla="*/ 78 h 212"/>
                  <a:gd name="T18" fmla="*/ 74 w 171"/>
                  <a:gd name="T19" fmla="*/ 89 h 212"/>
                  <a:gd name="T20" fmla="*/ 53 w 171"/>
                  <a:gd name="T21" fmla="*/ 170 h 212"/>
                  <a:gd name="T22" fmla="*/ 85 w 171"/>
                  <a:gd name="T23" fmla="*/ 146 h 212"/>
                  <a:gd name="T24" fmla="*/ 85 w 171"/>
                  <a:gd name="T25" fmla="*/ 168 h 212"/>
                  <a:gd name="T26" fmla="*/ 85 w 171"/>
                  <a:gd name="T27" fmla="*/ 146 h 212"/>
                  <a:gd name="T28" fmla="*/ 90 w 171"/>
                  <a:gd name="T29" fmla="*/ 157 h 212"/>
                  <a:gd name="T30" fmla="*/ 80 w 171"/>
                  <a:gd name="T31" fmla="*/ 157 h 212"/>
                  <a:gd name="T32" fmla="*/ 129 w 171"/>
                  <a:gd name="T33" fmla="*/ 170 h 212"/>
                  <a:gd name="T34" fmla="*/ 125 w 171"/>
                  <a:gd name="T35" fmla="*/ 174 h 212"/>
                  <a:gd name="T36" fmla="*/ 108 w 171"/>
                  <a:gd name="T37" fmla="*/ 194 h 212"/>
                  <a:gd name="T38" fmla="*/ 49 w 171"/>
                  <a:gd name="T39" fmla="*/ 188 h 212"/>
                  <a:gd name="T40" fmla="*/ 45 w 171"/>
                  <a:gd name="T41" fmla="*/ 170 h 212"/>
                  <a:gd name="T42" fmla="*/ 26 w 171"/>
                  <a:gd name="T43" fmla="*/ 185 h 212"/>
                  <a:gd name="T44" fmla="*/ 41 w 171"/>
                  <a:gd name="T45" fmla="*/ 212 h 212"/>
                  <a:gd name="T46" fmla="*/ 144 w 171"/>
                  <a:gd name="T47" fmla="*/ 197 h 212"/>
                  <a:gd name="T48" fmla="*/ 129 w 171"/>
                  <a:gd name="T49" fmla="*/ 170 h 212"/>
                  <a:gd name="T50" fmla="*/ 127 w 171"/>
                  <a:gd name="T51" fmla="*/ 51 h 212"/>
                  <a:gd name="T52" fmla="*/ 138 w 171"/>
                  <a:gd name="T53" fmla="*/ 65 h 212"/>
                  <a:gd name="T54" fmla="*/ 43 w 171"/>
                  <a:gd name="T55" fmla="*/ 51 h 212"/>
                  <a:gd name="T56" fmla="*/ 43 w 171"/>
                  <a:gd name="T57" fmla="*/ 79 h 212"/>
                  <a:gd name="T58" fmla="*/ 164 w 171"/>
                  <a:gd name="T59" fmla="*/ 65 h 212"/>
                  <a:gd name="T60" fmla="*/ 170 w 171"/>
                  <a:gd name="T61" fmla="*/ 65 h 212"/>
                  <a:gd name="T62" fmla="*/ 137 w 171"/>
                  <a:gd name="T63" fmla="*/ 41 h 212"/>
                  <a:gd name="T64" fmla="*/ 137 w 171"/>
                  <a:gd name="T65" fmla="*/ 89 h 212"/>
                  <a:gd name="T66" fmla="*/ 137 w 171"/>
                  <a:gd name="T67" fmla="*/ 41 h 212"/>
                  <a:gd name="T68" fmla="*/ 34 w 171"/>
                  <a:gd name="T69" fmla="*/ 41 h 212"/>
                  <a:gd name="T70" fmla="*/ 34 w 171"/>
                  <a:gd name="T71" fmla="*/ 89 h 212"/>
                  <a:gd name="T72" fmla="*/ 21 w 171"/>
                  <a:gd name="T73" fmla="*/ 30 h 212"/>
                  <a:gd name="T74" fmla="*/ 21 w 171"/>
                  <a:gd name="T75" fmla="*/ 100 h 212"/>
                  <a:gd name="T76" fmla="*/ 21 w 171"/>
                  <a:gd name="T77" fmla="*/ 3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1" h="212">
                    <a:moveTo>
                      <a:pt x="52" y="175"/>
                    </a:moveTo>
                    <a:cubicBezTo>
                      <a:pt x="51" y="181"/>
                      <a:pt x="56" y="187"/>
                      <a:pt x="62" y="187"/>
                    </a:cubicBezTo>
                    <a:cubicBezTo>
                      <a:pt x="108" y="187"/>
                      <a:pt x="108" y="187"/>
                      <a:pt x="108" y="187"/>
                    </a:cubicBezTo>
                    <a:cubicBezTo>
                      <a:pt x="115" y="187"/>
                      <a:pt x="119" y="181"/>
                      <a:pt x="118" y="175"/>
                    </a:cubicBezTo>
                    <a:cubicBezTo>
                      <a:pt x="118" y="173"/>
                      <a:pt x="118" y="172"/>
                      <a:pt x="117" y="170"/>
                    </a:cubicBezTo>
                    <a:cubicBezTo>
                      <a:pt x="109" y="112"/>
                      <a:pt x="109" y="70"/>
                      <a:pt x="118" y="11"/>
                    </a:cubicBezTo>
                    <a:cubicBezTo>
                      <a:pt x="119" y="5"/>
                      <a:pt x="115" y="0"/>
                      <a:pt x="108" y="0"/>
                    </a:cubicBezTo>
                    <a:cubicBezTo>
                      <a:pt x="62" y="0"/>
                      <a:pt x="62" y="0"/>
                      <a:pt x="62" y="0"/>
                    </a:cubicBezTo>
                    <a:cubicBezTo>
                      <a:pt x="56" y="0"/>
                      <a:pt x="51" y="5"/>
                      <a:pt x="52" y="11"/>
                    </a:cubicBezTo>
                    <a:cubicBezTo>
                      <a:pt x="53" y="19"/>
                      <a:pt x="54" y="27"/>
                      <a:pt x="55" y="34"/>
                    </a:cubicBezTo>
                    <a:cubicBezTo>
                      <a:pt x="74" y="34"/>
                      <a:pt x="74" y="34"/>
                      <a:pt x="74" y="34"/>
                    </a:cubicBezTo>
                    <a:cubicBezTo>
                      <a:pt x="74" y="45"/>
                      <a:pt x="74" y="45"/>
                      <a:pt x="74" y="45"/>
                    </a:cubicBezTo>
                    <a:cubicBezTo>
                      <a:pt x="56" y="45"/>
                      <a:pt x="56" y="45"/>
                      <a:pt x="56" y="45"/>
                    </a:cubicBezTo>
                    <a:cubicBezTo>
                      <a:pt x="57" y="49"/>
                      <a:pt x="57" y="53"/>
                      <a:pt x="58" y="56"/>
                    </a:cubicBezTo>
                    <a:cubicBezTo>
                      <a:pt x="74" y="56"/>
                      <a:pt x="74" y="56"/>
                      <a:pt x="74" y="56"/>
                    </a:cubicBezTo>
                    <a:cubicBezTo>
                      <a:pt x="74" y="67"/>
                      <a:pt x="74" y="67"/>
                      <a:pt x="74" y="67"/>
                    </a:cubicBezTo>
                    <a:cubicBezTo>
                      <a:pt x="58" y="67"/>
                      <a:pt x="58" y="67"/>
                      <a:pt x="58" y="67"/>
                    </a:cubicBezTo>
                    <a:cubicBezTo>
                      <a:pt x="59" y="71"/>
                      <a:pt x="59" y="75"/>
                      <a:pt x="59" y="78"/>
                    </a:cubicBezTo>
                    <a:cubicBezTo>
                      <a:pt x="74" y="78"/>
                      <a:pt x="74" y="78"/>
                      <a:pt x="74" y="78"/>
                    </a:cubicBezTo>
                    <a:cubicBezTo>
                      <a:pt x="74" y="89"/>
                      <a:pt x="74" y="89"/>
                      <a:pt x="74" y="89"/>
                    </a:cubicBezTo>
                    <a:cubicBezTo>
                      <a:pt x="59" y="89"/>
                      <a:pt x="59" y="89"/>
                      <a:pt x="59" y="89"/>
                    </a:cubicBezTo>
                    <a:cubicBezTo>
                      <a:pt x="59" y="115"/>
                      <a:pt x="57" y="140"/>
                      <a:pt x="53" y="170"/>
                    </a:cubicBezTo>
                    <a:cubicBezTo>
                      <a:pt x="53" y="172"/>
                      <a:pt x="52" y="173"/>
                      <a:pt x="52" y="175"/>
                    </a:cubicBezTo>
                    <a:close/>
                    <a:moveTo>
                      <a:pt x="85" y="146"/>
                    </a:moveTo>
                    <a:cubicBezTo>
                      <a:pt x="91" y="146"/>
                      <a:pt x="97" y="151"/>
                      <a:pt x="97" y="157"/>
                    </a:cubicBezTo>
                    <a:cubicBezTo>
                      <a:pt x="97" y="163"/>
                      <a:pt x="91" y="168"/>
                      <a:pt x="85" y="168"/>
                    </a:cubicBezTo>
                    <a:cubicBezTo>
                      <a:pt x="79" y="168"/>
                      <a:pt x="74" y="163"/>
                      <a:pt x="74" y="157"/>
                    </a:cubicBezTo>
                    <a:cubicBezTo>
                      <a:pt x="74" y="151"/>
                      <a:pt x="79" y="146"/>
                      <a:pt x="85" y="146"/>
                    </a:cubicBezTo>
                    <a:close/>
                    <a:moveTo>
                      <a:pt x="85" y="162"/>
                    </a:moveTo>
                    <a:cubicBezTo>
                      <a:pt x="88" y="162"/>
                      <a:pt x="90" y="160"/>
                      <a:pt x="90" y="157"/>
                    </a:cubicBezTo>
                    <a:cubicBezTo>
                      <a:pt x="90" y="154"/>
                      <a:pt x="88" y="152"/>
                      <a:pt x="85" y="152"/>
                    </a:cubicBezTo>
                    <a:cubicBezTo>
                      <a:pt x="82" y="152"/>
                      <a:pt x="80" y="154"/>
                      <a:pt x="80" y="157"/>
                    </a:cubicBezTo>
                    <a:cubicBezTo>
                      <a:pt x="80" y="160"/>
                      <a:pt x="82" y="162"/>
                      <a:pt x="85" y="162"/>
                    </a:cubicBezTo>
                    <a:close/>
                    <a:moveTo>
                      <a:pt x="129" y="170"/>
                    </a:moveTo>
                    <a:cubicBezTo>
                      <a:pt x="125" y="170"/>
                      <a:pt x="125" y="170"/>
                      <a:pt x="125" y="170"/>
                    </a:cubicBezTo>
                    <a:cubicBezTo>
                      <a:pt x="125" y="171"/>
                      <a:pt x="125" y="173"/>
                      <a:pt x="125" y="174"/>
                    </a:cubicBezTo>
                    <a:cubicBezTo>
                      <a:pt x="126" y="179"/>
                      <a:pt x="125" y="184"/>
                      <a:pt x="121" y="188"/>
                    </a:cubicBezTo>
                    <a:cubicBezTo>
                      <a:pt x="118" y="192"/>
                      <a:pt x="114" y="194"/>
                      <a:pt x="108" y="194"/>
                    </a:cubicBezTo>
                    <a:cubicBezTo>
                      <a:pt x="62" y="194"/>
                      <a:pt x="62" y="194"/>
                      <a:pt x="62" y="194"/>
                    </a:cubicBezTo>
                    <a:cubicBezTo>
                      <a:pt x="57" y="194"/>
                      <a:pt x="52" y="192"/>
                      <a:pt x="49" y="188"/>
                    </a:cubicBezTo>
                    <a:cubicBezTo>
                      <a:pt x="45" y="184"/>
                      <a:pt x="44" y="179"/>
                      <a:pt x="45" y="174"/>
                    </a:cubicBezTo>
                    <a:cubicBezTo>
                      <a:pt x="45" y="173"/>
                      <a:pt x="45" y="171"/>
                      <a:pt x="45" y="170"/>
                    </a:cubicBezTo>
                    <a:cubicBezTo>
                      <a:pt x="41" y="170"/>
                      <a:pt x="41" y="170"/>
                      <a:pt x="41" y="170"/>
                    </a:cubicBezTo>
                    <a:cubicBezTo>
                      <a:pt x="33" y="170"/>
                      <a:pt x="26" y="177"/>
                      <a:pt x="26" y="185"/>
                    </a:cubicBezTo>
                    <a:cubicBezTo>
                      <a:pt x="26" y="197"/>
                      <a:pt x="26" y="197"/>
                      <a:pt x="26" y="197"/>
                    </a:cubicBezTo>
                    <a:cubicBezTo>
                      <a:pt x="26" y="205"/>
                      <a:pt x="33" y="212"/>
                      <a:pt x="41" y="212"/>
                    </a:cubicBezTo>
                    <a:cubicBezTo>
                      <a:pt x="129" y="212"/>
                      <a:pt x="129" y="212"/>
                      <a:pt x="129" y="212"/>
                    </a:cubicBezTo>
                    <a:cubicBezTo>
                      <a:pt x="137" y="212"/>
                      <a:pt x="144" y="205"/>
                      <a:pt x="144" y="197"/>
                    </a:cubicBezTo>
                    <a:cubicBezTo>
                      <a:pt x="144" y="185"/>
                      <a:pt x="144" y="185"/>
                      <a:pt x="144" y="185"/>
                    </a:cubicBezTo>
                    <a:cubicBezTo>
                      <a:pt x="144" y="177"/>
                      <a:pt x="137" y="170"/>
                      <a:pt x="129" y="170"/>
                    </a:cubicBezTo>
                    <a:close/>
                    <a:moveTo>
                      <a:pt x="138" y="65"/>
                    </a:moveTo>
                    <a:cubicBezTo>
                      <a:pt x="138" y="58"/>
                      <a:pt x="133" y="52"/>
                      <a:pt x="127" y="51"/>
                    </a:cubicBezTo>
                    <a:cubicBezTo>
                      <a:pt x="135" y="58"/>
                      <a:pt x="135" y="72"/>
                      <a:pt x="127" y="79"/>
                    </a:cubicBezTo>
                    <a:cubicBezTo>
                      <a:pt x="133" y="78"/>
                      <a:pt x="138" y="72"/>
                      <a:pt x="138" y="65"/>
                    </a:cubicBezTo>
                    <a:close/>
                    <a:moveTo>
                      <a:pt x="43" y="79"/>
                    </a:moveTo>
                    <a:cubicBezTo>
                      <a:pt x="35" y="72"/>
                      <a:pt x="35" y="58"/>
                      <a:pt x="43" y="51"/>
                    </a:cubicBezTo>
                    <a:cubicBezTo>
                      <a:pt x="38" y="52"/>
                      <a:pt x="32" y="58"/>
                      <a:pt x="33" y="65"/>
                    </a:cubicBezTo>
                    <a:cubicBezTo>
                      <a:pt x="32" y="72"/>
                      <a:pt x="38" y="78"/>
                      <a:pt x="43" y="79"/>
                    </a:cubicBezTo>
                    <a:close/>
                    <a:moveTo>
                      <a:pt x="150" y="30"/>
                    </a:moveTo>
                    <a:cubicBezTo>
                      <a:pt x="159" y="39"/>
                      <a:pt x="164" y="52"/>
                      <a:pt x="164" y="65"/>
                    </a:cubicBezTo>
                    <a:cubicBezTo>
                      <a:pt x="164" y="78"/>
                      <a:pt x="159" y="91"/>
                      <a:pt x="150" y="100"/>
                    </a:cubicBezTo>
                    <a:cubicBezTo>
                      <a:pt x="160" y="95"/>
                      <a:pt x="171" y="81"/>
                      <a:pt x="170" y="65"/>
                    </a:cubicBezTo>
                    <a:cubicBezTo>
                      <a:pt x="171" y="49"/>
                      <a:pt x="160" y="35"/>
                      <a:pt x="150" y="30"/>
                    </a:cubicBezTo>
                    <a:close/>
                    <a:moveTo>
                      <a:pt x="137" y="41"/>
                    </a:moveTo>
                    <a:cubicBezTo>
                      <a:pt x="143" y="47"/>
                      <a:pt x="147" y="56"/>
                      <a:pt x="147" y="65"/>
                    </a:cubicBezTo>
                    <a:cubicBezTo>
                      <a:pt x="147" y="74"/>
                      <a:pt x="143" y="83"/>
                      <a:pt x="137" y="89"/>
                    </a:cubicBezTo>
                    <a:cubicBezTo>
                      <a:pt x="145" y="86"/>
                      <a:pt x="153" y="77"/>
                      <a:pt x="153" y="65"/>
                    </a:cubicBezTo>
                    <a:cubicBezTo>
                      <a:pt x="153" y="53"/>
                      <a:pt x="145" y="44"/>
                      <a:pt x="137" y="41"/>
                    </a:cubicBezTo>
                    <a:close/>
                    <a:moveTo>
                      <a:pt x="23" y="65"/>
                    </a:moveTo>
                    <a:cubicBezTo>
                      <a:pt x="23" y="56"/>
                      <a:pt x="27" y="47"/>
                      <a:pt x="34" y="41"/>
                    </a:cubicBezTo>
                    <a:cubicBezTo>
                      <a:pt x="26" y="44"/>
                      <a:pt x="17" y="53"/>
                      <a:pt x="17" y="65"/>
                    </a:cubicBezTo>
                    <a:cubicBezTo>
                      <a:pt x="17" y="77"/>
                      <a:pt x="26" y="86"/>
                      <a:pt x="34" y="89"/>
                    </a:cubicBezTo>
                    <a:cubicBezTo>
                      <a:pt x="27" y="83"/>
                      <a:pt x="23" y="74"/>
                      <a:pt x="23" y="65"/>
                    </a:cubicBezTo>
                    <a:close/>
                    <a:moveTo>
                      <a:pt x="21" y="30"/>
                    </a:moveTo>
                    <a:cubicBezTo>
                      <a:pt x="10" y="35"/>
                      <a:pt x="0" y="49"/>
                      <a:pt x="0" y="65"/>
                    </a:cubicBezTo>
                    <a:cubicBezTo>
                      <a:pt x="0" y="81"/>
                      <a:pt x="10" y="95"/>
                      <a:pt x="21" y="100"/>
                    </a:cubicBezTo>
                    <a:cubicBezTo>
                      <a:pt x="11" y="91"/>
                      <a:pt x="6" y="78"/>
                      <a:pt x="6" y="65"/>
                    </a:cubicBezTo>
                    <a:cubicBezTo>
                      <a:pt x="6" y="52"/>
                      <a:pt x="11" y="39"/>
                      <a:pt x="21" y="3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3" name="Freeform 196"/>
              <p:cNvSpPr>
                <a:spLocks noEditPoints="1"/>
              </p:cNvSpPr>
              <p:nvPr/>
            </p:nvSpPr>
            <p:spPr bwMode="auto">
              <a:xfrm rot="5400000">
                <a:off x="10331851" y="762351"/>
                <a:ext cx="215389" cy="215806"/>
              </a:xfrm>
              <a:custGeom>
                <a:avLst/>
                <a:gdLst>
                  <a:gd name="T0" fmla="*/ 155 w 196"/>
                  <a:gd name="T1" fmla="*/ 76 h 190"/>
                  <a:gd name="T2" fmla="*/ 147 w 196"/>
                  <a:gd name="T3" fmla="*/ 29 h 190"/>
                  <a:gd name="T4" fmla="*/ 117 w 196"/>
                  <a:gd name="T5" fmla="*/ 28 h 190"/>
                  <a:gd name="T6" fmla="*/ 92 w 196"/>
                  <a:gd name="T7" fmla="*/ 0 h 190"/>
                  <a:gd name="T8" fmla="*/ 70 w 196"/>
                  <a:gd name="T9" fmla="*/ 36 h 190"/>
                  <a:gd name="T10" fmla="*/ 35 w 196"/>
                  <a:gd name="T11" fmla="*/ 28 h 190"/>
                  <a:gd name="T12" fmla="*/ 21 w 196"/>
                  <a:gd name="T13" fmla="*/ 73 h 190"/>
                  <a:gd name="T14" fmla="*/ 0 w 196"/>
                  <a:gd name="T15" fmla="*/ 99 h 190"/>
                  <a:gd name="T16" fmla="*/ 29 w 196"/>
                  <a:gd name="T17" fmla="*/ 121 h 190"/>
                  <a:gd name="T18" fmla="*/ 14 w 196"/>
                  <a:gd name="T19" fmla="*/ 163 h 190"/>
                  <a:gd name="T20" fmla="*/ 66 w 196"/>
                  <a:gd name="T21" fmla="*/ 170 h 190"/>
                  <a:gd name="T22" fmla="*/ 91 w 196"/>
                  <a:gd name="T23" fmla="*/ 190 h 190"/>
                  <a:gd name="T24" fmla="*/ 93 w 196"/>
                  <a:gd name="T25" fmla="*/ 190 h 190"/>
                  <a:gd name="T26" fmla="*/ 102 w 196"/>
                  <a:gd name="T27" fmla="*/ 169 h 190"/>
                  <a:gd name="T28" fmla="*/ 143 w 196"/>
                  <a:gd name="T29" fmla="*/ 162 h 190"/>
                  <a:gd name="T30" fmla="*/ 161 w 196"/>
                  <a:gd name="T31" fmla="*/ 151 h 190"/>
                  <a:gd name="T32" fmla="*/ 178 w 196"/>
                  <a:gd name="T33" fmla="*/ 110 h 190"/>
                  <a:gd name="T34" fmla="*/ 167 w 196"/>
                  <a:gd name="T35" fmla="*/ 119 h 190"/>
                  <a:gd name="T36" fmla="*/ 119 w 196"/>
                  <a:gd name="T37" fmla="*/ 111 h 190"/>
                  <a:gd name="T38" fmla="*/ 158 w 196"/>
                  <a:gd name="T39" fmla="*/ 150 h 190"/>
                  <a:gd name="T40" fmla="*/ 112 w 196"/>
                  <a:gd name="T41" fmla="*/ 121 h 190"/>
                  <a:gd name="T42" fmla="*/ 123 w 196"/>
                  <a:gd name="T43" fmla="*/ 152 h 190"/>
                  <a:gd name="T44" fmla="*/ 103 w 196"/>
                  <a:gd name="T45" fmla="*/ 127 h 190"/>
                  <a:gd name="T46" fmla="*/ 99 w 196"/>
                  <a:gd name="T47" fmla="*/ 167 h 190"/>
                  <a:gd name="T48" fmla="*/ 91 w 196"/>
                  <a:gd name="T49" fmla="*/ 129 h 190"/>
                  <a:gd name="T50" fmla="*/ 75 w 196"/>
                  <a:gd name="T51" fmla="*/ 161 h 190"/>
                  <a:gd name="T52" fmla="*/ 69 w 196"/>
                  <a:gd name="T53" fmla="*/ 152 h 190"/>
                  <a:gd name="T54" fmla="*/ 37 w 196"/>
                  <a:gd name="T55" fmla="*/ 155 h 190"/>
                  <a:gd name="T56" fmla="*/ 31 w 196"/>
                  <a:gd name="T57" fmla="*/ 151 h 190"/>
                  <a:gd name="T58" fmla="*/ 47 w 196"/>
                  <a:gd name="T59" fmla="*/ 118 h 190"/>
                  <a:gd name="T60" fmla="*/ 38 w 196"/>
                  <a:gd name="T61" fmla="*/ 112 h 190"/>
                  <a:gd name="T62" fmla="*/ 62 w 196"/>
                  <a:gd name="T63" fmla="*/ 100 h 190"/>
                  <a:gd name="T64" fmla="*/ 21 w 196"/>
                  <a:gd name="T65" fmla="*/ 89 h 190"/>
                  <a:gd name="T66" fmla="*/ 64 w 196"/>
                  <a:gd name="T67" fmla="*/ 88 h 190"/>
                  <a:gd name="T68" fmla="*/ 33 w 196"/>
                  <a:gd name="T69" fmla="*/ 64 h 190"/>
                  <a:gd name="T70" fmla="*/ 70 w 196"/>
                  <a:gd name="T71" fmla="*/ 78 h 190"/>
                  <a:gd name="T72" fmla="*/ 60 w 196"/>
                  <a:gd name="T73" fmla="*/ 46 h 190"/>
                  <a:gd name="T74" fmla="*/ 81 w 196"/>
                  <a:gd name="T75" fmla="*/ 71 h 190"/>
                  <a:gd name="T76" fmla="*/ 86 w 196"/>
                  <a:gd name="T77" fmla="*/ 25 h 190"/>
                  <a:gd name="T78" fmla="*/ 93 w 196"/>
                  <a:gd name="T79" fmla="*/ 69 h 190"/>
                  <a:gd name="T80" fmla="*/ 108 w 196"/>
                  <a:gd name="T81" fmla="*/ 37 h 190"/>
                  <a:gd name="T82" fmla="*/ 115 w 196"/>
                  <a:gd name="T83" fmla="*/ 46 h 190"/>
                  <a:gd name="T84" fmla="*/ 134 w 196"/>
                  <a:gd name="T85" fmla="*/ 43 h 190"/>
                  <a:gd name="T86" fmla="*/ 139 w 196"/>
                  <a:gd name="T87" fmla="*/ 53 h 190"/>
                  <a:gd name="T88" fmla="*/ 137 w 196"/>
                  <a:gd name="T89" fmla="*/ 79 h 190"/>
                  <a:gd name="T90" fmla="*/ 146 w 196"/>
                  <a:gd name="T91" fmla="*/ 86 h 190"/>
                  <a:gd name="T92" fmla="*/ 122 w 196"/>
                  <a:gd name="T93" fmla="*/ 97 h 190"/>
                  <a:gd name="T94" fmla="*/ 175 w 196"/>
                  <a:gd name="T95" fmla="*/ 109 h 190"/>
                  <a:gd name="T96" fmla="*/ 116 w 196"/>
                  <a:gd name="T97" fmla="*/ 88 h 190"/>
                  <a:gd name="T98" fmla="*/ 101 w 196"/>
                  <a:gd name="T99" fmla="*/ 74 h 190"/>
                  <a:gd name="T100" fmla="*/ 83 w 196"/>
                  <a:gd name="T101" fmla="*/ 74 h 190"/>
                  <a:gd name="T102" fmla="*/ 68 w 196"/>
                  <a:gd name="T103" fmla="*/ 88 h 190"/>
                  <a:gd name="T104" fmla="*/ 66 w 196"/>
                  <a:gd name="T105" fmla="*/ 100 h 190"/>
                  <a:gd name="T106" fmla="*/ 74 w 196"/>
                  <a:gd name="T107" fmla="*/ 118 h 190"/>
                  <a:gd name="T108" fmla="*/ 92 w 196"/>
                  <a:gd name="T109" fmla="*/ 125 h 190"/>
                  <a:gd name="T110" fmla="*/ 109 w 196"/>
                  <a:gd name="T111" fmla="*/ 118 h 190"/>
                  <a:gd name="T112" fmla="*/ 118 w 196"/>
                  <a:gd name="T113" fmla="*/ 10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6" h="190">
                    <a:moveTo>
                      <a:pt x="183" y="85"/>
                    </a:moveTo>
                    <a:cubicBezTo>
                      <a:pt x="179" y="85"/>
                      <a:pt x="175" y="87"/>
                      <a:pt x="173" y="91"/>
                    </a:cubicBezTo>
                    <a:cubicBezTo>
                      <a:pt x="154" y="81"/>
                      <a:pt x="154" y="81"/>
                      <a:pt x="154" y="81"/>
                    </a:cubicBezTo>
                    <a:cubicBezTo>
                      <a:pt x="155" y="79"/>
                      <a:pt x="155" y="78"/>
                      <a:pt x="155" y="76"/>
                    </a:cubicBezTo>
                    <a:cubicBezTo>
                      <a:pt x="155" y="72"/>
                      <a:pt x="152" y="68"/>
                      <a:pt x="148" y="67"/>
                    </a:cubicBezTo>
                    <a:cubicBezTo>
                      <a:pt x="149" y="56"/>
                      <a:pt x="149" y="56"/>
                      <a:pt x="149" y="56"/>
                    </a:cubicBezTo>
                    <a:cubicBezTo>
                      <a:pt x="155" y="55"/>
                      <a:pt x="161" y="49"/>
                      <a:pt x="161" y="43"/>
                    </a:cubicBezTo>
                    <a:cubicBezTo>
                      <a:pt x="161" y="35"/>
                      <a:pt x="155" y="29"/>
                      <a:pt x="147" y="29"/>
                    </a:cubicBezTo>
                    <a:cubicBezTo>
                      <a:pt x="142" y="29"/>
                      <a:pt x="137" y="33"/>
                      <a:pt x="135" y="38"/>
                    </a:cubicBezTo>
                    <a:cubicBezTo>
                      <a:pt x="127" y="37"/>
                      <a:pt x="127" y="37"/>
                      <a:pt x="127" y="37"/>
                    </a:cubicBezTo>
                    <a:cubicBezTo>
                      <a:pt x="127" y="37"/>
                      <a:pt x="127" y="37"/>
                      <a:pt x="127" y="37"/>
                    </a:cubicBezTo>
                    <a:cubicBezTo>
                      <a:pt x="127" y="32"/>
                      <a:pt x="122" y="28"/>
                      <a:pt x="117" y="28"/>
                    </a:cubicBezTo>
                    <a:cubicBezTo>
                      <a:pt x="115" y="28"/>
                      <a:pt x="113" y="29"/>
                      <a:pt x="111" y="30"/>
                    </a:cubicBezTo>
                    <a:cubicBezTo>
                      <a:pt x="102" y="22"/>
                      <a:pt x="102" y="22"/>
                      <a:pt x="102" y="22"/>
                    </a:cubicBezTo>
                    <a:cubicBezTo>
                      <a:pt x="104" y="20"/>
                      <a:pt x="105" y="17"/>
                      <a:pt x="105" y="14"/>
                    </a:cubicBezTo>
                    <a:cubicBezTo>
                      <a:pt x="105" y="6"/>
                      <a:pt x="99" y="0"/>
                      <a:pt x="92" y="0"/>
                    </a:cubicBezTo>
                    <a:cubicBezTo>
                      <a:pt x="85" y="0"/>
                      <a:pt x="79" y="6"/>
                      <a:pt x="79" y="14"/>
                    </a:cubicBezTo>
                    <a:cubicBezTo>
                      <a:pt x="79" y="17"/>
                      <a:pt x="80" y="21"/>
                      <a:pt x="83" y="23"/>
                    </a:cubicBezTo>
                    <a:cubicBezTo>
                      <a:pt x="74" y="37"/>
                      <a:pt x="74" y="37"/>
                      <a:pt x="74" y="37"/>
                    </a:cubicBezTo>
                    <a:cubicBezTo>
                      <a:pt x="72" y="36"/>
                      <a:pt x="71" y="36"/>
                      <a:pt x="70" y="36"/>
                    </a:cubicBezTo>
                    <a:cubicBezTo>
                      <a:pt x="65" y="36"/>
                      <a:pt x="61" y="39"/>
                      <a:pt x="60" y="43"/>
                    </a:cubicBezTo>
                    <a:cubicBezTo>
                      <a:pt x="48" y="42"/>
                      <a:pt x="48" y="42"/>
                      <a:pt x="48" y="42"/>
                    </a:cubicBezTo>
                    <a:cubicBezTo>
                      <a:pt x="48" y="42"/>
                      <a:pt x="48" y="42"/>
                      <a:pt x="48" y="42"/>
                    </a:cubicBezTo>
                    <a:cubicBezTo>
                      <a:pt x="48" y="34"/>
                      <a:pt x="42" y="28"/>
                      <a:pt x="35" y="28"/>
                    </a:cubicBezTo>
                    <a:cubicBezTo>
                      <a:pt x="28" y="28"/>
                      <a:pt x="22" y="34"/>
                      <a:pt x="22" y="42"/>
                    </a:cubicBezTo>
                    <a:cubicBezTo>
                      <a:pt x="22" y="48"/>
                      <a:pt x="25" y="52"/>
                      <a:pt x="31" y="54"/>
                    </a:cubicBezTo>
                    <a:cubicBezTo>
                      <a:pt x="30" y="64"/>
                      <a:pt x="30" y="64"/>
                      <a:pt x="30" y="64"/>
                    </a:cubicBezTo>
                    <a:cubicBezTo>
                      <a:pt x="25" y="64"/>
                      <a:pt x="21" y="68"/>
                      <a:pt x="21" y="73"/>
                    </a:cubicBezTo>
                    <a:cubicBezTo>
                      <a:pt x="21" y="76"/>
                      <a:pt x="22" y="78"/>
                      <a:pt x="24" y="80"/>
                    </a:cubicBezTo>
                    <a:cubicBezTo>
                      <a:pt x="19" y="87"/>
                      <a:pt x="19" y="87"/>
                      <a:pt x="19" y="87"/>
                    </a:cubicBezTo>
                    <a:cubicBezTo>
                      <a:pt x="17" y="86"/>
                      <a:pt x="15" y="85"/>
                      <a:pt x="13" y="85"/>
                    </a:cubicBezTo>
                    <a:cubicBezTo>
                      <a:pt x="5" y="85"/>
                      <a:pt x="0" y="91"/>
                      <a:pt x="0" y="99"/>
                    </a:cubicBezTo>
                    <a:cubicBezTo>
                      <a:pt x="0" y="106"/>
                      <a:pt x="5" y="112"/>
                      <a:pt x="13" y="112"/>
                    </a:cubicBezTo>
                    <a:cubicBezTo>
                      <a:pt x="16" y="112"/>
                      <a:pt x="19" y="111"/>
                      <a:pt x="21" y="109"/>
                    </a:cubicBezTo>
                    <a:cubicBezTo>
                      <a:pt x="30" y="116"/>
                      <a:pt x="30" y="116"/>
                      <a:pt x="30" y="116"/>
                    </a:cubicBezTo>
                    <a:cubicBezTo>
                      <a:pt x="29" y="117"/>
                      <a:pt x="29" y="119"/>
                      <a:pt x="29" y="121"/>
                    </a:cubicBezTo>
                    <a:cubicBezTo>
                      <a:pt x="29" y="124"/>
                      <a:pt x="31" y="127"/>
                      <a:pt x="33" y="129"/>
                    </a:cubicBezTo>
                    <a:cubicBezTo>
                      <a:pt x="28" y="150"/>
                      <a:pt x="28" y="150"/>
                      <a:pt x="28" y="150"/>
                    </a:cubicBezTo>
                    <a:cubicBezTo>
                      <a:pt x="28" y="150"/>
                      <a:pt x="27" y="150"/>
                      <a:pt x="27" y="150"/>
                    </a:cubicBezTo>
                    <a:cubicBezTo>
                      <a:pt x="20" y="150"/>
                      <a:pt x="14" y="156"/>
                      <a:pt x="14" y="163"/>
                    </a:cubicBezTo>
                    <a:cubicBezTo>
                      <a:pt x="14" y="170"/>
                      <a:pt x="20" y="176"/>
                      <a:pt x="27" y="176"/>
                    </a:cubicBezTo>
                    <a:cubicBezTo>
                      <a:pt x="34" y="176"/>
                      <a:pt x="40" y="171"/>
                      <a:pt x="40" y="164"/>
                    </a:cubicBezTo>
                    <a:cubicBezTo>
                      <a:pt x="57" y="163"/>
                      <a:pt x="57" y="163"/>
                      <a:pt x="57" y="163"/>
                    </a:cubicBezTo>
                    <a:cubicBezTo>
                      <a:pt x="58" y="167"/>
                      <a:pt x="62" y="170"/>
                      <a:pt x="66" y="170"/>
                    </a:cubicBezTo>
                    <a:cubicBezTo>
                      <a:pt x="69" y="170"/>
                      <a:pt x="71" y="169"/>
                      <a:pt x="73" y="167"/>
                    </a:cubicBezTo>
                    <a:cubicBezTo>
                      <a:pt x="80" y="172"/>
                      <a:pt x="80" y="172"/>
                      <a:pt x="80" y="172"/>
                    </a:cubicBezTo>
                    <a:cubicBezTo>
                      <a:pt x="79" y="173"/>
                      <a:pt x="79" y="175"/>
                      <a:pt x="79" y="177"/>
                    </a:cubicBezTo>
                    <a:cubicBezTo>
                      <a:pt x="79" y="184"/>
                      <a:pt x="84" y="190"/>
                      <a:pt x="91" y="190"/>
                    </a:cubicBezTo>
                    <a:cubicBezTo>
                      <a:pt x="91" y="190"/>
                      <a:pt x="91" y="190"/>
                      <a:pt x="91" y="190"/>
                    </a:cubicBezTo>
                    <a:cubicBezTo>
                      <a:pt x="91" y="190"/>
                      <a:pt x="91" y="190"/>
                      <a:pt x="91" y="190"/>
                    </a:cubicBezTo>
                    <a:cubicBezTo>
                      <a:pt x="91" y="190"/>
                      <a:pt x="91" y="190"/>
                      <a:pt x="92" y="190"/>
                    </a:cubicBezTo>
                    <a:cubicBezTo>
                      <a:pt x="92" y="190"/>
                      <a:pt x="93" y="190"/>
                      <a:pt x="93" y="190"/>
                    </a:cubicBezTo>
                    <a:cubicBezTo>
                      <a:pt x="93" y="190"/>
                      <a:pt x="93" y="190"/>
                      <a:pt x="93" y="190"/>
                    </a:cubicBezTo>
                    <a:cubicBezTo>
                      <a:pt x="93" y="190"/>
                      <a:pt x="93" y="190"/>
                      <a:pt x="93" y="190"/>
                    </a:cubicBezTo>
                    <a:cubicBezTo>
                      <a:pt x="100" y="190"/>
                      <a:pt x="105" y="184"/>
                      <a:pt x="105" y="177"/>
                    </a:cubicBezTo>
                    <a:cubicBezTo>
                      <a:pt x="105" y="174"/>
                      <a:pt x="104" y="171"/>
                      <a:pt x="102" y="169"/>
                    </a:cubicBezTo>
                    <a:cubicBezTo>
                      <a:pt x="109" y="160"/>
                      <a:pt x="109" y="160"/>
                      <a:pt x="109" y="160"/>
                    </a:cubicBezTo>
                    <a:cubicBezTo>
                      <a:pt x="111" y="161"/>
                      <a:pt x="112" y="162"/>
                      <a:pt x="114" y="162"/>
                    </a:cubicBezTo>
                    <a:cubicBezTo>
                      <a:pt x="117" y="162"/>
                      <a:pt x="120" y="160"/>
                      <a:pt x="122" y="157"/>
                    </a:cubicBezTo>
                    <a:cubicBezTo>
                      <a:pt x="143" y="162"/>
                      <a:pt x="143" y="162"/>
                      <a:pt x="143" y="162"/>
                    </a:cubicBezTo>
                    <a:cubicBezTo>
                      <a:pt x="143" y="162"/>
                      <a:pt x="143" y="163"/>
                      <a:pt x="143" y="163"/>
                    </a:cubicBezTo>
                    <a:cubicBezTo>
                      <a:pt x="143" y="170"/>
                      <a:pt x="149" y="176"/>
                      <a:pt x="157" y="176"/>
                    </a:cubicBezTo>
                    <a:cubicBezTo>
                      <a:pt x="164" y="176"/>
                      <a:pt x="170" y="170"/>
                      <a:pt x="170" y="163"/>
                    </a:cubicBezTo>
                    <a:cubicBezTo>
                      <a:pt x="170" y="158"/>
                      <a:pt x="166" y="153"/>
                      <a:pt x="161" y="151"/>
                    </a:cubicBezTo>
                    <a:cubicBezTo>
                      <a:pt x="163" y="136"/>
                      <a:pt x="163" y="136"/>
                      <a:pt x="163" y="136"/>
                    </a:cubicBezTo>
                    <a:cubicBezTo>
                      <a:pt x="168" y="136"/>
                      <a:pt x="172" y="132"/>
                      <a:pt x="172" y="127"/>
                    </a:cubicBezTo>
                    <a:cubicBezTo>
                      <a:pt x="172" y="124"/>
                      <a:pt x="171" y="122"/>
                      <a:pt x="170" y="121"/>
                    </a:cubicBezTo>
                    <a:cubicBezTo>
                      <a:pt x="178" y="110"/>
                      <a:pt x="178" y="110"/>
                      <a:pt x="178" y="110"/>
                    </a:cubicBezTo>
                    <a:cubicBezTo>
                      <a:pt x="179" y="111"/>
                      <a:pt x="181" y="112"/>
                      <a:pt x="183" y="112"/>
                    </a:cubicBezTo>
                    <a:cubicBezTo>
                      <a:pt x="190" y="112"/>
                      <a:pt x="196" y="106"/>
                      <a:pt x="196" y="98"/>
                    </a:cubicBezTo>
                    <a:cubicBezTo>
                      <a:pt x="196" y="91"/>
                      <a:pt x="190" y="85"/>
                      <a:pt x="183" y="85"/>
                    </a:cubicBezTo>
                    <a:close/>
                    <a:moveTo>
                      <a:pt x="167" y="119"/>
                    </a:moveTo>
                    <a:cubicBezTo>
                      <a:pt x="166" y="118"/>
                      <a:pt x="164" y="117"/>
                      <a:pt x="162" y="117"/>
                    </a:cubicBezTo>
                    <a:cubicBezTo>
                      <a:pt x="158" y="117"/>
                      <a:pt x="155" y="120"/>
                      <a:pt x="154" y="123"/>
                    </a:cubicBezTo>
                    <a:cubicBezTo>
                      <a:pt x="120" y="109"/>
                      <a:pt x="120" y="109"/>
                      <a:pt x="120" y="109"/>
                    </a:cubicBezTo>
                    <a:cubicBezTo>
                      <a:pt x="120" y="110"/>
                      <a:pt x="119" y="110"/>
                      <a:pt x="119" y="111"/>
                    </a:cubicBezTo>
                    <a:cubicBezTo>
                      <a:pt x="153" y="125"/>
                      <a:pt x="153" y="125"/>
                      <a:pt x="153" y="125"/>
                    </a:cubicBezTo>
                    <a:cubicBezTo>
                      <a:pt x="153" y="125"/>
                      <a:pt x="153" y="126"/>
                      <a:pt x="153" y="127"/>
                    </a:cubicBezTo>
                    <a:cubicBezTo>
                      <a:pt x="153" y="131"/>
                      <a:pt x="156" y="135"/>
                      <a:pt x="160" y="136"/>
                    </a:cubicBezTo>
                    <a:cubicBezTo>
                      <a:pt x="158" y="150"/>
                      <a:pt x="158" y="150"/>
                      <a:pt x="158" y="150"/>
                    </a:cubicBezTo>
                    <a:cubicBezTo>
                      <a:pt x="158" y="150"/>
                      <a:pt x="157" y="150"/>
                      <a:pt x="157" y="150"/>
                    </a:cubicBezTo>
                    <a:cubicBezTo>
                      <a:pt x="153" y="150"/>
                      <a:pt x="150" y="151"/>
                      <a:pt x="148" y="153"/>
                    </a:cubicBezTo>
                    <a:cubicBezTo>
                      <a:pt x="114" y="119"/>
                      <a:pt x="114" y="119"/>
                      <a:pt x="114" y="119"/>
                    </a:cubicBezTo>
                    <a:cubicBezTo>
                      <a:pt x="113" y="119"/>
                      <a:pt x="113" y="120"/>
                      <a:pt x="112" y="121"/>
                    </a:cubicBezTo>
                    <a:cubicBezTo>
                      <a:pt x="146" y="155"/>
                      <a:pt x="146" y="155"/>
                      <a:pt x="146" y="155"/>
                    </a:cubicBezTo>
                    <a:cubicBezTo>
                      <a:pt x="145" y="156"/>
                      <a:pt x="145" y="157"/>
                      <a:pt x="144" y="159"/>
                    </a:cubicBezTo>
                    <a:cubicBezTo>
                      <a:pt x="123" y="154"/>
                      <a:pt x="123" y="154"/>
                      <a:pt x="123" y="154"/>
                    </a:cubicBezTo>
                    <a:cubicBezTo>
                      <a:pt x="123" y="153"/>
                      <a:pt x="123" y="153"/>
                      <a:pt x="123" y="152"/>
                    </a:cubicBezTo>
                    <a:cubicBezTo>
                      <a:pt x="123" y="147"/>
                      <a:pt x="119" y="143"/>
                      <a:pt x="114" y="143"/>
                    </a:cubicBezTo>
                    <a:cubicBezTo>
                      <a:pt x="113" y="143"/>
                      <a:pt x="112" y="143"/>
                      <a:pt x="111" y="143"/>
                    </a:cubicBezTo>
                    <a:cubicBezTo>
                      <a:pt x="104" y="126"/>
                      <a:pt x="104" y="126"/>
                      <a:pt x="104" y="126"/>
                    </a:cubicBezTo>
                    <a:cubicBezTo>
                      <a:pt x="104" y="126"/>
                      <a:pt x="103" y="126"/>
                      <a:pt x="103" y="127"/>
                    </a:cubicBezTo>
                    <a:cubicBezTo>
                      <a:pt x="110" y="144"/>
                      <a:pt x="110" y="144"/>
                      <a:pt x="110" y="144"/>
                    </a:cubicBezTo>
                    <a:cubicBezTo>
                      <a:pt x="107" y="145"/>
                      <a:pt x="105" y="149"/>
                      <a:pt x="105" y="152"/>
                    </a:cubicBezTo>
                    <a:cubicBezTo>
                      <a:pt x="105" y="155"/>
                      <a:pt x="105" y="157"/>
                      <a:pt x="107" y="158"/>
                    </a:cubicBezTo>
                    <a:cubicBezTo>
                      <a:pt x="99" y="167"/>
                      <a:pt x="99" y="167"/>
                      <a:pt x="99" y="167"/>
                    </a:cubicBezTo>
                    <a:cubicBezTo>
                      <a:pt x="98" y="165"/>
                      <a:pt x="95" y="164"/>
                      <a:pt x="93" y="164"/>
                    </a:cubicBezTo>
                    <a:cubicBezTo>
                      <a:pt x="93" y="129"/>
                      <a:pt x="93" y="129"/>
                      <a:pt x="93" y="129"/>
                    </a:cubicBezTo>
                    <a:cubicBezTo>
                      <a:pt x="93" y="129"/>
                      <a:pt x="92" y="129"/>
                      <a:pt x="92" y="129"/>
                    </a:cubicBezTo>
                    <a:cubicBezTo>
                      <a:pt x="91" y="129"/>
                      <a:pt x="91" y="129"/>
                      <a:pt x="91" y="129"/>
                    </a:cubicBezTo>
                    <a:cubicBezTo>
                      <a:pt x="91" y="164"/>
                      <a:pt x="91" y="164"/>
                      <a:pt x="91" y="164"/>
                    </a:cubicBezTo>
                    <a:cubicBezTo>
                      <a:pt x="87" y="165"/>
                      <a:pt x="84" y="166"/>
                      <a:pt x="82" y="169"/>
                    </a:cubicBezTo>
                    <a:cubicBezTo>
                      <a:pt x="75" y="164"/>
                      <a:pt x="75" y="164"/>
                      <a:pt x="75" y="164"/>
                    </a:cubicBezTo>
                    <a:cubicBezTo>
                      <a:pt x="75" y="163"/>
                      <a:pt x="75" y="162"/>
                      <a:pt x="75" y="161"/>
                    </a:cubicBezTo>
                    <a:cubicBezTo>
                      <a:pt x="75" y="157"/>
                      <a:pt x="73" y="154"/>
                      <a:pt x="70" y="152"/>
                    </a:cubicBezTo>
                    <a:cubicBezTo>
                      <a:pt x="81" y="127"/>
                      <a:pt x="81" y="127"/>
                      <a:pt x="81" y="127"/>
                    </a:cubicBezTo>
                    <a:cubicBezTo>
                      <a:pt x="81" y="126"/>
                      <a:pt x="80" y="126"/>
                      <a:pt x="80" y="126"/>
                    </a:cubicBezTo>
                    <a:cubicBezTo>
                      <a:pt x="69" y="152"/>
                      <a:pt x="69" y="152"/>
                      <a:pt x="69" y="152"/>
                    </a:cubicBezTo>
                    <a:cubicBezTo>
                      <a:pt x="68" y="151"/>
                      <a:pt x="67" y="151"/>
                      <a:pt x="66" y="151"/>
                    </a:cubicBezTo>
                    <a:cubicBezTo>
                      <a:pt x="61" y="151"/>
                      <a:pt x="57" y="155"/>
                      <a:pt x="57" y="160"/>
                    </a:cubicBezTo>
                    <a:cubicBezTo>
                      <a:pt x="40" y="161"/>
                      <a:pt x="40" y="161"/>
                      <a:pt x="40" y="161"/>
                    </a:cubicBezTo>
                    <a:cubicBezTo>
                      <a:pt x="40" y="159"/>
                      <a:pt x="39" y="157"/>
                      <a:pt x="37" y="155"/>
                    </a:cubicBezTo>
                    <a:cubicBezTo>
                      <a:pt x="72" y="121"/>
                      <a:pt x="72" y="121"/>
                      <a:pt x="72" y="121"/>
                    </a:cubicBezTo>
                    <a:cubicBezTo>
                      <a:pt x="71" y="120"/>
                      <a:pt x="70" y="119"/>
                      <a:pt x="70" y="119"/>
                    </a:cubicBezTo>
                    <a:cubicBezTo>
                      <a:pt x="36" y="153"/>
                      <a:pt x="36" y="153"/>
                      <a:pt x="36" y="153"/>
                    </a:cubicBezTo>
                    <a:cubicBezTo>
                      <a:pt x="34" y="152"/>
                      <a:pt x="33" y="151"/>
                      <a:pt x="31" y="151"/>
                    </a:cubicBezTo>
                    <a:cubicBezTo>
                      <a:pt x="37" y="130"/>
                      <a:pt x="37" y="130"/>
                      <a:pt x="37" y="130"/>
                    </a:cubicBezTo>
                    <a:cubicBezTo>
                      <a:pt x="37" y="130"/>
                      <a:pt x="38" y="130"/>
                      <a:pt x="38" y="130"/>
                    </a:cubicBezTo>
                    <a:cubicBezTo>
                      <a:pt x="43" y="130"/>
                      <a:pt x="48" y="126"/>
                      <a:pt x="48" y="121"/>
                    </a:cubicBezTo>
                    <a:cubicBezTo>
                      <a:pt x="48" y="120"/>
                      <a:pt x="47" y="119"/>
                      <a:pt x="47" y="118"/>
                    </a:cubicBezTo>
                    <a:cubicBezTo>
                      <a:pt x="65" y="111"/>
                      <a:pt x="65" y="111"/>
                      <a:pt x="65" y="111"/>
                    </a:cubicBezTo>
                    <a:cubicBezTo>
                      <a:pt x="64" y="110"/>
                      <a:pt x="64" y="110"/>
                      <a:pt x="64" y="109"/>
                    </a:cubicBezTo>
                    <a:cubicBezTo>
                      <a:pt x="47" y="117"/>
                      <a:pt x="47" y="117"/>
                      <a:pt x="47" y="117"/>
                    </a:cubicBezTo>
                    <a:cubicBezTo>
                      <a:pt x="45" y="114"/>
                      <a:pt x="42" y="112"/>
                      <a:pt x="38" y="112"/>
                    </a:cubicBezTo>
                    <a:cubicBezTo>
                      <a:pt x="36" y="112"/>
                      <a:pt x="34" y="112"/>
                      <a:pt x="32" y="114"/>
                    </a:cubicBezTo>
                    <a:cubicBezTo>
                      <a:pt x="23" y="106"/>
                      <a:pt x="23" y="106"/>
                      <a:pt x="23" y="106"/>
                    </a:cubicBezTo>
                    <a:cubicBezTo>
                      <a:pt x="25" y="104"/>
                      <a:pt x="26" y="102"/>
                      <a:pt x="26" y="100"/>
                    </a:cubicBezTo>
                    <a:cubicBezTo>
                      <a:pt x="62" y="100"/>
                      <a:pt x="62" y="100"/>
                      <a:pt x="62" y="100"/>
                    </a:cubicBezTo>
                    <a:cubicBezTo>
                      <a:pt x="62" y="100"/>
                      <a:pt x="62" y="99"/>
                      <a:pt x="62" y="99"/>
                    </a:cubicBezTo>
                    <a:cubicBezTo>
                      <a:pt x="62" y="98"/>
                      <a:pt x="62" y="98"/>
                      <a:pt x="62" y="97"/>
                    </a:cubicBezTo>
                    <a:cubicBezTo>
                      <a:pt x="26" y="97"/>
                      <a:pt x="26" y="97"/>
                      <a:pt x="26" y="97"/>
                    </a:cubicBezTo>
                    <a:cubicBezTo>
                      <a:pt x="26" y="94"/>
                      <a:pt x="24" y="91"/>
                      <a:pt x="21" y="89"/>
                    </a:cubicBezTo>
                    <a:cubicBezTo>
                      <a:pt x="27" y="82"/>
                      <a:pt x="27" y="82"/>
                      <a:pt x="27" y="82"/>
                    </a:cubicBezTo>
                    <a:cubicBezTo>
                      <a:pt x="28" y="82"/>
                      <a:pt x="29" y="82"/>
                      <a:pt x="30" y="82"/>
                    </a:cubicBezTo>
                    <a:cubicBezTo>
                      <a:pt x="34" y="82"/>
                      <a:pt x="37" y="80"/>
                      <a:pt x="39" y="77"/>
                    </a:cubicBezTo>
                    <a:cubicBezTo>
                      <a:pt x="64" y="88"/>
                      <a:pt x="64" y="88"/>
                      <a:pt x="64" y="88"/>
                    </a:cubicBezTo>
                    <a:cubicBezTo>
                      <a:pt x="64" y="87"/>
                      <a:pt x="64" y="87"/>
                      <a:pt x="65" y="86"/>
                    </a:cubicBezTo>
                    <a:cubicBezTo>
                      <a:pt x="39" y="76"/>
                      <a:pt x="39" y="76"/>
                      <a:pt x="39" y="76"/>
                    </a:cubicBezTo>
                    <a:cubicBezTo>
                      <a:pt x="39" y="75"/>
                      <a:pt x="40" y="74"/>
                      <a:pt x="40" y="73"/>
                    </a:cubicBezTo>
                    <a:cubicBezTo>
                      <a:pt x="40" y="69"/>
                      <a:pt x="37" y="65"/>
                      <a:pt x="33" y="64"/>
                    </a:cubicBezTo>
                    <a:cubicBezTo>
                      <a:pt x="34" y="55"/>
                      <a:pt x="34" y="55"/>
                      <a:pt x="34" y="55"/>
                    </a:cubicBezTo>
                    <a:cubicBezTo>
                      <a:pt x="34" y="55"/>
                      <a:pt x="35" y="55"/>
                      <a:pt x="35" y="55"/>
                    </a:cubicBezTo>
                    <a:cubicBezTo>
                      <a:pt x="38" y="55"/>
                      <a:pt x="41" y="54"/>
                      <a:pt x="43" y="52"/>
                    </a:cubicBezTo>
                    <a:cubicBezTo>
                      <a:pt x="70" y="78"/>
                      <a:pt x="70" y="78"/>
                      <a:pt x="70" y="78"/>
                    </a:cubicBezTo>
                    <a:cubicBezTo>
                      <a:pt x="70" y="78"/>
                      <a:pt x="71" y="77"/>
                      <a:pt x="72" y="77"/>
                    </a:cubicBezTo>
                    <a:cubicBezTo>
                      <a:pt x="45" y="50"/>
                      <a:pt x="45" y="50"/>
                      <a:pt x="45" y="50"/>
                    </a:cubicBezTo>
                    <a:cubicBezTo>
                      <a:pt x="46" y="49"/>
                      <a:pt x="47" y="47"/>
                      <a:pt x="48" y="45"/>
                    </a:cubicBezTo>
                    <a:cubicBezTo>
                      <a:pt x="60" y="46"/>
                      <a:pt x="60" y="46"/>
                      <a:pt x="60" y="46"/>
                    </a:cubicBezTo>
                    <a:cubicBezTo>
                      <a:pt x="61" y="51"/>
                      <a:pt x="65" y="55"/>
                      <a:pt x="70" y="55"/>
                    </a:cubicBezTo>
                    <a:cubicBezTo>
                      <a:pt x="71" y="55"/>
                      <a:pt x="72" y="55"/>
                      <a:pt x="73" y="54"/>
                    </a:cubicBezTo>
                    <a:cubicBezTo>
                      <a:pt x="80" y="71"/>
                      <a:pt x="80" y="71"/>
                      <a:pt x="80" y="71"/>
                    </a:cubicBezTo>
                    <a:cubicBezTo>
                      <a:pt x="80" y="71"/>
                      <a:pt x="81" y="71"/>
                      <a:pt x="81" y="71"/>
                    </a:cubicBezTo>
                    <a:cubicBezTo>
                      <a:pt x="74" y="54"/>
                      <a:pt x="74" y="54"/>
                      <a:pt x="74" y="54"/>
                    </a:cubicBezTo>
                    <a:cubicBezTo>
                      <a:pt x="77" y="52"/>
                      <a:pt x="79" y="49"/>
                      <a:pt x="79" y="45"/>
                    </a:cubicBezTo>
                    <a:cubicBezTo>
                      <a:pt x="79" y="43"/>
                      <a:pt x="78" y="40"/>
                      <a:pt x="76" y="39"/>
                    </a:cubicBezTo>
                    <a:cubicBezTo>
                      <a:pt x="86" y="25"/>
                      <a:pt x="86" y="25"/>
                      <a:pt x="86" y="25"/>
                    </a:cubicBezTo>
                    <a:cubicBezTo>
                      <a:pt x="87" y="26"/>
                      <a:pt x="89" y="27"/>
                      <a:pt x="91" y="27"/>
                    </a:cubicBezTo>
                    <a:cubicBezTo>
                      <a:pt x="91" y="69"/>
                      <a:pt x="91" y="69"/>
                      <a:pt x="91" y="69"/>
                    </a:cubicBezTo>
                    <a:cubicBezTo>
                      <a:pt x="91" y="69"/>
                      <a:pt x="91" y="69"/>
                      <a:pt x="92" y="69"/>
                    </a:cubicBezTo>
                    <a:cubicBezTo>
                      <a:pt x="92" y="69"/>
                      <a:pt x="93" y="69"/>
                      <a:pt x="93" y="69"/>
                    </a:cubicBezTo>
                    <a:cubicBezTo>
                      <a:pt x="93" y="27"/>
                      <a:pt x="93" y="27"/>
                      <a:pt x="93" y="27"/>
                    </a:cubicBezTo>
                    <a:cubicBezTo>
                      <a:pt x="96" y="26"/>
                      <a:pt x="98" y="26"/>
                      <a:pt x="100" y="24"/>
                    </a:cubicBezTo>
                    <a:cubicBezTo>
                      <a:pt x="109" y="33"/>
                      <a:pt x="109" y="33"/>
                      <a:pt x="109" y="33"/>
                    </a:cubicBezTo>
                    <a:cubicBezTo>
                      <a:pt x="108" y="34"/>
                      <a:pt x="108" y="35"/>
                      <a:pt x="108" y="37"/>
                    </a:cubicBezTo>
                    <a:cubicBezTo>
                      <a:pt x="108" y="41"/>
                      <a:pt x="110" y="44"/>
                      <a:pt x="113" y="45"/>
                    </a:cubicBezTo>
                    <a:cubicBezTo>
                      <a:pt x="103" y="71"/>
                      <a:pt x="103" y="71"/>
                      <a:pt x="103" y="71"/>
                    </a:cubicBezTo>
                    <a:cubicBezTo>
                      <a:pt x="103" y="71"/>
                      <a:pt x="104" y="71"/>
                      <a:pt x="104" y="71"/>
                    </a:cubicBezTo>
                    <a:cubicBezTo>
                      <a:pt x="115" y="46"/>
                      <a:pt x="115" y="46"/>
                      <a:pt x="115" y="46"/>
                    </a:cubicBezTo>
                    <a:cubicBezTo>
                      <a:pt x="115" y="46"/>
                      <a:pt x="116" y="46"/>
                      <a:pt x="117" y="46"/>
                    </a:cubicBezTo>
                    <a:cubicBezTo>
                      <a:pt x="121" y="46"/>
                      <a:pt x="125" y="44"/>
                      <a:pt x="126" y="40"/>
                    </a:cubicBezTo>
                    <a:cubicBezTo>
                      <a:pt x="134" y="41"/>
                      <a:pt x="134" y="41"/>
                      <a:pt x="134" y="41"/>
                    </a:cubicBezTo>
                    <a:cubicBezTo>
                      <a:pt x="134" y="42"/>
                      <a:pt x="134" y="42"/>
                      <a:pt x="134" y="43"/>
                    </a:cubicBezTo>
                    <a:cubicBezTo>
                      <a:pt x="134" y="46"/>
                      <a:pt x="135" y="49"/>
                      <a:pt x="137" y="51"/>
                    </a:cubicBezTo>
                    <a:cubicBezTo>
                      <a:pt x="112" y="77"/>
                      <a:pt x="112" y="77"/>
                      <a:pt x="112" y="77"/>
                    </a:cubicBezTo>
                    <a:cubicBezTo>
                      <a:pt x="113" y="77"/>
                      <a:pt x="113" y="78"/>
                      <a:pt x="114" y="78"/>
                    </a:cubicBezTo>
                    <a:cubicBezTo>
                      <a:pt x="139" y="53"/>
                      <a:pt x="139" y="53"/>
                      <a:pt x="139" y="53"/>
                    </a:cubicBezTo>
                    <a:cubicBezTo>
                      <a:pt x="141" y="54"/>
                      <a:pt x="143" y="55"/>
                      <a:pt x="146" y="56"/>
                    </a:cubicBezTo>
                    <a:cubicBezTo>
                      <a:pt x="145" y="67"/>
                      <a:pt x="145" y="67"/>
                      <a:pt x="145" y="67"/>
                    </a:cubicBezTo>
                    <a:cubicBezTo>
                      <a:pt x="140" y="67"/>
                      <a:pt x="136" y="71"/>
                      <a:pt x="136" y="76"/>
                    </a:cubicBezTo>
                    <a:cubicBezTo>
                      <a:pt x="136" y="77"/>
                      <a:pt x="136" y="78"/>
                      <a:pt x="137" y="79"/>
                    </a:cubicBezTo>
                    <a:cubicBezTo>
                      <a:pt x="119" y="86"/>
                      <a:pt x="119" y="86"/>
                      <a:pt x="119" y="86"/>
                    </a:cubicBezTo>
                    <a:cubicBezTo>
                      <a:pt x="119" y="87"/>
                      <a:pt x="120" y="87"/>
                      <a:pt x="120" y="88"/>
                    </a:cubicBezTo>
                    <a:cubicBezTo>
                      <a:pt x="137" y="81"/>
                      <a:pt x="137" y="81"/>
                      <a:pt x="137" y="81"/>
                    </a:cubicBezTo>
                    <a:cubicBezTo>
                      <a:pt x="139" y="84"/>
                      <a:pt x="142" y="86"/>
                      <a:pt x="146" y="86"/>
                    </a:cubicBezTo>
                    <a:cubicBezTo>
                      <a:pt x="148" y="86"/>
                      <a:pt x="150" y="85"/>
                      <a:pt x="152" y="83"/>
                    </a:cubicBezTo>
                    <a:cubicBezTo>
                      <a:pt x="171" y="93"/>
                      <a:pt x="171" y="93"/>
                      <a:pt x="171" y="93"/>
                    </a:cubicBezTo>
                    <a:cubicBezTo>
                      <a:pt x="170" y="95"/>
                      <a:pt x="170" y="96"/>
                      <a:pt x="170" y="97"/>
                    </a:cubicBezTo>
                    <a:cubicBezTo>
                      <a:pt x="122" y="97"/>
                      <a:pt x="122" y="97"/>
                      <a:pt x="122" y="97"/>
                    </a:cubicBezTo>
                    <a:cubicBezTo>
                      <a:pt x="122" y="98"/>
                      <a:pt x="122" y="98"/>
                      <a:pt x="122" y="99"/>
                    </a:cubicBezTo>
                    <a:cubicBezTo>
                      <a:pt x="122" y="99"/>
                      <a:pt x="122" y="100"/>
                      <a:pt x="122" y="100"/>
                    </a:cubicBezTo>
                    <a:cubicBezTo>
                      <a:pt x="170" y="100"/>
                      <a:pt x="170" y="100"/>
                      <a:pt x="170" y="100"/>
                    </a:cubicBezTo>
                    <a:cubicBezTo>
                      <a:pt x="170" y="103"/>
                      <a:pt x="172" y="107"/>
                      <a:pt x="175" y="109"/>
                    </a:cubicBezTo>
                    <a:cubicBezTo>
                      <a:pt x="167" y="119"/>
                      <a:pt x="167" y="119"/>
                      <a:pt x="167" y="119"/>
                    </a:cubicBezTo>
                    <a:cubicBezTo>
                      <a:pt x="167" y="119"/>
                      <a:pt x="167" y="119"/>
                      <a:pt x="167" y="119"/>
                    </a:cubicBezTo>
                    <a:close/>
                    <a:moveTo>
                      <a:pt x="116" y="89"/>
                    </a:moveTo>
                    <a:cubicBezTo>
                      <a:pt x="116" y="89"/>
                      <a:pt x="116" y="88"/>
                      <a:pt x="116" y="88"/>
                    </a:cubicBezTo>
                    <a:cubicBezTo>
                      <a:pt x="114" y="85"/>
                      <a:pt x="113" y="83"/>
                      <a:pt x="111" y="81"/>
                    </a:cubicBezTo>
                    <a:cubicBezTo>
                      <a:pt x="111" y="81"/>
                      <a:pt x="110" y="80"/>
                      <a:pt x="109" y="79"/>
                    </a:cubicBezTo>
                    <a:cubicBezTo>
                      <a:pt x="107" y="78"/>
                      <a:pt x="105" y="76"/>
                      <a:pt x="103" y="75"/>
                    </a:cubicBezTo>
                    <a:cubicBezTo>
                      <a:pt x="102" y="75"/>
                      <a:pt x="102" y="74"/>
                      <a:pt x="101" y="74"/>
                    </a:cubicBezTo>
                    <a:cubicBezTo>
                      <a:pt x="99" y="73"/>
                      <a:pt x="96" y="73"/>
                      <a:pt x="93" y="73"/>
                    </a:cubicBezTo>
                    <a:cubicBezTo>
                      <a:pt x="93" y="73"/>
                      <a:pt x="92" y="73"/>
                      <a:pt x="92" y="73"/>
                    </a:cubicBezTo>
                    <a:cubicBezTo>
                      <a:pt x="91" y="73"/>
                      <a:pt x="91" y="73"/>
                      <a:pt x="91" y="73"/>
                    </a:cubicBezTo>
                    <a:cubicBezTo>
                      <a:pt x="88" y="73"/>
                      <a:pt x="85" y="73"/>
                      <a:pt x="83" y="74"/>
                    </a:cubicBezTo>
                    <a:cubicBezTo>
                      <a:pt x="82" y="74"/>
                      <a:pt x="82" y="75"/>
                      <a:pt x="81" y="75"/>
                    </a:cubicBezTo>
                    <a:cubicBezTo>
                      <a:pt x="79" y="76"/>
                      <a:pt x="76" y="78"/>
                      <a:pt x="74" y="79"/>
                    </a:cubicBezTo>
                    <a:cubicBezTo>
                      <a:pt x="74" y="80"/>
                      <a:pt x="73" y="81"/>
                      <a:pt x="73" y="81"/>
                    </a:cubicBezTo>
                    <a:cubicBezTo>
                      <a:pt x="71" y="83"/>
                      <a:pt x="69" y="85"/>
                      <a:pt x="68" y="88"/>
                    </a:cubicBezTo>
                    <a:cubicBezTo>
                      <a:pt x="68" y="88"/>
                      <a:pt x="68" y="89"/>
                      <a:pt x="68" y="89"/>
                    </a:cubicBezTo>
                    <a:cubicBezTo>
                      <a:pt x="67" y="92"/>
                      <a:pt x="66" y="95"/>
                      <a:pt x="66" y="97"/>
                    </a:cubicBezTo>
                    <a:cubicBezTo>
                      <a:pt x="66" y="98"/>
                      <a:pt x="66" y="98"/>
                      <a:pt x="66" y="99"/>
                    </a:cubicBezTo>
                    <a:cubicBezTo>
                      <a:pt x="66" y="99"/>
                      <a:pt x="66" y="100"/>
                      <a:pt x="66" y="100"/>
                    </a:cubicBezTo>
                    <a:cubicBezTo>
                      <a:pt x="66" y="103"/>
                      <a:pt x="67" y="105"/>
                      <a:pt x="68" y="108"/>
                    </a:cubicBezTo>
                    <a:cubicBezTo>
                      <a:pt x="68" y="108"/>
                      <a:pt x="68" y="109"/>
                      <a:pt x="68" y="109"/>
                    </a:cubicBezTo>
                    <a:cubicBezTo>
                      <a:pt x="69" y="112"/>
                      <a:pt x="71" y="114"/>
                      <a:pt x="73" y="116"/>
                    </a:cubicBezTo>
                    <a:cubicBezTo>
                      <a:pt x="73" y="117"/>
                      <a:pt x="74" y="117"/>
                      <a:pt x="74" y="118"/>
                    </a:cubicBezTo>
                    <a:cubicBezTo>
                      <a:pt x="76" y="120"/>
                      <a:pt x="79" y="121"/>
                      <a:pt x="81" y="122"/>
                    </a:cubicBezTo>
                    <a:cubicBezTo>
                      <a:pt x="82" y="123"/>
                      <a:pt x="82" y="123"/>
                      <a:pt x="83" y="123"/>
                    </a:cubicBezTo>
                    <a:cubicBezTo>
                      <a:pt x="85" y="124"/>
                      <a:pt x="88" y="124"/>
                      <a:pt x="91" y="125"/>
                    </a:cubicBezTo>
                    <a:cubicBezTo>
                      <a:pt x="91" y="125"/>
                      <a:pt x="91" y="125"/>
                      <a:pt x="92" y="125"/>
                    </a:cubicBezTo>
                    <a:cubicBezTo>
                      <a:pt x="92" y="125"/>
                      <a:pt x="93" y="125"/>
                      <a:pt x="93" y="125"/>
                    </a:cubicBezTo>
                    <a:cubicBezTo>
                      <a:pt x="96" y="124"/>
                      <a:pt x="99" y="124"/>
                      <a:pt x="101" y="123"/>
                    </a:cubicBezTo>
                    <a:cubicBezTo>
                      <a:pt x="102" y="123"/>
                      <a:pt x="102" y="123"/>
                      <a:pt x="103" y="122"/>
                    </a:cubicBezTo>
                    <a:cubicBezTo>
                      <a:pt x="105" y="121"/>
                      <a:pt x="107" y="120"/>
                      <a:pt x="109" y="118"/>
                    </a:cubicBezTo>
                    <a:cubicBezTo>
                      <a:pt x="110" y="117"/>
                      <a:pt x="111" y="117"/>
                      <a:pt x="111" y="116"/>
                    </a:cubicBezTo>
                    <a:cubicBezTo>
                      <a:pt x="113" y="114"/>
                      <a:pt x="114" y="112"/>
                      <a:pt x="116" y="109"/>
                    </a:cubicBezTo>
                    <a:cubicBezTo>
                      <a:pt x="116" y="109"/>
                      <a:pt x="116" y="108"/>
                      <a:pt x="116" y="108"/>
                    </a:cubicBezTo>
                    <a:cubicBezTo>
                      <a:pt x="117" y="105"/>
                      <a:pt x="118" y="103"/>
                      <a:pt x="118" y="100"/>
                    </a:cubicBezTo>
                    <a:cubicBezTo>
                      <a:pt x="118" y="100"/>
                      <a:pt x="118" y="99"/>
                      <a:pt x="118" y="99"/>
                    </a:cubicBezTo>
                    <a:cubicBezTo>
                      <a:pt x="118" y="98"/>
                      <a:pt x="118" y="98"/>
                      <a:pt x="118" y="97"/>
                    </a:cubicBezTo>
                    <a:cubicBezTo>
                      <a:pt x="118" y="95"/>
                      <a:pt x="117" y="92"/>
                      <a:pt x="116" y="89"/>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4" name="Freeform 197"/>
              <p:cNvSpPr>
                <a:spLocks noEditPoints="1"/>
              </p:cNvSpPr>
              <p:nvPr/>
            </p:nvSpPr>
            <p:spPr bwMode="auto">
              <a:xfrm>
                <a:off x="10442526" y="1165154"/>
                <a:ext cx="353646" cy="226371"/>
              </a:xfrm>
              <a:custGeom>
                <a:avLst/>
                <a:gdLst>
                  <a:gd name="T0" fmla="*/ 149 w 323"/>
                  <a:gd name="T1" fmla="*/ 198 h 198"/>
                  <a:gd name="T2" fmla="*/ 192 w 323"/>
                  <a:gd name="T3" fmla="*/ 172 h 198"/>
                  <a:gd name="T4" fmla="*/ 139 w 323"/>
                  <a:gd name="T5" fmla="*/ 191 h 198"/>
                  <a:gd name="T6" fmla="*/ 146 w 323"/>
                  <a:gd name="T7" fmla="*/ 192 h 198"/>
                  <a:gd name="T8" fmla="*/ 184 w 323"/>
                  <a:gd name="T9" fmla="*/ 180 h 198"/>
                  <a:gd name="T10" fmla="*/ 98 w 323"/>
                  <a:gd name="T11" fmla="*/ 109 h 198"/>
                  <a:gd name="T12" fmla="*/ 187 w 323"/>
                  <a:gd name="T13" fmla="*/ 113 h 198"/>
                  <a:gd name="T14" fmla="*/ 234 w 323"/>
                  <a:gd name="T15" fmla="*/ 76 h 198"/>
                  <a:gd name="T16" fmla="*/ 83 w 323"/>
                  <a:gd name="T17" fmla="*/ 31 h 198"/>
                  <a:gd name="T18" fmla="*/ 178 w 323"/>
                  <a:gd name="T19" fmla="*/ 79 h 198"/>
                  <a:gd name="T20" fmla="*/ 176 w 323"/>
                  <a:gd name="T21" fmla="*/ 58 h 198"/>
                  <a:gd name="T22" fmla="*/ 196 w 323"/>
                  <a:gd name="T23" fmla="*/ 49 h 198"/>
                  <a:gd name="T24" fmla="*/ 153 w 323"/>
                  <a:gd name="T25" fmla="*/ 30 h 198"/>
                  <a:gd name="T26" fmla="*/ 215 w 323"/>
                  <a:gd name="T27" fmla="*/ 89 h 198"/>
                  <a:gd name="T28" fmla="*/ 208 w 323"/>
                  <a:gd name="T29" fmla="*/ 44 h 198"/>
                  <a:gd name="T30" fmla="*/ 189 w 323"/>
                  <a:gd name="T31" fmla="*/ 21 h 198"/>
                  <a:gd name="T32" fmla="*/ 189 w 323"/>
                  <a:gd name="T33" fmla="*/ 21 h 198"/>
                  <a:gd name="T34" fmla="*/ 161 w 323"/>
                  <a:gd name="T35" fmla="*/ 7 h 198"/>
                  <a:gd name="T36" fmla="*/ 101 w 323"/>
                  <a:gd name="T37" fmla="*/ 57 h 198"/>
                  <a:gd name="T38" fmla="*/ 101 w 323"/>
                  <a:gd name="T39" fmla="*/ 49 h 198"/>
                  <a:gd name="T40" fmla="*/ 121 w 323"/>
                  <a:gd name="T41" fmla="*/ 58 h 198"/>
                  <a:gd name="T42" fmla="*/ 115 w 323"/>
                  <a:gd name="T43" fmla="*/ 89 h 198"/>
                  <a:gd name="T44" fmla="*/ 144 w 323"/>
                  <a:gd name="T45" fmla="*/ 30 h 198"/>
                  <a:gd name="T46" fmla="*/ 123 w 323"/>
                  <a:gd name="T47" fmla="*/ 11 h 198"/>
                  <a:gd name="T48" fmla="*/ 114 w 323"/>
                  <a:gd name="T49" fmla="*/ 19 h 198"/>
                  <a:gd name="T50" fmla="*/ 87 w 323"/>
                  <a:gd name="T51" fmla="*/ 38 h 198"/>
                  <a:gd name="T52" fmla="*/ 97 w 323"/>
                  <a:gd name="T53" fmla="*/ 54 h 198"/>
                  <a:gd name="T54" fmla="*/ 46 w 323"/>
                  <a:gd name="T55" fmla="*/ 101 h 198"/>
                  <a:gd name="T56" fmla="*/ 156 w 323"/>
                  <a:gd name="T57" fmla="*/ 141 h 198"/>
                  <a:gd name="T58" fmla="*/ 241 w 323"/>
                  <a:gd name="T59" fmla="*/ 83 h 198"/>
                  <a:gd name="T60" fmla="*/ 0 w 323"/>
                  <a:gd name="T61" fmla="*/ 119 h 198"/>
                  <a:gd name="T62" fmla="*/ 146 w 323"/>
                  <a:gd name="T63" fmla="*/ 169 h 198"/>
                  <a:gd name="T64" fmla="*/ 241 w 323"/>
                  <a:gd name="T65" fmla="*/ 123 h 198"/>
                  <a:gd name="T66" fmla="*/ 12 w 323"/>
                  <a:gd name="T67" fmla="*/ 108 h 198"/>
                  <a:gd name="T68" fmla="*/ 28 w 323"/>
                  <a:gd name="T69" fmla="*/ 108 h 198"/>
                  <a:gd name="T70" fmla="*/ 65 w 323"/>
                  <a:gd name="T71" fmla="*/ 127 h 198"/>
                  <a:gd name="T72" fmla="*/ 61 w 323"/>
                  <a:gd name="T73" fmla="*/ 101 h 198"/>
                  <a:gd name="T74" fmla="*/ 64 w 323"/>
                  <a:gd name="T75" fmla="*/ 113 h 198"/>
                  <a:gd name="T76" fmla="*/ 72 w 323"/>
                  <a:gd name="T77" fmla="*/ 130 h 198"/>
                  <a:gd name="T78" fmla="*/ 72 w 323"/>
                  <a:gd name="T79" fmla="*/ 114 h 198"/>
                  <a:gd name="T80" fmla="*/ 87 w 323"/>
                  <a:gd name="T81" fmla="*/ 141 h 198"/>
                  <a:gd name="T82" fmla="*/ 94 w 323"/>
                  <a:gd name="T83" fmla="*/ 129 h 198"/>
                  <a:gd name="T84" fmla="*/ 127 w 323"/>
                  <a:gd name="T85" fmla="*/ 154 h 198"/>
                  <a:gd name="T86" fmla="*/ 132 w 323"/>
                  <a:gd name="T87" fmla="*/ 139 h 198"/>
                  <a:gd name="T88" fmla="*/ 148 w 323"/>
                  <a:gd name="T89" fmla="*/ 145 h 198"/>
                  <a:gd name="T90" fmla="*/ 195 w 323"/>
                  <a:gd name="T91" fmla="*/ 153 h 198"/>
                  <a:gd name="T92" fmla="*/ 180 w 323"/>
                  <a:gd name="T93" fmla="*/ 140 h 198"/>
                  <a:gd name="T94" fmla="*/ 192 w 323"/>
                  <a:gd name="T95" fmla="*/ 150 h 198"/>
                  <a:gd name="T96" fmla="*/ 214 w 323"/>
                  <a:gd name="T97" fmla="*/ 141 h 198"/>
                  <a:gd name="T98" fmla="*/ 218 w 323"/>
                  <a:gd name="T99" fmla="*/ 121 h 198"/>
                  <a:gd name="T100" fmla="*/ 234 w 323"/>
                  <a:gd name="T101" fmla="*/ 130 h 198"/>
                  <a:gd name="T102" fmla="*/ 237 w 323"/>
                  <a:gd name="T103" fmla="*/ 104 h 198"/>
                  <a:gd name="T104" fmla="*/ 271 w 323"/>
                  <a:gd name="T105" fmla="*/ 112 h 198"/>
                  <a:gd name="T106" fmla="*/ 281 w 323"/>
                  <a:gd name="T107" fmla="*/ 108 h 198"/>
                  <a:gd name="T108" fmla="*/ 97 w 323"/>
                  <a:gd name="T109" fmla="*/ 136 h 198"/>
                  <a:gd name="T110" fmla="*/ 232 w 323"/>
                  <a:gd name="T111" fmla="*/ 11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3" h="198">
                    <a:moveTo>
                      <a:pt x="148" y="178"/>
                    </a:moveTo>
                    <a:cubicBezTo>
                      <a:pt x="130" y="178"/>
                      <a:pt x="111" y="175"/>
                      <a:pt x="95" y="169"/>
                    </a:cubicBezTo>
                    <a:cubicBezTo>
                      <a:pt x="89" y="167"/>
                      <a:pt x="83" y="164"/>
                      <a:pt x="78" y="161"/>
                    </a:cubicBezTo>
                    <a:cubicBezTo>
                      <a:pt x="84" y="169"/>
                      <a:pt x="92" y="177"/>
                      <a:pt x="101" y="183"/>
                    </a:cubicBezTo>
                    <a:cubicBezTo>
                      <a:pt x="105" y="185"/>
                      <a:pt x="109" y="188"/>
                      <a:pt x="114" y="190"/>
                    </a:cubicBezTo>
                    <a:cubicBezTo>
                      <a:pt x="118" y="192"/>
                      <a:pt x="123" y="194"/>
                      <a:pt x="129" y="195"/>
                    </a:cubicBezTo>
                    <a:cubicBezTo>
                      <a:pt x="135" y="197"/>
                      <a:pt x="142" y="198"/>
                      <a:pt x="149" y="198"/>
                    </a:cubicBezTo>
                    <a:cubicBezTo>
                      <a:pt x="149" y="198"/>
                      <a:pt x="149" y="198"/>
                      <a:pt x="149" y="198"/>
                    </a:cubicBezTo>
                    <a:cubicBezTo>
                      <a:pt x="149" y="198"/>
                      <a:pt x="149" y="198"/>
                      <a:pt x="149" y="198"/>
                    </a:cubicBezTo>
                    <a:cubicBezTo>
                      <a:pt x="149" y="198"/>
                      <a:pt x="149" y="198"/>
                      <a:pt x="149" y="198"/>
                    </a:cubicBezTo>
                    <a:cubicBezTo>
                      <a:pt x="149" y="198"/>
                      <a:pt x="149" y="198"/>
                      <a:pt x="149" y="198"/>
                    </a:cubicBezTo>
                    <a:cubicBezTo>
                      <a:pt x="156" y="198"/>
                      <a:pt x="162" y="197"/>
                      <a:pt x="169" y="195"/>
                    </a:cubicBezTo>
                    <a:cubicBezTo>
                      <a:pt x="174" y="194"/>
                      <a:pt x="179" y="192"/>
                      <a:pt x="184" y="190"/>
                    </a:cubicBezTo>
                    <a:cubicBezTo>
                      <a:pt x="188" y="188"/>
                      <a:pt x="193" y="185"/>
                      <a:pt x="197" y="183"/>
                    </a:cubicBezTo>
                    <a:cubicBezTo>
                      <a:pt x="206" y="177"/>
                      <a:pt x="214" y="169"/>
                      <a:pt x="220" y="160"/>
                    </a:cubicBezTo>
                    <a:cubicBezTo>
                      <a:pt x="212" y="165"/>
                      <a:pt x="202" y="169"/>
                      <a:pt x="192" y="172"/>
                    </a:cubicBezTo>
                    <a:cubicBezTo>
                      <a:pt x="178" y="176"/>
                      <a:pt x="163" y="178"/>
                      <a:pt x="148" y="178"/>
                    </a:cubicBezTo>
                    <a:close/>
                    <a:moveTo>
                      <a:pt x="103" y="178"/>
                    </a:moveTo>
                    <a:cubicBezTo>
                      <a:pt x="102" y="177"/>
                      <a:pt x="100" y="176"/>
                      <a:pt x="99" y="174"/>
                    </a:cubicBezTo>
                    <a:cubicBezTo>
                      <a:pt x="101" y="176"/>
                      <a:pt x="104" y="177"/>
                      <a:pt x="106" y="177"/>
                    </a:cubicBezTo>
                    <a:cubicBezTo>
                      <a:pt x="106" y="178"/>
                      <a:pt x="107" y="179"/>
                      <a:pt x="107" y="179"/>
                    </a:cubicBezTo>
                    <a:cubicBezTo>
                      <a:pt x="106" y="179"/>
                      <a:pt x="105" y="178"/>
                      <a:pt x="103" y="178"/>
                    </a:cubicBezTo>
                    <a:close/>
                    <a:moveTo>
                      <a:pt x="146" y="192"/>
                    </a:moveTo>
                    <a:cubicBezTo>
                      <a:pt x="144" y="192"/>
                      <a:pt x="142" y="192"/>
                      <a:pt x="139" y="191"/>
                    </a:cubicBezTo>
                    <a:cubicBezTo>
                      <a:pt x="136" y="191"/>
                      <a:pt x="132" y="190"/>
                      <a:pt x="129" y="189"/>
                    </a:cubicBezTo>
                    <a:cubicBezTo>
                      <a:pt x="127" y="189"/>
                      <a:pt x="124" y="188"/>
                      <a:pt x="122" y="187"/>
                    </a:cubicBezTo>
                    <a:cubicBezTo>
                      <a:pt x="120" y="187"/>
                      <a:pt x="119" y="186"/>
                      <a:pt x="117" y="185"/>
                    </a:cubicBezTo>
                    <a:cubicBezTo>
                      <a:pt x="116" y="184"/>
                      <a:pt x="115" y="182"/>
                      <a:pt x="114" y="181"/>
                    </a:cubicBezTo>
                    <a:cubicBezTo>
                      <a:pt x="114" y="180"/>
                      <a:pt x="113" y="180"/>
                      <a:pt x="113" y="180"/>
                    </a:cubicBezTo>
                    <a:cubicBezTo>
                      <a:pt x="125" y="183"/>
                      <a:pt x="136" y="185"/>
                      <a:pt x="146" y="185"/>
                    </a:cubicBezTo>
                    <a:cubicBezTo>
                      <a:pt x="146" y="192"/>
                      <a:pt x="146" y="192"/>
                      <a:pt x="146" y="192"/>
                    </a:cubicBezTo>
                    <a:cubicBezTo>
                      <a:pt x="146" y="192"/>
                      <a:pt x="146" y="192"/>
                      <a:pt x="146" y="192"/>
                    </a:cubicBezTo>
                    <a:close/>
                    <a:moveTo>
                      <a:pt x="184" y="181"/>
                    </a:moveTo>
                    <a:cubicBezTo>
                      <a:pt x="183" y="182"/>
                      <a:pt x="182" y="184"/>
                      <a:pt x="181" y="185"/>
                    </a:cubicBezTo>
                    <a:cubicBezTo>
                      <a:pt x="179" y="186"/>
                      <a:pt x="177" y="187"/>
                      <a:pt x="175" y="187"/>
                    </a:cubicBezTo>
                    <a:cubicBezTo>
                      <a:pt x="173" y="188"/>
                      <a:pt x="171" y="189"/>
                      <a:pt x="169" y="189"/>
                    </a:cubicBezTo>
                    <a:cubicBezTo>
                      <a:pt x="165" y="190"/>
                      <a:pt x="162" y="191"/>
                      <a:pt x="158" y="191"/>
                    </a:cubicBezTo>
                    <a:cubicBezTo>
                      <a:pt x="156" y="192"/>
                      <a:pt x="154" y="192"/>
                      <a:pt x="152" y="192"/>
                    </a:cubicBezTo>
                    <a:cubicBezTo>
                      <a:pt x="152" y="185"/>
                      <a:pt x="152" y="185"/>
                      <a:pt x="152" y="185"/>
                    </a:cubicBezTo>
                    <a:cubicBezTo>
                      <a:pt x="162" y="185"/>
                      <a:pt x="173" y="183"/>
                      <a:pt x="184" y="180"/>
                    </a:cubicBezTo>
                    <a:cubicBezTo>
                      <a:pt x="184" y="180"/>
                      <a:pt x="184" y="180"/>
                      <a:pt x="184" y="181"/>
                    </a:cubicBezTo>
                    <a:close/>
                    <a:moveTo>
                      <a:pt x="194" y="178"/>
                    </a:moveTo>
                    <a:cubicBezTo>
                      <a:pt x="193" y="178"/>
                      <a:pt x="192" y="179"/>
                      <a:pt x="191" y="179"/>
                    </a:cubicBezTo>
                    <a:cubicBezTo>
                      <a:pt x="191" y="179"/>
                      <a:pt x="191" y="178"/>
                      <a:pt x="191" y="177"/>
                    </a:cubicBezTo>
                    <a:cubicBezTo>
                      <a:pt x="194" y="177"/>
                      <a:pt x="196" y="175"/>
                      <a:pt x="199" y="174"/>
                    </a:cubicBezTo>
                    <a:cubicBezTo>
                      <a:pt x="197" y="176"/>
                      <a:pt x="196" y="177"/>
                      <a:pt x="194" y="178"/>
                    </a:cubicBezTo>
                    <a:close/>
                    <a:moveTo>
                      <a:pt x="66" y="83"/>
                    </a:moveTo>
                    <a:cubicBezTo>
                      <a:pt x="73" y="95"/>
                      <a:pt x="85" y="103"/>
                      <a:pt x="98" y="109"/>
                    </a:cubicBezTo>
                    <a:cubicBezTo>
                      <a:pt x="100" y="110"/>
                      <a:pt x="103" y="111"/>
                      <a:pt x="105" y="112"/>
                    </a:cubicBezTo>
                    <a:cubicBezTo>
                      <a:pt x="105" y="112"/>
                      <a:pt x="105" y="112"/>
                      <a:pt x="105" y="112"/>
                    </a:cubicBezTo>
                    <a:cubicBezTo>
                      <a:pt x="107" y="113"/>
                      <a:pt x="109" y="113"/>
                      <a:pt x="110" y="114"/>
                    </a:cubicBezTo>
                    <a:cubicBezTo>
                      <a:pt x="110" y="114"/>
                      <a:pt x="110" y="113"/>
                      <a:pt x="110" y="113"/>
                    </a:cubicBezTo>
                    <a:cubicBezTo>
                      <a:pt x="116" y="115"/>
                      <a:pt x="121" y="116"/>
                      <a:pt x="127" y="117"/>
                    </a:cubicBezTo>
                    <a:cubicBezTo>
                      <a:pt x="134" y="118"/>
                      <a:pt x="141" y="119"/>
                      <a:pt x="148" y="119"/>
                    </a:cubicBezTo>
                    <a:cubicBezTo>
                      <a:pt x="156" y="119"/>
                      <a:pt x="163" y="118"/>
                      <a:pt x="170" y="117"/>
                    </a:cubicBezTo>
                    <a:cubicBezTo>
                      <a:pt x="175" y="116"/>
                      <a:pt x="181" y="115"/>
                      <a:pt x="187" y="113"/>
                    </a:cubicBezTo>
                    <a:cubicBezTo>
                      <a:pt x="187" y="113"/>
                      <a:pt x="187" y="114"/>
                      <a:pt x="187" y="114"/>
                    </a:cubicBezTo>
                    <a:cubicBezTo>
                      <a:pt x="188" y="113"/>
                      <a:pt x="190" y="113"/>
                      <a:pt x="192" y="112"/>
                    </a:cubicBezTo>
                    <a:cubicBezTo>
                      <a:pt x="192" y="112"/>
                      <a:pt x="192" y="112"/>
                      <a:pt x="192" y="112"/>
                    </a:cubicBezTo>
                    <a:cubicBezTo>
                      <a:pt x="195" y="111"/>
                      <a:pt x="197" y="110"/>
                      <a:pt x="200" y="109"/>
                    </a:cubicBezTo>
                    <a:cubicBezTo>
                      <a:pt x="212" y="103"/>
                      <a:pt x="223" y="95"/>
                      <a:pt x="231" y="83"/>
                    </a:cubicBezTo>
                    <a:cubicBezTo>
                      <a:pt x="231" y="83"/>
                      <a:pt x="231" y="83"/>
                      <a:pt x="231" y="83"/>
                    </a:cubicBezTo>
                    <a:cubicBezTo>
                      <a:pt x="232" y="82"/>
                      <a:pt x="232" y="81"/>
                      <a:pt x="232" y="80"/>
                    </a:cubicBezTo>
                    <a:cubicBezTo>
                      <a:pt x="234" y="76"/>
                      <a:pt x="234" y="76"/>
                      <a:pt x="234" y="76"/>
                    </a:cubicBezTo>
                    <a:cubicBezTo>
                      <a:pt x="234" y="74"/>
                      <a:pt x="233" y="72"/>
                      <a:pt x="233" y="71"/>
                    </a:cubicBezTo>
                    <a:cubicBezTo>
                      <a:pt x="230" y="56"/>
                      <a:pt x="223" y="43"/>
                      <a:pt x="214" y="31"/>
                    </a:cubicBezTo>
                    <a:cubicBezTo>
                      <a:pt x="213" y="30"/>
                      <a:pt x="212" y="29"/>
                      <a:pt x="210" y="27"/>
                    </a:cubicBezTo>
                    <a:cubicBezTo>
                      <a:pt x="210" y="27"/>
                      <a:pt x="206" y="23"/>
                      <a:pt x="206" y="23"/>
                    </a:cubicBezTo>
                    <a:cubicBezTo>
                      <a:pt x="190" y="9"/>
                      <a:pt x="170" y="1"/>
                      <a:pt x="148" y="0"/>
                    </a:cubicBezTo>
                    <a:cubicBezTo>
                      <a:pt x="148" y="0"/>
                      <a:pt x="148" y="0"/>
                      <a:pt x="148" y="0"/>
                    </a:cubicBezTo>
                    <a:cubicBezTo>
                      <a:pt x="127" y="1"/>
                      <a:pt x="107" y="9"/>
                      <a:pt x="91" y="23"/>
                    </a:cubicBezTo>
                    <a:cubicBezTo>
                      <a:pt x="91" y="23"/>
                      <a:pt x="87" y="27"/>
                      <a:pt x="83" y="31"/>
                    </a:cubicBezTo>
                    <a:cubicBezTo>
                      <a:pt x="74" y="43"/>
                      <a:pt x="67" y="56"/>
                      <a:pt x="64" y="71"/>
                    </a:cubicBezTo>
                    <a:cubicBezTo>
                      <a:pt x="64" y="71"/>
                      <a:pt x="63" y="73"/>
                      <a:pt x="63" y="76"/>
                    </a:cubicBezTo>
                    <a:cubicBezTo>
                      <a:pt x="65" y="80"/>
                      <a:pt x="65" y="80"/>
                      <a:pt x="65" y="80"/>
                    </a:cubicBezTo>
                    <a:cubicBezTo>
                      <a:pt x="65" y="81"/>
                      <a:pt x="65" y="82"/>
                      <a:pt x="66" y="83"/>
                    </a:cubicBezTo>
                    <a:close/>
                    <a:moveTo>
                      <a:pt x="151" y="112"/>
                    </a:moveTo>
                    <a:cubicBezTo>
                      <a:pt x="151" y="69"/>
                      <a:pt x="151" y="69"/>
                      <a:pt x="151" y="69"/>
                    </a:cubicBezTo>
                    <a:cubicBezTo>
                      <a:pt x="158" y="69"/>
                      <a:pt x="166" y="68"/>
                      <a:pt x="173" y="66"/>
                    </a:cubicBezTo>
                    <a:cubicBezTo>
                      <a:pt x="175" y="70"/>
                      <a:pt x="177" y="75"/>
                      <a:pt x="178" y="79"/>
                    </a:cubicBezTo>
                    <a:cubicBezTo>
                      <a:pt x="180" y="83"/>
                      <a:pt x="181" y="86"/>
                      <a:pt x="182" y="89"/>
                    </a:cubicBezTo>
                    <a:cubicBezTo>
                      <a:pt x="183" y="93"/>
                      <a:pt x="183" y="96"/>
                      <a:pt x="184" y="100"/>
                    </a:cubicBezTo>
                    <a:cubicBezTo>
                      <a:pt x="185" y="102"/>
                      <a:pt x="185" y="105"/>
                      <a:pt x="186" y="107"/>
                    </a:cubicBezTo>
                    <a:cubicBezTo>
                      <a:pt x="174" y="110"/>
                      <a:pt x="162" y="112"/>
                      <a:pt x="151" y="112"/>
                    </a:cubicBezTo>
                    <a:close/>
                    <a:moveTo>
                      <a:pt x="188" y="48"/>
                    </a:moveTo>
                    <a:cubicBezTo>
                      <a:pt x="188" y="48"/>
                      <a:pt x="188" y="49"/>
                      <a:pt x="189" y="49"/>
                    </a:cubicBezTo>
                    <a:cubicBezTo>
                      <a:pt x="190" y="50"/>
                      <a:pt x="191" y="51"/>
                      <a:pt x="192" y="52"/>
                    </a:cubicBezTo>
                    <a:cubicBezTo>
                      <a:pt x="187" y="54"/>
                      <a:pt x="182" y="57"/>
                      <a:pt x="176" y="58"/>
                    </a:cubicBezTo>
                    <a:cubicBezTo>
                      <a:pt x="171" y="46"/>
                      <a:pt x="164" y="35"/>
                      <a:pt x="158" y="27"/>
                    </a:cubicBezTo>
                    <a:cubicBezTo>
                      <a:pt x="168" y="32"/>
                      <a:pt x="179" y="39"/>
                      <a:pt x="188" y="48"/>
                    </a:cubicBezTo>
                    <a:close/>
                    <a:moveTo>
                      <a:pt x="164" y="24"/>
                    </a:moveTo>
                    <a:cubicBezTo>
                      <a:pt x="172" y="25"/>
                      <a:pt x="180" y="27"/>
                      <a:pt x="186" y="30"/>
                    </a:cubicBezTo>
                    <a:cubicBezTo>
                      <a:pt x="189" y="31"/>
                      <a:pt x="191" y="32"/>
                      <a:pt x="192" y="33"/>
                    </a:cubicBezTo>
                    <a:cubicBezTo>
                      <a:pt x="196" y="35"/>
                      <a:pt x="200" y="37"/>
                      <a:pt x="203" y="40"/>
                    </a:cubicBezTo>
                    <a:cubicBezTo>
                      <a:pt x="203" y="40"/>
                      <a:pt x="202" y="41"/>
                      <a:pt x="202" y="42"/>
                    </a:cubicBezTo>
                    <a:cubicBezTo>
                      <a:pt x="201" y="44"/>
                      <a:pt x="199" y="46"/>
                      <a:pt x="196" y="49"/>
                    </a:cubicBezTo>
                    <a:cubicBezTo>
                      <a:pt x="195" y="48"/>
                      <a:pt x="194" y="47"/>
                      <a:pt x="193" y="46"/>
                    </a:cubicBezTo>
                    <a:cubicBezTo>
                      <a:pt x="193" y="45"/>
                      <a:pt x="193" y="45"/>
                      <a:pt x="193" y="45"/>
                    </a:cubicBezTo>
                    <a:cubicBezTo>
                      <a:pt x="191" y="43"/>
                      <a:pt x="189" y="42"/>
                      <a:pt x="188" y="40"/>
                    </a:cubicBezTo>
                    <a:cubicBezTo>
                      <a:pt x="180" y="34"/>
                      <a:pt x="173" y="28"/>
                      <a:pt x="164" y="24"/>
                    </a:cubicBezTo>
                    <a:close/>
                    <a:moveTo>
                      <a:pt x="171" y="60"/>
                    </a:moveTo>
                    <a:cubicBezTo>
                      <a:pt x="164" y="62"/>
                      <a:pt x="158" y="63"/>
                      <a:pt x="151" y="63"/>
                    </a:cubicBezTo>
                    <a:cubicBezTo>
                      <a:pt x="151" y="27"/>
                      <a:pt x="151" y="27"/>
                      <a:pt x="151" y="27"/>
                    </a:cubicBezTo>
                    <a:cubicBezTo>
                      <a:pt x="152" y="28"/>
                      <a:pt x="152" y="29"/>
                      <a:pt x="153" y="30"/>
                    </a:cubicBezTo>
                    <a:cubicBezTo>
                      <a:pt x="159" y="38"/>
                      <a:pt x="166" y="48"/>
                      <a:pt x="171" y="60"/>
                    </a:cubicBezTo>
                    <a:close/>
                    <a:moveTo>
                      <a:pt x="191" y="105"/>
                    </a:moveTo>
                    <a:cubicBezTo>
                      <a:pt x="190" y="100"/>
                      <a:pt x="189" y="95"/>
                      <a:pt x="187" y="89"/>
                    </a:cubicBezTo>
                    <a:cubicBezTo>
                      <a:pt x="186" y="86"/>
                      <a:pt x="185" y="83"/>
                      <a:pt x="184" y="79"/>
                    </a:cubicBezTo>
                    <a:cubicBezTo>
                      <a:pt x="184" y="79"/>
                      <a:pt x="184" y="78"/>
                      <a:pt x="184" y="78"/>
                    </a:cubicBezTo>
                    <a:cubicBezTo>
                      <a:pt x="182" y="73"/>
                      <a:pt x="180" y="69"/>
                      <a:pt x="179" y="64"/>
                    </a:cubicBezTo>
                    <a:cubicBezTo>
                      <a:pt x="185" y="62"/>
                      <a:pt x="191" y="60"/>
                      <a:pt x="196" y="57"/>
                    </a:cubicBezTo>
                    <a:cubicBezTo>
                      <a:pt x="204" y="67"/>
                      <a:pt x="211" y="78"/>
                      <a:pt x="215" y="89"/>
                    </a:cubicBezTo>
                    <a:cubicBezTo>
                      <a:pt x="215" y="90"/>
                      <a:pt x="215" y="92"/>
                      <a:pt x="216" y="93"/>
                    </a:cubicBezTo>
                    <a:cubicBezTo>
                      <a:pt x="209" y="98"/>
                      <a:pt x="200" y="102"/>
                      <a:pt x="191" y="105"/>
                    </a:cubicBezTo>
                    <a:close/>
                    <a:moveTo>
                      <a:pt x="210" y="36"/>
                    </a:moveTo>
                    <a:cubicBezTo>
                      <a:pt x="212" y="38"/>
                      <a:pt x="213" y="40"/>
                      <a:pt x="214" y="42"/>
                    </a:cubicBezTo>
                    <a:cubicBezTo>
                      <a:pt x="213" y="40"/>
                      <a:pt x="211" y="39"/>
                      <a:pt x="210" y="38"/>
                    </a:cubicBezTo>
                    <a:cubicBezTo>
                      <a:pt x="210" y="38"/>
                      <a:pt x="210" y="37"/>
                      <a:pt x="210" y="36"/>
                    </a:cubicBezTo>
                    <a:close/>
                    <a:moveTo>
                      <a:pt x="208" y="45"/>
                    </a:moveTo>
                    <a:cubicBezTo>
                      <a:pt x="208" y="45"/>
                      <a:pt x="208" y="44"/>
                      <a:pt x="208" y="44"/>
                    </a:cubicBezTo>
                    <a:cubicBezTo>
                      <a:pt x="212" y="47"/>
                      <a:pt x="215" y="51"/>
                      <a:pt x="218" y="54"/>
                    </a:cubicBezTo>
                    <a:cubicBezTo>
                      <a:pt x="221" y="58"/>
                      <a:pt x="223" y="61"/>
                      <a:pt x="225" y="65"/>
                    </a:cubicBezTo>
                    <a:cubicBezTo>
                      <a:pt x="226" y="67"/>
                      <a:pt x="227" y="70"/>
                      <a:pt x="228" y="72"/>
                    </a:cubicBezTo>
                    <a:cubicBezTo>
                      <a:pt x="228" y="73"/>
                      <a:pt x="230" y="79"/>
                      <a:pt x="220" y="89"/>
                    </a:cubicBezTo>
                    <a:cubicBezTo>
                      <a:pt x="219" y="86"/>
                      <a:pt x="218" y="83"/>
                      <a:pt x="217" y="81"/>
                    </a:cubicBezTo>
                    <a:cubicBezTo>
                      <a:pt x="213" y="71"/>
                      <a:pt x="208" y="62"/>
                      <a:pt x="200" y="53"/>
                    </a:cubicBezTo>
                    <a:cubicBezTo>
                      <a:pt x="204" y="51"/>
                      <a:pt x="206" y="48"/>
                      <a:pt x="208" y="45"/>
                    </a:cubicBezTo>
                    <a:close/>
                    <a:moveTo>
                      <a:pt x="189" y="21"/>
                    </a:moveTo>
                    <a:cubicBezTo>
                      <a:pt x="194" y="22"/>
                      <a:pt x="198" y="24"/>
                      <a:pt x="201" y="27"/>
                    </a:cubicBezTo>
                    <a:cubicBezTo>
                      <a:pt x="203" y="29"/>
                      <a:pt x="203" y="31"/>
                      <a:pt x="204" y="33"/>
                    </a:cubicBezTo>
                    <a:cubicBezTo>
                      <a:pt x="200" y="31"/>
                      <a:pt x="196" y="28"/>
                      <a:pt x="191" y="26"/>
                    </a:cubicBezTo>
                    <a:cubicBezTo>
                      <a:pt x="189" y="25"/>
                      <a:pt x="187" y="25"/>
                      <a:pt x="185" y="24"/>
                    </a:cubicBezTo>
                    <a:cubicBezTo>
                      <a:pt x="179" y="21"/>
                      <a:pt x="173" y="20"/>
                      <a:pt x="166" y="19"/>
                    </a:cubicBezTo>
                    <a:cubicBezTo>
                      <a:pt x="169" y="18"/>
                      <a:pt x="171" y="18"/>
                      <a:pt x="173" y="18"/>
                    </a:cubicBezTo>
                    <a:cubicBezTo>
                      <a:pt x="176" y="18"/>
                      <a:pt x="179" y="19"/>
                      <a:pt x="183" y="19"/>
                    </a:cubicBezTo>
                    <a:cubicBezTo>
                      <a:pt x="185" y="20"/>
                      <a:pt x="187" y="20"/>
                      <a:pt x="189" y="21"/>
                    </a:cubicBezTo>
                    <a:close/>
                    <a:moveTo>
                      <a:pt x="174" y="11"/>
                    </a:moveTo>
                    <a:cubicBezTo>
                      <a:pt x="175" y="12"/>
                      <a:pt x="177" y="12"/>
                      <a:pt x="178" y="13"/>
                    </a:cubicBezTo>
                    <a:cubicBezTo>
                      <a:pt x="176" y="13"/>
                      <a:pt x="174" y="13"/>
                      <a:pt x="173" y="13"/>
                    </a:cubicBezTo>
                    <a:cubicBezTo>
                      <a:pt x="168" y="13"/>
                      <a:pt x="164" y="13"/>
                      <a:pt x="160" y="14"/>
                    </a:cubicBezTo>
                    <a:cubicBezTo>
                      <a:pt x="163" y="12"/>
                      <a:pt x="167" y="11"/>
                      <a:pt x="170" y="11"/>
                    </a:cubicBezTo>
                    <a:cubicBezTo>
                      <a:pt x="172" y="11"/>
                      <a:pt x="173" y="11"/>
                      <a:pt x="174" y="11"/>
                    </a:cubicBezTo>
                    <a:close/>
                    <a:moveTo>
                      <a:pt x="151" y="6"/>
                    </a:moveTo>
                    <a:cubicBezTo>
                      <a:pt x="154" y="6"/>
                      <a:pt x="158" y="7"/>
                      <a:pt x="161" y="7"/>
                    </a:cubicBezTo>
                    <a:cubicBezTo>
                      <a:pt x="158" y="9"/>
                      <a:pt x="154" y="11"/>
                      <a:pt x="151" y="14"/>
                    </a:cubicBezTo>
                    <a:cubicBezTo>
                      <a:pt x="151" y="6"/>
                      <a:pt x="151" y="6"/>
                      <a:pt x="151" y="6"/>
                    </a:cubicBezTo>
                    <a:cubicBezTo>
                      <a:pt x="151" y="6"/>
                      <a:pt x="151" y="6"/>
                      <a:pt x="151" y="6"/>
                    </a:cubicBezTo>
                    <a:close/>
                    <a:moveTo>
                      <a:pt x="110" y="89"/>
                    </a:moveTo>
                    <a:cubicBezTo>
                      <a:pt x="108" y="95"/>
                      <a:pt x="107" y="100"/>
                      <a:pt x="106" y="105"/>
                    </a:cubicBezTo>
                    <a:cubicBezTo>
                      <a:pt x="97" y="102"/>
                      <a:pt x="88" y="98"/>
                      <a:pt x="81" y="93"/>
                    </a:cubicBezTo>
                    <a:cubicBezTo>
                      <a:pt x="82" y="92"/>
                      <a:pt x="82" y="90"/>
                      <a:pt x="82" y="89"/>
                    </a:cubicBezTo>
                    <a:cubicBezTo>
                      <a:pt x="86" y="78"/>
                      <a:pt x="93" y="67"/>
                      <a:pt x="101" y="57"/>
                    </a:cubicBezTo>
                    <a:cubicBezTo>
                      <a:pt x="106" y="60"/>
                      <a:pt x="112" y="62"/>
                      <a:pt x="118" y="64"/>
                    </a:cubicBezTo>
                    <a:cubicBezTo>
                      <a:pt x="116" y="69"/>
                      <a:pt x="115" y="73"/>
                      <a:pt x="113" y="78"/>
                    </a:cubicBezTo>
                    <a:cubicBezTo>
                      <a:pt x="113" y="78"/>
                      <a:pt x="113" y="79"/>
                      <a:pt x="113" y="79"/>
                    </a:cubicBezTo>
                    <a:cubicBezTo>
                      <a:pt x="112" y="83"/>
                      <a:pt x="111" y="86"/>
                      <a:pt x="110" y="89"/>
                    </a:cubicBezTo>
                    <a:close/>
                    <a:moveTo>
                      <a:pt x="109" y="40"/>
                    </a:moveTo>
                    <a:cubicBezTo>
                      <a:pt x="108" y="42"/>
                      <a:pt x="106" y="43"/>
                      <a:pt x="104" y="45"/>
                    </a:cubicBezTo>
                    <a:cubicBezTo>
                      <a:pt x="104" y="45"/>
                      <a:pt x="104" y="45"/>
                      <a:pt x="104" y="46"/>
                    </a:cubicBezTo>
                    <a:cubicBezTo>
                      <a:pt x="103" y="47"/>
                      <a:pt x="102" y="48"/>
                      <a:pt x="101" y="49"/>
                    </a:cubicBezTo>
                    <a:cubicBezTo>
                      <a:pt x="98" y="47"/>
                      <a:pt x="96" y="44"/>
                      <a:pt x="95" y="42"/>
                    </a:cubicBezTo>
                    <a:cubicBezTo>
                      <a:pt x="94" y="41"/>
                      <a:pt x="94" y="40"/>
                      <a:pt x="94" y="40"/>
                    </a:cubicBezTo>
                    <a:cubicBezTo>
                      <a:pt x="97" y="37"/>
                      <a:pt x="101" y="35"/>
                      <a:pt x="104" y="33"/>
                    </a:cubicBezTo>
                    <a:cubicBezTo>
                      <a:pt x="106" y="32"/>
                      <a:pt x="109" y="31"/>
                      <a:pt x="111" y="30"/>
                    </a:cubicBezTo>
                    <a:cubicBezTo>
                      <a:pt x="117" y="27"/>
                      <a:pt x="125" y="25"/>
                      <a:pt x="133" y="24"/>
                    </a:cubicBezTo>
                    <a:cubicBezTo>
                      <a:pt x="124" y="28"/>
                      <a:pt x="117" y="34"/>
                      <a:pt x="109" y="40"/>
                    </a:cubicBezTo>
                    <a:close/>
                    <a:moveTo>
                      <a:pt x="139" y="27"/>
                    </a:moveTo>
                    <a:cubicBezTo>
                      <a:pt x="133" y="35"/>
                      <a:pt x="126" y="46"/>
                      <a:pt x="121" y="58"/>
                    </a:cubicBezTo>
                    <a:cubicBezTo>
                      <a:pt x="115" y="57"/>
                      <a:pt x="110" y="54"/>
                      <a:pt x="105" y="52"/>
                    </a:cubicBezTo>
                    <a:cubicBezTo>
                      <a:pt x="106" y="51"/>
                      <a:pt x="107" y="50"/>
                      <a:pt x="108" y="49"/>
                    </a:cubicBezTo>
                    <a:cubicBezTo>
                      <a:pt x="109" y="49"/>
                      <a:pt x="109" y="48"/>
                      <a:pt x="109" y="48"/>
                    </a:cubicBezTo>
                    <a:cubicBezTo>
                      <a:pt x="118" y="39"/>
                      <a:pt x="129" y="32"/>
                      <a:pt x="139" y="27"/>
                    </a:cubicBezTo>
                    <a:close/>
                    <a:moveTo>
                      <a:pt x="146" y="112"/>
                    </a:moveTo>
                    <a:cubicBezTo>
                      <a:pt x="135" y="112"/>
                      <a:pt x="123" y="110"/>
                      <a:pt x="111" y="107"/>
                    </a:cubicBezTo>
                    <a:cubicBezTo>
                      <a:pt x="112" y="105"/>
                      <a:pt x="112" y="102"/>
                      <a:pt x="113" y="100"/>
                    </a:cubicBezTo>
                    <a:cubicBezTo>
                      <a:pt x="114" y="96"/>
                      <a:pt x="115" y="93"/>
                      <a:pt x="115" y="89"/>
                    </a:cubicBezTo>
                    <a:cubicBezTo>
                      <a:pt x="116" y="86"/>
                      <a:pt x="117" y="83"/>
                      <a:pt x="119" y="79"/>
                    </a:cubicBezTo>
                    <a:cubicBezTo>
                      <a:pt x="120" y="75"/>
                      <a:pt x="122" y="70"/>
                      <a:pt x="123" y="66"/>
                    </a:cubicBezTo>
                    <a:cubicBezTo>
                      <a:pt x="132" y="68"/>
                      <a:pt x="139" y="69"/>
                      <a:pt x="146" y="69"/>
                    </a:cubicBezTo>
                    <a:cubicBezTo>
                      <a:pt x="146" y="112"/>
                      <a:pt x="146" y="112"/>
                      <a:pt x="146" y="112"/>
                    </a:cubicBezTo>
                    <a:cubicBezTo>
                      <a:pt x="146" y="112"/>
                      <a:pt x="146" y="112"/>
                      <a:pt x="146" y="112"/>
                    </a:cubicBezTo>
                    <a:close/>
                    <a:moveTo>
                      <a:pt x="146" y="63"/>
                    </a:moveTo>
                    <a:cubicBezTo>
                      <a:pt x="139" y="63"/>
                      <a:pt x="133" y="62"/>
                      <a:pt x="126" y="60"/>
                    </a:cubicBezTo>
                    <a:cubicBezTo>
                      <a:pt x="131" y="48"/>
                      <a:pt x="138" y="38"/>
                      <a:pt x="144" y="30"/>
                    </a:cubicBezTo>
                    <a:cubicBezTo>
                      <a:pt x="145" y="29"/>
                      <a:pt x="145" y="28"/>
                      <a:pt x="146" y="27"/>
                    </a:cubicBezTo>
                    <a:cubicBezTo>
                      <a:pt x="146" y="63"/>
                      <a:pt x="146" y="63"/>
                      <a:pt x="146" y="63"/>
                    </a:cubicBezTo>
                    <a:cubicBezTo>
                      <a:pt x="146" y="63"/>
                      <a:pt x="146" y="63"/>
                      <a:pt x="146" y="63"/>
                    </a:cubicBezTo>
                    <a:close/>
                    <a:moveTo>
                      <a:pt x="146" y="6"/>
                    </a:moveTo>
                    <a:cubicBezTo>
                      <a:pt x="146" y="14"/>
                      <a:pt x="146" y="14"/>
                      <a:pt x="146" y="14"/>
                    </a:cubicBezTo>
                    <a:cubicBezTo>
                      <a:pt x="143" y="11"/>
                      <a:pt x="139" y="9"/>
                      <a:pt x="136" y="7"/>
                    </a:cubicBezTo>
                    <a:cubicBezTo>
                      <a:pt x="139" y="7"/>
                      <a:pt x="143" y="6"/>
                      <a:pt x="146" y="6"/>
                    </a:cubicBezTo>
                    <a:close/>
                    <a:moveTo>
                      <a:pt x="123" y="11"/>
                    </a:moveTo>
                    <a:cubicBezTo>
                      <a:pt x="124" y="11"/>
                      <a:pt x="125" y="11"/>
                      <a:pt x="127" y="11"/>
                    </a:cubicBezTo>
                    <a:cubicBezTo>
                      <a:pt x="130" y="11"/>
                      <a:pt x="134" y="12"/>
                      <a:pt x="138" y="14"/>
                    </a:cubicBezTo>
                    <a:cubicBezTo>
                      <a:pt x="133" y="13"/>
                      <a:pt x="129" y="13"/>
                      <a:pt x="124" y="13"/>
                    </a:cubicBezTo>
                    <a:cubicBezTo>
                      <a:pt x="123" y="13"/>
                      <a:pt x="121" y="13"/>
                      <a:pt x="119" y="13"/>
                    </a:cubicBezTo>
                    <a:cubicBezTo>
                      <a:pt x="120" y="12"/>
                      <a:pt x="122" y="12"/>
                      <a:pt x="123" y="11"/>
                    </a:cubicBezTo>
                    <a:close/>
                    <a:moveTo>
                      <a:pt x="96" y="27"/>
                    </a:moveTo>
                    <a:cubicBezTo>
                      <a:pt x="99" y="24"/>
                      <a:pt x="103" y="22"/>
                      <a:pt x="108" y="21"/>
                    </a:cubicBezTo>
                    <a:cubicBezTo>
                      <a:pt x="110" y="20"/>
                      <a:pt x="112" y="20"/>
                      <a:pt x="114" y="19"/>
                    </a:cubicBezTo>
                    <a:cubicBezTo>
                      <a:pt x="118" y="19"/>
                      <a:pt x="121" y="18"/>
                      <a:pt x="124" y="18"/>
                    </a:cubicBezTo>
                    <a:cubicBezTo>
                      <a:pt x="126" y="18"/>
                      <a:pt x="128" y="18"/>
                      <a:pt x="131" y="19"/>
                    </a:cubicBezTo>
                    <a:cubicBezTo>
                      <a:pt x="124" y="20"/>
                      <a:pt x="118" y="21"/>
                      <a:pt x="112" y="24"/>
                    </a:cubicBezTo>
                    <a:cubicBezTo>
                      <a:pt x="110" y="25"/>
                      <a:pt x="108" y="25"/>
                      <a:pt x="106" y="26"/>
                    </a:cubicBezTo>
                    <a:cubicBezTo>
                      <a:pt x="101" y="28"/>
                      <a:pt x="97" y="31"/>
                      <a:pt x="93" y="34"/>
                    </a:cubicBezTo>
                    <a:cubicBezTo>
                      <a:pt x="94" y="31"/>
                      <a:pt x="94" y="29"/>
                      <a:pt x="96" y="27"/>
                    </a:cubicBezTo>
                    <a:close/>
                    <a:moveTo>
                      <a:pt x="87" y="36"/>
                    </a:moveTo>
                    <a:cubicBezTo>
                      <a:pt x="87" y="37"/>
                      <a:pt x="87" y="38"/>
                      <a:pt x="87" y="38"/>
                    </a:cubicBezTo>
                    <a:cubicBezTo>
                      <a:pt x="85" y="39"/>
                      <a:pt x="84" y="40"/>
                      <a:pt x="83" y="42"/>
                    </a:cubicBezTo>
                    <a:cubicBezTo>
                      <a:pt x="84" y="40"/>
                      <a:pt x="85" y="38"/>
                      <a:pt x="87" y="36"/>
                    </a:cubicBezTo>
                    <a:close/>
                    <a:moveTo>
                      <a:pt x="70" y="71"/>
                    </a:moveTo>
                    <a:cubicBezTo>
                      <a:pt x="70" y="69"/>
                      <a:pt x="71" y="67"/>
                      <a:pt x="72" y="65"/>
                    </a:cubicBezTo>
                    <a:cubicBezTo>
                      <a:pt x="74" y="61"/>
                      <a:pt x="76" y="58"/>
                      <a:pt x="79" y="54"/>
                    </a:cubicBezTo>
                    <a:cubicBezTo>
                      <a:pt x="82" y="51"/>
                      <a:pt x="85" y="47"/>
                      <a:pt x="89" y="44"/>
                    </a:cubicBezTo>
                    <a:cubicBezTo>
                      <a:pt x="89" y="44"/>
                      <a:pt x="89" y="45"/>
                      <a:pt x="89" y="45"/>
                    </a:cubicBezTo>
                    <a:cubicBezTo>
                      <a:pt x="91" y="48"/>
                      <a:pt x="93" y="51"/>
                      <a:pt x="97" y="54"/>
                    </a:cubicBezTo>
                    <a:cubicBezTo>
                      <a:pt x="90" y="62"/>
                      <a:pt x="84" y="71"/>
                      <a:pt x="80" y="81"/>
                    </a:cubicBezTo>
                    <a:cubicBezTo>
                      <a:pt x="79" y="83"/>
                      <a:pt x="78" y="86"/>
                      <a:pt x="77" y="89"/>
                    </a:cubicBezTo>
                    <a:cubicBezTo>
                      <a:pt x="72" y="84"/>
                      <a:pt x="70" y="79"/>
                      <a:pt x="69" y="73"/>
                    </a:cubicBezTo>
                    <a:cubicBezTo>
                      <a:pt x="69" y="73"/>
                      <a:pt x="69" y="72"/>
                      <a:pt x="70" y="71"/>
                    </a:cubicBezTo>
                    <a:close/>
                    <a:moveTo>
                      <a:pt x="42" y="93"/>
                    </a:moveTo>
                    <a:cubicBezTo>
                      <a:pt x="39" y="93"/>
                      <a:pt x="38" y="99"/>
                      <a:pt x="38" y="101"/>
                    </a:cubicBezTo>
                    <a:cubicBezTo>
                      <a:pt x="38" y="108"/>
                      <a:pt x="41" y="109"/>
                      <a:pt x="42" y="109"/>
                    </a:cubicBezTo>
                    <a:cubicBezTo>
                      <a:pt x="43" y="109"/>
                      <a:pt x="46" y="108"/>
                      <a:pt x="46" y="101"/>
                    </a:cubicBezTo>
                    <a:cubicBezTo>
                      <a:pt x="46" y="99"/>
                      <a:pt x="45" y="93"/>
                      <a:pt x="42" y="93"/>
                    </a:cubicBezTo>
                    <a:close/>
                    <a:moveTo>
                      <a:pt x="256" y="93"/>
                    </a:moveTo>
                    <a:cubicBezTo>
                      <a:pt x="253" y="93"/>
                      <a:pt x="253" y="99"/>
                      <a:pt x="253" y="101"/>
                    </a:cubicBezTo>
                    <a:cubicBezTo>
                      <a:pt x="253" y="108"/>
                      <a:pt x="255" y="109"/>
                      <a:pt x="256" y="109"/>
                    </a:cubicBezTo>
                    <a:cubicBezTo>
                      <a:pt x="257" y="109"/>
                      <a:pt x="260" y="108"/>
                      <a:pt x="260" y="101"/>
                    </a:cubicBezTo>
                    <a:cubicBezTo>
                      <a:pt x="260" y="99"/>
                      <a:pt x="260" y="93"/>
                      <a:pt x="256" y="93"/>
                    </a:cubicBezTo>
                    <a:close/>
                    <a:moveTo>
                      <a:pt x="164" y="144"/>
                    </a:moveTo>
                    <a:cubicBezTo>
                      <a:pt x="162" y="137"/>
                      <a:pt x="157" y="139"/>
                      <a:pt x="156" y="141"/>
                    </a:cubicBezTo>
                    <a:cubicBezTo>
                      <a:pt x="155" y="142"/>
                      <a:pt x="154" y="143"/>
                      <a:pt x="154" y="145"/>
                    </a:cubicBezTo>
                    <a:cubicBezTo>
                      <a:pt x="153" y="149"/>
                      <a:pt x="154" y="156"/>
                      <a:pt x="159" y="156"/>
                    </a:cubicBezTo>
                    <a:cubicBezTo>
                      <a:pt x="163" y="156"/>
                      <a:pt x="164" y="151"/>
                      <a:pt x="164" y="146"/>
                    </a:cubicBezTo>
                    <a:cubicBezTo>
                      <a:pt x="164" y="145"/>
                      <a:pt x="164" y="145"/>
                      <a:pt x="164" y="144"/>
                    </a:cubicBezTo>
                    <a:close/>
                    <a:moveTo>
                      <a:pt x="323" y="101"/>
                    </a:moveTo>
                    <a:cubicBezTo>
                      <a:pt x="292" y="71"/>
                      <a:pt x="292" y="71"/>
                      <a:pt x="292" y="71"/>
                    </a:cubicBezTo>
                    <a:cubicBezTo>
                      <a:pt x="292" y="83"/>
                      <a:pt x="292" y="83"/>
                      <a:pt x="292" y="83"/>
                    </a:cubicBezTo>
                    <a:cubicBezTo>
                      <a:pt x="241" y="83"/>
                      <a:pt x="241" y="83"/>
                      <a:pt x="241" y="83"/>
                    </a:cubicBezTo>
                    <a:cubicBezTo>
                      <a:pt x="241" y="85"/>
                      <a:pt x="240" y="86"/>
                      <a:pt x="240" y="87"/>
                    </a:cubicBezTo>
                    <a:cubicBezTo>
                      <a:pt x="233" y="103"/>
                      <a:pt x="215" y="116"/>
                      <a:pt x="189" y="124"/>
                    </a:cubicBezTo>
                    <a:cubicBezTo>
                      <a:pt x="176" y="128"/>
                      <a:pt x="162" y="129"/>
                      <a:pt x="148" y="129"/>
                    </a:cubicBezTo>
                    <a:cubicBezTo>
                      <a:pt x="113" y="129"/>
                      <a:pt x="79" y="117"/>
                      <a:pt x="63" y="96"/>
                    </a:cubicBezTo>
                    <a:cubicBezTo>
                      <a:pt x="61" y="94"/>
                      <a:pt x="60" y="92"/>
                      <a:pt x="58" y="90"/>
                    </a:cubicBezTo>
                    <a:cubicBezTo>
                      <a:pt x="57" y="88"/>
                      <a:pt x="56" y="86"/>
                      <a:pt x="56" y="83"/>
                    </a:cubicBezTo>
                    <a:cubicBezTo>
                      <a:pt x="0" y="83"/>
                      <a:pt x="0" y="83"/>
                      <a:pt x="0" y="83"/>
                    </a:cubicBezTo>
                    <a:cubicBezTo>
                      <a:pt x="0" y="119"/>
                      <a:pt x="0" y="119"/>
                      <a:pt x="0" y="119"/>
                    </a:cubicBezTo>
                    <a:cubicBezTo>
                      <a:pt x="55" y="119"/>
                      <a:pt x="55" y="119"/>
                      <a:pt x="55" y="119"/>
                    </a:cubicBezTo>
                    <a:cubicBezTo>
                      <a:pt x="55" y="120"/>
                      <a:pt x="55" y="122"/>
                      <a:pt x="56" y="123"/>
                    </a:cubicBezTo>
                    <a:cubicBezTo>
                      <a:pt x="57" y="127"/>
                      <a:pt x="60" y="131"/>
                      <a:pt x="63" y="135"/>
                    </a:cubicBezTo>
                    <a:cubicBezTo>
                      <a:pt x="64" y="137"/>
                      <a:pt x="65" y="138"/>
                      <a:pt x="66" y="140"/>
                    </a:cubicBezTo>
                    <a:cubicBezTo>
                      <a:pt x="70" y="144"/>
                      <a:pt x="74" y="147"/>
                      <a:pt x="79" y="150"/>
                    </a:cubicBezTo>
                    <a:cubicBezTo>
                      <a:pt x="86" y="155"/>
                      <a:pt x="94" y="159"/>
                      <a:pt x="103" y="162"/>
                    </a:cubicBezTo>
                    <a:cubicBezTo>
                      <a:pt x="105" y="162"/>
                      <a:pt x="107" y="163"/>
                      <a:pt x="109" y="163"/>
                    </a:cubicBezTo>
                    <a:cubicBezTo>
                      <a:pt x="120" y="167"/>
                      <a:pt x="133" y="168"/>
                      <a:pt x="146" y="169"/>
                    </a:cubicBezTo>
                    <a:cubicBezTo>
                      <a:pt x="147" y="169"/>
                      <a:pt x="148" y="169"/>
                      <a:pt x="148" y="169"/>
                    </a:cubicBezTo>
                    <a:cubicBezTo>
                      <a:pt x="150" y="169"/>
                      <a:pt x="151" y="169"/>
                      <a:pt x="152" y="169"/>
                    </a:cubicBezTo>
                    <a:cubicBezTo>
                      <a:pt x="164" y="168"/>
                      <a:pt x="177" y="167"/>
                      <a:pt x="189" y="163"/>
                    </a:cubicBezTo>
                    <a:cubicBezTo>
                      <a:pt x="189" y="163"/>
                      <a:pt x="189" y="163"/>
                      <a:pt x="189" y="163"/>
                    </a:cubicBezTo>
                    <a:cubicBezTo>
                      <a:pt x="191" y="163"/>
                      <a:pt x="193" y="162"/>
                      <a:pt x="194" y="161"/>
                    </a:cubicBezTo>
                    <a:cubicBezTo>
                      <a:pt x="204" y="158"/>
                      <a:pt x="212" y="154"/>
                      <a:pt x="219" y="149"/>
                    </a:cubicBezTo>
                    <a:cubicBezTo>
                      <a:pt x="224" y="146"/>
                      <a:pt x="228" y="142"/>
                      <a:pt x="232" y="138"/>
                    </a:cubicBezTo>
                    <a:cubicBezTo>
                      <a:pt x="236" y="134"/>
                      <a:pt x="239" y="129"/>
                      <a:pt x="241" y="123"/>
                    </a:cubicBezTo>
                    <a:cubicBezTo>
                      <a:pt x="242" y="122"/>
                      <a:pt x="242" y="120"/>
                      <a:pt x="243" y="119"/>
                    </a:cubicBezTo>
                    <a:cubicBezTo>
                      <a:pt x="292" y="119"/>
                      <a:pt x="292" y="119"/>
                      <a:pt x="292" y="119"/>
                    </a:cubicBezTo>
                    <a:cubicBezTo>
                      <a:pt x="292" y="131"/>
                      <a:pt x="292" y="131"/>
                      <a:pt x="292" y="131"/>
                    </a:cubicBezTo>
                    <a:cubicBezTo>
                      <a:pt x="323" y="101"/>
                      <a:pt x="323" y="101"/>
                      <a:pt x="323" y="101"/>
                    </a:cubicBezTo>
                    <a:cubicBezTo>
                      <a:pt x="323" y="101"/>
                      <a:pt x="323" y="101"/>
                      <a:pt x="323" y="101"/>
                    </a:cubicBezTo>
                    <a:close/>
                    <a:moveTo>
                      <a:pt x="28" y="112"/>
                    </a:moveTo>
                    <a:cubicBezTo>
                      <a:pt x="12" y="112"/>
                      <a:pt x="12" y="112"/>
                      <a:pt x="12" y="112"/>
                    </a:cubicBezTo>
                    <a:cubicBezTo>
                      <a:pt x="12" y="108"/>
                      <a:pt x="12" y="108"/>
                      <a:pt x="12" y="108"/>
                    </a:cubicBezTo>
                    <a:cubicBezTo>
                      <a:pt x="18" y="108"/>
                      <a:pt x="18" y="108"/>
                      <a:pt x="18" y="108"/>
                    </a:cubicBezTo>
                    <a:cubicBezTo>
                      <a:pt x="18" y="94"/>
                      <a:pt x="18" y="94"/>
                      <a:pt x="18" y="94"/>
                    </a:cubicBezTo>
                    <a:cubicBezTo>
                      <a:pt x="13" y="97"/>
                      <a:pt x="13" y="97"/>
                      <a:pt x="13" y="97"/>
                    </a:cubicBezTo>
                    <a:cubicBezTo>
                      <a:pt x="11" y="93"/>
                      <a:pt x="11" y="93"/>
                      <a:pt x="11" y="93"/>
                    </a:cubicBezTo>
                    <a:cubicBezTo>
                      <a:pt x="19" y="90"/>
                      <a:pt x="19" y="90"/>
                      <a:pt x="19" y="90"/>
                    </a:cubicBezTo>
                    <a:cubicBezTo>
                      <a:pt x="22" y="90"/>
                      <a:pt x="22" y="90"/>
                      <a:pt x="22" y="90"/>
                    </a:cubicBezTo>
                    <a:cubicBezTo>
                      <a:pt x="22" y="108"/>
                      <a:pt x="22" y="108"/>
                      <a:pt x="22" y="108"/>
                    </a:cubicBezTo>
                    <a:cubicBezTo>
                      <a:pt x="28" y="108"/>
                      <a:pt x="28" y="108"/>
                      <a:pt x="28" y="108"/>
                    </a:cubicBezTo>
                    <a:cubicBezTo>
                      <a:pt x="28" y="112"/>
                      <a:pt x="28" y="112"/>
                      <a:pt x="28" y="112"/>
                    </a:cubicBezTo>
                    <a:cubicBezTo>
                      <a:pt x="28" y="112"/>
                      <a:pt x="28" y="112"/>
                      <a:pt x="28" y="112"/>
                    </a:cubicBezTo>
                    <a:close/>
                    <a:moveTo>
                      <a:pt x="42" y="112"/>
                    </a:moveTo>
                    <a:cubicBezTo>
                      <a:pt x="35" y="112"/>
                      <a:pt x="34" y="106"/>
                      <a:pt x="34" y="101"/>
                    </a:cubicBezTo>
                    <a:cubicBezTo>
                      <a:pt x="34" y="96"/>
                      <a:pt x="36" y="90"/>
                      <a:pt x="42" y="90"/>
                    </a:cubicBezTo>
                    <a:cubicBezTo>
                      <a:pt x="49" y="90"/>
                      <a:pt x="50" y="96"/>
                      <a:pt x="50" y="101"/>
                    </a:cubicBezTo>
                    <a:cubicBezTo>
                      <a:pt x="50" y="106"/>
                      <a:pt x="49" y="112"/>
                      <a:pt x="42" y="112"/>
                    </a:cubicBezTo>
                    <a:close/>
                    <a:moveTo>
                      <a:pt x="65" y="127"/>
                    </a:moveTo>
                    <a:cubicBezTo>
                      <a:pt x="64" y="125"/>
                      <a:pt x="62" y="123"/>
                      <a:pt x="61" y="121"/>
                    </a:cubicBezTo>
                    <a:cubicBezTo>
                      <a:pt x="60" y="120"/>
                      <a:pt x="60" y="118"/>
                      <a:pt x="59" y="117"/>
                    </a:cubicBezTo>
                    <a:cubicBezTo>
                      <a:pt x="59" y="113"/>
                      <a:pt x="59" y="113"/>
                      <a:pt x="59" y="113"/>
                    </a:cubicBezTo>
                    <a:cubicBezTo>
                      <a:pt x="60" y="114"/>
                      <a:pt x="60" y="115"/>
                      <a:pt x="61" y="116"/>
                    </a:cubicBezTo>
                    <a:cubicBezTo>
                      <a:pt x="61" y="117"/>
                      <a:pt x="61" y="117"/>
                      <a:pt x="62" y="118"/>
                    </a:cubicBezTo>
                    <a:cubicBezTo>
                      <a:pt x="62" y="110"/>
                      <a:pt x="62" y="110"/>
                      <a:pt x="62" y="110"/>
                    </a:cubicBezTo>
                    <a:cubicBezTo>
                      <a:pt x="62" y="102"/>
                      <a:pt x="62" y="102"/>
                      <a:pt x="62" y="102"/>
                    </a:cubicBezTo>
                    <a:cubicBezTo>
                      <a:pt x="61" y="102"/>
                      <a:pt x="61" y="102"/>
                      <a:pt x="61" y="101"/>
                    </a:cubicBezTo>
                    <a:cubicBezTo>
                      <a:pt x="61" y="101"/>
                      <a:pt x="61" y="101"/>
                      <a:pt x="61" y="101"/>
                    </a:cubicBezTo>
                    <a:cubicBezTo>
                      <a:pt x="60" y="101"/>
                      <a:pt x="60" y="101"/>
                      <a:pt x="59" y="100"/>
                    </a:cubicBezTo>
                    <a:cubicBezTo>
                      <a:pt x="59" y="97"/>
                      <a:pt x="59" y="97"/>
                      <a:pt x="59" y="97"/>
                    </a:cubicBezTo>
                    <a:cubicBezTo>
                      <a:pt x="59" y="95"/>
                      <a:pt x="59" y="95"/>
                      <a:pt x="59" y="95"/>
                    </a:cubicBezTo>
                    <a:cubicBezTo>
                      <a:pt x="60" y="96"/>
                      <a:pt x="61" y="97"/>
                      <a:pt x="62" y="98"/>
                    </a:cubicBezTo>
                    <a:cubicBezTo>
                      <a:pt x="63" y="99"/>
                      <a:pt x="63" y="100"/>
                      <a:pt x="64" y="100"/>
                    </a:cubicBezTo>
                    <a:cubicBezTo>
                      <a:pt x="64" y="105"/>
                      <a:pt x="64" y="105"/>
                      <a:pt x="64" y="105"/>
                    </a:cubicBezTo>
                    <a:cubicBezTo>
                      <a:pt x="64" y="113"/>
                      <a:pt x="64" y="113"/>
                      <a:pt x="64" y="113"/>
                    </a:cubicBezTo>
                    <a:cubicBezTo>
                      <a:pt x="64" y="121"/>
                      <a:pt x="64" y="121"/>
                      <a:pt x="64" y="121"/>
                    </a:cubicBezTo>
                    <a:cubicBezTo>
                      <a:pt x="64" y="122"/>
                      <a:pt x="65" y="122"/>
                      <a:pt x="65" y="123"/>
                    </a:cubicBezTo>
                    <a:cubicBezTo>
                      <a:pt x="66" y="124"/>
                      <a:pt x="67" y="125"/>
                      <a:pt x="68" y="126"/>
                    </a:cubicBezTo>
                    <a:cubicBezTo>
                      <a:pt x="68" y="130"/>
                      <a:pt x="68" y="130"/>
                      <a:pt x="68" y="130"/>
                    </a:cubicBezTo>
                    <a:cubicBezTo>
                      <a:pt x="67" y="129"/>
                      <a:pt x="66" y="128"/>
                      <a:pt x="65" y="127"/>
                    </a:cubicBezTo>
                    <a:close/>
                    <a:moveTo>
                      <a:pt x="77" y="138"/>
                    </a:moveTo>
                    <a:cubicBezTo>
                      <a:pt x="75" y="137"/>
                      <a:pt x="74" y="136"/>
                      <a:pt x="72" y="134"/>
                    </a:cubicBezTo>
                    <a:cubicBezTo>
                      <a:pt x="72" y="130"/>
                      <a:pt x="72" y="130"/>
                      <a:pt x="72" y="130"/>
                    </a:cubicBezTo>
                    <a:cubicBezTo>
                      <a:pt x="73" y="132"/>
                      <a:pt x="75" y="133"/>
                      <a:pt x="76" y="134"/>
                    </a:cubicBezTo>
                    <a:cubicBezTo>
                      <a:pt x="77" y="134"/>
                      <a:pt x="77" y="134"/>
                      <a:pt x="77" y="135"/>
                    </a:cubicBezTo>
                    <a:cubicBezTo>
                      <a:pt x="77" y="125"/>
                      <a:pt x="77" y="125"/>
                      <a:pt x="77" y="125"/>
                    </a:cubicBezTo>
                    <a:cubicBezTo>
                      <a:pt x="77" y="124"/>
                      <a:pt x="77" y="124"/>
                      <a:pt x="77" y="124"/>
                    </a:cubicBezTo>
                    <a:cubicBezTo>
                      <a:pt x="77" y="119"/>
                      <a:pt x="77" y="119"/>
                      <a:pt x="77" y="119"/>
                    </a:cubicBezTo>
                    <a:cubicBezTo>
                      <a:pt x="76" y="119"/>
                      <a:pt x="74" y="118"/>
                      <a:pt x="73" y="118"/>
                    </a:cubicBezTo>
                    <a:cubicBezTo>
                      <a:pt x="73" y="117"/>
                      <a:pt x="73" y="117"/>
                      <a:pt x="73" y="117"/>
                    </a:cubicBezTo>
                    <a:cubicBezTo>
                      <a:pt x="72" y="114"/>
                      <a:pt x="72" y="114"/>
                      <a:pt x="72" y="114"/>
                    </a:cubicBezTo>
                    <a:cubicBezTo>
                      <a:pt x="72" y="114"/>
                      <a:pt x="72" y="114"/>
                      <a:pt x="72" y="114"/>
                    </a:cubicBezTo>
                    <a:cubicBezTo>
                      <a:pt x="72" y="113"/>
                      <a:pt x="72" y="113"/>
                      <a:pt x="72" y="113"/>
                    </a:cubicBezTo>
                    <a:cubicBezTo>
                      <a:pt x="74" y="114"/>
                      <a:pt x="76" y="114"/>
                      <a:pt x="78" y="115"/>
                    </a:cubicBezTo>
                    <a:cubicBezTo>
                      <a:pt x="79" y="115"/>
                      <a:pt x="80" y="116"/>
                      <a:pt x="81" y="116"/>
                    </a:cubicBezTo>
                    <a:cubicBezTo>
                      <a:pt x="81" y="121"/>
                      <a:pt x="81" y="121"/>
                      <a:pt x="81" y="121"/>
                    </a:cubicBezTo>
                    <a:cubicBezTo>
                      <a:pt x="81" y="128"/>
                      <a:pt x="81" y="128"/>
                      <a:pt x="81" y="128"/>
                    </a:cubicBezTo>
                    <a:cubicBezTo>
                      <a:pt x="81" y="137"/>
                      <a:pt x="81" y="137"/>
                      <a:pt x="81" y="137"/>
                    </a:cubicBezTo>
                    <a:cubicBezTo>
                      <a:pt x="83" y="138"/>
                      <a:pt x="85" y="140"/>
                      <a:pt x="87" y="141"/>
                    </a:cubicBezTo>
                    <a:cubicBezTo>
                      <a:pt x="87" y="145"/>
                      <a:pt x="87" y="145"/>
                      <a:pt x="87" y="145"/>
                    </a:cubicBezTo>
                    <a:cubicBezTo>
                      <a:pt x="83" y="143"/>
                      <a:pt x="80" y="141"/>
                      <a:pt x="77" y="138"/>
                    </a:cubicBezTo>
                    <a:close/>
                    <a:moveTo>
                      <a:pt x="110" y="149"/>
                    </a:moveTo>
                    <a:cubicBezTo>
                      <a:pt x="109" y="150"/>
                      <a:pt x="109" y="150"/>
                      <a:pt x="108" y="151"/>
                    </a:cubicBezTo>
                    <a:cubicBezTo>
                      <a:pt x="107" y="153"/>
                      <a:pt x="105" y="153"/>
                      <a:pt x="103" y="153"/>
                    </a:cubicBezTo>
                    <a:cubicBezTo>
                      <a:pt x="100" y="152"/>
                      <a:pt x="96" y="149"/>
                      <a:pt x="95" y="146"/>
                    </a:cubicBezTo>
                    <a:cubicBezTo>
                      <a:pt x="94" y="145"/>
                      <a:pt x="93" y="139"/>
                      <a:pt x="93" y="134"/>
                    </a:cubicBezTo>
                    <a:cubicBezTo>
                      <a:pt x="93" y="132"/>
                      <a:pt x="93" y="130"/>
                      <a:pt x="94" y="129"/>
                    </a:cubicBezTo>
                    <a:cubicBezTo>
                      <a:pt x="95" y="126"/>
                      <a:pt x="97" y="126"/>
                      <a:pt x="101" y="127"/>
                    </a:cubicBezTo>
                    <a:cubicBezTo>
                      <a:pt x="106" y="128"/>
                      <a:pt x="108" y="131"/>
                      <a:pt x="109" y="134"/>
                    </a:cubicBezTo>
                    <a:cubicBezTo>
                      <a:pt x="109" y="135"/>
                      <a:pt x="109" y="135"/>
                      <a:pt x="110" y="135"/>
                    </a:cubicBezTo>
                    <a:cubicBezTo>
                      <a:pt x="110" y="137"/>
                      <a:pt x="110" y="138"/>
                      <a:pt x="111" y="140"/>
                    </a:cubicBezTo>
                    <a:cubicBezTo>
                      <a:pt x="111" y="145"/>
                      <a:pt x="110" y="149"/>
                      <a:pt x="110" y="149"/>
                    </a:cubicBezTo>
                    <a:close/>
                    <a:moveTo>
                      <a:pt x="119" y="157"/>
                    </a:moveTo>
                    <a:cubicBezTo>
                      <a:pt x="119" y="153"/>
                      <a:pt x="119" y="153"/>
                      <a:pt x="119" y="153"/>
                    </a:cubicBezTo>
                    <a:cubicBezTo>
                      <a:pt x="122" y="153"/>
                      <a:pt x="124" y="154"/>
                      <a:pt x="127" y="154"/>
                    </a:cubicBezTo>
                    <a:cubicBezTo>
                      <a:pt x="127" y="143"/>
                      <a:pt x="127" y="143"/>
                      <a:pt x="127" y="143"/>
                    </a:cubicBezTo>
                    <a:cubicBezTo>
                      <a:pt x="127" y="139"/>
                      <a:pt x="127" y="139"/>
                      <a:pt x="127" y="139"/>
                    </a:cubicBezTo>
                    <a:cubicBezTo>
                      <a:pt x="125" y="139"/>
                      <a:pt x="122" y="139"/>
                      <a:pt x="120" y="140"/>
                    </a:cubicBezTo>
                    <a:cubicBezTo>
                      <a:pt x="119" y="137"/>
                      <a:pt x="119" y="137"/>
                      <a:pt x="119" y="137"/>
                    </a:cubicBezTo>
                    <a:cubicBezTo>
                      <a:pt x="118" y="135"/>
                      <a:pt x="118" y="135"/>
                      <a:pt x="118" y="135"/>
                    </a:cubicBezTo>
                    <a:cubicBezTo>
                      <a:pt x="122" y="135"/>
                      <a:pt x="126" y="134"/>
                      <a:pt x="129" y="134"/>
                    </a:cubicBezTo>
                    <a:cubicBezTo>
                      <a:pt x="130" y="134"/>
                      <a:pt x="131" y="134"/>
                      <a:pt x="132" y="134"/>
                    </a:cubicBezTo>
                    <a:cubicBezTo>
                      <a:pt x="132" y="139"/>
                      <a:pt x="132" y="139"/>
                      <a:pt x="132" y="139"/>
                    </a:cubicBezTo>
                    <a:cubicBezTo>
                      <a:pt x="132" y="144"/>
                      <a:pt x="132" y="144"/>
                      <a:pt x="132" y="144"/>
                    </a:cubicBezTo>
                    <a:cubicBezTo>
                      <a:pt x="132" y="155"/>
                      <a:pt x="132" y="155"/>
                      <a:pt x="132" y="155"/>
                    </a:cubicBezTo>
                    <a:cubicBezTo>
                      <a:pt x="135" y="155"/>
                      <a:pt x="138" y="155"/>
                      <a:pt x="141" y="156"/>
                    </a:cubicBezTo>
                    <a:cubicBezTo>
                      <a:pt x="141" y="160"/>
                      <a:pt x="141" y="160"/>
                      <a:pt x="141" y="160"/>
                    </a:cubicBezTo>
                    <a:cubicBezTo>
                      <a:pt x="133" y="159"/>
                      <a:pt x="126" y="158"/>
                      <a:pt x="119" y="157"/>
                    </a:cubicBezTo>
                    <a:close/>
                    <a:moveTo>
                      <a:pt x="152" y="159"/>
                    </a:moveTo>
                    <a:cubicBezTo>
                      <a:pt x="152" y="159"/>
                      <a:pt x="152" y="159"/>
                      <a:pt x="152" y="158"/>
                    </a:cubicBezTo>
                    <a:cubicBezTo>
                      <a:pt x="148" y="155"/>
                      <a:pt x="148" y="149"/>
                      <a:pt x="148" y="145"/>
                    </a:cubicBezTo>
                    <a:cubicBezTo>
                      <a:pt x="148" y="144"/>
                      <a:pt x="149" y="143"/>
                      <a:pt x="149" y="142"/>
                    </a:cubicBezTo>
                    <a:cubicBezTo>
                      <a:pt x="149" y="141"/>
                      <a:pt x="150" y="140"/>
                      <a:pt x="150" y="139"/>
                    </a:cubicBezTo>
                    <a:cubicBezTo>
                      <a:pt x="153" y="136"/>
                      <a:pt x="157" y="135"/>
                      <a:pt x="159" y="135"/>
                    </a:cubicBezTo>
                    <a:cubicBezTo>
                      <a:pt x="163" y="135"/>
                      <a:pt x="166" y="136"/>
                      <a:pt x="167" y="138"/>
                    </a:cubicBezTo>
                    <a:cubicBezTo>
                      <a:pt x="168" y="140"/>
                      <a:pt x="169" y="141"/>
                      <a:pt x="169" y="144"/>
                    </a:cubicBezTo>
                    <a:cubicBezTo>
                      <a:pt x="169" y="144"/>
                      <a:pt x="169" y="144"/>
                      <a:pt x="169" y="144"/>
                    </a:cubicBezTo>
                    <a:cubicBezTo>
                      <a:pt x="172" y="160"/>
                      <a:pt x="158" y="163"/>
                      <a:pt x="152" y="159"/>
                    </a:cubicBezTo>
                    <a:close/>
                    <a:moveTo>
                      <a:pt x="195" y="153"/>
                    </a:moveTo>
                    <a:cubicBezTo>
                      <a:pt x="194" y="154"/>
                      <a:pt x="192" y="154"/>
                      <a:pt x="191" y="155"/>
                    </a:cubicBezTo>
                    <a:cubicBezTo>
                      <a:pt x="191" y="155"/>
                      <a:pt x="190" y="155"/>
                      <a:pt x="189" y="155"/>
                    </a:cubicBezTo>
                    <a:cubicBezTo>
                      <a:pt x="186" y="156"/>
                      <a:pt x="182" y="157"/>
                      <a:pt x="179" y="158"/>
                    </a:cubicBezTo>
                    <a:cubicBezTo>
                      <a:pt x="179" y="153"/>
                      <a:pt x="179" y="153"/>
                      <a:pt x="179" y="153"/>
                    </a:cubicBezTo>
                    <a:cubicBezTo>
                      <a:pt x="181" y="153"/>
                      <a:pt x="184" y="152"/>
                      <a:pt x="187" y="152"/>
                    </a:cubicBezTo>
                    <a:cubicBezTo>
                      <a:pt x="187" y="140"/>
                      <a:pt x="187" y="140"/>
                      <a:pt x="187" y="140"/>
                    </a:cubicBezTo>
                    <a:cubicBezTo>
                      <a:pt x="187" y="136"/>
                      <a:pt x="187" y="136"/>
                      <a:pt x="187" y="136"/>
                    </a:cubicBezTo>
                    <a:cubicBezTo>
                      <a:pt x="185" y="137"/>
                      <a:pt x="182" y="139"/>
                      <a:pt x="180" y="140"/>
                    </a:cubicBezTo>
                    <a:cubicBezTo>
                      <a:pt x="178" y="137"/>
                      <a:pt x="178" y="137"/>
                      <a:pt x="178" y="137"/>
                    </a:cubicBezTo>
                    <a:cubicBezTo>
                      <a:pt x="178" y="136"/>
                      <a:pt x="178" y="136"/>
                      <a:pt x="178" y="136"/>
                    </a:cubicBezTo>
                    <a:cubicBezTo>
                      <a:pt x="181" y="135"/>
                      <a:pt x="185" y="132"/>
                      <a:pt x="189" y="131"/>
                    </a:cubicBezTo>
                    <a:cubicBezTo>
                      <a:pt x="189" y="130"/>
                      <a:pt x="190" y="130"/>
                      <a:pt x="191" y="130"/>
                    </a:cubicBezTo>
                    <a:cubicBezTo>
                      <a:pt x="192" y="130"/>
                      <a:pt x="192" y="130"/>
                      <a:pt x="192" y="129"/>
                    </a:cubicBezTo>
                    <a:cubicBezTo>
                      <a:pt x="192" y="133"/>
                      <a:pt x="192" y="133"/>
                      <a:pt x="192" y="133"/>
                    </a:cubicBezTo>
                    <a:cubicBezTo>
                      <a:pt x="192" y="139"/>
                      <a:pt x="192" y="139"/>
                      <a:pt x="192" y="139"/>
                    </a:cubicBezTo>
                    <a:cubicBezTo>
                      <a:pt x="192" y="150"/>
                      <a:pt x="192" y="150"/>
                      <a:pt x="192" y="150"/>
                    </a:cubicBezTo>
                    <a:cubicBezTo>
                      <a:pt x="193" y="150"/>
                      <a:pt x="194" y="149"/>
                      <a:pt x="195" y="149"/>
                    </a:cubicBezTo>
                    <a:cubicBezTo>
                      <a:pt x="197" y="149"/>
                      <a:pt x="198" y="148"/>
                      <a:pt x="200" y="147"/>
                    </a:cubicBezTo>
                    <a:cubicBezTo>
                      <a:pt x="200" y="152"/>
                      <a:pt x="200" y="152"/>
                      <a:pt x="200" y="152"/>
                    </a:cubicBezTo>
                    <a:cubicBezTo>
                      <a:pt x="198" y="152"/>
                      <a:pt x="197" y="153"/>
                      <a:pt x="195" y="153"/>
                    </a:cubicBezTo>
                    <a:close/>
                    <a:moveTo>
                      <a:pt x="221" y="141"/>
                    </a:moveTo>
                    <a:cubicBezTo>
                      <a:pt x="217" y="144"/>
                      <a:pt x="212" y="147"/>
                      <a:pt x="207" y="149"/>
                    </a:cubicBezTo>
                    <a:cubicBezTo>
                      <a:pt x="207" y="145"/>
                      <a:pt x="207" y="145"/>
                      <a:pt x="207" y="145"/>
                    </a:cubicBezTo>
                    <a:cubicBezTo>
                      <a:pt x="209" y="144"/>
                      <a:pt x="211" y="143"/>
                      <a:pt x="214" y="141"/>
                    </a:cubicBezTo>
                    <a:cubicBezTo>
                      <a:pt x="214" y="129"/>
                      <a:pt x="214" y="129"/>
                      <a:pt x="214" y="129"/>
                    </a:cubicBezTo>
                    <a:cubicBezTo>
                      <a:pt x="214" y="126"/>
                      <a:pt x="214" y="126"/>
                      <a:pt x="214" y="126"/>
                    </a:cubicBezTo>
                    <a:cubicBezTo>
                      <a:pt x="212" y="128"/>
                      <a:pt x="210" y="129"/>
                      <a:pt x="208" y="131"/>
                    </a:cubicBezTo>
                    <a:cubicBezTo>
                      <a:pt x="206" y="128"/>
                      <a:pt x="206" y="128"/>
                      <a:pt x="206" y="128"/>
                    </a:cubicBezTo>
                    <a:cubicBezTo>
                      <a:pt x="207" y="128"/>
                      <a:pt x="207" y="127"/>
                      <a:pt x="208" y="127"/>
                    </a:cubicBezTo>
                    <a:cubicBezTo>
                      <a:pt x="210" y="125"/>
                      <a:pt x="213" y="122"/>
                      <a:pt x="215" y="120"/>
                    </a:cubicBezTo>
                    <a:cubicBezTo>
                      <a:pt x="216" y="120"/>
                      <a:pt x="217" y="119"/>
                      <a:pt x="218" y="118"/>
                    </a:cubicBezTo>
                    <a:cubicBezTo>
                      <a:pt x="218" y="121"/>
                      <a:pt x="218" y="121"/>
                      <a:pt x="218" y="121"/>
                    </a:cubicBezTo>
                    <a:cubicBezTo>
                      <a:pt x="218" y="127"/>
                      <a:pt x="218" y="127"/>
                      <a:pt x="218" y="127"/>
                    </a:cubicBezTo>
                    <a:cubicBezTo>
                      <a:pt x="218" y="139"/>
                      <a:pt x="218" y="139"/>
                      <a:pt x="218" y="139"/>
                    </a:cubicBezTo>
                    <a:cubicBezTo>
                      <a:pt x="219" y="138"/>
                      <a:pt x="220" y="138"/>
                      <a:pt x="221" y="137"/>
                    </a:cubicBezTo>
                    <a:cubicBezTo>
                      <a:pt x="222" y="136"/>
                      <a:pt x="223" y="136"/>
                      <a:pt x="223" y="135"/>
                    </a:cubicBezTo>
                    <a:cubicBezTo>
                      <a:pt x="223" y="139"/>
                      <a:pt x="223" y="139"/>
                      <a:pt x="223" y="139"/>
                    </a:cubicBezTo>
                    <a:cubicBezTo>
                      <a:pt x="223" y="140"/>
                      <a:pt x="222" y="141"/>
                      <a:pt x="221" y="141"/>
                    </a:cubicBezTo>
                    <a:close/>
                    <a:moveTo>
                      <a:pt x="237" y="123"/>
                    </a:moveTo>
                    <a:cubicBezTo>
                      <a:pt x="237" y="126"/>
                      <a:pt x="236" y="128"/>
                      <a:pt x="234" y="130"/>
                    </a:cubicBezTo>
                    <a:cubicBezTo>
                      <a:pt x="233" y="132"/>
                      <a:pt x="232" y="133"/>
                      <a:pt x="231" y="133"/>
                    </a:cubicBezTo>
                    <a:cubicBezTo>
                      <a:pt x="230" y="133"/>
                      <a:pt x="229" y="132"/>
                      <a:pt x="229" y="130"/>
                    </a:cubicBezTo>
                    <a:cubicBezTo>
                      <a:pt x="228" y="127"/>
                      <a:pt x="227" y="123"/>
                      <a:pt x="228" y="119"/>
                    </a:cubicBezTo>
                    <a:cubicBezTo>
                      <a:pt x="229" y="115"/>
                      <a:pt x="230" y="112"/>
                      <a:pt x="232" y="108"/>
                    </a:cubicBezTo>
                    <a:cubicBezTo>
                      <a:pt x="232" y="107"/>
                      <a:pt x="233" y="106"/>
                      <a:pt x="234" y="106"/>
                    </a:cubicBezTo>
                    <a:cubicBezTo>
                      <a:pt x="235" y="104"/>
                      <a:pt x="236" y="103"/>
                      <a:pt x="237" y="104"/>
                    </a:cubicBezTo>
                    <a:cubicBezTo>
                      <a:pt x="237" y="104"/>
                      <a:pt x="237" y="104"/>
                      <a:pt x="237" y="104"/>
                    </a:cubicBezTo>
                    <a:cubicBezTo>
                      <a:pt x="237" y="104"/>
                      <a:pt x="237" y="104"/>
                      <a:pt x="237" y="104"/>
                    </a:cubicBezTo>
                    <a:cubicBezTo>
                      <a:pt x="239" y="107"/>
                      <a:pt x="239" y="117"/>
                      <a:pt x="237" y="123"/>
                    </a:cubicBezTo>
                    <a:close/>
                    <a:moveTo>
                      <a:pt x="256" y="112"/>
                    </a:moveTo>
                    <a:cubicBezTo>
                      <a:pt x="250" y="112"/>
                      <a:pt x="249" y="106"/>
                      <a:pt x="249" y="101"/>
                    </a:cubicBezTo>
                    <a:cubicBezTo>
                      <a:pt x="249" y="96"/>
                      <a:pt x="250" y="90"/>
                      <a:pt x="256" y="90"/>
                    </a:cubicBezTo>
                    <a:cubicBezTo>
                      <a:pt x="263" y="90"/>
                      <a:pt x="264" y="96"/>
                      <a:pt x="264" y="101"/>
                    </a:cubicBezTo>
                    <a:cubicBezTo>
                      <a:pt x="264" y="106"/>
                      <a:pt x="263" y="112"/>
                      <a:pt x="256" y="112"/>
                    </a:cubicBezTo>
                    <a:close/>
                    <a:moveTo>
                      <a:pt x="287" y="112"/>
                    </a:moveTo>
                    <a:cubicBezTo>
                      <a:pt x="271" y="112"/>
                      <a:pt x="271" y="112"/>
                      <a:pt x="271" y="112"/>
                    </a:cubicBezTo>
                    <a:cubicBezTo>
                      <a:pt x="271" y="108"/>
                      <a:pt x="271" y="108"/>
                      <a:pt x="271" y="108"/>
                    </a:cubicBezTo>
                    <a:cubicBezTo>
                      <a:pt x="277" y="108"/>
                      <a:pt x="277" y="108"/>
                      <a:pt x="277" y="108"/>
                    </a:cubicBezTo>
                    <a:cubicBezTo>
                      <a:pt x="277" y="94"/>
                      <a:pt x="277" y="94"/>
                      <a:pt x="277" y="94"/>
                    </a:cubicBezTo>
                    <a:cubicBezTo>
                      <a:pt x="272" y="97"/>
                      <a:pt x="272" y="97"/>
                      <a:pt x="272" y="97"/>
                    </a:cubicBezTo>
                    <a:cubicBezTo>
                      <a:pt x="270" y="93"/>
                      <a:pt x="270" y="93"/>
                      <a:pt x="270" y="93"/>
                    </a:cubicBezTo>
                    <a:cubicBezTo>
                      <a:pt x="278" y="90"/>
                      <a:pt x="278" y="90"/>
                      <a:pt x="278" y="90"/>
                    </a:cubicBezTo>
                    <a:cubicBezTo>
                      <a:pt x="281" y="90"/>
                      <a:pt x="281" y="90"/>
                      <a:pt x="281" y="90"/>
                    </a:cubicBezTo>
                    <a:cubicBezTo>
                      <a:pt x="281" y="108"/>
                      <a:pt x="281" y="108"/>
                      <a:pt x="281" y="108"/>
                    </a:cubicBezTo>
                    <a:cubicBezTo>
                      <a:pt x="287" y="108"/>
                      <a:pt x="287" y="108"/>
                      <a:pt x="287" y="108"/>
                    </a:cubicBezTo>
                    <a:cubicBezTo>
                      <a:pt x="287" y="112"/>
                      <a:pt x="287" y="112"/>
                      <a:pt x="287" y="112"/>
                    </a:cubicBezTo>
                    <a:cubicBezTo>
                      <a:pt x="287" y="112"/>
                      <a:pt x="287" y="112"/>
                      <a:pt x="287" y="112"/>
                    </a:cubicBezTo>
                    <a:close/>
                    <a:moveTo>
                      <a:pt x="104" y="133"/>
                    </a:moveTo>
                    <a:cubicBezTo>
                      <a:pt x="104" y="133"/>
                      <a:pt x="104" y="133"/>
                      <a:pt x="103" y="132"/>
                    </a:cubicBezTo>
                    <a:cubicBezTo>
                      <a:pt x="102" y="131"/>
                      <a:pt x="101" y="130"/>
                      <a:pt x="100" y="131"/>
                    </a:cubicBezTo>
                    <a:cubicBezTo>
                      <a:pt x="99" y="131"/>
                      <a:pt x="99" y="131"/>
                      <a:pt x="99" y="131"/>
                    </a:cubicBezTo>
                    <a:cubicBezTo>
                      <a:pt x="98" y="132"/>
                      <a:pt x="97" y="134"/>
                      <a:pt x="97" y="136"/>
                    </a:cubicBezTo>
                    <a:cubicBezTo>
                      <a:pt x="97" y="138"/>
                      <a:pt x="97" y="140"/>
                      <a:pt x="97" y="141"/>
                    </a:cubicBezTo>
                    <a:cubicBezTo>
                      <a:pt x="98" y="147"/>
                      <a:pt x="101" y="148"/>
                      <a:pt x="101" y="148"/>
                    </a:cubicBezTo>
                    <a:cubicBezTo>
                      <a:pt x="102" y="148"/>
                      <a:pt x="102" y="148"/>
                      <a:pt x="103" y="148"/>
                    </a:cubicBezTo>
                    <a:cubicBezTo>
                      <a:pt x="104" y="148"/>
                      <a:pt x="104" y="148"/>
                      <a:pt x="105" y="147"/>
                    </a:cubicBezTo>
                    <a:cubicBezTo>
                      <a:pt x="106" y="145"/>
                      <a:pt x="106" y="142"/>
                      <a:pt x="106" y="139"/>
                    </a:cubicBezTo>
                    <a:cubicBezTo>
                      <a:pt x="105" y="137"/>
                      <a:pt x="105" y="135"/>
                      <a:pt x="104" y="133"/>
                    </a:cubicBezTo>
                    <a:close/>
                    <a:moveTo>
                      <a:pt x="235" y="109"/>
                    </a:moveTo>
                    <a:cubicBezTo>
                      <a:pt x="234" y="109"/>
                      <a:pt x="232" y="110"/>
                      <a:pt x="232" y="116"/>
                    </a:cubicBezTo>
                    <a:cubicBezTo>
                      <a:pt x="231" y="117"/>
                      <a:pt x="231" y="119"/>
                      <a:pt x="231" y="122"/>
                    </a:cubicBezTo>
                    <a:cubicBezTo>
                      <a:pt x="231" y="125"/>
                      <a:pt x="232" y="129"/>
                      <a:pt x="234" y="127"/>
                    </a:cubicBezTo>
                    <a:cubicBezTo>
                      <a:pt x="236" y="124"/>
                      <a:pt x="236" y="115"/>
                      <a:pt x="236" y="111"/>
                    </a:cubicBezTo>
                    <a:cubicBezTo>
                      <a:pt x="235" y="110"/>
                      <a:pt x="235" y="109"/>
                      <a:pt x="235" y="109"/>
                    </a:cubicBez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5" name="Freeform 198"/>
              <p:cNvSpPr>
                <a:spLocks noEditPoints="1"/>
              </p:cNvSpPr>
              <p:nvPr/>
            </p:nvSpPr>
            <p:spPr bwMode="auto">
              <a:xfrm>
                <a:off x="11581770" y="1479207"/>
                <a:ext cx="112061" cy="128276"/>
              </a:xfrm>
              <a:custGeom>
                <a:avLst/>
                <a:gdLst>
                  <a:gd name="T0" fmla="*/ 102 w 102"/>
                  <a:gd name="T1" fmla="*/ 21 h 112"/>
                  <a:gd name="T2" fmla="*/ 101 w 102"/>
                  <a:gd name="T3" fmla="*/ 20 h 112"/>
                  <a:gd name="T4" fmla="*/ 101 w 102"/>
                  <a:gd name="T5" fmla="*/ 19 h 112"/>
                  <a:gd name="T6" fmla="*/ 100 w 102"/>
                  <a:gd name="T7" fmla="*/ 18 h 112"/>
                  <a:gd name="T8" fmla="*/ 100 w 102"/>
                  <a:gd name="T9" fmla="*/ 17 h 112"/>
                  <a:gd name="T10" fmla="*/ 99 w 102"/>
                  <a:gd name="T11" fmla="*/ 17 h 112"/>
                  <a:gd name="T12" fmla="*/ 98 w 102"/>
                  <a:gd name="T13" fmla="*/ 17 h 112"/>
                  <a:gd name="T14" fmla="*/ 97 w 102"/>
                  <a:gd name="T15" fmla="*/ 16 h 112"/>
                  <a:gd name="T16" fmla="*/ 96 w 102"/>
                  <a:gd name="T17" fmla="*/ 16 h 112"/>
                  <a:gd name="T18" fmla="*/ 11 w 102"/>
                  <a:gd name="T19" fmla="*/ 5 h 112"/>
                  <a:gd name="T20" fmla="*/ 0 w 102"/>
                  <a:gd name="T21" fmla="*/ 8 h 112"/>
                  <a:gd name="T22" fmla="*/ 23 w 102"/>
                  <a:gd name="T23" fmla="*/ 94 h 112"/>
                  <a:gd name="T24" fmla="*/ 23 w 102"/>
                  <a:gd name="T25" fmla="*/ 96 h 112"/>
                  <a:gd name="T26" fmla="*/ 24 w 102"/>
                  <a:gd name="T27" fmla="*/ 96 h 112"/>
                  <a:gd name="T28" fmla="*/ 25 w 102"/>
                  <a:gd name="T29" fmla="*/ 97 h 112"/>
                  <a:gd name="T30" fmla="*/ 26 w 102"/>
                  <a:gd name="T31" fmla="*/ 98 h 112"/>
                  <a:gd name="T32" fmla="*/ 26 w 102"/>
                  <a:gd name="T33" fmla="*/ 98 h 112"/>
                  <a:gd name="T34" fmla="*/ 43 w 102"/>
                  <a:gd name="T35" fmla="*/ 98 h 112"/>
                  <a:gd name="T36" fmla="*/ 77 w 102"/>
                  <a:gd name="T37" fmla="*/ 94 h 112"/>
                  <a:gd name="T38" fmla="*/ 91 w 102"/>
                  <a:gd name="T39" fmla="*/ 93 h 112"/>
                  <a:gd name="T40" fmla="*/ 32 w 102"/>
                  <a:gd name="T41" fmla="*/ 87 h 112"/>
                  <a:gd name="T42" fmla="*/ 91 w 102"/>
                  <a:gd name="T43" fmla="*/ 66 h 112"/>
                  <a:gd name="T44" fmla="*/ 92 w 102"/>
                  <a:gd name="T45" fmla="*/ 66 h 112"/>
                  <a:gd name="T46" fmla="*/ 93 w 102"/>
                  <a:gd name="T47" fmla="*/ 66 h 112"/>
                  <a:gd name="T48" fmla="*/ 94 w 102"/>
                  <a:gd name="T49" fmla="*/ 65 h 112"/>
                  <a:gd name="T50" fmla="*/ 94 w 102"/>
                  <a:gd name="T51" fmla="*/ 65 h 112"/>
                  <a:gd name="T52" fmla="*/ 95 w 102"/>
                  <a:gd name="T53" fmla="*/ 64 h 112"/>
                  <a:gd name="T54" fmla="*/ 96 w 102"/>
                  <a:gd name="T55" fmla="*/ 63 h 112"/>
                  <a:gd name="T56" fmla="*/ 96 w 102"/>
                  <a:gd name="T57" fmla="*/ 62 h 112"/>
                  <a:gd name="T58" fmla="*/ 96 w 102"/>
                  <a:gd name="T59" fmla="*/ 61 h 112"/>
                  <a:gd name="T60" fmla="*/ 102 w 102"/>
                  <a:gd name="T61" fmla="*/ 22 h 112"/>
                  <a:gd name="T62" fmla="*/ 102 w 102"/>
                  <a:gd name="T63" fmla="*/ 22 h 112"/>
                  <a:gd name="T64" fmla="*/ 24 w 102"/>
                  <a:gd name="T65" fmla="*/ 55 h 112"/>
                  <a:gd name="T66" fmla="*/ 87 w 102"/>
                  <a:gd name="T67" fmla="*/ 47 h 112"/>
                  <a:gd name="T68" fmla="*/ 86 w 102"/>
                  <a:gd name="T69" fmla="*/ 55 h 112"/>
                  <a:gd name="T70" fmla="*/ 19 w 102"/>
                  <a:gd name="T71" fmla="*/ 35 h 112"/>
                  <a:gd name="T72" fmla="*/ 90 w 102"/>
                  <a:gd name="T73" fmla="*/ 27 h 112"/>
                  <a:gd name="T74" fmla="*/ 89 w 102"/>
                  <a:gd name="T75" fmla="*/ 35 h 112"/>
                  <a:gd name="T76" fmla="*/ 34 w 102"/>
                  <a:gd name="T77" fmla="*/ 112 h 112"/>
                  <a:gd name="T78" fmla="*/ 34 w 102"/>
                  <a:gd name="T79" fmla="*/ 97 h 112"/>
                  <a:gd name="T80" fmla="*/ 85 w 102"/>
                  <a:gd name="T81" fmla="*/ 105 h 112"/>
                  <a:gd name="T82" fmla="*/ 69 w 102"/>
                  <a:gd name="T83" fmla="*/ 105 h 112"/>
                  <a:gd name="T84" fmla="*/ 85 w 102"/>
                  <a:gd name="T85" fmla="*/ 10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2" h="112">
                    <a:moveTo>
                      <a:pt x="102" y="22"/>
                    </a:moveTo>
                    <a:cubicBezTo>
                      <a:pt x="102" y="21"/>
                      <a:pt x="102" y="21"/>
                      <a:pt x="102" y="21"/>
                    </a:cubicBezTo>
                    <a:cubicBezTo>
                      <a:pt x="102" y="21"/>
                      <a:pt x="102" y="21"/>
                      <a:pt x="102" y="21"/>
                    </a:cubicBezTo>
                    <a:cubicBezTo>
                      <a:pt x="101" y="20"/>
                      <a:pt x="101" y="20"/>
                      <a:pt x="101" y="20"/>
                    </a:cubicBezTo>
                    <a:cubicBezTo>
                      <a:pt x="101" y="20"/>
                      <a:pt x="101" y="20"/>
                      <a:pt x="101" y="20"/>
                    </a:cubicBezTo>
                    <a:cubicBezTo>
                      <a:pt x="101" y="19"/>
                      <a:pt x="101" y="19"/>
                      <a:pt x="101" y="19"/>
                    </a:cubicBezTo>
                    <a:cubicBezTo>
                      <a:pt x="101" y="19"/>
                      <a:pt x="101" y="19"/>
                      <a:pt x="101" y="19"/>
                    </a:cubicBezTo>
                    <a:cubicBezTo>
                      <a:pt x="101" y="19"/>
                      <a:pt x="101" y="19"/>
                      <a:pt x="100" y="18"/>
                    </a:cubicBezTo>
                    <a:cubicBezTo>
                      <a:pt x="100" y="18"/>
                      <a:pt x="100" y="18"/>
                      <a:pt x="100" y="18"/>
                    </a:cubicBezTo>
                    <a:cubicBezTo>
                      <a:pt x="100" y="18"/>
                      <a:pt x="100" y="18"/>
                      <a:pt x="100" y="17"/>
                    </a:cubicBezTo>
                    <a:cubicBezTo>
                      <a:pt x="100" y="17"/>
                      <a:pt x="99" y="17"/>
                      <a:pt x="99" y="17"/>
                    </a:cubicBezTo>
                    <a:cubicBezTo>
                      <a:pt x="99" y="17"/>
                      <a:pt x="99" y="17"/>
                      <a:pt x="99" y="17"/>
                    </a:cubicBezTo>
                    <a:cubicBezTo>
                      <a:pt x="98" y="17"/>
                      <a:pt x="98" y="17"/>
                      <a:pt x="98" y="17"/>
                    </a:cubicBezTo>
                    <a:cubicBezTo>
                      <a:pt x="98" y="17"/>
                      <a:pt x="98" y="17"/>
                      <a:pt x="98" y="17"/>
                    </a:cubicBezTo>
                    <a:cubicBezTo>
                      <a:pt x="98" y="16"/>
                      <a:pt x="97" y="16"/>
                      <a:pt x="97" y="16"/>
                    </a:cubicBezTo>
                    <a:cubicBezTo>
                      <a:pt x="97" y="16"/>
                      <a:pt x="97" y="16"/>
                      <a:pt x="97" y="16"/>
                    </a:cubicBezTo>
                    <a:cubicBezTo>
                      <a:pt x="97" y="16"/>
                      <a:pt x="97" y="16"/>
                      <a:pt x="97" y="16"/>
                    </a:cubicBezTo>
                    <a:cubicBezTo>
                      <a:pt x="96" y="16"/>
                      <a:pt x="96" y="16"/>
                      <a:pt x="96" y="16"/>
                    </a:cubicBezTo>
                    <a:cubicBezTo>
                      <a:pt x="14" y="16"/>
                      <a:pt x="14" y="16"/>
                      <a:pt x="14" y="16"/>
                    </a:cubicBezTo>
                    <a:cubicBezTo>
                      <a:pt x="11" y="5"/>
                      <a:pt x="11" y="5"/>
                      <a:pt x="11" y="5"/>
                    </a:cubicBezTo>
                    <a:cubicBezTo>
                      <a:pt x="10" y="2"/>
                      <a:pt x="7" y="0"/>
                      <a:pt x="4" y="1"/>
                    </a:cubicBezTo>
                    <a:cubicBezTo>
                      <a:pt x="1" y="2"/>
                      <a:pt x="0" y="5"/>
                      <a:pt x="0" y="8"/>
                    </a:cubicBezTo>
                    <a:cubicBezTo>
                      <a:pt x="22" y="94"/>
                      <a:pt x="22" y="94"/>
                      <a:pt x="22" y="94"/>
                    </a:cubicBezTo>
                    <a:cubicBezTo>
                      <a:pt x="23" y="94"/>
                      <a:pt x="23" y="94"/>
                      <a:pt x="23" y="94"/>
                    </a:cubicBezTo>
                    <a:cubicBezTo>
                      <a:pt x="23" y="95"/>
                      <a:pt x="23" y="95"/>
                      <a:pt x="23" y="95"/>
                    </a:cubicBezTo>
                    <a:cubicBezTo>
                      <a:pt x="23" y="95"/>
                      <a:pt x="23" y="96"/>
                      <a:pt x="23" y="96"/>
                    </a:cubicBezTo>
                    <a:cubicBezTo>
                      <a:pt x="23" y="96"/>
                      <a:pt x="23" y="96"/>
                      <a:pt x="23" y="96"/>
                    </a:cubicBezTo>
                    <a:cubicBezTo>
                      <a:pt x="23" y="96"/>
                      <a:pt x="24" y="96"/>
                      <a:pt x="24" y="96"/>
                    </a:cubicBezTo>
                    <a:cubicBezTo>
                      <a:pt x="24" y="97"/>
                      <a:pt x="24" y="97"/>
                      <a:pt x="24" y="97"/>
                    </a:cubicBezTo>
                    <a:cubicBezTo>
                      <a:pt x="25" y="97"/>
                      <a:pt x="25" y="97"/>
                      <a:pt x="25" y="97"/>
                    </a:cubicBezTo>
                    <a:cubicBezTo>
                      <a:pt x="25" y="97"/>
                      <a:pt x="25" y="97"/>
                      <a:pt x="25" y="97"/>
                    </a:cubicBezTo>
                    <a:cubicBezTo>
                      <a:pt x="25" y="97"/>
                      <a:pt x="25" y="97"/>
                      <a:pt x="26" y="98"/>
                    </a:cubicBezTo>
                    <a:cubicBezTo>
                      <a:pt x="26" y="98"/>
                      <a:pt x="26" y="98"/>
                      <a:pt x="26" y="98"/>
                    </a:cubicBezTo>
                    <a:cubicBezTo>
                      <a:pt x="26" y="98"/>
                      <a:pt x="26" y="98"/>
                      <a:pt x="26" y="98"/>
                    </a:cubicBezTo>
                    <a:cubicBezTo>
                      <a:pt x="28" y="95"/>
                      <a:pt x="31" y="94"/>
                      <a:pt x="34" y="94"/>
                    </a:cubicBezTo>
                    <a:cubicBezTo>
                      <a:pt x="38" y="94"/>
                      <a:pt x="41" y="96"/>
                      <a:pt x="43" y="98"/>
                    </a:cubicBezTo>
                    <a:cubicBezTo>
                      <a:pt x="68" y="98"/>
                      <a:pt x="68" y="98"/>
                      <a:pt x="68" y="98"/>
                    </a:cubicBezTo>
                    <a:cubicBezTo>
                      <a:pt x="71" y="96"/>
                      <a:pt x="73" y="94"/>
                      <a:pt x="77" y="94"/>
                    </a:cubicBezTo>
                    <a:cubicBezTo>
                      <a:pt x="81" y="94"/>
                      <a:pt x="84" y="96"/>
                      <a:pt x="86" y="98"/>
                    </a:cubicBezTo>
                    <a:cubicBezTo>
                      <a:pt x="89" y="98"/>
                      <a:pt x="91" y="96"/>
                      <a:pt x="91" y="93"/>
                    </a:cubicBezTo>
                    <a:cubicBezTo>
                      <a:pt x="91" y="90"/>
                      <a:pt x="88" y="87"/>
                      <a:pt x="85" y="87"/>
                    </a:cubicBezTo>
                    <a:cubicBezTo>
                      <a:pt x="32" y="87"/>
                      <a:pt x="32" y="87"/>
                      <a:pt x="32" y="87"/>
                    </a:cubicBezTo>
                    <a:cubicBezTo>
                      <a:pt x="27" y="66"/>
                      <a:pt x="27" y="66"/>
                      <a:pt x="27" y="66"/>
                    </a:cubicBezTo>
                    <a:cubicBezTo>
                      <a:pt x="91" y="66"/>
                      <a:pt x="91" y="66"/>
                      <a:pt x="91" y="66"/>
                    </a:cubicBezTo>
                    <a:cubicBezTo>
                      <a:pt x="91" y="66"/>
                      <a:pt x="91" y="66"/>
                      <a:pt x="91" y="66"/>
                    </a:cubicBezTo>
                    <a:cubicBezTo>
                      <a:pt x="91" y="66"/>
                      <a:pt x="91" y="66"/>
                      <a:pt x="92" y="66"/>
                    </a:cubicBezTo>
                    <a:cubicBezTo>
                      <a:pt x="92" y="66"/>
                      <a:pt x="92" y="66"/>
                      <a:pt x="92" y="66"/>
                    </a:cubicBezTo>
                    <a:cubicBezTo>
                      <a:pt x="92" y="66"/>
                      <a:pt x="93" y="66"/>
                      <a:pt x="93" y="66"/>
                    </a:cubicBezTo>
                    <a:cubicBezTo>
                      <a:pt x="93" y="66"/>
                      <a:pt x="93" y="66"/>
                      <a:pt x="93" y="65"/>
                    </a:cubicBezTo>
                    <a:cubicBezTo>
                      <a:pt x="94" y="65"/>
                      <a:pt x="94" y="65"/>
                      <a:pt x="94" y="65"/>
                    </a:cubicBezTo>
                    <a:cubicBezTo>
                      <a:pt x="94" y="65"/>
                      <a:pt x="94" y="65"/>
                      <a:pt x="94" y="65"/>
                    </a:cubicBezTo>
                    <a:cubicBezTo>
                      <a:pt x="94" y="65"/>
                      <a:pt x="94" y="65"/>
                      <a:pt x="94" y="65"/>
                    </a:cubicBezTo>
                    <a:cubicBezTo>
                      <a:pt x="95" y="65"/>
                      <a:pt x="95" y="64"/>
                      <a:pt x="95" y="64"/>
                    </a:cubicBezTo>
                    <a:cubicBezTo>
                      <a:pt x="95" y="64"/>
                      <a:pt x="95" y="64"/>
                      <a:pt x="95" y="64"/>
                    </a:cubicBezTo>
                    <a:cubicBezTo>
                      <a:pt x="96" y="63"/>
                      <a:pt x="96" y="63"/>
                      <a:pt x="96" y="63"/>
                    </a:cubicBezTo>
                    <a:cubicBezTo>
                      <a:pt x="96" y="63"/>
                      <a:pt x="96" y="63"/>
                      <a:pt x="96" y="63"/>
                    </a:cubicBezTo>
                    <a:cubicBezTo>
                      <a:pt x="96" y="63"/>
                      <a:pt x="96" y="63"/>
                      <a:pt x="96" y="62"/>
                    </a:cubicBezTo>
                    <a:cubicBezTo>
                      <a:pt x="96" y="62"/>
                      <a:pt x="96" y="62"/>
                      <a:pt x="96" y="62"/>
                    </a:cubicBezTo>
                    <a:cubicBezTo>
                      <a:pt x="96" y="62"/>
                      <a:pt x="96" y="62"/>
                      <a:pt x="96" y="62"/>
                    </a:cubicBezTo>
                    <a:cubicBezTo>
                      <a:pt x="96" y="61"/>
                      <a:pt x="96" y="61"/>
                      <a:pt x="96" y="61"/>
                    </a:cubicBezTo>
                    <a:cubicBezTo>
                      <a:pt x="102" y="23"/>
                      <a:pt x="102" y="23"/>
                      <a:pt x="102" y="23"/>
                    </a:cubicBezTo>
                    <a:cubicBezTo>
                      <a:pt x="102" y="22"/>
                      <a:pt x="102" y="22"/>
                      <a:pt x="102" y="22"/>
                    </a:cubicBezTo>
                    <a:cubicBezTo>
                      <a:pt x="102" y="22"/>
                      <a:pt x="102" y="22"/>
                      <a:pt x="102" y="22"/>
                    </a:cubicBezTo>
                    <a:cubicBezTo>
                      <a:pt x="102" y="22"/>
                      <a:pt x="102" y="22"/>
                      <a:pt x="102" y="22"/>
                    </a:cubicBezTo>
                    <a:close/>
                    <a:moveTo>
                      <a:pt x="86" y="55"/>
                    </a:moveTo>
                    <a:cubicBezTo>
                      <a:pt x="24" y="55"/>
                      <a:pt x="24" y="55"/>
                      <a:pt x="24" y="55"/>
                    </a:cubicBezTo>
                    <a:cubicBezTo>
                      <a:pt x="22" y="47"/>
                      <a:pt x="22" y="47"/>
                      <a:pt x="22" y="47"/>
                    </a:cubicBezTo>
                    <a:cubicBezTo>
                      <a:pt x="87" y="47"/>
                      <a:pt x="87" y="47"/>
                      <a:pt x="87" y="47"/>
                    </a:cubicBezTo>
                    <a:cubicBezTo>
                      <a:pt x="86" y="55"/>
                      <a:pt x="86" y="55"/>
                      <a:pt x="86" y="55"/>
                    </a:cubicBezTo>
                    <a:cubicBezTo>
                      <a:pt x="86" y="55"/>
                      <a:pt x="86" y="55"/>
                      <a:pt x="86" y="55"/>
                    </a:cubicBezTo>
                    <a:close/>
                    <a:moveTo>
                      <a:pt x="89" y="35"/>
                    </a:moveTo>
                    <a:cubicBezTo>
                      <a:pt x="19" y="35"/>
                      <a:pt x="19" y="35"/>
                      <a:pt x="19" y="35"/>
                    </a:cubicBezTo>
                    <a:cubicBezTo>
                      <a:pt x="17" y="27"/>
                      <a:pt x="17" y="27"/>
                      <a:pt x="17" y="27"/>
                    </a:cubicBezTo>
                    <a:cubicBezTo>
                      <a:pt x="90" y="27"/>
                      <a:pt x="90" y="27"/>
                      <a:pt x="90" y="27"/>
                    </a:cubicBezTo>
                    <a:cubicBezTo>
                      <a:pt x="89" y="35"/>
                      <a:pt x="89" y="35"/>
                      <a:pt x="89" y="35"/>
                    </a:cubicBezTo>
                    <a:cubicBezTo>
                      <a:pt x="89" y="35"/>
                      <a:pt x="89" y="35"/>
                      <a:pt x="89" y="35"/>
                    </a:cubicBezTo>
                    <a:close/>
                    <a:moveTo>
                      <a:pt x="42" y="105"/>
                    </a:moveTo>
                    <a:cubicBezTo>
                      <a:pt x="42" y="109"/>
                      <a:pt x="39" y="112"/>
                      <a:pt x="34" y="112"/>
                    </a:cubicBezTo>
                    <a:cubicBezTo>
                      <a:pt x="30" y="112"/>
                      <a:pt x="27" y="109"/>
                      <a:pt x="27" y="105"/>
                    </a:cubicBezTo>
                    <a:cubicBezTo>
                      <a:pt x="27" y="100"/>
                      <a:pt x="30" y="97"/>
                      <a:pt x="34" y="97"/>
                    </a:cubicBezTo>
                    <a:cubicBezTo>
                      <a:pt x="39" y="97"/>
                      <a:pt x="42" y="100"/>
                      <a:pt x="42" y="105"/>
                    </a:cubicBezTo>
                    <a:close/>
                    <a:moveTo>
                      <a:pt x="85" y="105"/>
                    </a:moveTo>
                    <a:cubicBezTo>
                      <a:pt x="85" y="109"/>
                      <a:pt x="82" y="112"/>
                      <a:pt x="77" y="112"/>
                    </a:cubicBezTo>
                    <a:cubicBezTo>
                      <a:pt x="73" y="112"/>
                      <a:pt x="69" y="109"/>
                      <a:pt x="69" y="105"/>
                    </a:cubicBezTo>
                    <a:cubicBezTo>
                      <a:pt x="69" y="100"/>
                      <a:pt x="73" y="97"/>
                      <a:pt x="77" y="97"/>
                    </a:cubicBezTo>
                    <a:cubicBezTo>
                      <a:pt x="82" y="97"/>
                      <a:pt x="85" y="100"/>
                      <a:pt x="85" y="105"/>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6" name="Freeform 199"/>
              <p:cNvSpPr>
                <a:spLocks noEditPoints="1"/>
              </p:cNvSpPr>
              <p:nvPr/>
            </p:nvSpPr>
            <p:spPr bwMode="auto">
              <a:xfrm rot="5400000">
                <a:off x="11948084" y="817760"/>
                <a:ext cx="171729" cy="169023"/>
              </a:xfrm>
              <a:custGeom>
                <a:avLst/>
                <a:gdLst>
                  <a:gd name="T0" fmla="*/ 132 w 156"/>
                  <a:gd name="T1" fmla="*/ 15 h 148"/>
                  <a:gd name="T2" fmla="*/ 78 w 156"/>
                  <a:gd name="T3" fmla="*/ 0 h 148"/>
                  <a:gd name="T4" fmla="*/ 24 w 156"/>
                  <a:gd name="T5" fmla="*/ 15 h 148"/>
                  <a:gd name="T6" fmla="*/ 0 w 156"/>
                  <a:gd name="T7" fmla="*/ 55 h 148"/>
                  <a:gd name="T8" fmla="*/ 25 w 156"/>
                  <a:gd name="T9" fmla="*/ 96 h 148"/>
                  <a:gd name="T10" fmla="*/ 20 w 156"/>
                  <a:gd name="T11" fmla="*/ 121 h 148"/>
                  <a:gd name="T12" fmla="*/ 16 w 156"/>
                  <a:gd name="T13" fmla="*/ 142 h 148"/>
                  <a:gd name="T14" fmla="*/ 15 w 156"/>
                  <a:gd name="T15" fmla="*/ 148 h 148"/>
                  <a:gd name="T16" fmla="*/ 19 w 156"/>
                  <a:gd name="T17" fmla="*/ 143 h 148"/>
                  <a:gd name="T18" fmla="*/ 33 w 156"/>
                  <a:gd name="T19" fmla="*/ 127 h 148"/>
                  <a:gd name="T20" fmla="*/ 53 w 156"/>
                  <a:gd name="T21" fmla="*/ 107 h 148"/>
                  <a:gd name="T22" fmla="*/ 78 w 156"/>
                  <a:gd name="T23" fmla="*/ 110 h 148"/>
                  <a:gd name="T24" fmla="*/ 132 w 156"/>
                  <a:gd name="T25" fmla="*/ 94 h 148"/>
                  <a:gd name="T26" fmla="*/ 156 w 156"/>
                  <a:gd name="T27" fmla="*/ 55 h 148"/>
                  <a:gd name="T28" fmla="*/ 132 w 156"/>
                  <a:gd name="T29" fmla="*/ 15 h 148"/>
                  <a:gd name="T30" fmla="*/ 36 w 156"/>
                  <a:gd name="T31" fmla="*/ 92 h 148"/>
                  <a:gd name="T32" fmla="*/ 36 w 156"/>
                  <a:gd name="T33" fmla="*/ 91 h 148"/>
                  <a:gd name="T34" fmla="*/ 35 w 156"/>
                  <a:gd name="T35" fmla="*/ 91 h 148"/>
                  <a:gd name="T36" fmla="*/ 9 w 156"/>
                  <a:gd name="T37" fmla="*/ 55 h 148"/>
                  <a:gd name="T38" fmla="*/ 78 w 156"/>
                  <a:gd name="T39" fmla="*/ 10 h 148"/>
                  <a:gd name="T40" fmla="*/ 147 w 156"/>
                  <a:gd name="T41" fmla="*/ 55 h 148"/>
                  <a:gd name="T42" fmla="*/ 78 w 156"/>
                  <a:gd name="T43" fmla="*/ 100 h 148"/>
                  <a:gd name="T44" fmla="*/ 51 w 156"/>
                  <a:gd name="T45" fmla="*/ 97 h 148"/>
                  <a:gd name="T46" fmla="*/ 50 w 156"/>
                  <a:gd name="T47" fmla="*/ 96 h 148"/>
                  <a:gd name="T48" fmla="*/ 49 w 156"/>
                  <a:gd name="T49" fmla="*/ 97 h 148"/>
                  <a:gd name="T50" fmla="*/ 30 w 156"/>
                  <a:gd name="T51" fmla="*/ 118 h 148"/>
                  <a:gd name="T52" fmla="*/ 36 w 156"/>
                  <a:gd name="T53" fmla="*/ 92 h 148"/>
                  <a:gd name="T54" fmla="*/ 36 w 156"/>
                  <a:gd name="T55" fmla="*/ 9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6" h="148">
                    <a:moveTo>
                      <a:pt x="132" y="15"/>
                    </a:moveTo>
                    <a:cubicBezTo>
                      <a:pt x="118" y="5"/>
                      <a:pt x="98" y="0"/>
                      <a:pt x="78" y="0"/>
                    </a:cubicBezTo>
                    <a:cubicBezTo>
                      <a:pt x="57" y="0"/>
                      <a:pt x="38" y="5"/>
                      <a:pt x="24" y="15"/>
                    </a:cubicBezTo>
                    <a:cubicBezTo>
                      <a:pt x="8" y="26"/>
                      <a:pt x="0" y="40"/>
                      <a:pt x="0" y="55"/>
                    </a:cubicBezTo>
                    <a:cubicBezTo>
                      <a:pt x="0" y="70"/>
                      <a:pt x="9" y="85"/>
                      <a:pt x="25" y="96"/>
                    </a:cubicBezTo>
                    <a:cubicBezTo>
                      <a:pt x="20" y="121"/>
                      <a:pt x="20" y="121"/>
                      <a:pt x="20" y="121"/>
                    </a:cubicBezTo>
                    <a:cubicBezTo>
                      <a:pt x="16" y="142"/>
                      <a:pt x="16" y="142"/>
                      <a:pt x="16" y="142"/>
                    </a:cubicBezTo>
                    <a:cubicBezTo>
                      <a:pt x="15" y="148"/>
                      <a:pt x="15" y="148"/>
                      <a:pt x="15" y="148"/>
                    </a:cubicBezTo>
                    <a:cubicBezTo>
                      <a:pt x="19" y="143"/>
                      <a:pt x="19" y="143"/>
                      <a:pt x="19" y="143"/>
                    </a:cubicBezTo>
                    <a:cubicBezTo>
                      <a:pt x="33" y="127"/>
                      <a:pt x="33" y="127"/>
                      <a:pt x="33" y="127"/>
                    </a:cubicBezTo>
                    <a:cubicBezTo>
                      <a:pt x="53" y="107"/>
                      <a:pt x="53" y="107"/>
                      <a:pt x="53" y="107"/>
                    </a:cubicBezTo>
                    <a:cubicBezTo>
                      <a:pt x="61" y="108"/>
                      <a:pt x="69" y="110"/>
                      <a:pt x="78" y="110"/>
                    </a:cubicBezTo>
                    <a:cubicBezTo>
                      <a:pt x="98" y="110"/>
                      <a:pt x="118" y="104"/>
                      <a:pt x="132" y="94"/>
                    </a:cubicBezTo>
                    <a:cubicBezTo>
                      <a:pt x="148" y="84"/>
                      <a:pt x="156" y="70"/>
                      <a:pt x="156" y="55"/>
                    </a:cubicBezTo>
                    <a:cubicBezTo>
                      <a:pt x="156" y="40"/>
                      <a:pt x="148" y="26"/>
                      <a:pt x="132" y="15"/>
                    </a:cubicBezTo>
                    <a:close/>
                    <a:moveTo>
                      <a:pt x="36" y="92"/>
                    </a:moveTo>
                    <a:cubicBezTo>
                      <a:pt x="36" y="91"/>
                      <a:pt x="36" y="91"/>
                      <a:pt x="36" y="91"/>
                    </a:cubicBezTo>
                    <a:cubicBezTo>
                      <a:pt x="35" y="91"/>
                      <a:pt x="35" y="91"/>
                      <a:pt x="35" y="91"/>
                    </a:cubicBezTo>
                    <a:cubicBezTo>
                      <a:pt x="18" y="81"/>
                      <a:pt x="9" y="69"/>
                      <a:pt x="9" y="55"/>
                    </a:cubicBezTo>
                    <a:cubicBezTo>
                      <a:pt x="9" y="30"/>
                      <a:pt x="40" y="10"/>
                      <a:pt x="78" y="10"/>
                    </a:cubicBezTo>
                    <a:cubicBezTo>
                      <a:pt x="116" y="10"/>
                      <a:pt x="147" y="30"/>
                      <a:pt x="147" y="55"/>
                    </a:cubicBezTo>
                    <a:cubicBezTo>
                      <a:pt x="147" y="80"/>
                      <a:pt x="116" y="100"/>
                      <a:pt x="78" y="100"/>
                    </a:cubicBezTo>
                    <a:cubicBezTo>
                      <a:pt x="68" y="100"/>
                      <a:pt x="59" y="99"/>
                      <a:pt x="51" y="97"/>
                    </a:cubicBezTo>
                    <a:cubicBezTo>
                      <a:pt x="50" y="96"/>
                      <a:pt x="50" y="96"/>
                      <a:pt x="50" y="96"/>
                    </a:cubicBezTo>
                    <a:cubicBezTo>
                      <a:pt x="49" y="97"/>
                      <a:pt x="49" y="97"/>
                      <a:pt x="49" y="97"/>
                    </a:cubicBezTo>
                    <a:cubicBezTo>
                      <a:pt x="30" y="118"/>
                      <a:pt x="30" y="118"/>
                      <a:pt x="30" y="118"/>
                    </a:cubicBezTo>
                    <a:cubicBezTo>
                      <a:pt x="36" y="92"/>
                      <a:pt x="36" y="92"/>
                      <a:pt x="36" y="92"/>
                    </a:cubicBezTo>
                    <a:cubicBezTo>
                      <a:pt x="36" y="92"/>
                      <a:pt x="36" y="92"/>
                      <a:pt x="36" y="92"/>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57" name="Freeform 200"/>
              <p:cNvSpPr>
                <a:spLocks/>
              </p:cNvSpPr>
              <p:nvPr/>
            </p:nvSpPr>
            <p:spPr bwMode="auto">
              <a:xfrm rot="5400000">
                <a:off x="11921028" y="929604"/>
                <a:ext cx="136801" cy="140349"/>
              </a:xfrm>
              <a:custGeom>
                <a:avLst/>
                <a:gdLst>
                  <a:gd name="T0" fmla="*/ 124 w 124"/>
                  <a:gd name="T1" fmla="*/ 45 h 123"/>
                  <a:gd name="T2" fmla="*/ 104 w 124"/>
                  <a:gd name="T3" fmla="*/ 12 h 123"/>
                  <a:gd name="T4" fmla="*/ 60 w 124"/>
                  <a:gd name="T5" fmla="*/ 0 h 123"/>
                  <a:gd name="T6" fmla="*/ 58 w 124"/>
                  <a:gd name="T7" fmla="*/ 0 h 123"/>
                  <a:gd name="T8" fmla="*/ 58 w 124"/>
                  <a:gd name="T9" fmla="*/ 2 h 123"/>
                  <a:gd name="T10" fmla="*/ 58 w 124"/>
                  <a:gd name="T11" fmla="*/ 7 h 123"/>
                  <a:gd name="T12" fmla="*/ 58 w 124"/>
                  <a:gd name="T13" fmla="*/ 8 h 123"/>
                  <a:gd name="T14" fmla="*/ 60 w 124"/>
                  <a:gd name="T15" fmla="*/ 8 h 123"/>
                  <a:gd name="T16" fmla="*/ 116 w 124"/>
                  <a:gd name="T17" fmla="*/ 45 h 123"/>
                  <a:gd name="T18" fmla="*/ 95 w 124"/>
                  <a:gd name="T19" fmla="*/ 74 h 123"/>
                  <a:gd name="T20" fmla="*/ 93 w 124"/>
                  <a:gd name="T21" fmla="*/ 75 h 123"/>
                  <a:gd name="T22" fmla="*/ 93 w 124"/>
                  <a:gd name="T23" fmla="*/ 76 h 123"/>
                  <a:gd name="T24" fmla="*/ 98 w 124"/>
                  <a:gd name="T25" fmla="*/ 97 h 123"/>
                  <a:gd name="T26" fmla="*/ 83 w 124"/>
                  <a:gd name="T27" fmla="*/ 80 h 123"/>
                  <a:gd name="T28" fmla="*/ 82 w 124"/>
                  <a:gd name="T29" fmla="*/ 79 h 123"/>
                  <a:gd name="T30" fmla="*/ 81 w 124"/>
                  <a:gd name="T31" fmla="*/ 80 h 123"/>
                  <a:gd name="T32" fmla="*/ 59 w 124"/>
                  <a:gd name="T33" fmla="*/ 82 h 123"/>
                  <a:gd name="T34" fmla="*/ 9 w 124"/>
                  <a:gd name="T35" fmla="*/ 63 h 123"/>
                  <a:gd name="T36" fmla="*/ 8 w 124"/>
                  <a:gd name="T37" fmla="*/ 61 h 123"/>
                  <a:gd name="T38" fmla="*/ 7 w 124"/>
                  <a:gd name="T39" fmla="*/ 62 h 123"/>
                  <a:gd name="T40" fmla="*/ 2 w 124"/>
                  <a:gd name="T41" fmla="*/ 63 h 123"/>
                  <a:gd name="T42" fmla="*/ 0 w 124"/>
                  <a:gd name="T43" fmla="*/ 64 h 123"/>
                  <a:gd name="T44" fmla="*/ 1 w 124"/>
                  <a:gd name="T45" fmla="*/ 66 h 123"/>
                  <a:gd name="T46" fmla="*/ 14 w 124"/>
                  <a:gd name="T47" fmla="*/ 78 h 123"/>
                  <a:gd name="T48" fmla="*/ 59 w 124"/>
                  <a:gd name="T49" fmla="*/ 91 h 123"/>
                  <a:gd name="T50" fmla="*/ 79 w 124"/>
                  <a:gd name="T51" fmla="*/ 89 h 123"/>
                  <a:gd name="T52" fmla="*/ 95 w 124"/>
                  <a:gd name="T53" fmla="*/ 106 h 123"/>
                  <a:gd name="T54" fmla="*/ 107 w 124"/>
                  <a:gd name="T55" fmla="*/ 119 h 123"/>
                  <a:gd name="T56" fmla="*/ 111 w 124"/>
                  <a:gd name="T57" fmla="*/ 123 h 123"/>
                  <a:gd name="T58" fmla="*/ 110 w 124"/>
                  <a:gd name="T59" fmla="*/ 118 h 123"/>
                  <a:gd name="T60" fmla="*/ 107 w 124"/>
                  <a:gd name="T61" fmla="*/ 100 h 123"/>
                  <a:gd name="T62" fmla="*/ 103 w 124"/>
                  <a:gd name="T63" fmla="*/ 79 h 123"/>
                  <a:gd name="T64" fmla="*/ 124 w 124"/>
                  <a:gd name="T65" fmla="*/ 4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23">
                    <a:moveTo>
                      <a:pt x="124" y="45"/>
                    </a:moveTo>
                    <a:cubicBezTo>
                      <a:pt x="124" y="32"/>
                      <a:pt x="117" y="21"/>
                      <a:pt x="104" y="12"/>
                    </a:cubicBezTo>
                    <a:cubicBezTo>
                      <a:pt x="92" y="4"/>
                      <a:pt x="76" y="0"/>
                      <a:pt x="60" y="0"/>
                    </a:cubicBezTo>
                    <a:cubicBezTo>
                      <a:pt x="58" y="0"/>
                      <a:pt x="58" y="0"/>
                      <a:pt x="58" y="0"/>
                    </a:cubicBezTo>
                    <a:cubicBezTo>
                      <a:pt x="58" y="2"/>
                      <a:pt x="58" y="2"/>
                      <a:pt x="58" y="2"/>
                    </a:cubicBezTo>
                    <a:cubicBezTo>
                      <a:pt x="58" y="3"/>
                      <a:pt x="58" y="5"/>
                      <a:pt x="58" y="7"/>
                    </a:cubicBezTo>
                    <a:cubicBezTo>
                      <a:pt x="58" y="8"/>
                      <a:pt x="58" y="8"/>
                      <a:pt x="58" y="8"/>
                    </a:cubicBezTo>
                    <a:cubicBezTo>
                      <a:pt x="60" y="8"/>
                      <a:pt x="60" y="8"/>
                      <a:pt x="60" y="8"/>
                    </a:cubicBezTo>
                    <a:cubicBezTo>
                      <a:pt x="91" y="8"/>
                      <a:pt x="116" y="25"/>
                      <a:pt x="116" y="45"/>
                    </a:cubicBezTo>
                    <a:cubicBezTo>
                      <a:pt x="116" y="57"/>
                      <a:pt x="108" y="68"/>
                      <a:pt x="95" y="74"/>
                    </a:cubicBezTo>
                    <a:cubicBezTo>
                      <a:pt x="93" y="75"/>
                      <a:pt x="93" y="75"/>
                      <a:pt x="93" y="75"/>
                    </a:cubicBezTo>
                    <a:cubicBezTo>
                      <a:pt x="93" y="76"/>
                      <a:pt x="93" y="76"/>
                      <a:pt x="93" y="76"/>
                    </a:cubicBezTo>
                    <a:cubicBezTo>
                      <a:pt x="98" y="97"/>
                      <a:pt x="98" y="97"/>
                      <a:pt x="98" y="97"/>
                    </a:cubicBezTo>
                    <a:cubicBezTo>
                      <a:pt x="83" y="80"/>
                      <a:pt x="83" y="80"/>
                      <a:pt x="83" y="80"/>
                    </a:cubicBezTo>
                    <a:cubicBezTo>
                      <a:pt x="82" y="79"/>
                      <a:pt x="82" y="79"/>
                      <a:pt x="82" y="79"/>
                    </a:cubicBezTo>
                    <a:cubicBezTo>
                      <a:pt x="81" y="80"/>
                      <a:pt x="81" y="80"/>
                      <a:pt x="81" y="80"/>
                    </a:cubicBezTo>
                    <a:cubicBezTo>
                      <a:pt x="74" y="82"/>
                      <a:pt x="66" y="82"/>
                      <a:pt x="59" y="82"/>
                    </a:cubicBezTo>
                    <a:cubicBezTo>
                      <a:pt x="38" y="82"/>
                      <a:pt x="19" y="75"/>
                      <a:pt x="9" y="63"/>
                    </a:cubicBezTo>
                    <a:cubicBezTo>
                      <a:pt x="8" y="61"/>
                      <a:pt x="8" y="61"/>
                      <a:pt x="8" y="61"/>
                    </a:cubicBezTo>
                    <a:cubicBezTo>
                      <a:pt x="7" y="62"/>
                      <a:pt x="7" y="62"/>
                      <a:pt x="7" y="62"/>
                    </a:cubicBezTo>
                    <a:cubicBezTo>
                      <a:pt x="6" y="63"/>
                      <a:pt x="4" y="63"/>
                      <a:pt x="2" y="63"/>
                    </a:cubicBezTo>
                    <a:cubicBezTo>
                      <a:pt x="0" y="64"/>
                      <a:pt x="0" y="64"/>
                      <a:pt x="0" y="64"/>
                    </a:cubicBezTo>
                    <a:cubicBezTo>
                      <a:pt x="1" y="66"/>
                      <a:pt x="1" y="66"/>
                      <a:pt x="1" y="66"/>
                    </a:cubicBezTo>
                    <a:cubicBezTo>
                      <a:pt x="5" y="71"/>
                      <a:pt x="9" y="74"/>
                      <a:pt x="14" y="78"/>
                    </a:cubicBezTo>
                    <a:cubicBezTo>
                      <a:pt x="27" y="87"/>
                      <a:pt x="43" y="91"/>
                      <a:pt x="59" y="91"/>
                    </a:cubicBezTo>
                    <a:cubicBezTo>
                      <a:pt x="66" y="91"/>
                      <a:pt x="73" y="90"/>
                      <a:pt x="79" y="89"/>
                    </a:cubicBezTo>
                    <a:cubicBezTo>
                      <a:pt x="95" y="106"/>
                      <a:pt x="95" y="106"/>
                      <a:pt x="95" y="106"/>
                    </a:cubicBezTo>
                    <a:cubicBezTo>
                      <a:pt x="107" y="119"/>
                      <a:pt x="107" y="119"/>
                      <a:pt x="107" y="119"/>
                    </a:cubicBezTo>
                    <a:cubicBezTo>
                      <a:pt x="111" y="123"/>
                      <a:pt x="111" y="123"/>
                      <a:pt x="111" y="123"/>
                    </a:cubicBezTo>
                    <a:cubicBezTo>
                      <a:pt x="110" y="118"/>
                      <a:pt x="110" y="118"/>
                      <a:pt x="110" y="118"/>
                    </a:cubicBezTo>
                    <a:cubicBezTo>
                      <a:pt x="107" y="100"/>
                      <a:pt x="107" y="100"/>
                      <a:pt x="107" y="100"/>
                    </a:cubicBezTo>
                    <a:cubicBezTo>
                      <a:pt x="103" y="79"/>
                      <a:pt x="103" y="79"/>
                      <a:pt x="103" y="79"/>
                    </a:cubicBezTo>
                    <a:cubicBezTo>
                      <a:pt x="116" y="71"/>
                      <a:pt x="124" y="58"/>
                      <a:pt x="124" y="45"/>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471" name="Group 470"/>
              <p:cNvGrpSpPr/>
              <p:nvPr/>
            </p:nvGrpSpPr>
            <p:grpSpPr>
              <a:xfrm rot="16200000">
                <a:off x="11187933" y="138106"/>
                <a:ext cx="129784" cy="222667"/>
                <a:chOff x="11193360" y="90196"/>
                <a:chExt cx="129784" cy="222667"/>
              </a:xfrm>
            </p:grpSpPr>
            <p:sp>
              <p:nvSpPr>
                <p:cNvPr id="736" name="Freeform 201"/>
                <p:cNvSpPr>
                  <a:spLocks/>
                </p:cNvSpPr>
                <p:nvPr/>
              </p:nvSpPr>
              <p:spPr bwMode="auto">
                <a:xfrm rot="5400000">
                  <a:off x="11176293" y="164556"/>
                  <a:ext cx="219755" cy="73947"/>
                </a:xfrm>
                <a:custGeom>
                  <a:avLst/>
                  <a:gdLst>
                    <a:gd name="T0" fmla="*/ 100 w 201"/>
                    <a:gd name="T1" fmla="*/ 65 h 65"/>
                    <a:gd name="T2" fmla="*/ 107 w 201"/>
                    <a:gd name="T3" fmla="*/ 63 h 65"/>
                    <a:gd name="T4" fmla="*/ 107 w 201"/>
                    <a:gd name="T5" fmla="*/ 63 h 65"/>
                    <a:gd name="T6" fmla="*/ 201 w 201"/>
                    <a:gd name="T7" fmla="*/ 7 h 65"/>
                    <a:gd name="T8" fmla="*/ 189 w 201"/>
                    <a:gd name="T9" fmla="*/ 0 h 65"/>
                    <a:gd name="T10" fmla="*/ 11 w 201"/>
                    <a:gd name="T11" fmla="*/ 0 h 65"/>
                    <a:gd name="T12" fmla="*/ 0 w 201"/>
                    <a:gd name="T13" fmla="*/ 7 h 65"/>
                    <a:gd name="T14" fmla="*/ 93 w 201"/>
                    <a:gd name="T15" fmla="*/ 63 h 65"/>
                    <a:gd name="T16" fmla="*/ 100 w 201"/>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65">
                      <a:moveTo>
                        <a:pt x="100" y="65"/>
                      </a:moveTo>
                      <a:cubicBezTo>
                        <a:pt x="103" y="65"/>
                        <a:pt x="105" y="64"/>
                        <a:pt x="107" y="63"/>
                      </a:cubicBezTo>
                      <a:cubicBezTo>
                        <a:pt x="107" y="63"/>
                        <a:pt x="107" y="63"/>
                        <a:pt x="107" y="63"/>
                      </a:cubicBezTo>
                      <a:cubicBezTo>
                        <a:pt x="201" y="7"/>
                        <a:pt x="201" y="7"/>
                        <a:pt x="201" y="7"/>
                      </a:cubicBezTo>
                      <a:cubicBezTo>
                        <a:pt x="199" y="3"/>
                        <a:pt x="194" y="0"/>
                        <a:pt x="189" y="0"/>
                      </a:cubicBezTo>
                      <a:cubicBezTo>
                        <a:pt x="11" y="0"/>
                        <a:pt x="11" y="0"/>
                        <a:pt x="11" y="0"/>
                      </a:cubicBezTo>
                      <a:cubicBezTo>
                        <a:pt x="6" y="0"/>
                        <a:pt x="2" y="3"/>
                        <a:pt x="0" y="7"/>
                      </a:cubicBezTo>
                      <a:cubicBezTo>
                        <a:pt x="93" y="63"/>
                        <a:pt x="93" y="63"/>
                        <a:pt x="93" y="63"/>
                      </a:cubicBezTo>
                      <a:cubicBezTo>
                        <a:pt x="95" y="64"/>
                        <a:pt x="98" y="65"/>
                        <a:pt x="100" y="65"/>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42" name="Freeform 202"/>
                <p:cNvSpPr>
                  <a:spLocks/>
                </p:cNvSpPr>
                <p:nvPr/>
              </p:nvSpPr>
              <p:spPr bwMode="auto">
                <a:xfrm rot="5400000">
                  <a:off x="11233754" y="243090"/>
                  <a:ext cx="62580" cy="76966"/>
                </a:xfrm>
                <a:custGeom>
                  <a:avLst/>
                  <a:gdLst>
                    <a:gd name="T0" fmla="*/ 43 w 43"/>
                    <a:gd name="T1" fmla="*/ 51 h 51"/>
                    <a:gd name="T2" fmla="*/ 43 w 43"/>
                    <a:gd name="T3" fmla="*/ 0 h 51"/>
                    <a:gd name="T4" fmla="*/ 0 w 43"/>
                    <a:gd name="T5" fmla="*/ 25 h 51"/>
                    <a:gd name="T6" fmla="*/ 43 w 43"/>
                    <a:gd name="T7" fmla="*/ 51 h 51"/>
                    <a:gd name="T8" fmla="*/ 43 w 43"/>
                    <a:gd name="T9" fmla="*/ 51 h 51"/>
                    <a:gd name="T10" fmla="*/ 43 w 43"/>
                    <a:gd name="T11" fmla="*/ 51 h 51"/>
                  </a:gdLst>
                  <a:ahLst/>
                  <a:cxnLst>
                    <a:cxn ang="0">
                      <a:pos x="T0" y="T1"/>
                    </a:cxn>
                    <a:cxn ang="0">
                      <a:pos x="T2" y="T3"/>
                    </a:cxn>
                    <a:cxn ang="0">
                      <a:pos x="T4" y="T5"/>
                    </a:cxn>
                    <a:cxn ang="0">
                      <a:pos x="T6" y="T7"/>
                    </a:cxn>
                    <a:cxn ang="0">
                      <a:pos x="T8" y="T9"/>
                    </a:cxn>
                    <a:cxn ang="0">
                      <a:pos x="T10" y="T11"/>
                    </a:cxn>
                  </a:cxnLst>
                  <a:rect l="0" t="0" r="r" b="b"/>
                  <a:pathLst>
                    <a:path w="43" h="51">
                      <a:moveTo>
                        <a:pt x="43" y="51"/>
                      </a:moveTo>
                      <a:lnTo>
                        <a:pt x="43" y="0"/>
                      </a:lnTo>
                      <a:lnTo>
                        <a:pt x="0" y="25"/>
                      </a:lnTo>
                      <a:lnTo>
                        <a:pt x="43" y="51"/>
                      </a:lnTo>
                      <a:lnTo>
                        <a:pt x="43" y="51"/>
                      </a:lnTo>
                      <a:lnTo>
                        <a:pt x="43" y="51"/>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45" name="Freeform 203"/>
                <p:cNvSpPr>
                  <a:spLocks/>
                </p:cNvSpPr>
                <p:nvPr/>
              </p:nvSpPr>
              <p:spPr bwMode="auto">
                <a:xfrm rot="5400000">
                  <a:off x="11114473" y="169083"/>
                  <a:ext cx="222666" cy="64892"/>
                </a:xfrm>
                <a:custGeom>
                  <a:avLst/>
                  <a:gdLst>
                    <a:gd name="T0" fmla="*/ 0 w 203"/>
                    <a:gd name="T1" fmla="*/ 46 h 58"/>
                    <a:gd name="T2" fmla="*/ 12 w 203"/>
                    <a:gd name="T3" fmla="*/ 58 h 58"/>
                    <a:gd name="T4" fmla="*/ 190 w 203"/>
                    <a:gd name="T5" fmla="*/ 58 h 58"/>
                    <a:gd name="T6" fmla="*/ 203 w 203"/>
                    <a:gd name="T7" fmla="*/ 46 h 58"/>
                    <a:gd name="T8" fmla="*/ 203 w 203"/>
                    <a:gd name="T9" fmla="*/ 39 h 58"/>
                    <a:gd name="T10" fmla="*/ 137 w 203"/>
                    <a:gd name="T11" fmla="*/ 0 h 58"/>
                    <a:gd name="T12" fmla="*/ 113 w 203"/>
                    <a:gd name="T13" fmla="*/ 14 h 58"/>
                    <a:gd name="T14" fmla="*/ 101 w 203"/>
                    <a:gd name="T15" fmla="*/ 17 h 58"/>
                    <a:gd name="T16" fmla="*/ 101 w 203"/>
                    <a:gd name="T17" fmla="*/ 17 h 58"/>
                    <a:gd name="T18" fmla="*/ 89 w 203"/>
                    <a:gd name="T19" fmla="*/ 14 h 58"/>
                    <a:gd name="T20" fmla="*/ 65 w 203"/>
                    <a:gd name="T21" fmla="*/ 0 h 58"/>
                    <a:gd name="T22" fmla="*/ 0 w 203"/>
                    <a:gd name="T23" fmla="*/ 39 h 58"/>
                    <a:gd name="T24" fmla="*/ 0 w 203"/>
                    <a:gd name="T25" fmla="*/ 46 h 58"/>
                    <a:gd name="T26" fmla="*/ 0 w 203"/>
                    <a:gd name="T27" fmla="*/ 4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58">
                      <a:moveTo>
                        <a:pt x="0" y="46"/>
                      </a:moveTo>
                      <a:cubicBezTo>
                        <a:pt x="0" y="53"/>
                        <a:pt x="5" y="58"/>
                        <a:pt x="12" y="58"/>
                      </a:cubicBezTo>
                      <a:cubicBezTo>
                        <a:pt x="190" y="58"/>
                        <a:pt x="190" y="58"/>
                        <a:pt x="190" y="58"/>
                      </a:cubicBezTo>
                      <a:cubicBezTo>
                        <a:pt x="197" y="58"/>
                        <a:pt x="203" y="53"/>
                        <a:pt x="203" y="46"/>
                      </a:cubicBezTo>
                      <a:cubicBezTo>
                        <a:pt x="203" y="39"/>
                        <a:pt x="203" y="39"/>
                        <a:pt x="203" y="39"/>
                      </a:cubicBezTo>
                      <a:cubicBezTo>
                        <a:pt x="137" y="0"/>
                        <a:pt x="137" y="0"/>
                        <a:pt x="137" y="0"/>
                      </a:cubicBezTo>
                      <a:cubicBezTo>
                        <a:pt x="113" y="14"/>
                        <a:pt x="113" y="14"/>
                        <a:pt x="113" y="14"/>
                      </a:cubicBezTo>
                      <a:cubicBezTo>
                        <a:pt x="110" y="16"/>
                        <a:pt x="106" y="17"/>
                        <a:pt x="101" y="17"/>
                      </a:cubicBezTo>
                      <a:cubicBezTo>
                        <a:pt x="101" y="17"/>
                        <a:pt x="101" y="17"/>
                        <a:pt x="101" y="17"/>
                      </a:cubicBezTo>
                      <a:cubicBezTo>
                        <a:pt x="97" y="17"/>
                        <a:pt x="93" y="16"/>
                        <a:pt x="89" y="14"/>
                      </a:cubicBezTo>
                      <a:cubicBezTo>
                        <a:pt x="65" y="0"/>
                        <a:pt x="65" y="0"/>
                        <a:pt x="65" y="0"/>
                      </a:cubicBezTo>
                      <a:cubicBezTo>
                        <a:pt x="0" y="39"/>
                        <a:pt x="0" y="39"/>
                        <a:pt x="0" y="39"/>
                      </a:cubicBezTo>
                      <a:cubicBezTo>
                        <a:pt x="0" y="46"/>
                        <a:pt x="0" y="46"/>
                        <a:pt x="0" y="46"/>
                      </a:cubicBezTo>
                      <a:cubicBezTo>
                        <a:pt x="0" y="46"/>
                        <a:pt x="0" y="46"/>
                        <a:pt x="0" y="46"/>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51" name="Freeform 204"/>
                <p:cNvSpPr>
                  <a:spLocks/>
                </p:cNvSpPr>
                <p:nvPr/>
              </p:nvSpPr>
              <p:spPr bwMode="auto">
                <a:xfrm rot="5400000">
                  <a:off x="11234482" y="82276"/>
                  <a:ext cx="61124" cy="76966"/>
                </a:xfrm>
                <a:custGeom>
                  <a:avLst/>
                  <a:gdLst>
                    <a:gd name="T0" fmla="*/ 42 w 42"/>
                    <a:gd name="T1" fmla="*/ 25 h 51"/>
                    <a:gd name="T2" fmla="*/ 0 w 42"/>
                    <a:gd name="T3" fmla="*/ 0 h 51"/>
                    <a:gd name="T4" fmla="*/ 0 w 42"/>
                    <a:gd name="T5" fmla="*/ 51 h 51"/>
                    <a:gd name="T6" fmla="*/ 42 w 42"/>
                    <a:gd name="T7" fmla="*/ 25 h 51"/>
                    <a:gd name="T8" fmla="*/ 42 w 42"/>
                    <a:gd name="T9" fmla="*/ 25 h 51"/>
                    <a:gd name="T10" fmla="*/ 42 w 42"/>
                    <a:gd name="T11" fmla="*/ 25 h 51"/>
                  </a:gdLst>
                  <a:ahLst/>
                  <a:cxnLst>
                    <a:cxn ang="0">
                      <a:pos x="T0" y="T1"/>
                    </a:cxn>
                    <a:cxn ang="0">
                      <a:pos x="T2" y="T3"/>
                    </a:cxn>
                    <a:cxn ang="0">
                      <a:pos x="T4" y="T5"/>
                    </a:cxn>
                    <a:cxn ang="0">
                      <a:pos x="T6" y="T7"/>
                    </a:cxn>
                    <a:cxn ang="0">
                      <a:pos x="T8" y="T9"/>
                    </a:cxn>
                    <a:cxn ang="0">
                      <a:pos x="T10" y="T11"/>
                    </a:cxn>
                  </a:cxnLst>
                  <a:rect l="0" t="0" r="r" b="b"/>
                  <a:pathLst>
                    <a:path w="42" h="51">
                      <a:moveTo>
                        <a:pt x="42" y="25"/>
                      </a:moveTo>
                      <a:lnTo>
                        <a:pt x="0" y="0"/>
                      </a:lnTo>
                      <a:lnTo>
                        <a:pt x="0" y="51"/>
                      </a:lnTo>
                      <a:lnTo>
                        <a:pt x="42" y="25"/>
                      </a:lnTo>
                      <a:lnTo>
                        <a:pt x="42" y="25"/>
                      </a:lnTo>
                      <a:lnTo>
                        <a:pt x="42" y="25"/>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sp>
            <p:nvSpPr>
              <p:cNvPr id="473" name="Freeform 205"/>
              <p:cNvSpPr>
                <a:spLocks noEditPoints="1"/>
              </p:cNvSpPr>
              <p:nvPr/>
            </p:nvSpPr>
            <p:spPr bwMode="auto">
              <a:xfrm rot="19800000">
                <a:off x="11189998" y="1751243"/>
                <a:ext cx="299798" cy="230898"/>
              </a:xfrm>
              <a:custGeom>
                <a:avLst/>
                <a:gdLst>
                  <a:gd name="T0" fmla="*/ 232 w 273"/>
                  <a:gd name="T1" fmla="*/ 117 h 203"/>
                  <a:gd name="T2" fmla="*/ 251 w 273"/>
                  <a:gd name="T3" fmla="*/ 185 h 203"/>
                  <a:gd name="T4" fmla="*/ 32 w 273"/>
                  <a:gd name="T5" fmla="*/ 30 h 203"/>
                  <a:gd name="T6" fmla="*/ 99 w 273"/>
                  <a:gd name="T7" fmla="*/ 7 h 203"/>
                  <a:gd name="T8" fmla="*/ 56 w 273"/>
                  <a:gd name="T9" fmla="*/ 1 h 203"/>
                  <a:gd name="T10" fmla="*/ 48 w 273"/>
                  <a:gd name="T11" fmla="*/ 24 h 203"/>
                  <a:gd name="T12" fmla="*/ 0 w 273"/>
                  <a:gd name="T13" fmla="*/ 31 h 203"/>
                  <a:gd name="T14" fmla="*/ 23 w 273"/>
                  <a:gd name="T15" fmla="*/ 20 h 203"/>
                  <a:gd name="T16" fmla="*/ 172 w 273"/>
                  <a:gd name="T17" fmla="*/ 185 h 203"/>
                  <a:gd name="T18" fmla="*/ 45 w 273"/>
                  <a:gd name="T19" fmla="*/ 102 h 203"/>
                  <a:gd name="T20" fmla="*/ 83 w 273"/>
                  <a:gd name="T21" fmla="*/ 51 h 203"/>
                  <a:gd name="T22" fmla="*/ 93 w 273"/>
                  <a:gd name="T23" fmla="*/ 78 h 203"/>
                  <a:gd name="T24" fmla="*/ 99 w 273"/>
                  <a:gd name="T25" fmla="*/ 39 h 203"/>
                  <a:gd name="T26" fmla="*/ 135 w 273"/>
                  <a:gd name="T27" fmla="*/ 11 h 203"/>
                  <a:gd name="T28" fmla="*/ 206 w 273"/>
                  <a:gd name="T29" fmla="*/ 158 h 203"/>
                  <a:gd name="T30" fmla="*/ 204 w 273"/>
                  <a:gd name="T31" fmla="*/ 127 h 203"/>
                  <a:gd name="T32" fmla="*/ 163 w 273"/>
                  <a:gd name="T33" fmla="*/ 169 h 203"/>
                  <a:gd name="T34" fmla="*/ 92 w 273"/>
                  <a:gd name="T35" fmla="*/ 126 h 203"/>
                  <a:gd name="T36" fmla="*/ 92 w 273"/>
                  <a:gd name="T37" fmla="*/ 87 h 203"/>
                  <a:gd name="T38" fmla="*/ 62 w 273"/>
                  <a:gd name="T39" fmla="*/ 102 h 203"/>
                  <a:gd name="T40" fmla="*/ 107 w 273"/>
                  <a:gd name="T41" fmla="*/ 169 h 203"/>
                  <a:gd name="T42" fmla="*/ 68 w 273"/>
                  <a:gd name="T43" fmla="*/ 128 h 203"/>
                  <a:gd name="T44" fmla="*/ 107 w 273"/>
                  <a:gd name="T45" fmla="*/ 169 h 203"/>
                  <a:gd name="T46" fmla="*/ 104 w 273"/>
                  <a:gd name="T47" fmla="*/ 138 h 203"/>
                  <a:gd name="T48" fmla="*/ 131 w 273"/>
                  <a:gd name="T49" fmla="*/ 140 h 203"/>
                  <a:gd name="T50" fmla="*/ 101 w 273"/>
                  <a:gd name="T51" fmla="*/ 89 h 203"/>
                  <a:gd name="T52" fmla="*/ 103 w 273"/>
                  <a:gd name="T53" fmla="*/ 127 h 203"/>
                  <a:gd name="T54" fmla="*/ 131 w 273"/>
                  <a:gd name="T55" fmla="*/ 90 h 203"/>
                  <a:gd name="T56" fmla="*/ 123 w 273"/>
                  <a:gd name="T57" fmla="*/ 32 h 203"/>
                  <a:gd name="T58" fmla="*/ 131 w 273"/>
                  <a:gd name="T59" fmla="*/ 80 h 203"/>
                  <a:gd name="T60" fmla="*/ 206 w 273"/>
                  <a:gd name="T61" fmla="*/ 80 h 203"/>
                  <a:gd name="T62" fmla="*/ 180 w 273"/>
                  <a:gd name="T63" fmla="*/ 103 h 203"/>
                  <a:gd name="T64" fmla="*/ 208 w 273"/>
                  <a:gd name="T65" fmla="*/ 112 h 203"/>
                  <a:gd name="T66" fmla="*/ 206 w 273"/>
                  <a:gd name="T67" fmla="*/ 80 h 203"/>
                  <a:gd name="T68" fmla="*/ 179 w 273"/>
                  <a:gd name="T69" fmla="*/ 78 h 203"/>
                  <a:gd name="T70" fmla="*/ 187 w 273"/>
                  <a:gd name="T71" fmla="*/ 51 h 203"/>
                  <a:gd name="T72" fmla="*/ 141 w 273"/>
                  <a:gd name="T73" fmla="*/ 80 h 203"/>
                  <a:gd name="T74" fmla="*/ 141 w 273"/>
                  <a:gd name="T75" fmla="*/ 30 h 203"/>
                  <a:gd name="T76" fmla="*/ 141 w 273"/>
                  <a:gd name="T77" fmla="*/ 80 h 203"/>
                  <a:gd name="T78" fmla="*/ 169 w 273"/>
                  <a:gd name="T79" fmla="*/ 127 h 203"/>
                  <a:gd name="T80" fmla="*/ 170 w 273"/>
                  <a:gd name="T81" fmla="*/ 89 h 203"/>
                  <a:gd name="T82" fmla="*/ 141 w 273"/>
                  <a:gd name="T83" fmla="*/ 130 h 203"/>
                  <a:gd name="T84" fmla="*/ 166 w 273"/>
                  <a:gd name="T85" fmla="*/ 138 h 203"/>
                  <a:gd name="T86" fmla="*/ 141 w 273"/>
                  <a:gd name="T87" fmla="*/ 175 h 203"/>
                  <a:gd name="T88" fmla="*/ 225 w 273"/>
                  <a:gd name="T89" fmla="*/ 179 h 203"/>
                  <a:gd name="T90" fmla="*/ 183 w 273"/>
                  <a:gd name="T91" fmla="*/ 155 h 203"/>
                  <a:gd name="T92" fmla="*/ 193 w 273"/>
                  <a:gd name="T93" fmla="*/ 191 h 203"/>
                  <a:gd name="T94" fmla="*/ 251 w 273"/>
                  <a:gd name="T95" fmla="*/ 18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3" h="203">
                    <a:moveTo>
                      <a:pt x="251" y="185"/>
                    </a:moveTo>
                    <a:cubicBezTo>
                      <a:pt x="261" y="164"/>
                      <a:pt x="232" y="117"/>
                      <a:pt x="232" y="117"/>
                    </a:cubicBezTo>
                    <a:cubicBezTo>
                      <a:pt x="232" y="117"/>
                      <a:pt x="273" y="141"/>
                      <a:pt x="273" y="174"/>
                    </a:cubicBezTo>
                    <a:cubicBezTo>
                      <a:pt x="268" y="177"/>
                      <a:pt x="259" y="181"/>
                      <a:pt x="251" y="185"/>
                    </a:cubicBezTo>
                    <a:close/>
                    <a:moveTo>
                      <a:pt x="48" y="24"/>
                    </a:moveTo>
                    <a:cubicBezTo>
                      <a:pt x="32" y="30"/>
                      <a:pt x="32" y="30"/>
                      <a:pt x="32" y="30"/>
                    </a:cubicBezTo>
                    <a:cubicBezTo>
                      <a:pt x="92" y="48"/>
                      <a:pt x="92" y="48"/>
                      <a:pt x="92" y="48"/>
                    </a:cubicBezTo>
                    <a:cubicBezTo>
                      <a:pt x="99" y="7"/>
                      <a:pt x="99" y="7"/>
                      <a:pt x="99" y="7"/>
                    </a:cubicBezTo>
                    <a:cubicBezTo>
                      <a:pt x="82" y="13"/>
                      <a:pt x="82" y="13"/>
                      <a:pt x="82" y="13"/>
                    </a:cubicBezTo>
                    <a:cubicBezTo>
                      <a:pt x="78" y="8"/>
                      <a:pt x="66" y="0"/>
                      <a:pt x="56" y="1"/>
                    </a:cubicBezTo>
                    <a:cubicBezTo>
                      <a:pt x="51" y="3"/>
                      <a:pt x="31" y="11"/>
                      <a:pt x="23" y="15"/>
                    </a:cubicBezTo>
                    <a:cubicBezTo>
                      <a:pt x="32" y="13"/>
                      <a:pt x="44" y="21"/>
                      <a:pt x="48" y="24"/>
                    </a:cubicBezTo>
                    <a:close/>
                    <a:moveTo>
                      <a:pt x="23" y="20"/>
                    </a:moveTo>
                    <a:cubicBezTo>
                      <a:pt x="16" y="22"/>
                      <a:pt x="6" y="27"/>
                      <a:pt x="0" y="31"/>
                    </a:cubicBezTo>
                    <a:cubicBezTo>
                      <a:pt x="0" y="62"/>
                      <a:pt x="42" y="86"/>
                      <a:pt x="42" y="86"/>
                    </a:cubicBezTo>
                    <a:cubicBezTo>
                      <a:pt x="42" y="86"/>
                      <a:pt x="14" y="39"/>
                      <a:pt x="23" y="20"/>
                    </a:cubicBezTo>
                    <a:close/>
                    <a:moveTo>
                      <a:pt x="176" y="162"/>
                    </a:moveTo>
                    <a:cubicBezTo>
                      <a:pt x="172" y="185"/>
                      <a:pt x="172" y="185"/>
                      <a:pt x="172" y="185"/>
                    </a:cubicBezTo>
                    <a:cubicBezTo>
                      <a:pt x="161" y="189"/>
                      <a:pt x="148" y="192"/>
                      <a:pt x="135" y="192"/>
                    </a:cubicBezTo>
                    <a:cubicBezTo>
                      <a:pt x="85" y="192"/>
                      <a:pt x="45" y="152"/>
                      <a:pt x="45" y="102"/>
                    </a:cubicBezTo>
                    <a:cubicBezTo>
                      <a:pt x="45" y="80"/>
                      <a:pt x="54" y="61"/>
                      <a:pt x="66" y="45"/>
                    </a:cubicBezTo>
                    <a:cubicBezTo>
                      <a:pt x="83" y="51"/>
                      <a:pt x="83" y="51"/>
                      <a:pt x="83" y="51"/>
                    </a:cubicBezTo>
                    <a:cubicBezTo>
                      <a:pt x="78" y="56"/>
                      <a:pt x="73" y="63"/>
                      <a:pt x="69" y="71"/>
                    </a:cubicBezTo>
                    <a:cubicBezTo>
                      <a:pt x="72" y="73"/>
                      <a:pt x="78" y="75"/>
                      <a:pt x="93" y="78"/>
                    </a:cubicBezTo>
                    <a:cubicBezTo>
                      <a:pt x="96" y="59"/>
                      <a:pt x="100" y="45"/>
                      <a:pt x="109" y="34"/>
                    </a:cubicBezTo>
                    <a:cubicBezTo>
                      <a:pt x="106" y="35"/>
                      <a:pt x="101" y="37"/>
                      <a:pt x="99" y="39"/>
                    </a:cubicBezTo>
                    <a:cubicBezTo>
                      <a:pt x="101" y="18"/>
                      <a:pt x="101" y="18"/>
                      <a:pt x="101" y="18"/>
                    </a:cubicBezTo>
                    <a:cubicBezTo>
                      <a:pt x="113" y="14"/>
                      <a:pt x="124" y="11"/>
                      <a:pt x="135" y="11"/>
                    </a:cubicBezTo>
                    <a:cubicBezTo>
                      <a:pt x="186" y="11"/>
                      <a:pt x="225" y="52"/>
                      <a:pt x="225" y="102"/>
                    </a:cubicBezTo>
                    <a:cubicBezTo>
                      <a:pt x="225" y="123"/>
                      <a:pt x="218" y="143"/>
                      <a:pt x="206" y="158"/>
                    </a:cubicBezTo>
                    <a:cubicBezTo>
                      <a:pt x="189" y="152"/>
                      <a:pt x="189" y="152"/>
                      <a:pt x="189" y="152"/>
                    </a:cubicBezTo>
                    <a:cubicBezTo>
                      <a:pt x="196" y="145"/>
                      <a:pt x="200" y="137"/>
                      <a:pt x="204" y="127"/>
                    </a:cubicBezTo>
                    <a:cubicBezTo>
                      <a:pt x="199" y="131"/>
                      <a:pt x="187" y="134"/>
                      <a:pt x="178" y="136"/>
                    </a:cubicBezTo>
                    <a:cubicBezTo>
                      <a:pt x="175" y="150"/>
                      <a:pt x="170" y="161"/>
                      <a:pt x="163" y="169"/>
                    </a:cubicBezTo>
                    <a:cubicBezTo>
                      <a:pt x="168" y="168"/>
                      <a:pt x="172" y="165"/>
                      <a:pt x="176" y="162"/>
                    </a:cubicBezTo>
                    <a:close/>
                    <a:moveTo>
                      <a:pt x="92" y="126"/>
                    </a:moveTo>
                    <a:cubicBezTo>
                      <a:pt x="92" y="119"/>
                      <a:pt x="90" y="110"/>
                      <a:pt x="90" y="103"/>
                    </a:cubicBezTo>
                    <a:cubicBezTo>
                      <a:pt x="90" y="97"/>
                      <a:pt x="90" y="93"/>
                      <a:pt x="92" y="87"/>
                    </a:cubicBezTo>
                    <a:cubicBezTo>
                      <a:pt x="80" y="86"/>
                      <a:pt x="71" y="83"/>
                      <a:pt x="65" y="80"/>
                    </a:cubicBezTo>
                    <a:cubicBezTo>
                      <a:pt x="63" y="87"/>
                      <a:pt x="62" y="95"/>
                      <a:pt x="62" y="102"/>
                    </a:cubicBezTo>
                    <a:cubicBezTo>
                      <a:pt x="62" y="114"/>
                      <a:pt x="63" y="120"/>
                      <a:pt x="92" y="126"/>
                    </a:cubicBezTo>
                    <a:close/>
                    <a:moveTo>
                      <a:pt x="107" y="169"/>
                    </a:moveTo>
                    <a:cubicBezTo>
                      <a:pt x="101" y="161"/>
                      <a:pt x="97" y="150"/>
                      <a:pt x="94" y="137"/>
                    </a:cubicBezTo>
                    <a:cubicBezTo>
                      <a:pt x="83" y="134"/>
                      <a:pt x="75" y="131"/>
                      <a:pt x="68" y="128"/>
                    </a:cubicBezTo>
                    <a:cubicBezTo>
                      <a:pt x="71" y="138"/>
                      <a:pt x="76" y="147"/>
                      <a:pt x="83" y="154"/>
                    </a:cubicBezTo>
                    <a:cubicBezTo>
                      <a:pt x="90" y="161"/>
                      <a:pt x="99" y="167"/>
                      <a:pt x="107" y="169"/>
                    </a:cubicBezTo>
                    <a:close/>
                    <a:moveTo>
                      <a:pt x="131" y="140"/>
                    </a:moveTo>
                    <a:cubicBezTo>
                      <a:pt x="121" y="140"/>
                      <a:pt x="113" y="138"/>
                      <a:pt x="104" y="138"/>
                    </a:cubicBezTo>
                    <a:cubicBezTo>
                      <a:pt x="109" y="151"/>
                      <a:pt x="116" y="175"/>
                      <a:pt x="131" y="175"/>
                    </a:cubicBezTo>
                    <a:cubicBezTo>
                      <a:pt x="131" y="175"/>
                      <a:pt x="131" y="175"/>
                      <a:pt x="131" y="140"/>
                    </a:cubicBezTo>
                    <a:close/>
                    <a:moveTo>
                      <a:pt x="131" y="90"/>
                    </a:moveTo>
                    <a:cubicBezTo>
                      <a:pt x="120" y="90"/>
                      <a:pt x="110" y="89"/>
                      <a:pt x="101" y="89"/>
                    </a:cubicBezTo>
                    <a:cubicBezTo>
                      <a:pt x="100" y="93"/>
                      <a:pt x="100" y="97"/>
                      <a:pt x="100" y="103"/>
                    </a:cubicBezTo>
                    <a:cubicBezTo>
                      <a:pt x="100" y="112"/>
                      <a:pt x="101" y="120"/>
                      <a:pt x="103" y="127"/>
                    </a:cubicBezTo>
                    <a:cubicBezTo>
                      <a:pt x="111" y="128"/>
                      <a:pt x="121" y="130"/>
                      <a:pt x="131" y="130"/>
                    </a:cubicBezTo>
                    <a:cubicBezTo>
                      <a:pt x="131" y="130"/>
                      <a:pt x="131" y="130"/>
                      <a:pt x="131" y="90"/>
                    </a:cubicBezTo>
                    <a:close/>
                    <a:moveTo>
                      <a:pt x="131" y="30"/>
                    </a:moveTo>
                    <a:cubicBezTo>
                      <a:pt x="128" y="30"/>
                      <a:pt x="125" y="31"/>
                      <a:pt x="123" y="32"/>
                    </a:cubicBezTo>
                    <a:cubicBezTo>
                      <a:pt x="114" y="41"/>
                      <a:pt x="106" y="59"/>
                      <a:pt x="101" y="79"/>
                    </a:cubicBezTo>
                    <a:cubicBezTo>
                      <a:pt x="111" y="80"/>
                      <a:pt x="121" y="80"/>
                      <a:pt x="131" y="80"/>
                    </a:cubicBezTo>
                    <a:cubicBezTo>
                      <a:pt x="131" y="80"/>
                      <a:pt x="131" y="80"/>
                      <a:pt x="131" y="30"/>
                    </a:cubicBezTo>
                    <a:close/>
                    <a:moveTo>
                      <a:pt x="206" y="80"/>
                    </a:moveTo>
                    <a:cubicBezTo>
                      <a:pt x="200" y="83"/>
                      <a:pt x="193" y="85"/>
                      <a:pt x="180" y="87"/>
                    </a:cubicBezTo>
                    <a:cubicBezTo>
                      <a:pt x="180" y="93"/>
                      <a:pt x="180" y="97"/>
                      <a:pt x="180" y="103"/>
                    </a:cubicBezTo>
                    <a:cubicBezTo>
                      <a:pt x="180" y="110"/>
                      <a:pt x="180" y="119"/>
                      <a:pt x="179" y="126"/>
                    </a:cubicBezTo>
                    <a:cubicBezTo>
                      <a:pt x="196" y="121"/>
                      <a:pt x="204" y="116"/>
                      <a:pt x="208" y="112"/>
                    </a:cubicBezTo>
                    <a:cubicBezTo>
                      <a:pt x="208" y="109"/>
                      <a:pt x="208" y="106"/>
                      <a:pt x="208" y="102"/>
                    </a:cubicBezTo>
                    <a:cubicBezTo>
                      <a:pt x="208" y="95"/>
                      <a:pt x="207" y="87"/>
                      <a:pt x="206" y="80"/>
                    </a:cubicBezTo>
                    <a:close/>
                    <a:moveTo>
                      <a:pt x="162" y="34"/>
                    </a:moveTo>
                    <a:cubicBezTo>
                      <a:pt x="170" y="45"/>
                      <a:pt x="176" y="59"/>
                      <a:pt x="179" y="78"/>
                    </a:cubicBezTo>
                    <a:cubicBezTo>
                      <a:pt x="194" y="73"/>
                      <a:pt x="199" y="73"/>
                      <a:pt x="201" y="71"/>
                    </a:cubicBezTo>
                    <a:cubicBezTo>
                      <a:pt x="199" y="63"/>
                      <a:pt x="193" y="56"/>
                      <a:pt x="187" y="51"/>
                    </a:cubicBezTo>
                    <a:cubicBezTo>
                      <a:pt x="180" y="42"/>
                      <a:pt x="172" y="38"/>
                      <a:pt x="162" y="34"/>
                    </a:cubicBezTo>
                    <a:close/>
                    <a:moveTo>
                      <a:pt x="141" y="80"/>
                    </a:moveTo>
                    <a:cubicBezTo>
                      <a:pt x="151" y="80"/>
                      <a:pt x="159" y="80"/>
                      <a:pt x="169" y="79"/>
                    </a:cubicBezTo>
                    <a:cubicBezTo>
                      <a:pt x="165" y="54"/>
                      <a:pt x="154" y="34"/>
                      <a:pt x="141" y="30"/>
                    </a:cubicBezTo>
                    <a:cubicBezTo>
                      <a:pt x="141" y="30"/>
                      <a:pt x="141" y="30"/>
                      <a:pt x="141" y="30"/>
                    </a:cubicBezTo>
                    <a:cubicBezTo>
                      <a:pt x="141" y="30"/>
                      <a:pt x="141" y="30"/>
                      <a:pt x="141" y="80"/>
                    </a:cubicBezTo>
                    <a:close/>
                    <a:moveTo>
                      <a:pt x="141" y="130"/>
                    </a:moveTo>
                    <a:cubicBezTo>
                      <a:pt x="151" y="130"/>
                      <a:pt x="159" y="128"/>
                      <a:pt x="169" y="127"/>
                    </a:cubicBezTo>
                    <a:cubicBezTo>
                      <a:pt x="170" y="120"/>
                      <a:pt x="170" y="112"/>
                      <a:pt x="170" y="103"/>
                    </a:cubicBezTo>
                    <a:cubicBezTo>
                      <a:pt x="170" y="97"/>
                      <a:pt x="170" y="93"/>
                      <a:pt x="170" y="89"/>
                    </a:cubicBezTo>
                    <a:cubicBezTo>
                      <a:pt x="161" y="89"/>
                      <a:pt x="151" y="90"/>
                      <a:pt x="141" y="90"/>
                    </a:cubicBezTo>
                    <a:cubicBezTo>
                      <a:pt x="141" y="90"/>
                      <a:pt x="141" y="90"/>
                      <a:pt x="141" y="130"/>
                    </a:cubicBezTo>
                    <a:close/>
                    <a:moveTo>
                      <a:pt x="159" y="157"/>
                    </a:moveTo>
                    <a:cubicBezTo>
                      <a:pt x="162" y="151"/>
                      <a:pt x="165" y="145"/>
                      <a:pt x="166" y="138"/>
                    </a:cubicBezTo>
                    <a:cubicBezTo>
                      <a:pt x="158" y="138"/>
                      <a:pt x="149" y="140"/>
                      <a:pt x="141" y="140"/>
                    </a:cubicBezTo>
                    <a:cubicBezTo>
                      <a:pt x="141" y="140"/>
                      <a:pt x="141" y="140"/>
                      <a:pt x="141" y="175"/>
                    </a:cubicBezTo>
                    <a:cubicBezTo>
                      <a:pt x="148" y="175"/>
                      <a:pt x="155" y="168"/>
                      <a:pt x="159" y="157"/>
                    </a:cubicBezTo>
                    <a:close/>
                    <a:moveTo>
                      <a:pt x="225" y="179"/>
                    </a:moveTo>
                    <a:cubicBezTo>
                      <a:pt x="241" y="174"/>
                      <a:pt x="241" y="174"/>
                      <a:pt x="241" y="174"/>
                    </a:cubicBezTo>
                    <a:cubicBezTo>
                      <a:pt x="183" y="155"/>
                      <a:pt x="183" y="155"/>
                      <a:pt x="183" y="155"/>
                    </a:cubicBezTo>
                    <a:cubicBezTo>
                      <a:pt x="175" y="196"/>
                      <a:pt x="175" y="196"/>
                      <a:pt x="175" y="196"/>
                    </a:cubicBezTo>
                    <a:cubicBezTo>
                      <a:pt x="193" y="191"/>
                      <a:pt x="193" y="191"/>
                      <a:pt x="193" y="191"/>
                    </a:cubicBezTo>
                    <a:cubicBezTo>
                      <a:pt x="197" y="195"/>
                      <a:pt x="208" y="203"/>
                      <a:pt x="218" y="202"/>
                    </a:cubicBezTo>
                    <a:cubicBezTo>
                      <a:pt x="224" y="201"/>
                      <a:pt x="242" y="192"/>
                      <a:pt x="251" y="188"/>
                    </a:cubicBezTo>
                    <a:cubicBezTo>
                      <a:pt x="242" y="191"/>
                      <a:pt x="231" y="182"/>
                      <a:pt x="225" y="179"/>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474" name="Group 473"/>
              <p:cNvGrpSpPr/>
              <p:nvPr/>
            </p:nvGrpSpPr>
            <p:grpSpPr>
              <a:xfrm rot="16200000">
                <a:off x="11538952" y="548917"/>
                <a:ext cx="197697" cy="120792"/>
                <a:chOff x="11543479" y="566091"/>
                <a:chExt cx="197697" cy="120792"/>
              </a:xfrm>
            </p:grpSpPr>
            <p:sp>
              <p:nvSpPr>
                <p:cNvPr id="732" name="Freeform 206"/>
                <p:cNvSpPr>
                  <a:spLocks noEditPoints="1"/>
                </p:cNvSpPr>
                <p:nvPr/>
              </p:nvSpPr>
              <p:spPr bwMode="auto">
                <a:xfrm rot="5400000">
                  <a:off x="11616132" y="493438"/>
                  <a:ext cx="52392" cy="197697"/>
                </a:xfrm>
                <a:custGeom>
                  <a:avLst/>
                  <a:gdLst>
                    <a:gd name="T0" fmla="*/ 40 w 48"/>
                    <a:gd name="T1" fmla="*/ 0 h 174"/>
                    <a:gd name="T2" fmla="*/ 7 w 48"/>
                    <a:gd name="T3" fmla="*/ 0 h 174"/>
                    <a:gd name="T4" fmla="*/ 0 w 48"/>
                    <a:gd name="T5" fmla="*/ 8 h 174"/>
                    <a:gd name="T6" fmla="*/ 0 w 48"/>
                    <a:gd name="T7" fmla="*/ 166 h 174"/>
                    <a:gd name="T8" fmla="*/ 7 w 48"/>
                    <a:gd name="T9" fmla="*/ 174 h 174"/>
                    <a:gd name="T10" fmla="*/ 40 w 48"/>
                    <a:gd name="T11" fmla="*/ 174 h 174"/>
                    <a:gd name="T12" fmla="*/ 48 w 48"/>
                    <a:gd name="T13" fmla="*/ 166 h 174"/>
                    <a:gd name="T14" fmla="*/ 48 w 48"/>
                    <a:gd name="T15" fmla="*/ 8 h 174"/>
                    <a:gd name="T16" fmla="*/ 40 w 48"/>
                    <a:gd name="T17" fmla="*/ 0 h 174"/>
                    <a:gd name="T18" fmla="*/ 11 w 48"/>
                    <a:gd name="T19" fmla="*/ 16 h 174"/>
                    <a:gd name="T20" fmla="*/ 15 w 48"/>
                    <a:gd name="T21" fmla="*/ 11 h 174"/>
                    <a:gd name="T22" fmla="*/ 32 w 48"/>
                    <a:gd name="T23" fmla="*/ 11 h 174"/>
                    <a:gd name="T24" fmla="*/ 36 w 48"/>
                    <a:gd name="T25" fmla="*/ 16 h 174"/>
                    <a:gd name="T26" fmla="*/ 36 w 48"/>
                    <a:gd name="T27" fmla="*/ 117 h 174"/>
                    <a:gd name="T28" fmla="*/ 32 w 48"/>
                    <a:gd name="T29" fmla="*/ 121 h 174"/>
                    <a:gd name="T30" fmla="*/ 15 w 48"/>
                    <a:gd name="T31" fmla="*/ 121 h 174"/>
                    <a:gd name="T32" fmla="*/ 11 w 48"/>
                    <a:gd name="T33" fmla="*/ 117 h 174"/>
                    <a:gd name="T34" fmla="*/ 11 w 48"/>
                    <a:gd name="T35" fmla="*/ 16 h 174"/>
                    <a:gd name="T36" fmla="*/ 11 w 48"/>
                    <a:gd name="T37" fmla="*/ 16 h 174"/>
                    <a:gd name="T38" fmla="*/ 23 w 48"/>
                    <a:gd name="T39" fmla="*/ 164 h 174"/>
                    <a:gd name="T40" fmla="*/ 11 w 48"/>
                    <a:gd name="T41" fmla="*/ 151 h 174"/>
                    <a:gd name="T42" fmla="*/ 23 w 48"/>
                    <a:gd name="T43" fmla="*/ 138 h 174"/>
                    <a:gd name="T44" fmla="*/ 36 w 48"/>
                    <a:gd name="T45" fmla="*/ 151 h 174"/>
                    <a:gd name="T46" fmla="*/ 23 w 48"/>
                    <a:gd name="T4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4">
                      <a:moveTo>
                        <a:pt x="40" y="0"/>
                      </a:moveTo>
                      <a:cubicBezTo>
                        <a:pt x="7" y="0"/>
                        <a:pt x="7" y="0"/>
                        <a:pt x="7" y="0"/>
                      </a:cubicBezTo>
                      <a:cubicBezTo>
                        <a:pt x="3" y="0"/>
                        <a:pt x="0" y="3"/>
                        <a:pt x="0" y="8"/>
                      </a:cubicBezTo>
                      <a:cubicBezTo>
                        <a:pt x="0" y="166"/>
                        <a:pt x="0" y="166"/>
                        <a:pt x="0" y="166"/>
                      </a:cubicBezTo>
                      <a:cubicBezTo>
                        <a:pt x="0" y="170"/>
                        <a:pt x="3" y="174"/>
                        <a:pt x="7" y="174"/>
                      </a:cubicBezTo>
                      <a:cubicBezTo>
                        <a:pt x="40" y="174"/>
                        <a:pt x="40" y="174"/>
                        <a:pt x="40" y="174"/>
                      </a:cubicBezTo>
                      <a:cubicBezTo>
                        <a:pt x="44" y="174"/>
                        <a:pt x="48" y="170"/>
                        <a:pt x="48" y="166"/>
                      </a:cubicBezTo>
                      <a:cubicBezTo>
                        <a:pt x="48" y="8"/>
                        <a:pt x="48" y="8"/>
                        <a:pt x="48" y="8"/>
                      </a:cubicBezTo>
                      <a:cubicBezTo>
                        <a:pt x="48" y="3"/>
                        <a:pt x="44" y="0"/>
                        <a:pt x="40" y="0"/>
                      </a:cubicBezTo>
                      <a:close/>
                      <a:moveTo>
                        <a:pt x="11" y="16"/>
                      </a:moveTo>
                      <a:cubicBezTo>
                        <a:pt x="11" y="13"/>
                        <a:pt x="13" y="11"/>
                        <a:pt x="15" y="11"/>
                      </a:cubicBezTo>
                      <a:cubicBezTo>
                        <a:pt x="32" y="11"/>
                        <a:pt x="32" y="11"/>
                        <a:pt x="32" y="11"/>
                      </a:cubicBezTo>
                      <a:cubicBezTo>
                        <a:pt x="34" y="11"/>
                        <a:pt x="36" y="13"/>
                        <a:pt x="36" y="16"/>
                      </a:cubicBezTo>
                      <a:cubicBezTo>
                        <a:pt x="36" y="117"/>
                        <a:pt x="36" y="117"/>
                        <a:pt x="36" y="117"/>
                      </a:cubicBezTo>
                      <a:cubicBezTo>
                        <a:pt x="36" y="119"/>
                        <a:pt x="34" y="121"/>
                        <a:pt x="32" y="121"/>
                      </a:cubicBezTo>
                      <a:cubicBezTo>
                        <a:pt x="15" y="121"/>
                        <a:pt x="15" y="121"/>
                        <a:pt x="15" y="121"/>
                      </a:cubicBezTo>
                      <a:cubicBezTo>
                        <a:pt x="13" y="121"/>
                        <a:pt x="11" y="119"/>
                        <a:pt x="11" y="117"/>
                      </a:cubicBezTo>
                      <a:cubicBezTo>
                        <a:pt x="11" y="16"/>
                        <a:pt x="11" y="16"/>
                        <a:pt x="11" y="16"/>
                      </a:cubicBezTo>
                      <a:cubicBezTo>
                        <a:pt x="11" y="16"/>
                        <a:pt x="11" y="16"/>
                        <a:pt x="11" y="16"/>
                      </a:cubicBezTo>
                      <a:close/>
                      <a:moveTo>
                        <a:pt x="23" y="164"/>
                      </a:moveTo>
                      <a:cubicBezTo>
                        <a:pt x="17" y="164"/>
                        <a:pt x="11" y="158"/>
                        <a:pt x="11" y="151"/>
                      </a:cubicBezTo>
                      <a:cubicBezTo>
                        <a:pt x="11" y="144"/>
                        <a:pt x="17" y="138"/>
                        <a:pt x="23" y="138"/>
                      </a:cubicBezTo>
                      <a:cubicBezTo>
                        <a:pt x="30" y="138"/>
                        <a:pt x="36" y="144"/>
                        <a:pt x="36" y="151"/>
                      </a:cubicBezTo>
                      <a:cubicBezTo>
                        <a:pt x="36" y="158"/>
                        <a:pt x="30" y="164"/>
                        <a:pt x="23" y="164"/>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33" name="Oval 732"/>
                <p:cNvSpPr>
                  <a:spLocks noChangeArrowheads="1"/>
                </p:cNvSpPr>
                <p:nvPr/>
              </p:nvSpPr>
              <p:spPr bwMode="auto">
                <a:xfrm rot="5400000">
                  <a:off x="11562613" y="583986"/>
                  <a:ext cx="14553" cy="16600"/>
                </a:xfrm>
                <a:prstGeom prst="ellipse">
                  <a:avLst/>
                </a:pr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34" name="Freeform 208"/>
                <p:cNvSpPr>
                  <a:spLocks noEditPoints="1"/>
                </p:cNvSpPr>
                <p:nvPr/>
              </p:nvSpPr>
              <p:spPr bwMode="auto">
                <a:xfrm rot="5400000">
                  <a:off x="11616132" y="561838"/>
                  <a:ext cx="52392" cy="197697"/>
                </a:xfrm>
                <a:custGeom>
                  <a:avLst/>
                  <a:gdLst>
                    <a:gd name="T0" fmla="*/ 41 w 48"/>
                    <a:gd name="T1" fmla="*/ 0 h 174"/>
                    <a:gd name="T2" fmla="*/ 8 w 48"/>
                    <a:gd name="T3" fmla="*/ 0 h 174"/>
                    <a:gd name="T4" fmla="*/ 0 w 48"/>
                    <a:gd name="T5" fmla="*/ 8 h 174"/>
                    <a:gd name="T6" fmla="*/ 0 w 48"/>
                    <a:gd name="T7" fmla="*/ 166 h 174"/>
                    <a:gd name="T8" fmla="*/ 8 w 48"/>
                    <a:gd name="T9" fmla="*/ 174 h 174"/>
                    <a:gd name="T10" fmla="*/ 41 w 48"/>
                    <a:gd name="T11" fmla="*/ 174 h 174"/>
                    <a:gd name="T12" fmla="*/ 48 w 48"/>
                    <a:gd name="T13" fmla="*/ 166 h 174"/>
                    <a:gd name="T14" fmla="*/ 48 w 48"/>
                    <a:gd name="T15" fmla="*/ 8 h 174"/>
                    <a:gd name="T16" fmla="*/ 41 w 48"/>
                    <a:gd name="T17" fmla="*/ 0 h 174"/>
                    <a:gd name="T18" fmla="*/ 12 w 48"/>
                    <a:gd name="T19" fmla="*/ 16 h 174"/>
                    <a:gd name="T20" fmla="*/ 16 w 48"/>
                    <a:gd name="T21" fmla="*/ 11 h 174"/>
                    <a:gd name="T22" fmla="*/ 33 w 48"/>
                    <a:gd name="T23" fmla="*/ 11 h 174"/>
                    <a:gd name="T24" fmla="*/ 37 w 48"/>
                    <a:gd name="T25" fmla="*/ 16 h 174"/>
                    <a:gd name="T26" fmla="*/ 37 w 48"/>
                    <a:gd name="T27" fmla="*/ 117 h 174"/>
                    <a:gd name="T28" fmla="*/ 33 w 48"/>
                    <a:gd name="T29" fmla="*/ 121 h 174"/>
                    <a:gd name="T30" fmla="*/ 16 w 48"/>
                    <a:gd name="T31" fmla="*/ 121 h 174"/>
                    <a:gd name="T32" fmla="*/ 12 w 48"/>
                    <a:gd name="T33" fmla="*/ 117 h 174"/>
                    <a:gd name="T34" fmla="*/ 12 w 48"/>
                    <a:gd name="T35" fmla="*/ 16 h 174"/>
                    <a:gd name="T36" fmla="*/ 12 w 48"/>
                    <a:gd name="T37" fmla="*/ 16 h 174"/>
                    <a:gd name="T38" fmla="*/ 24 w 48"/>
                    <a:gd name="T39" fmla="*/ 164 h 174"/>
                    <a:gd name="T40" fmla="*/ 12 w 48"/>
                    <a:gd name="T41" fmla="*/ 151 h 174"/>
                    <a:gd name="T42" fmla="*/ 24 w 48"/>
                    <a:gd name="T43" fmla="*/ 138 h 174"/>
                    <a:gd name="T44" fmla="*/ 37 w 48"/>
                    <a:gd name="T45" fmla="*/ 151 h 174"/>
                    <a:gd name="T46" fmla="*/ 24 w 48"/>
                    <a:gd name="T4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74">
                      <a:moveTo>
                        <a:pt x="41" y="0"/>
                      </a:moveTo>
                      <a:cubicBezTo>
                        <a:pt x="8" y="0"/>
                        <a:pt x="8" y="0"/>
                        <a:pt x="8" y="0"/>
                      </a:cubicBezTo>
                      <a:cubicBezTo>
                        <a:pt x="4" y="0"/>
                        <a:pt x="0" y="3"/>
                        <a:pt x="0" y="8"/>
                      </a:cubicBezTo>
                      <a:cubicBezTo>
                        <a:pt x="0" y="166"/>
                        <a:pt x="0" y="166"/>
                        <a:pt x="0" y="166"/>
                      </a:cubicBezTo>
                      <a:cubicBezTo>
                        <a:pt x="0" y="170"/>
                        <a:pt x="4" y="174"/>
                        <a:pt x="8" y="174"/>
                      </a:cubicBezTo>
                      <a:cubicBezTo>
                        <a:pt x="41" y="174"/>
                        <a:pt x="41" y="174"/>
                        <a:pt x="41" y="174"/>
                      </a:cubicBezTo>
                      <a:cubicBezTo>
                        <a:pt x="45" y="174"/>
                        <a:pt x="48" y="170"/>
                        <a:pt x="48" y="166"/>
                      </a:cubicBezTo>
                      <a:cubicBezTo>
                        <a:pt x="48" y="8"/>
                        <a:pt x="48" y="8"/>
                        <a:pt x="48" y="8"/>
                      </a:cubicBezTo>
                      <a:cubicBezTo>
                        <a:pt x="48" y="3"/>
                        <a:pt x="45" y="0"/>
                        <a:pt x="41" y="0"/>
                      </a:cubicBezTo>
                      <a:close/>
                      <a:moveTo>
                        <a:pt x="12" y="16"/>
                      </a:moveTo>
                      <a:cubicBezTo>
                        <a:pt x="12" y="13"/>
                        <a:pt x="14" y="11"/>
                        <a:pt x="16" y="11"/>
                      </a:cubicBezTo>
                      <a:cubicBezTo>
                        <a:pt x="33" y="11"/>
                        <a:pt x="33" y="11"/>
                        <a:pt x="33" y="11"/>
                      </a:cubicBezTo>
                      <a:cubicBezTo>
                        <a:pt x="35" y="11"/>
                        <a:pt x="37" y="13"/>
                        <a:pt x="37" y="16"/>
                      </a:cubicBezTo>
                      <a:cubicBezTo>
                        <a:pt x="37" y="117"/>
                        <a:pt x="37" y="117"/>
                        <a:pt x="37" y="117"/>
                      </a:cubicBezTo>
                      <a:cubicBezTo>
                        <a:pt x="37" y="119"/>
                        <a:pt x="35" y="121"/>
                        <a:pt x="33" y="121"/>
                      </a:cubicBezTo>
                      <a:cubicBezTo>
                        <a:pt x="16" y="121"/>
                        <a:pt x="16" y="121"/>
                        <a:pt x="16" y="121"/>
                      </a:cubicBezTo>
                      <a:cubicBezTo>
                        <a:pt x="14" y="121"/>
                        <a:pt x="12" y="119"/>
                        <a:pt x="12" y="117"/>
                      </a:cubicBezTo>
                      <a:cubicBezTo>
                        <a:pt x="12" y="16"/>
                        <a:pt x="12" y="16"/>
                        <a:pt x="12" y="16"/>
                      </a:cubicBezTo>
                      <a:cubicBezTo>
                        <a:pt x="12" y="16"/>
                        <a:pt x="12" y="16"/>
                        <a:pt x="12" y="16"/>
                      </a:cubicBezTo>
                      <a:close/>
                      <a:moveTo>
                        <a:pt x="24" y="164"/>
                      </a:moveTo>
                      <a:cubicBezTo>
                        <a:pt x="17" y="164"/>
                        <a:pt x="12" y="158"/>
                        <a:pt x="12" y="151"/>
                      </a:cubicBezTo>
                      <a:cubicBezTo>
                        <a:pt x="12" y="144"/>
                        <a:pt x="17" y="138"/>
                        <a:pt x="24" y="138"/>
                      </a:cubicBezTo>
                      <a:cubicBezTo>
                        <a:pt x="31" y="138"/>
                        <a:pt x="37" y="144"/>
                        <a:pt x="37" y="151"/>
                      </a:cubicBezTo>
                      <a:cubicBezTo>
                        <a:pt x="37" y="158"/>
                        <a:pt x="31" y="164"/>
                        <a:pt x="24" y="164"/>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35" name="Oval 734"/>
                <p:cNvSpPr>
                  <a:spLocks noChangeArrowheads="1"/>
                </p:cNvSpPr>
                <p:nvPr/>
              </p:nvSpPr>
              <p:spPr bwMode="auto">
                <a:xfrm rot="5400000">
                  <a:off x="11563340" y="653114"/>
                  <a:ext cx="13098" cy="16600"/>
                </a:xfrm>
                <a:prstGeom prst="ellipse">
                  <a:avLst/>
                </a:pr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sp>
            <p:nvSpPr>
              <p:cNvPr id="475" name="Freeform 210"/>
              <p:cNvSpPr>
                <a:spLocks/>
              </p:cNvSpPr>
              <p:nvPr/>
            </p:nvSpPr>
            <p:spPr bwMode="auto">
              <a:xfrm>
                <a:off x="10269655" y="1884130"/>
                <a:ext cx="174640" cy="98093"/>
              </a:xfrm>
              <a:custGeom>
                <a:avLst/>
                <a:gdLst>
                  <a:gd name="T0" fmla="*/ 117 w 159"/>
                  <a:gd name="T1" fmla="*/ 86 h 86"/>
                  <a:gd name="T2" fmla="*/ 159 w 159"/>
                  <a:gd name="T3" fmla="*/ 43 h 86"/>
                  <a:gd name="T4" fmla="*/ 117 w 159"/>
                  <a:gd name="T5" fmla="*/ 0 h 86"/>
                  <a:gd name="T6" fmla="*/ 80 w 159"/>
                  <a:gd name="T7" fmla="*/ 21 h 86"/>
                  <a:gd name="T8" fmla="*/ 66 w 159"/>
                  <a:gd name="T9" fmla="*/ 18 h 86"/>
                  <a:gd name="T10" fmla="*/ 35 w 159"/>
                  <a:gd name="T11" fmla="*/ 36 h 86"/>
                  <a:gd name="T12" fmla="*/ 26 w 159"/>
                  <a:gd name="T13" fmla="*/ 34 h 86"/>
                  <a:gd name="T14" fmla="*/ 0 w 159"/>
                  <a:gd name="T15" fmla="*/ 60 h 86"/>
                  <a:gd name="T16" fmla="*/ 26 w 159"/>
                  <a:gd name="T17" fmla="*/ 86 h 86"/>
                  <a:gd name="T18" fmla="*/ 117 w 159"/>
                  <a:gd name="T19" fmla="*/ 86 h 86"/>
                  <a:gd name="T20" fmla="*/ 117 w 159"/>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86">
                    <a:moveTo>
                      <a:pt x="117" y="86"/>
                    </a:moveTo>
                    <a:cubicBezTo>
                      <a:pt x="140" y="86"/>
                      <a:pt x="159" y="66"/>
                      <a:pt x="159" y="43"/>
                    </a:cubicBezTo>
                    <a:cubicBezTo>
                      <a:pt x="159" y="20"/>
                      <a:pt x="140" y="0"/>
                      <a:pt x="117" y="0"/>
                    </a:cubicBezTo>
                    <a:cubicBezTo>
                      <a:pt x="101" y="0"/>
                      <a:pt x="88" y="9"/>
                      <a:pt x="80" y="21"/>
                    </a:cubicBezTo>
                    <a:cubicBezTo>
                      <a:pt x="76" y="19"/>
                      <a:pt x="71" y="18"/>
                      <a:pt x="66" y="18"/>
                    </a:cubicBezTo>
                    <a:cubicBezTo>
                      <a:pt x="52" y="18"/>
                      <a:pt x="41" y="25"/>
                      <a:pt x="35" y="36"/>
                    </a:cubicBezTo>
                    <a:cubicBezTo>
                      <a:pt x="32" y="35"/>
                      <a:pt x="29" y="34"/>
                      <a:pt x="26" y="34"/>
                    </a:cubicBezTo>
                    <a:cubicBezTo>
                      <a:pt x="12" y="34"/>
                      <a:pt x="0" y="46"/>
                      <a:pt x="0" y="60"/>
                    </a:cubicBezTo>
                    <a:cubicBezTo>
                      <a:pt x="0" y="74"/>
                      <a:pt x="12" y="86"/>
                      <a:pt x="26" y="86"/>
                    </a:cubicBezTo>
                    <a:cubicBezTo>
                      <a:pt x="117" y="86"/>
                      <a:pt x="117" y="86"/>
                      <a:pt x="117" y="86"/>
                    </a:cubicBezTo>
                    <a:cubicBezTo>
                      <a:pt x="117" y="86"/>
                      <a:pt x="117" y="86"/>
                      <a:pt x="117" y="86"/>
                    </a:cubicBez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76" name="Freeform 211"/>
              <p:cNvSpPr>
                <a:spLocks noEditPoints="1"/>
              </p:cNvSpPr>
              <p:nvPr/>
            </p:nvSpPr>
            <p:spPr bwMode="auto">
              <a:xfrm>
                <a:off x="10830108" y="1154290"/>
                <a:ext cx="228487" cy="108658"/>
              </a:xfrm>
              <a:custGeom>
                <a:avLst/>
                <a:gdLst>
                  <a:gd name="T0" fmla="*/ 157 w 208"/>
                  <a:gd name="T1" fmla="*/ 95 h 95"/>
                  <a:gd name="T2" fmla="*/ 147 w 208"/>
                  <a:gd name="T3" fmla="*/ 95 h 95"/>
                  <a:gd name="T4" fmla="*/ 114 w 208"/>
                  <a:gd name="T5" fmla="*/ 63 h 95"/>
                  <a:gd name="T6" fmla="*/ 112 w 208"/>
                  <a:gd name="T7" fmla="*/ 63 h 95"/>
                  <a:gd name="T8" fmla="*/ 106 w 208"/>
                  <a:gd name="T9" fmla="*/ 51 h 95"/>
                  <a:gd name="T10" fmla="*/ 114 w 208"/>
                  <a:gd name="T11" fmla="*/ 51 h 95"/>
                  <a:gd name="T12" fmla="*/ 157 w 208"/>
                  <a:gd name="T13" fmla="*/ 95 h 95"/>
                  <a:gd name="T14" fmla="*/ 114 w 208"/>
                  <a:gd name="T15" fmla="*/ 0 h 95"/>
                  <a:gd name="T16" fmla="*/ 47 w 208"/>
                  <a:gd name="T17" fmla="*/ 27 h 95"/>
                  <a:gd name="T18" fmla="*/ 57 w 208"/>
                  <a:gd name="T19" fmla="*/ 25 h 95"/>
                  <a:gd name="T20" fmla="*/ 65 w 208"/>
                  <a:gd name="T21" fmla="*/ 27 h 95"/>
                  <a:gd name="T22" fmla="*/ 114 w 208"/>
                  <a:gd name="T23" fmla="*/ 12 h 95"/>
                  <a:gd name="T24" fmla="*/ 198 w 208"/>
                  <a:gd name="T25" fmla="*/ 95 h 95"/>
                  <a:gd name="T26" fmla="*/ 208 w 208"/>
                  <a:gd name="T27" fmla="*/ 95 h 95"/>
                  <a:gd name="T28" fmla="*/ 114 w 208"/>
                  <a:gd name="T29" fmla="*/ 0 h 95"/>
                  <a:gd name="T30" fmla="*/ 114 w 208"/>
                  <a:gd name="T31" fmla="*/ 27 h 95"/>
                  <a:gd name="T32" fmla="*/ 78 w 208"/>
                  <a:gd name="T33" fmla="*/ 35 h 95"/>
                  <a:gd name="T34" fmla="*/ 80 w 208"/>
                  <a:gd name="T35" fmla="*/ 39 h 95"/>
                  <a:gd name="T36" fmla="*/ 80 w 208"/>
                  <a:gd name="T37" fmla="*/ 39 h 95"/>
                  <a:gd name="T38" fmla="*/ 94 w 208"/>
                  <a:gd name="T39" fmla="*/ 41 h 95"/>
                  <a:gd name="T40" fmla="*/ 114 w 208"/>
                  <a:gd name="T41" fmla="*/ 37 h 95"/>
                  <a:gd name="T42" fmla="*/ 171 w 208"/>
                  <a:gd name="T43" fmla="*/ 95 h 95"/>
                  <a:gd name="T44" fmla="*/ 183 w 208"/>
                  <a:gd name="T45" fmla="*/ 95 h 95"/>
                  <a:gd name="T46" fmla="*/ 114 w 208"/>
                  <a:gd name="T47" fmla="*/ 27 h 95"/>
                  <a:gd name="T48" fmla="*/ 0 w 208"/>
                  <a:gd name="T49" fmla="*/ 79 h 95"/>
                  <a:gd name="T50" fmla="*/ 17 w 208"/>
                  <a:gd name="T51" fmla="*/ 93 h 95"/>
                  <a:gd name="T52" fmla="*/ 19 w 208"/>
                  <a:gd name="T53" fmla="*/ 93 h 95"/>
                  <a:gd name="T54" fmla="*/ 84 w 208"/>
                  <a:gd name="T55" fmla="*/ 93 h 95"/>
                  <a:gd name="T56" fmla="*/ 104 w 208"/>
                  <a:gd name="T57" fmla="*/ 71 h 95"/>
                  <a:gd name="T58" fmla="*/ 80 w 208"/>
                  <a:gd name="T59" fmla="*/ 49 h 95"/>
                  <a:gd name="T60" fmla="*/ 74 w 208"/>
                  <a:gd name="T61" fmla="*/ 49 h 95"/>
                  <a:gd name="T62" fmla="*/ 57 w 208"/>
                  <a:gd name="T63" fmla="*/ 35 h 95"/>
                  <a:gd name="T64" fmla="*/ 37 w 208"/>
                  <a:gd name="T65" fmla="*/ 53 h 95"/>
                  <a:gd name="T66" fmla="*/ 37 w 208"/>
                  <a:gd name="T67" fmla="*/ 57 h 95"/>
                  <a:gd name="T68" fmla="*/ 31 w 208"/>
                  <a:gd name="T69" fmla="*/ 55 h 95"/>
                  <a:gd name="T70" fmla="*/ 19 w 208"/>
                  <a:gd name="T71" fmla="*/ 63 h 95"/>
                  <a:gd name="T72" fmla="*/ 17 w 208"/>
                  <a:gd name="T73" fmla="*/ 63 h 95"/>
                  <a:gd name="T74" fmla="*/ 0 w 208"/>
                  <a:gd name="T75" fmla="*/ 7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 h="95">
                    <a:moveTo>
                      <a:pt x="157" y="95"/>
                    </a:moveTo>
                    <a:cubicBezTo>
                      <a:pt x="147" y="95"/>
                      <a:pt x="147" y="95"/>
                      <a:pt x="147" y="95"/>
                    </a:cubicBezTo>
                    <a:cubicBezTo>
                      <a:pt x="147" y="77"/>
                      <a:pt x="131" y="63"/>
                      <a:pt x="114" y="63"/>
                    </a:cubicBezTo>
                    <a:cubicBezTo>
                      <a:pt x="112" y="63"/>
                      <a:pt x="112" y="63"/>
                      <a:pt x="112" y="63"/>
                    </a:cubicBezTo>
                    <a:cubicBezTo>
                      <a:pt x="110" y="59"/>
                      <a:pt x="108" y="55"/>
                      <a:pt x="106" y="51"/>
                    </a:cubicBezTo>
                    <a:cubicBezTo>
                      <a:pt x="108" y="51"/>
                      <a:pt x="110" y="51"/>
                      <a:pt x="114" y="51"/>
                    </a:cubicBezTo>
                    <a:cubicBezTo>
                      <a:pt x="139" y="51"/>
                      <a:pt x="157" y="71"/>
                      <a:pt x="157" y="95"/>
                    </a:cubicBezTo>
                    <a:close/>
                    <a:moveTo>
                      <a:pt x="114" y="0"/>
                    </a:moveTo>
                    <a:cubicBezTo>
                      <a:pt x="88" y="0"/>
                      <a:pt x="65" y="10"/>
                      <a:pt x="47" y="27"/>
                    </a:cubicBezTo>
                    <a:cubicBezTo>
                      <a:pt x="51" y="27"/>
                      <a:pt x="53" y="25"/>
                      <a:pt x="57" y="25"/>
                    </a:cubicBezTo>
                    <a:cubicBezTo>
                      <a:pt x="59" y="25"/>
                      <a:pt x="63" y="27"/>
                      <a:pt x="65" y="27"/>
                    </a:cubicBezTo>
                    <a:cubicBezTo>
                      <a:pt x="80" y="18"/>
                      <a:pt x="96" y="12"/>
                      <a:pt x="114" y="12"/>
                    </a:cubicBezTo>
                    <a:cubicBezTo>
                      <a:pt x="159" y="12"/>
                      <a:pt x="198" y="49"/>
                      <a:pt x="198" y="95"/>
                    </a:cubicBezTo>
                    <a:cubicBezTo>
                      <a:pt x="208" y="95"/>
                      <a:pt x="208" y="95"/>
                      <a:pt x="208" y="95"/>
                    </a:cubicBezTo>
                    <a:cubicBezTo>
                      <a:pt x="208" y="43"/>
                      <a:pt x="165" y="0"/>
                      <a:pt x="114" y="0"/>
                    </a:cubicBezTo>
                    <a:close/>
                    <a:moveTo>
                      <a:pt x="114" y="27"/>
                    </a:moveTo>
                    <a:cubicBezTo>
                      <a:pt x="100" y="27"/>
                      <a:pt x="88" y="29"/>
                      <a:pt x="78" y="35"/>
                    </a:cubicBezTo>
                    <a:cubicBezTo>
                      <a:pt x="80" y="37"/>
                      <a:pt x="80" y="37"/>
                      <a:pt x="80" y="39"/>
                    </a:cubicBezTo>
                    <a:cubicBezTo>
                      <a:pt x="80" y="39"/>
                      <a:pt x="80" y="39"/>
                      <a:pt x="80" y="39"/>
                    </a:cubicBezTo>
                    <a:cubicBezTo>
                      <a:pt x="86" y="39"/>
                      <a:pt x="90" y="39"/>
                      <a:pt x="94" y="41"/>
                    </a:cubicBezTo>
                    <a:cubicBezTo>
                      <a:pt x="100" y="39"/>
                      <a:pt x="106" y="37"/>
                      <a:pt x="114" y="37"/>
                    </a:cubicBezTo>
                    <a:cubicBezTo>
                      <a:pt x="145" y="37"/>
                      <a:pt x="171" y="63"/>
                      <a:pt x="171" y="95"/>
                    </a:cubicBezTo>
                    <a:cubicBezTo>
                      <a:pt x="183" y="95"/>
                      <a:pt x="183" y="95"/>
                      <a:pt x="183" y="95"/>
                    </a:cubicBezTo>
                    <a:cubicBezTo>
                      <a:pt x="183" y="57"/>
                      <a:pt x="153" y="27"/>
                      <a:pt x="114" y="27"/>
                    </a:cubicBezTo>
                    <a:close/>
                    <a:moveTo>
                      <a:pt x="0" y="79"/>
                    </a:moveTo>
                    <a:cubicBezTo>
                      <a:pt x="0" y="87"/>
                      <a:pt x="7" y="93"/>
                      <a:pt x="17" y="93"/>
                    </a:cubicBezTo>
                    <a:cubicBezTo>
                      <a:pt x="19" y="93"/>
                      <a:pt x="19" y="93"/>
                      <a:pt x="19" y="93"/>
                    </a:cubicBezTo>
                    <a:cubicBezTo>
                      <a:pt x="84" y="93"/>
                      <a:pt x="84" y="93"/>
                      <a:pt x="84" y="93"/>
                    </a:cubicBezTo>
                    <a:cubicBezTo>
                      <a:pt x="94" y="93"/>
                      <a:pt x="104" y="83"/>
                      <a:pt x="104" y="71"/>
                    </a:cubicBezTo>
                    <a:cubicBezTo>
                      <a:pt x="104" y="59"/>
                      <a:pt x="94" y="49"/>
                      <a:pt x="80" y="49"/>
                    </a:cubicBezTo>
                    <a:cubicBezTo>
                      <a:pt x="78" y="49"/>
                      <a:pt x="76" y="49"/>
                      <a:pt x="74" y="49"/>
                    </a:cubicBezTo>
                    <a:cubicBezTo>
                      <a:pt x="72" y="41"/>
                      <a:pt x="65" y="35"/>
                      <a:pt x="57" y="35"/>
                    </a:cubicBezTo>
                    <a:cubicBezTo>
                      <a:pt x="45" y="35"/>
                      <a:pt x="37" y="43"/>
                      <a:pt x="37" y="53"/>
                    </a:cubicBezTo>
                    <a:cubicBezTo>
                      <a:pt x="37" y="55"/>
                      <a:pt x="37" y="55"/>
                      <a:pt x="37" y="57"/>
                    </a:cubicBezTo>
                    <a:cubicBezTo>
                      <a:pt x="35" y="55"/>
                      <a:pt x="33" y="55"/>
                      <a:pt x="31" y="55"/>
                    </a:cubicBezTo>
                    <a:cubicBezTo>
                      <a:pt x="27" y="55"/>
                      <a:pt x="21" y="59"/>
                      <a:pt x="19" y="63"/>
                    </a:cubicBezTo>
                    <a:cubicBezTo>
                      <a:pt x="17" y="63"/>
                      <a:pt x="17" y="63"/>
                      <a:pt x="17" y="63"/>
                    </a:cubicBezTo>
                    <a:cubicBezTo>
                      <a:pt x="7" y="63"/>
                      <a:pt x="0" y="69"/>
                      <a:pt x="0" y="79"/>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79" name="Freeform 212"/>
              <p:cNvSpPr>
                <a:spLocks noEditPoints="1"/>
              </p:cNvSpPr>
              <p:nvPr/>
            </p:nvSpPr>
            <p:spPr bwMode="auto">
              <a:xfrm rot="5400000">
                <a:off x="11526332" y="832802"/>
                <a:ext cx="256138" cy="264099"/>
              </a:xfrm>
              <a:custGeom>
                <a:avLst/>
                <a:gdLst>
                  <a:gd name="T0" fmla="*/ 86 w 176"/>
                  <a:gd name="T1" fmla="*/ 78 h 175"/>
                  <a:gd name="T2" fmla="*/ 92 w 176"/>
                  <a:gd name="T3" fmla="*/ 48 h 175"/>
                  <a:gd name="T4" fmla="*/ 92 w 176"/>
                  <a:gd name="T5" fmla="*/ 50 h 175"/>
                  <a:gd name="T6" fmla="*/ 101 w 176"/>
                  <a:gd name="T7" fmla="*/ 53 h 175"/>
                  <a:gd name="T8" fmla="*/ 109 w 176"/>
                  <a:gd name="T9" fmla="*/ 67 h 175"/>
                  <a:gd name="T10" fmla="*/ 131 w 176"/>
                  <a:gd name="T11" fmla="*/ 40 h 175"/>
                  <a:gd name="T12" fmla="*/ 92 w 176"/>
                  <a:gd name="T13" fmla="*/ 47 h 175"/>
                  <a:gd name="T14" fmla="*/ 92 w 176"/>
                  <a:gd name="T15" fmla="*/ 48 h 175"/>
                  <a:gd name="T16" fmla="*/ 101 w 176"/>
                  <a:gd name="T17" fmla="*/ 50 h 175"/>
                  <a:gd name="T18" fmla="*/ 111 w 176"/>
                  <a:gd name="T19" fmla="*/ 53 h 175"/>
                  <a:gd name="T20" fmla="*/ 111 w 176"/>
                  <a:gd name="T21" fmla="*/ 51 h 175"/>
                  <a:gd name="T22" fmla="*/ 111 w 176"/>
                  <a:gd name="T23" fmla="*/ 53 h 175"/>
                  <a:gd name="T24" fmla="*/ 110 w 176"/>
                  <a:gd name="T25" fmla="*/ 53 h 175"/>
                  <a:gd name="T26" fmla="*/ 111 w 176"/>
                  <a:gd name="T27" fmla="*/ 51 h 175"/>
                  <a:gd name="T28" fmla="*/ 110 w 176"/>
                  <a:gd name="T29" fmla="*/ 53 h 175"/>
                  <a:gd name="T30" fmla="*/ 51 w 176"/>
                  <a:gd name="T31" fmla="*/ 102 h 175"/>
                  <a:gd name="T32" fmla="*/ 83 w 176"/>
                  <a:gd name="T33" fmla="*/ 93 h 175"/>
                  <a:gd name="T34" fmla="*/ 49 w 176"/>
                  <a:gd name="T35" fmla="*/ 83 h 175"/>
                  <a:gd name="T36" fmla="*/ 30 w 176"/>
                  <a:gd name="T37" fmla="*/ 87 h 175"/>
                  <a:gd name="T38" fmla="*/ 44 w 176"/>
                  <a:gd name="T39" fmla="*/ 103 h 175"/>
                  <a:gd name="T40" fmla="*/ 51 w 176"/>
                  <a:gd name="T41" fmla="*/ 102 h 175"/>
                  <a:gd name="T42" fmla="*/ 51 w 176"/>
                  <a:gd name="T43" fmla="*/ 92 h 175"/>
                  <a:gd name="T44" fmla="*/ 45 w 176"/>
                  <a:gd name="T45" fmla="*/ 83 h 175"/>
                  <a:gd name="T46" fmla="*/ 46 w 176"/>
                  <a:gd name="T47" fmla="*/ 84 h 175"/>
                  <a:gd name="T48" fmla="*/ 44 w 176"/>
                  <a:gd name="T49" fmla="*/ 86 h 175"/>
                  <a:gd name="T50" fmla="*/ 45 w 176"/>
                  <a:gd name="T51" fmla="*/ 84 h 175"/>
                  <a:gd name="T52" fmla="*/ 48 w 176"/>
                  <a:gd name="T53" fmla="*/ 84 h 175"/>
                  <a:gd name="T54" fmla="*/ 45 w 176"/>
                  <a:gd name="T55" fmla="*/ 84 h 175"/>
                  <a:gd name="T56" fmla="*/ 46 w 176"/>
                  <a:gd name="T57" fmla="*/ 86 h 175"/>
                  <a:gd name="T58" fmla="*/ 45 w 176"/>
                  <a:gd name="T59" fmla="*/ 84 h 175"/>
                  <a:gd name="T60" fmla="*/ 118 w 176"/>
                  <a:gd name="T61" fmla="*/ 110 h 175"/>
                  <a:gd name="T62" fmla="*/ 95 w 176"/>
                  <a:gd name="T63" fmla="*/ 87 h 175"/>
                  <a:gd name="T64" fmla="*/ 123 w 176"/>
                  <a:gd name="T65" fmla="*/ 126 h 175"/>
                  <a:gd name="T66" fmla="*/ 103 w 176"/>
                  <a:gd name="T67" fmla="*/ 125 h 175"/>
                  <a:gd name="T68" fmla="*/ 95 w 176"/>
                  <a:gd name="T69" fmla="*/ 151 h 175"/>
                  <a:gd name="T70" fmla="*/ 118 w 176"/>
                  <a:gd name="T71" fmla="*/ 110 h 175"/>
                  <a:gd name="T72" fmla="*/ 110 w 176"/>
                  <a:gd name="T73" fmla="*/ 115 h 175"/>
                  <a:gd name="T74" fmla="*/ 105 w 176"/>
                  <a:gd name="T75" fmla="*/ 124 h 175"/>
                  <a:gd name="T76" fmla="*/ 107 w 176"/>
                  <a:gd name="T77" fmla="*/ 125 h 175"/>
                  <a:gd name="T78" fmla="*/ 112 w 176"/>
                  <a:gd name="T79" fmla="*/ 117 h 175"/>
                  <a:gd name="T80" fmla="*/ 108 w 176"/>
                  <a:gd name="T81" fmla="*/ 125 h 175"/>
                  <a:gd name="T82" fmla="*/ 107 w 176"/>
                  <a:gd name="T83" fmla="*/ 125 h 175"/>
                  <a:gd name="T84" fmla="*/ 112 w 176"/>
                  <a:gd name="T85" fmla="*/ 117 h 175"/>
                  <a:gd name="T86" fmla="*/ 107 w 176"/>
                  <a:gd name="T87" fmla="*/ 125 h 175"/>
                  <a:gd name="T88" fmla="*/ 105 w 176"/>
                  <a:gd name="T89" fmla="*/ 124 h 175"/>
                  <a:gd name="T90" fmla="*/ 92 w 176"/>
                  <a:gd name="T91" fmla="*/ 86 h 175"/>
                  <a:gd name="T92" fmla="*/ 86 w 176"/>
                  <a:gd name="T93" fmla="*/ 80 h 175"/>
                  <a:gd name="T94" fmla="*/ 82 w 176"/>
                  <a:gd name="T95" fmla="*/ 90 h 175"/>
                  <a:gd name="T96" fmla="*/ 80 w 176"/>
                  <a:gd name="T97" fmla="*/ 87 h 175"/>
                  <a:gd name="T98" fmla="*/ 95 w 176"/>
                  <a:gd name="T99" fmla="*/ 90 h 175"/>
                  <a:gd name="T100" fmla="*/ 86 w 176"/>
                  <a:gd name="T101" fmla="*/ 80 h 175"/>
                  <a:gd name="T102" fmla="*/ 80 w 176"/>
                  <a:gd name="T103" fmla="*/ 91 h 175"/>
                  <a:gd name="T104" fmla="*/ 95 w 176"/>
                  <a:gd name="T105" fmla="*/ 90 h 175"/>
                  <a:gd name="T106" fmla="*/ 24 w 176"/>
                  <a:gd name="T107" fmla="*/ 130 h 175"/>
                  <a:gd name="T108" fmla="*/ 29 w 176"/>
                  <a:gd name="T109" fmla="*/ 38 h 175"/>
                  <a:gd name="T110" fmla="*/ 117 w 176"/>
                  <a:gd name="T111" fmla="*/ 16 h 175"/>
                  <a:gd name="T112" fmla="*/ 164 w 176"/>
                  <a:gd name="T113" fmla="*/ 95 h 175"/>
                  <a:gd name="T114" fmla="*/ 95 w 176"/>
                  <a:gd name="T115" fmla="*/ 164 h 175"/>
                  <a:gd name="T116" fmla="*/ 156 w 176"/>
                  <a:gd name="T117" fmla="*/ 142 h 175"/>
                  <a:gd name="T118" fmla="*/ 161 w 176"/>
                  <a:gd name="T119" fmla="*/ 38 h 175"/>
                  <a:gd name="T120" fmla="*/ 62 w 176"/>
                  <a:gd name="T121" fmla="*/ 4 h 175"/>
                  <a:gd name="T122" fmla="*/ 0 w 176"/>
                  <a:gd name="T123" fmla="*/ 87 h 175"/>
                  <a:gd name="T124" fmla="*/ 70 w 176"/>
                  <a:gd name="T125" fmla="*/ 17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 h="175">
                    <a:moveTo>
                      <a:pt x="92" y="48"/>
                    </a:moveTo>
                    <a:lnTo>
                      <a:pt x="92" y="50"/>
                    </a:lnTo>
                    <a:lnTo>
                      <a:pt x="92" y="50"/>
                    </a:lnTo>
                    <a:lnTo>
                      <a:pt x="86" y="50"/>
                    </a:lnTo>
                    <a:lnTo>
                      <a:pt x="80" y="51"/>
                    </a:lnTo>
                    <a:lnTo>
                      <a:pt x="77" y="55"/>
                    </a:lnTo>
                    <a:lnTo>
                      <a:pt x="74" y="61"/>
                    </a:lnTo>
                    <a:lnTo>
                      <a:pt x="74" y="61"/>
                    </a:lnTo>
                    <a:lnTo>
                      <a:pt x="74" y="67"/>
                    </a:lnTo>
                    <a:lnTo>
                      <a:pt x="77" y="72"/>
                    </a:lnTo>
                    <a:lnTo>
                      <a:pt x="77" y="72"/>
                    </a:lnTo>
                    <a:lnTo>
                      <a:pt x="80" y="76"/>
                    </a:lnTo>
                    <a:lnTo>
                      <a:pt x="86" y="78"/>
                    </a:lnTo>
                    <a:lnTo>
                      <a:pt x="86" y="78"/>
                    </a:lnTo>
                    <a:lnTo>
                      <a:pt x="84" y="80"/>
                    </a:lnTo>
                    <a:lnTo>
                      <a:pt x="84" y="80"/>
                    </a:lnTo>
                    <a:lnTo>
                      <a:pt x="78" y="76"/>
                    </a:lnTo>
                    <a:lnTo>
                      <a:pt x="74" y="72"/>
                    </a:lnTo>
                    <a:lnTo>
                      <a:pt x="73" y="67"/>
                    </a:lnTo>
                    <a:lnTo>
                      <a:pt x="73" y="61"/>
                    </a:lnTo>
                    <a:lnTo>
                      <a:pt x="73" y="61"/>
                    </a:lnTo>
                    <a:lnTo>
                      <a:pt x="76" y="55"/>
                    </a:lnTo>
                    <a:lnTo>
                      <a:pt x="80" y="50"/>
                    </a:lnTo>
                    <a:lnTo>
                      <a:pt x="86" y="47"/>
                    </a:lnTo>
                    <a:lnTo>
                      <a:pt x="92" y="47"/>
                    </a:lnTo>
                    <a:lnTo>
                      <a:pt x="92" y="48"/>
                    </a:lnTo>
                    <a:lnTo>
                      <a:pt x="92" y="48"/>
                    </a:lnTo>
                    <a:lnTo>
                      <a:pt x="92" y="48"/>
                    </a:lnTo>
                    <a:close/>
                    <a:moveTo>
                      <a:pt x="86" y="80"/>
                    </a:moveTo>
                    <a:lnTo>
                      <a:pt x="86" y="80"/>
                    </a:lnTo>
                    <a:lnTo>
                      <a:pt x="86" y="80"/>
                    </a:lnTo>
                    <a:lnTo>
                      <a:pt x="86" y="80"/>
                    </a:lnTo>
                    <a:lnTo>
                      <a:pt x="86" y="80"/>
                    </a:lnTo>
                    <a:lnTo>
                      <a:pt x="86" y="80"/>
                    </a:lnTo>
                    <a:lnTo>
                      <a:pt x="86" y="80"/>
                    </a:lnTo>
                    <a:lnTo>
                      <a:pt x="86" y="80"/>
                    </a:lnTo>
                    <a:close/>
                    <a:moveTo>
                      <a:pt x="101" y="53"/>
                    </a:moveTo>
                    <a:lnTo>
                      <a:pt x="101" y="53"/>
                    </a:lnTo>
                    <a:lnTo>
                      <a:pt x="98" y="51"/>
                    </a:lnTo>
                    <a:lnTo>
                      <a:pt x="97" y="50"/>
                    </a:lnTo>
                    <a:lnTo>
                      <a:pt x="92" y="48"/>
                    </a:lnTo>
                    <a:lnTo>
                      <a:pt x="92" y="50"/>
                    </a:lnTo>
                    <a:lnTo>
                      <a:pt x="92" y="50"/>
                    </a:lnTo>
                    <a:lnTo>
                      <a:pt x="92" y="50"/>
                    </a:lnTo>
                    <a:lnTo>
                      <a:pt x="92" y="50"/>
                    </a:lnTo>
                    <a:lnTo>
                      <a:pt x="92" y="50"/>
                    </a:lnTo>
                    <a:lnTo>
                      <a:pt x="92" y="55"/>
                    </a:lnTo>
                    <a:lnTo>
                      <a:pt x="93" y="59"/>
                    </a:lnTo>
                    <a:lnTo>
                      <a:pt x="98" y="63"/>
                    </a:lnTo>
                    <a:lnTo>
                      <a:pt x="103" y="65"/>
                    </a:lnTo>
                    <a:lnTo>
                      <a:pt x="108" y="67"/>
                    </a:lnTo>
                    <a:lnTo>
                      <a:pt x="108" y="67"/>
                    </a:lnTo>
                    <a:lnTo>
                      <a:pt x="109" y="55"/>
                    </a:lnTo>
                    <a:lnTo>
                      <a:pt x="101" y="53"/>
                    </a:lnTo>
                    <a:lnTo>
                      <a:pt x="101" y="53"/>
                    </a:lnTo>
                    <a:lnTo>
                      <a:pt x="101" y="53"/>
                    </a:lnTo>
                    <a:close/>
                    <a:moveTo>
                      <a:pt x="131" y="40"/>
                    </a:moveTo>
                    <a:lnTo>
                      <a:pt x="116" y="37"/>
                    </a:lnTo>
                    <a:lnTo>
                      <a:pt x="116" y="37"/>
                    </a:lnTo>
                    <a:lnTo>
                      <a:pt x="112" y="50"/>
                    </a:lnTo>
                    <a:lnTo>
                      <a:pt x="112" y="50"/>
                    </a:lnTo>
                    <a:lnTo>
                      <a:pt x="112" y="50"/>
                    </a:lnTo>
                    <a:lnTo>
                      <a:pt x="114" y="50"/>
                    </a:lnTo>
                    <a:lnTo>
                      <a:pt x="114" y="53"/>
                    </a:lnTo>
                    <a:lnTo>
                      <a:pt x="114" y="53"/>
                    </a:lnTo>
                    <a:lnTo>
                      <a:pt x="112" y="55"/>
                    </a:lnTo>
                    <a:lnTo>
                      <a:pt x="110" y="55"/>
                    </a:lnTo>
                    <a:lnTo>
                      <a:pt x="110" y="55"/>
                    </a:lnTo>
                    <a:lnTo>
                      <a:pt x="110" y="55"/>
                    </a:lnTo>
                    <a:lnTo>
                      <a:pt x="109" y="67"/>
                    </a:lnTo>
                    <a:lnTo>
                      <a:pt x="124" y="70"/>
                    </a:lnTo>
                    <a:lnTo>
                      <a:pt x="124" y="70"/>
                    </a:lnTo>
                    <a:lnTo>
                      <a:pt x="130" y="71"/>
                    </a:lnTo>
                    <a:lnTo>
                      <a:pt x="135" y="68"/>
                    </a:lnTo>
                    <a:lnTo>
                      <a:pt x="138" y="65"/>
                    </a:lnTo>
                    <a:lnTo>
                      <a:pt x="141" y="59"/>
                    </a:lnTo>
                    <a:lnTo>
                      <a:pt x="142" y="59"/>
                    </a:lnTo>
                    <a:lnTo>
                      <a:pt x="142" y="59"/>
                    </a:lnTo>
                    <a:lnTo>
                      <a:pt x="142" y="53"/>
                    </a:lnTo>
                    <a:lnTo>
                      <a:pt x="140" y="48"/>
                    </a:lnTo>
                    <a:lnTo>
                      <a:pt x="136" y="43"/>
                    </a:lnTo>
                    <a:lnTo>
                      <a:pt x="131" y="40"/>
                    </a:lnTo>
                    <a:lnTo>
                      <a:pt x="131" y="40"/>
                    </a:lnTo>
                    <a:lnTo>
                      <a:pt x="131" y="40"/>
                    </a:lnTo>
                    <a:close/>
                    <a:moveTo>
                      <a:pt x="92" y="47"/>
                    </a:moveTo>
                    <a:lnTo>
                      <a:pt x="98" y="48"/>
                    </a:lnTo>
                    <a:lnTo>
                      <a:pt x="98" y="48"/>
                    </a:lnTo>
                    <a:lnTo>
                      <a:pt x="99" y="47"/>
                    </a:lnTo>
                    <a:lnTo>
                      <a:pt x="102" y="47"/>
                    </a:lnTo>
                    <a:lnTo>
                      <a:pt x="111" y="50"/>
                    </a:lnTo>
                    <a:lnTo>
                      <a:pt x="111" y="50"/>
                    </a:lnTo>
                    <a:lnTo>
                      <a:pt x="114" y="37"/>
                    </a:lnTo>
                    <a:lnTo>
                      <a:pt x="110" y="36"/>
                    </a:lnTo>
                    <a:lnTo>
                      <a:pt x="110" y="36"/>
                    </a:lnTo>
                    <a:lnTo>
                      <a:pt x="105" y="36"/>
                    </a:lnTo>
                    <a:lnTo>
                      <a:pt x="99" y="38"/>
                    </a:lnTo>
                    <a:lnTo>
                      <a:pt x="95" y="42"/>
                    </a:lnTo>
                    <a:lnTo>
                      <a:pt x="92" y="47"/>
                    </a:lnTo>
                    <a:lnTo>
                      <a:pt x="92" y="48"/>
                    </a:lnTo>
                    <a:lnTo>
                      <a:pt x="92" y="48"/>
                    </a:lnTo>
                    <a:lnTo>
                      <a:pt x="92" y="47"/>
                    </a:lnTo>
                    <a:lnTo>
                      <a:pt x="92" y="47"/>
                    </a:lnTo>
                    <a:lnTo>
                      <a:pt x="92" y="47"/>
                    </a:lnTo>
                    <a:close/>
                    <a:moveTo>
                      <a:pt x="92" y="48"/>
                    </a:moveTo>
                    <a:lnTo>
                      <a:pt x="92" y="48"/>
                    </a:lnTo>
                    <a:lnTo>
                      <a:pt x="92" y="48"/>
                    </a:lnTo>
                    <a:lnTo>
                      <a:pt x="92" y="48"/>
                    </a:lnTo>
                    <a:lnTo>
                      <a:pt x="92" y="50"/>
                    </a:lnTo>
                    <a:lnTo>
                      <a:pt x="92" y="50"/>
                    </a:lnTo>
                    <a:lnTo>
                      <a:pt x="92" y="50"/>
                    </a:lnTo>
                    <a:lnTo>
                      <a:pt x="92" y="48"/>
                    </a:lnTo>
                    <a:lnTo>
                      <a:pt x="92" y="48"/>
                    </a:lnTo>
                    <a:lnTo>
                      <a:pt x="92" y="48"/>
                    </a:lnTo>
                    <a:close/>
                    <a:moveTo>
                      <a:pt x="103" y="48"/>
                    </a:moveTo>
                    <a:lnTo>
                      <a:pt x="103" y="48"/>
                    </a:lnTo>
                    <a:lnTo>
                      <a:pt x="102" y="48"/>
                    </a:lnTo>
                    <a:lnTo>
                      <a:pt x="101" y="50"/>
                    </a:lnTo>
                    <a:lnTo>
                      <a:pt x="110" y="51"/>
                    </a:lnTo>
                    <a:lnTo>
                      <a:pt x="110" y="51"/>
                    </a:lnTo>
                    <a:lnTo>
                      <a:pt x="110" y="50"/>
                    </a:lnTo>
                    <a:lnTo>
                      <a:pt x="110" y="50"/>
                    </a:lnTo>
                    <a:lnTo>
                      <a:pt x="110" y="50"/>
                    </a:lnTo>
                    <a:lnTo>
                      <a:pt x="103" y="48"/>
                    </a:lnTo>
                    <a:lnTo>
                      <a:pt x="103" y="48"/>
                    </a:lnTo>
                    <a:lnTo>
                      <a:pt x="103" y="48"/>
                    </a:lnTo>
                    <a:close/>
                    <a:moveTo>
                      <a:pt x="101" y="50"/>
                    </a:moveTo>
                    <a:lnTo>
                      <a:pt x="101" y="50"/>
                    </a:lnTo>
                    <a:lnTo>
                      <a:pt x="102" y="51"/>
                    </a:lnTo>
                    <a:lnTo>
                      <a:pt x="103" y="53"/>
                    </a:lnTo>
                    <a:lnTo>
                      <a:pt x="109" y="53"/>
                    </a:lnTo>
                    <a:lnTo>
                      <a:pt x="109" y="53"/>
                    </a:lnTo>
                    <a:lnTo>
                      <a:pt x="110" y="53"/>
                    </a:lnTo>
                    <a:lnTo>
                      <a:pt x="110" y="53"/>
                    </a:lnTo>
                    <a:lnTo>
                      <a:pt x="110" y="53"/>
                    </a:lnTo>
                    <a:lnTo>
                      <a:pt x="101" y="50"/>
                    </a:lnTo>
                    <a:lnTo>
                      <a:pt x="101" y="50"/>
                    </a:lnTo>
                    <a:lnTo>
                      <a:pt x="101" y="50"/>
                    </a:lnTo>
                    <a:close/>
                    <a:moveTo>
                      <a:pt x="111" y="53"/>
                    </a:moveTo>
                    <a:lnTo>
                      <a:pt x="111" y="53"/>
                    </a:lnTo>
                    <a:lnTo>
                      <a:pt x="111" y="53"/>
                    </a:lnTo>
                    <a:lnTo>
                      <a:pt x="111" y="53"/>
                    </a:lnTo>
                    <a:lnTo>
                      <a:pt x="111" y="53"/>
                    </a:lnTo>
                    <a:lnTo>
                      <a:pt x="111" y="53"/>
                    </a:lnTo>
                    <a:lnTo>
                      <a:pt x="111" y="53"/>
                    </a:lnTo>
                    <a:lnTo>
                      <a:pt x="111" y="53"/>
                    </a:lnTo>
                    <a:close/>
                    <a:moveTo>
                      <a:pt x="111" y="51"/>
                    </a:moveTo>
                    <a:lnTo>
                      <a:pt x="111" y="51"/>
                    </a:lnTo>
                    <a:lnTo>
                      <a:pt x="111" y="51"/>
                    </a:lnTo>
                    <a:lnTo>
                      <a:pt x="111" y="51"/>
                    </a:lnTo>
                    <a:lnTo>
                      <a:pt x="111" y="51"/>
                    </a:lnTo>
                    <a:lnTo>
                      <a:pt x="111" y="51"/>
                    </a:lnTo>
                    <a:lnTo>
                      <a:pt x="111" y="51"/>
                    </a:lnTo>
                    <a:lnTo>
                      <a:pt x="111" y="51"/>
                    </a:lnTo>
                    <a:close/>
                    <a:moveTo>
                      <a:pt x="111" y="51"/>
                    </a:moveTo>
                    <a:lnTo>
                      <a:pt x="111" y="51"/>
                    </a:lnTo>
                    <a:lnTo>
                      <a:pt x="111" y="51"/>
                    </a:lnTo>
                    <a:lnTo>
                      <a:pt x="111" y="51"/>
                    </a:lnTo>
                    <a:lnTo>
                      <a:pt x="110" y="50"/>
                    </a:lnTo>
                    <a:lnTo>
                      <a:pt x="110" y="50"/>
                    </a:lnTo>
                    <a:lnTo>
                      <a:pt x="110" y="51"/>
                    </a:lnTo>
                    <a:lnTo>
                      <a:pt x="111" y="51"/>
                    </a:lnTo>
                    <a:lnTo>
                      <a:pt x="111" y="51"/>
                    </a:lnTo>
                    <a:lnTo>
                      <a:pt x="111" y="51"/>
                    </a:lnTo>
                    <a:close/>
                    <a:moveTo>
                      <a:pt x="110" y="53"/>
                    </a:moveTo>
                    <a:lnTo>
                      <a:pt x="110" y="53"/>
                    </a:lnTo>
                    <a:lnTo>
                      <a:pt x="110" y="53"/>
                    </a:lnTo>
                    <a:lnTo>
                      <a:pt x="110" y="53"/>
                    </a:lnTo>
                    <a:lnTo>
                      <a:pt x="111" y="53"/>
                    </a:lnTo>
                    <a:lnTo>
                      <a:pt x="111" y="53"/>
                    </a:lnTo>
                    <a:lnTo>
                      <a:pt x="111" y="53"/>
                    </a:lnTo>
                    <a:lnTo>
                      <a:pt x="110" y="53"/>
                    </a:lnTo>
                    <a:lnTo>
                      <a:pt x="110" y="53"/>
                    </a:lnTo>
                    <a:lnTo>
                      <a:pt x="110" y="53"/>
                    </a:lnTo>
                    <a:close/>
                    <a:moveTo>
                      <a:pt x="110" y="51"/>
                    </a:moveTo>
                    <a:lnTo>
                      <a:pt x="110" y="51"/>
                    </a:lnTo>
                    <a:lnTo>
                      <a:pt x="110" y="51"/>
                    </a:lnTo>
                    <a:lnTo>
                      <a:pt x="101" y="50"/>
                    </a:lnTo>
                    <a:lnTo>
                      <a:pt x="101" y="50"/>
                    </a:lnTo>
                    <a:lnTo>
                      <a:pt x="101" y="50"/>
                    </a:lnTo>
                    <a:lnTo>
                      <a:pt x="101" y="50"/>
                    </a:lnTo>
                    <a:lnTo>
                      <a:pt x="101" y="50"/>
                    </a:lnTo>
                    <a:lnTo>
                      <a:pt x="110" y="53"/>
                    </a:lnTo>
                    <a:lnTo>
                      <a:pt x="110" y="53"/>
                    </a:lnTo>
                    <a:lnTo>
                      <a:pt x="110" y="51"/>
                    </a:lnTo>
                    <a:lnTo>
                      <a:pt x="110" y="51"/>
                    </a:lnTo>
                    <a:lnTo>
                      <a:pt x="110" y="51"/>
                    </a:lnTo>
                    <a:close/>
                    <a:moveTo>
                      <a:pt x="111" y="53"/>
                    </a:moveTo>
                    <a:lnTo>
                      <a:pt x="111" y="53"/>
                    </a:lnTo>
                    <a:lnTo>
                      <a:pt x="111" y="53"/>
                    </a:lnTo>
                    <a:lnTo>
                      <a:pt x="111" y="53"/>
                    </a:lnTo>
                    <a:lnTo>
                      <a:pt x="111" y="53"/>
                    </a:lnTo>
                    <a:lnTo>
                      <a:pt x="111" y="53"/>
                    </a:lnTo>
                    <a:lnTo>
                      <a:pt x="111" y="53"/>
                    </a:lnTo>
                    <a:lnTo>
                      <a:pt x="111" y="51"/>
                    </a:lnTo>
                    <a:lnTo>
                      <a:pt x="111" y="51"/>
                    </a:lnTo>
                    <a:lnTo>
                      <a:pt x="111" y="51"/>
                    </a:lnTo>
                    <a:lnTo>
                      <a:pt x="111" y="53"/>
                    </a:lnTo>
                    <a:lnTo>
                      <a:pt x="111" y="53"/>
                    </a:lnTo>
                    <a:lnTo>
                      <a:pt x="111" y="53"/>
                    </a:lnTo>
                    <a:close/>
                    <a:moveTo>
                      <a:pt x="110" y="53"/>
                    </a:moveTo>
                    <a:lnTo>
                      <a:pt x="111" y="53"/>
                    </a:lnTo>
                    <a:lnTo>
                      <a:pt x="111" y="53"/>
                    </a:lnTo>
                    <a:lnTo>
                      <a:pt x="111" y="53"/>
                    </a:lnTo>
                    <a:lnTo>
                      <a:pt x="111" y="53"/>
                    </a:lnTo>
                    <a:lnTo>
                      <a:pt x="111" y="51"/>
                    </a:lnTo>
                    <a:lnTo>
                      <a:pt x="110" y="51"/>
                    </a:lnTo>
                    <a:lnTo>
                      <a:pt x="110" y="51"/>
                    </a:lnTo>
                    <a:lnTo>
                      <a:pt x="110" y="51"/>
                    </a:lnTo>
                    <a:lnTo>
                      <a:pt x="110" y="51"/>
                    </a:lnTo>
                    <a:lnTo>
                      <a:pt x="110" y="53"/>
                    </a:lnTo>
                    <a:lnTo>
                      <a:pt x="110" y="53"/>
                    </a:lnTo>
                    <a:lnTo>
                      <a:pt x="110" y="53"/>
                    </a:lnTo>
                    <a:close/>
                    <a:moveTo>
                      <a:pt x="80" y="91"/>
                    </a:moveTo>
                    <a:lnTo>
                      <a:pt x="80" y="91"/>
                    </a:lnTo>
                    <a:lnTo>
                      <a:pt x="82" y="97"/>
                    </a:lnTo>
                    <a:lnTo>
                      <a:pt x="80" y="103"/>
                    </a:lnTo>
                    <a:lnTo>
                      <a:pt x="76" y="108"/>
                    </a:lnTo>
                    <a:lnTo>
                      <a:pt x="71" y="111"/>
                    </a:lnTo>
                    <a:lnTo>
                      <a:pt x="71" y="111"/>
                    </a:lnTo>
                    <a:lnTo>
                      <a:pt x="65" y="112"/>
                    </a:lnTo>
                    <a:lnTo>
                      <a:pt x="59" y="110"/>
                    </a:lnTo>
                    <a:lnTo>
                      <a:pt x="55" y="106"/>
                    </a:lnTo>
                    <a:lnTo>
                      <a:pt x="51" y="102"/>
                    </a:lnTo>
                    <a:lnTo>
                      <a:pt x="51" y="102"/>
                    </a:lnTo>
                    <a:lnTo>
                      <a:pt x="51" y="102"/>
                    </a:lnTo>
                    <a:lnTo>
                      <a:pt x="50" y="102"/>
                    </a:lnTo>
                    <a:lnTo>
                      <a:pt x="50" y="102"/>
                    </a:lnTo>
                    <a:lnTo>
                      <a:pt x="54" y="108"/>
                    </a:lnTo>
                    <a:lnTo>
                      <a:pt x="59" y="112"/>
                    </a:lnTo>
                    <a:lnTo>
                      <a:pt x="65" y="114"/>
                    </a:lnTo>
                    <a:lnTo>
                      <a:pt x="73" y="112"/>
                    </a:lnTo>
                    <a:lnTo>
                      <a:pt x="73" y="112"/>
                    </a:lnTo>
                    <a:lnTo>
                      <a:pt x="74" y="111"/>
                    </a:lnTo>
                    <a:lnTo>
                      <a:pt x="74" y="111"/>
                    </a:lnTo>
                    <a:lnTo>
                      <a:pt x="80" y="108"/>
                    </a:lnTo>
                    <a:lnTo>
                      <a:pt x="82" y="103"/>
                    </a:lnTo>
                    <a:lnTo>
                      <a:pt x="83" y="99"/>
                    </a:lnTo>
                    <a:lnTo>
                      <a:pt x="83" y="93"/>
                    </a:lnTo>
                    <a:lnTo>
                      <a:pt x="83" y="93"/>
                    </a:lnTo>
                    <a:lnTo>
                      <a:pt x="80" y="91"/>
                    </a:lnTo>
                    <a:lnTo>
                      <a:pt x="80" y="91"/>
                    </a:lnTo>
                    <a:lnTo>
                      <a:pt x="80" y="91"/>
                    </a:lnTo>
                    <a:lnTo>
                      <a:pt x="80" y="91"/>
                    </a:lnTo>
                    <a:close/>
                    <a:moveTo>
                      <a:pt x="41" y="84"/>
                    </a:moveTo>
                    <a:lnTo>
                      <a:pt x="41" y="84"/>
                    </a:lnTo>
                    <a:lnTo>
                      <a:pt x="43" y="82"/>
                    </a:lnTo>
                    <a:lnTo>
                      <a:pt x="44" y="80"/>
                    </a:lnTo>
                    <a:lnTo>
                      <a:pt x="44" y="80"/>
                    </a:lnTo>
                    <a:lnTo>
                      <a:pt x="46" y="80"/>
                    </a:lnTo>
                    <a:lnTo>
                      <a:pt x="49" y="83"/>
                    </a:lnTo>
                    <a:lnTo>
                      <a:pt x="49" y="83"/>
                    </a:lnTo>
                    <a:lnTo>
                      <a:pt x="49" y="83"/>
                    </a:lnTo>
                    <a:lnTo>
                      <a:pt x="59" y="78"/>
                    </a:lnTo>
                    <a:lnTo>
                      <a:pt x="55" y="63"/>
                    </a:lnTo>
                    <a:lnTo>
                      <a:pt x="55" y="63"/>
                    </a:lnTo>
                    <a:lnTo>
                      <a:pt x="53" y="59"/>
                    </a:lnTo>
                    <a:lnTo>
                      <a:pt x="49" y="55"/>
                    </a:lnTo>
                    <a:lnTo>
                      <a:pt x="43" y="53"/>
                    </a:lnTo>
                    <a:lnTo>
                      <a:pt x="37" y="53"/>
                    </a:lnTo>
                    <a:lnTo>
                      <a:pt x="36" y="55"/>
                    </a:lnTo>
                    <a:lnTo>
                      <a:pt x="36" y="55"/>
                    </a:lnTo>
                    <a:lnTo>
                      <a:pt x="30" y="57"/>
                    </a:lnTo>
                    <a:lnTo>
                      <a:pt x="26" y="62"/>
                    </a:lnTo>
                    <a:lnTo>
                      <a:pt x="25" y="67"/>
                    </a:lnTo>
                    <a:lnTo>
                      <a:pt x="26" y="72"/>
                    </a:lnTo>
                    <a:lnTo>
                      <a:pt x="30" y="87"/>
                    </a:lnTo>
                    <a:lnTo>
                      <a:pt x="30" y="87"/>
                    </a:lnTo>
                    <a:lnTo>
                      <a:pt x="41" y="84"/>
                    </a:lnTo>
                    <a:lnTo>
                      <a:pt x="41" y="84"/>
                    </a:lnTo>
                    <a:lnTo>
                      <a:pt x="41" y="84"/>
                    </a:lnTo>
                    <a:lnTo>
                      <a:pt x="41" y="84"/>
                    </a:lnTo>
                    <a:close/>
                    <a:moveTo>
                      <a:pt x="45" y="95"/>
                    </a:moveTo>
                    <a:lnTo>
                      <a:pt x="43" y="86"/>
                    </a:lnTo>
                    <a:lnTo>
                      <a:pt x="43" y="86"/>
                    </a:lnTo>
                    <a:lnTo>
                      <a:pt x="31" y="89"/>
                    </a:lnTo>
                    <a:lnTo>
                      <a:pt x="32" y="92"/>
                    </a:lnTo>
                    <a:lnTo>
                      <a:pt x="32" y="92"/>
                    </a:lnTo>
                    <a:lnTo>
                      <a:pt x="35" y="99"/>
                    </a:lnTo>
                    <a:lnTo>
                      <a:pt x="39" y="101"/>
                    </a:lnTo>
                    <a:lnTo>
                      <a:pt x="44" y="103"/>
                    </a:lnTo>
                    <a:lnTo>
                      <a:pt x="50" y="102"/>
                    </a:lnTo>
                    <a:lnTo>
                      <a:pt x="50" y="102"/>
                    </a:lnTo>
                    <a:lnTo>
                      <a:pt x="49" y="97"/>
                    </a:lnTo>
                    <a:lnTo>
                      <a:pt x="49" y="97"/>
                    </a:lnTo>
                    <a:lnTo>
                      <a:pt x="46" y="96"/>
                    </a:lnTo>
                    <a:lnTo>
                      <a:pt x="45" y="95"/>
                    </a:lnTo>
                    <a:lnTo>
                      <a:pt x="45" y="95"/>
                    </a:lnTo>
                    <a:lnTo>
                      <a:pt x="45" y="95"/>
                    </a:lnTo>
                    <a:close/>
                    <a:moveTo>
                      <a:pt x="51" y="92"/>
                    </a:moveTo>
                    <a:lnTo>
                      <a:pt x="51" y="92"/>
                    </a:lnTo>
                    <a:lnTo>
                      <a:pt x="51" y="95"/>
                    </a:lnTo>
                    <a:lnTo>
                      <a:pt x="50" y="97"/>
                    </a:lnTo>
                    <a:lnTo>
                      <a:pt x="51" y="102"/>
                    </a:lnTo>
                    <a:lnTo>
                      <a:pt x="51" y="102"/>
                    </a:lnTo>
                    <a:lnTo>
                      <a:pt x="51" y="102"/>
                    </a:lnTo>
                    <a:lnTo>
                      <a:pt x="51" y="102"/>
                    </a:lnTo>
                    <a:lnTo>
                      <a:pt x="53" y="102"/>
                    </a:lnTo>
                    <a:lnTo>
                      <a:pt x="53" y="102"/>
                    </a:lnTo>
                    <a:lnTo>
                      <a:pt x="57" y="99"/>
                    </a:lnTo>
                    <a:lnTo>
                      <a:pt x="61" y="95"/>
                    </a:lnTo>
                    <a:lnTo>
                      <a:pt x="62" y="90"/>
                    </a:lnTo>
                    <a:lnTo>
                      <a:pt x="62" y="84"/>
                    </a:lnTo>
                    <a:lnTo>
                      <a:pt x="61" y="80"/>
                    </a:lnTo>
                    <a:lnTo>
                      <a:pt x="61" y="80"/>
                    </a:lnTo>
                    <a:lnTo>
                      <a:pt x="49" y="84"/>
                    </a:lnTo>
                    <a:lnTo>
                      <a:pt x="51" y="92"/>
                    </a:lnTo>
                    <a:lnTo>
                      <a:pt x="51" y="92"/>
                    </a:lnTo>
                    <a:lnTo>
                      <a:pt x="51" y="92"/>
                    </a:lnTo>
                    <a:close/>
                    <a:moveTo>
                      <a:pt x="51" y="102"/>
                    </a:moveTo>
                    <a:lnTo>
                      <a:pt x="51" y="102"/>
                    </a:lnTo>
                    <a:lnTo>
                      <a:pt x="51" y="102"/>
                    </a:lnTo>
                    <a:lnTo>
                      <a:pt x="51" y="102"/>
                    </a:lnTo>
                    <a:lnTo>
                      <a:pt x="51" y="102"/>
                    </a:lnTo>
                    <a:lnTo>
                      <a:pt x="51" y="102"/>
                    </a:lnTo>
                    <a:lnTo>
                      <a:pt x="51" y="102"/>
                    </a:lnTo>
                    <a:lnTo>
                      <a:pt x="51" y="102"/>
                    </a:lnTo>
                    <a:close/>
                    <a:moveTo>
                      <a:pt x="45" y="83"/>
                    </a:moveTo>
                    <a:lnTo>
                      <a:pt x="45" y="83"/>
                    </a:lnTo>
                    <a:lnTo>
                      <a:pt x="45" y="83"/>
                    </a:lnTo>
                    <a:lnTo>
                      <a:pt x="45" y="83"/>
                    </a:lnTo>
                    <a:lnTo>
                      <a:pt x="45" y="83"/>
                    </a:lnTo>
                    <a:lnTo>
                      <a:pt x="45" y="83"/>
                    </a:lnTo>
                    <a:lnTo>
                      <a:pt x="45" y="83"/>
                    </a:lnTo>
                    <a:close/>
                    <a:moveTo>
                      <a:pt x="45" y="84"/>
                    </a:moveTo>
                    <a:lnTo>
                      <a:pt x="45" y="84"/>
                    </a:lnTo>
                    <a:lnTo>
                      <a:pt x="44" y="84"/>
                    </a:lnTo>
                    <a:lnTo>
                      <a:pt x="44" y="84"/>
                    </a:lnTo>
                    <a:lnTo>
                      <a:pt x="45" y="84"/>
                    </a:lnTo>
                    <a:lnTo>
                      <a:pt x="45" y="84"/>
                    </a:lnTo>
                    <a:lnTo>
                      <a:pt x="45" y="84"/>
                    </a:lnTo>
                    <a:lnTo>
                      <a:pt x="45" y="84"/>
                    </a:lnTo>
                    <a:close/>
                    <a:moveTo>
                      <a:pt x="46" y="83"/>
                    </a:moveTo>
                    <a:lnTo>
                      <a:pt x="46" y="83"/>
                    </a:lnTo>
                    <a:lnTo>
                      <a:pt x="45" y="83"/>
                    </a:lnTo>
                    <a:lnTo>
                      <a:pt x="46" y="84"/>
                    </a:lnTo>
                    <a:lnTo>
                      <a:pt x="46" y="84"/>
                    </a:lnTo>
                    <a:lnTo>
                      <a:pt x="46" y="83"/>
                    </a:lnTo>
                    <a:lnTo>
                      <a:pt x="46" y="83"/>
                    </a:lnTo>
                    <a:lnTo>
                      <a:pt x="46" y="83"/>
                    </a:lnTo>
                    <a:close/>
                    <a:moveTo>
                      <a:pt x="44" y="86"/>
                    </a:moveTo>
                    <a:lnTo>
                      <a:pt x="44" y="86"/>
                    </a:lnTo>
                    <a:lnTo>
                      <a:pt x="44" y="86"/>
                    </a:lnTo>
                    <a:lnTo>
                      <a:pt x="45" y="92"/>
                    </a:lnTo>
                    <a:lnTo>
                      <a:pt x="45" y="92"/>
                    </a:lnTo>
                    <a:lnTo>
                      <a:pt x="46" y="93"/>
                    </a:lnTo>
                    <a:lnTo>
                      <a:pt x="48" y="93"/>
                    </a:lnTo>
                    <a:lnTo>
                      <a:pt x="45" y="86"/>
                    </a:lnTo>
                    <a:lnTo>
                      <a:pt x="45" y="86"/>
                    </a:lnTo>
                    <a:lnTo>
                      <a:pt x="44" y="86"/>
                    </a:lnTo>
                    <a:lnTo>
                      <a:pt x="44" y="86"/>
                    </a:lnTo>
                    <a:lnTo>
                      <a:pt x="44" y="86"/>
                    </a:lnTo>
                    <a:close/>
                    <a:moveTo>
                      <a:pt x="49" y="93"/>
                    </a:moveTo>
                    <a:lnTo>
                      <a:pt x="49" y="93"/>
                    </a:lnTo>
                    <a:lnTo>
                      <a:pt x="50" y="92"/>
                    </a:lnTo>
                    <a:lnTo>
                      <a:pt x="50" y="91"/>
                    </a:lnTo>
                    <a:lnTo>
                      <a:pt x="48" y="86"/>
                    </a:lnTo>
                    <a:lnTo>
                      <a:pt x="48" y="86"/>
                    </a:lnTo>
                    <a:lnTo>
                      <a:pt x="48" y="84"/>
                    </a:lnTo>
                    <a:lnTo>
                      <a:pt x="48" y="84"/>
                    </a:lnTo>
                    <a:lnTo>
                      <a:pt x="46" y="86"/>
                    </a:lnTo>
                    <a:lnTo>
                      <a:pt x="49" y="93"/>
                    </a:lnTo>
                    <a:lnTo>
                      <a:pt x="49" y="93"/>
                    </a:lnTo>
                    <a:lnTo>
                      <a:pt x="49" y="93"/>
                    </a:lnTo>
                    <a:close/>
                    <a:moveTo>
                      <a:pt x="45" y="84"/>
                    </a:moveTo>
                    <a:lnTo>
                      <a:pt x="45" y="84"/>
                    </a:lnTo>
                    <a:lnTo>
                      <a:pt x="44" y="84"/>
                    </a:lnTo>
                    <a:lnTo>
                      <a:pt x="44" y="84"/>
                    </a:lnTo>
                    <a:lnTo>
                      <a:pt x="44" y="86"/>
                    </a:lnTo>
                    <a:lnTo>
                      <a:pt x="44" y="86"/>
                    </a:lnTo>
                    <a:lnTo>
                      <a:pt x="45" y="86"/>
                    </a:lnTo>
                    <a:lnTo>
                      <a:pt x="45" y="84"/>
                    </a:lnTo>
                    <a:lnTo>
                      <a:pt x="45" y="84"/>
                    </a:lnTo>
                    <a:lnTo>
                      <a:pt x="45" y="84"/>
                    </a:lnTo>
                    <a:close/>
                    <a:moveTo>
                      <a:pt x="46" y="84"/>
                    </a:moveTo>
                    <a:lnTo>
                      <a:pt x="46" y="86"/>
                    </a:lnTo>
                    <a:lnTo>
                      <a:pt x="46" y="86"/>
                    </a:lnTo>
                    <a:lnTo>
                      <a:pt x="48" y="84"/>
                    </a:lnTo>
                    <a:lnTo>
                      <a:pt x="48" y="84"/>
                    </a:lnTo>
                    <a:lnTo>
                      <a:pt x="46" y="83"/>
                    </a:lnTo>
                    <a:lnTo>
                      <a:pt x="46" y="83"/>
                    </a:lnTo>
                    <a:lnTo>
                      <a:pt x="46" y="84"/>
                    </a:lnTo>
                    <a:lnTo>
                      <a:pt x="46" y="84"/>
                    </a:lnTo>
                    <a:lnTo>
                      <a:pt x="46" y="84"/>
                    </a:lnTo>
                    <a:close/>
                    <a:moveTo>
                      <a:pt x="45" y="84"/>
                    </a:moveTo>
                    <a:lnTo>
                      <a:pt x="45" y="84"/>
                    </a:lnTo>
                    <a:lnTo>
                      <a:pt x="46" y="84"/>
                    </a:lnTo>
                    <a:lnTo>
                      <a:pt x="45" y="83"/>
                    </a:lnTo>
                    <a:lnTo>
                      <a:pt x="45" y="83"/>
                    </a:lnTo>
                    <a:lnTo>
                      <a:pt x="45" y="83"/>
                    </a:lnTo>
                    <a:lnTo>
                      <a:pt x="45" y="83"/>
                    </a:lnTo>
                    <a:lnTo>
                      <a:pt x="45" y="83"/>
                    </a:lnTo>
                    <a:lnTo>
                      <a:pt x="45" y="84"/>
                    </a:lnTo>
                    <a:lnTo>
                      <a:pt x="45" y="84"/>
                    </a:lnTo>
                    <a:lnTo>
                      <a:pt x="45" y="84"/>
                    </a:lnTo>
                    <a:lnTo>
                      <a:pt x="45" y="84"/>
                    </a:lnTo>
                    <a:lnTo>
                      <a:pt x="45" y="84"/>
                    </a:lnTo>
                    <a:lnTo>
                      <a:pt x="45" y="84"/>
                    </a:lnTo>
                    <a:close/>
                    <a:moveTo>
                      <a:pt x="45" y="86"/>
                    </a:moveTo>
                    <a:lnTo>
                      <a:pt x="45" y="86"/>
                    </a:lnTo>
                    <a:lnTo>
                      <a:pt x="45" y="86"/>
                    </a:lnTo>
                    <a:lnTo>
                      <a:pt x="48" y="93"/>
                    </a:lnTo>
                    <a:lnTo>
                      <a:pt x="48" y="93"/>
                    </a:lnTo>
                    <a:lnTo>
                      <a:pt x="49" y="93"/>
                    </a:lnTo>
                    <a:lnTo>
                      <a:pt x="49" y="93"/>
                    </a:lnTo>
                    <a:lnTo>
                      <a:pt x="49" y="93"/>
                    </a:lnTo>
                    <a:lnTo>
                      <a:pt x="46" y="86"/>
                    </a:lnTo>
                    <a:lnTo>
                      <a:pt x="46" y="86"/>
                    </a:lnTo>
                    <a:lnTo>
                      <a:pt x="45" y="86"/>
                    </a:lnTo>
                    <a:lnTo>
                      <a:pt x="45" y="86"/>
                    </a:lnTo>
                    <a:lnTo>
                      <a:pt x="45" y="86"/>
                    </a:lnTo>
                    <a:close/>
                    <a:moveTo>
                      <a:pt x="45" y="84"/>
                    </a:moveTo>
                    <a:lnTo>
                      <a:pt x="45" y="86"/>
                    </a:lnTo>
                    <a:lnTo>
                      <a:pt x="45" y="86"/>
                    </a:lnTo>
                    <a:lnTo>
                      <a:pt x="45" y="86"/>
                    </a:lnTo>
                    <a:lnTo>
                      <a:pt x="45" y="86"/>
                    </a:lnTo>
                    <a:lnTo>
                      <a:pt x="46" y="86"/>
                    </a:lnTo>
                    <a:lnTo>
                      <a:pt x="46" y="84"/>
                    </a:lnTo>
                    <a:lnTo>
                      <a:pt x="46" y="84"/>
                    </a:lnTo>
                    <a:lnTo>
                      <a:pt x="45" y="84"/>
                    </a:lnTo>
                    <a:lnTo>
                      <a:pt x="45" y="84"/>
                    </a:lnTo>
                    <a:lnTo>
                      <a:pt x="45" y="84"/>
                    </a:lnTo>
                    <a:lnTo>
                      <a:pt x="45" y="84"/>
                    </a:lnTo>
                    <a:lnTo>
                      <a:pt x="45" y="84"/>
                    </a:lnTo>
                    <a:close/>
                    <a:moveTo>
                      <a:pt x="95" y="90"/>
                    </a:moveTo>
                    <a:lnTo>
                      <a:pt x="95" y="90"/>
                    </a:lnTo>
                    <a:lnTo>
                      <a:pt x="99" y="86"/>
                    </a:lnTo>
                    <a:lnTo>
                      <a:pt x="105" y="86"/>
                    </a:lnTo>
                    <a:lnTo>
                      <a:pt x="111" y="86"/>
                    </a:lnTo>
                    <a:lnTo>
                      <a:pt x="117" y="89"/>
                    </a:lnTo>
                    <a:lnTo>
                      <a:pt x="117" y="89"/>
                    </a:lnTo>
                    <a:lnTo>
                      <a:pt x="120" y="93"/>
                    </a:lnTo>
                    <a:lnTo>
                      <a:pt x="122" y="99"/>
                    </a:lnTo>
                    <a:lnTo>
                      <a:pt x="122" y="105"/>
                    </a:lnTo>
                    <a:lnTo>
                      <a:pt x="118" y="110"/>
                    </a:lnTo>
                    <a:lnTo>
                      <a:pt x="118" y="110"/>
                    </a:lnTo>
                    <a:lnTo>
                      <a:pt x="118" y="110"/>
                    </a:lnTo>
                    <a:lnTo>
                      <a:pt x="118" y="111"/>
                    </a:lnTo>
                    <a:lnTo>
                      <a:pt x="120" y="111"/>
                    </a:lnTo>
                    <a:lnTo>
                      <a:pt x="120" y="111"/>
                    </a:lnTo>
                    <a:lnTo>
                      <a:pt x="123" y="105"/>
                    </a:lnTo>
                    <a:lnTo>
                      <a:pt x="123" y="99"/>
                    </a:lnTo>
                    <a:lnTo>
                      <a:pt x="122" y="92"/>
                    </a:lnTo>
                    <a:lnTo>
                      <a:pt x="117" y="87"/>
                    </a:lnTo>
                    <a:lnTo>
                      <a:pt x="117" y="87"/>
                    </a:lnTo>
                    <a:lnTo>
                      <a:pt x="112" y="84"/>
                    </a:lnTo>
                    <a:lnTo>
                      <a:pt x="107" y="83"/>
                    </a:lnTo>
                    <a:lnTo>
                      <a:pt x="101" y="84"/>
                    </a:lnTo>
                    <a:lnTo>
                      <a:pt x="95" y="87"/>
                    </a:lnTo>
                    <a:lnTo>
                      <a:pt x="95" y="87"/>
                    </a:lnTo>
                    <a:lnTo>
                      <a:pt x="95" y="90"/>
                    </a:lnTo>
                    <a:lnTo>
                      <a:pt x="95" y="90"/>
                    </a:lnTo>
                    <a:lnTo>
                      <a:pt x="95" y="90"/>
                    </a:lnTo>
                    <a:close/>
                    <a:moveTo>
                      <a:pt x="116" y="115"/>
                    </a:moveTo>
                    <a:lnTo>
                      <a:pt x="116" y="115"/>
                    </a:lnTo>
                    <a:lnTo>
                      <a:pt x="116" y="117"/>
                    </a:lnTo>
                    <a:lnTo>
                      <a:pt x="114" y="120"/>
                    </a:lnTo>
                    <a:lnTo>
                      <a:pt x="109" y="126"/>
                    </a:lnTo>
                    <a:lnTo>
                      <a:pt x="109" y="126"/>
                    </a:lnTo>
                    <a:lnTo>
                      <a:pt x="117" y="135"/>
                    </a:lnTo>
                    <a:lnTo>
                      <a:pt x="120" y="131"/>
                    </a:lnTo>
                    <a:lnTo>
                      <a:pt x="120" y="131"/>
                    </a:lnTo>
                    <a:lnTo>
                      <a:pt x="123" y="126"/>
                    </a:lnTo>
                    <a:lnTo>
                      <a:pt x="124" y="122"/>
                    </a:lnTo>
                    <a:lnTo>
                      <a:pt x="123" y="116"/>
                    </a:lnTo>
                    <a:lnTo>
                      <a:pt x="120" y="111"/>
                    </a:lnTo>
                    <a:lnTo>
                      <a:pt x="120" y="111"/>
                    </a:lnTo>
                    <a:lnTo>
                      <a:pt x="120" y="111"/>
                    </a:lnTo>
                    <a:lnTo>
                      <a:pt x="116" y="115"/>
                    </a:lnTo>
                    <a:lnTo>
                      <a:pt x="116" y="115"/>
                    </a:lnTo>
                    <a:lnTo>
                      <a:pt x="116" y="115"/>
                    </a:lnTo>
                    <a:close/>
                    <a:moveTo>
                      <a:pt x="108" y="126"/>
                    </a:moveTo>
                    <a:lnTo>
                      <a:pt x="108" y="126"/>
                    </a:lnTo>
                    <a:lnTo>
                      <a:pt x="105" y="127"/>
                    </a:lnTo>
                    <a:lnTo>
                      <a:pt x="103" y="127"/>
                    </a:lnTo>
                    <a:lnTo>
                      <a:pt x="103" y="127"/>
                    </a:lnTo>
                    <a:lnTo>
                      <a:pt x="103" y="125"/>
                    </a:lnTo>
                    <a:lnTo>
                      <a:pt x="103" y="123"/>
                    </a:lnTo>
                    <a:lnTo>
                      <a:pt x="103" y="123"/>
                    </a:lnTo>
                    <a:lnTo>
                      <a:pt x="103" y="123"/>
                    </a:lnTo>
                    <a:lnTo>
                      <a:pt x="93" y="115"/>
                    </a:lnTo>
                    <a:lnTo>
                      <a:pt x="83" y="126"/>
                    </a:lnTo>
                    <a:lnTo>
                      <a:pt x="83" y="126"/>
                    </a:lnTo>
                    <a:lnTo>
                      <a:pt x="80" y="131"/>
                    </a:lnTo>
                    <a:lnTo>
                      <a:pt x="80" y="137"/>
                    </a:lnTo>
                    <a:lnTo>
                      <a:pt x="80" y="141"/>
                    </a:lnTo>
                    <a:lnTo>
                      <a:pt x="84" y="146"/>
                    </a:lnTo>
                    <a:lnTo>
                      <a:pt x="86" y="148"/>
                    </a:lnTo>
                    <a:lnTo>
                      <a:pt x="86" y="148"/>
                    </a:lnTo>
                    <a:lnTo>
                      <a:pt x="90" y="151"/>
                    </a:lnTo>
                    <a:lnTo>
                      <a:pt x="95" y="151"/>
                    </a:lnTo>
                    <a:lnTo>
                      <a:pt x="101" y="150"/>
                    </a:lnTo>
                    <a:lnTo>
                      <a:pt x="105" y="148"/>
                    </a:lnTo>
                    <a:lnTo>
                      <a:pt x="116" y="136"/>
                    </a:lnTo>
                    <a:lnTo>
                      <a:pt x="116" y="136"/>
                    </a:lnTo>
                    <a:lnTo>
                      <a:pt x="108" y="126"/>
                    </a:lnTo>
                    <a:lnTo>
                      <a:pt x="108" y="126"/>
                    </a:lnTo>
                    <a:lnTo>
                      <a:pt x="108" y="126"/>
                    </a:lnTo>
                    <a:lnTo>
                      <a:pt x="108" y="126"/>
                    </a:lnTo>
                    <a:close/>
                    <a:moveTo>
                      <a:pt x="110" y="115"/>
                    </a:moveTo>
                    <a:lnTo>
                      <a:pt x="110" y="115"/>
                    </a:lnTo>
                    <a:lnTo>
                      <a:pt x="112" y="114"/>
                    </a:lnTo>
                    <a:lnTo>
                      <a:pt x="114" y="115"/>
                    </a:lnTo>
                    <a:lnTo>
                      <a:pt x="118" y="110"/>
                    </a:lnTo>
                    <a:lnTo>
                      <a:pt x="118" y="110"/>
                    </a:lnTo>
                    <a:lnTo>
                      <a:pt x="118" y="110"/>
                    </a:lnTo>
                    <a:lnTo>
                      <a:pt x="118" y="110"/>
                    </a:lnTo>
                    <a:lnTo>
                      <a:pt x="118" y="110"/>
                    </a:lnTo>
                    <a:lnTo>
                      <a:pt x="118" y="110"/>
                    </a:lnTo>
                    <a:lnTo>
                      <a:pt x="114" y="108"/>
                    </a:lnTo>
                    <a:lnTo>
                      <a:pt x="108" y="106"/>
                    </a:lnTo>
                    <a:lnTo>
                      <a:pt x="103" y="108"/>
                    </a:lnTo>
                    <a:lnTo>
                      <a:pt x="98" y="111"/>
                    </a:lnTo>
                    <a:lnTo>
                      <a:pt x="95" y="114"/>
                    </a:lnTo>
                    <a:lnTo>
                      <a:pt x="95" y="114"/>
                    </a:lnTo>
                    <a:lnTo>
                      <a:pt x="105" y="122"/>
                    </a:lnTo>
                    <a:lnTo>
                      <a:pt x="110" y="115"/>
                    </a:lnTo>
                    <a:lnTo>
                      <a:pt x="110" y="115"/>
                    </a:lnTo>
                    <a:lnTo>
                      <a:pt x="110" y="115"/>
                    </a:lnTo>
                    <a:close/>
                    <a:moveTo>
                      <a:pt x="118" y="110"/>
                    </a:moveTo>
                    <a:lnTo>
                      <a:pt x="118" y="110"/>
                    </a:lnTo>
                    <a:lnTo>
                      <a:pt x="118" y="110"/>
                    </a:lnTo>
                    <a:lnTo>
                      <a:pt x="118" y="110"/>
                    </a:lnTo>
                    <a:lnTo>
                      <a:pt x="118" y="110"/>
                    </a:lnTo>
                    <a:lnTo>
                      <a:pt x="118" y="110"/>
                    </a:lnTo>
                    <a:lnTo>
                      <a:pt x="118" y="110"/>
                    </a:lnTo>
                    <a:lnTo>
                      <a:pt x="118" y="110"/>
                    </a:lnTo>
                    <a:close/>
                    <a:moveTo>
                      <a:pt x="105" y="124"/>
                    </a:moveTo>
                    <a:lnTo>
                      <a:pt x="105" y="124"/>
                    </a:lnTo>
                    <a:lnTo>
                      <a:pt x="105" y="124"/>
                    </a:lnTo>
                    <a:lnTo>
                      <a:pt x="105" y="124"/>
                    </a:lnTo>
                    <a:lnTo>
                      <a:pt x="105" y="124"/>
                    </a:lnTo>
                    <a:lnTo>
                      <a:pt x="105" y="124"/>
                    </a:lnTo>
                    <a:lnTo>
                      <a:pt x="105" y="124"/>
                    </a:lnTo>
                    <a:lnTo>
                      <a:pt x="105" y="124"/>
                    </a:lnTo>
                    <a:close/>
                    <a:moveTo>
                      <a:pt x="105" y="125"/>
                    </a:moveTo>
                    <a:lnTo>
                      <a:pt x="105" y="125"/>
                    </a:lnTo>
                    <a:lnTo>
                      <a:pt x="105" y="125"/>
                    </a:lnTo>
                    <a:lnTo>
                      <a:pt x="105" y="125"/>
                    </a:lnTo>
                    <a:lnTo>
                      <a:pt x="105" y="125"/>
                    </a:lnTo>
                    <a:lnTo>
                      <a:pt x="105" y="125"/>
                    </a:lnTo>
                    <a:lnTo>
                      <a:pt x="105" y="125"/>
                    </a:lnTo>
                    <a:lnTo>
                      <a:pt x="105" y="125"/>
                    </a:lnTo>
                    <a:close/>
                    <a:moveTo>
                      <a:pt x="107" y="125"/>
                    </a:moveTo>
                    <a:lnTo>
                      <a:pt x="107" y="125"/>
                    </a:lnTo>
                    <a:lnTo>
                      <a:pt x="107" y="125"/>
                    </a:lnTo>
                    <a:lnTo>
                      <a:pt x="107" y="125"/>
                    </a:lnTo>
                    <a:lnTo>
                      <a:pt x="107" y="125"/>
                    </a:lnTo>
                    <a:lnTo>
                      <a:pt x="107" y="125"/>
                    </a:lnTo>
                    <a:lnTo>
                      <a:pt x="107" y="125"/>
                    </a:lnTo>
                    <a:lnTo>
                      <a:pt x="107" y="125"/>
                    </a:lnTo>
                    <a:close/>
                    <a:moveTo>
                      <a:pt x="112" y="117"/>
                    </a:moveTo>
                    <a:lnTo>
                      <a:pt x="112" y="117"/>
                    </a:lnTo>
                    <a:lnTo>
                      <a:pt x="111" y="117"/>
                    </a:lnTo>
                    <a:lnTo>
                      <a:pt x="110" y="117"/>
                    </a:lnTo>
                    <a:lnTo>
                      <a:pt x="105" y="122"/>
                    </a:lnTo>
                    <a:lnTo>
                      <a:pt x="105" y="122"/>
                    </a:lnTo>
                    <a:lnTo>
                      <a:pt x="105" y="123"/>
                    </a:lnTo>
                    <a:lnTo>
                      <a:pt x="105" y="123"/>
                    </a:lnTo>
                    <a:lnTo>
                      <a:pt x="107" y="123"/>
                    </a:lnTo>
                    <a:lnTo>
                      <a:pt x="112" y="117"/>
                    </a:lnTo>
                    <a:lnTo>
                      <a:pt x="112" y="117"/>
                    </a:lnTo>
                    <a:lnTo>
                      <a:pt x="112" y="117"/>
                    </a:lnTo>
                    <a:close/>
                    <a:moveTo>
                      <a:pt x="108" y="125"/>
                    </a:moveTo>
                    <a:lnTo>
                      <a:pt x="108" y="125"/>
                    </a:lnTo>
                    <a:lnTo>
                      <a:pt x="109" y="124"/>
                    </a:lnTo>
                    <a:lnTo>
                      <a:pt x="114" y="121"/>
                    </a:lnTo>
                    <a:lnTo>
                      <a:pt x="114" y="121"/>
                    </a:lnTo>
                    <a:lnTo>
                      <a:pt x="114" y="118"/>
                    </a:lnTo>
                    <a:lnTo>
                      <a:pt x="114" y="117"/>
                    </a:lnTo>
                    <a:lnTo>
                      <a:pt x="108" y="124"/>
                    </a:lnTo>
                    <a:lnTo>
                      <a:pt x="108" y="124"/>
                    </a:lnTo>
                    <a:lnTo>
                      <a:pt x="108" y="125"/>
                    </a:lnTo>
                    <a:lnTo>
                      <a:pt x="108" y="125"/>
                    </a:lnTo>
                    <a:lnTo>
                      <a:pt x="108" y="125"/>
                    </a:lnTo>
                    <a:close/>
                    <a:moveTo>
                      <a:pt x="105" y="124"/>
                    </a:moveTo>
                    <a:lnTo>
                      <a:pt x="105" y="124"/>
                    </a:lnTo>
                    <a:lnTo>
                      <a:pt x="105" y="124"/>
                    </a:lnTo>
                    <a:lnTo>
                      <a:pt x="107" y="123"/>
                    </a:lnTo>
                    <a:lnTo>
                      <a:pt x="107" y="123"/>
                    </a:lnTo>
                    <a:lnTo>
                      <a:pt x="105" y="123"/>
                    </a:lnTo>
                    <a:lnTo>
                      <a:pt x="105" y="123"/>
                    </a:lnTo>
                    <a:lnTo>
                      <a:pt x="105" y="124"/>
                    </a:lnTo>
                    <a:lnTo>
                      <a:pt x="105" y="124"/>
                    </a:lnTo>
                    <a:lnTo>
                      <a:pt x="105" y="124"/>
                    </a:lnTo>
                    <a:close/>
                    <a:moveTo>
                      <a:pt x="107" y="125"/>
                    </a:moveTo>
                    <a:lnTo>
                      <a:pt x="107" y="125"/>
                    </a:lnTo>
                    <a:lnTo>
                      <a:pt x="107" y="125"/>
                    </a:lnTo>
                    <a:lnTo>
                      <a:pt x="107" y="125"/>
                    </a:lnTo>
                    <a:lnTo>
                      <a:pt x="108" y="125"/>
                    </a:lnTo>
                    <a:lnTo>
                      <a:pt x="108" y="125"/>
                    </a:lnTo>
                    <a:lnTo>
                      <a:pt x="108" y="124"/>
                    </a:lnTo>
                    <a:lnTo>
                      <a:pt x="107" y="125"/>
                    </a:lnTo>
                    <a:lnTo>
                      <a:pt x="107" y="125"/>
                    </a:lnTo>
                    <a:lnTo>
                      <a:pt x="107" y="125"/>
                    </a:lnTo>
                    <a:close/>
                    <a:moveTo>
                      <a:pt x="107" y="124"/>
                    </a:moveTo>
                    <a:lnTo>
                      <a:pt x="107" y="124"/>
                    </a:lnTo>
                    <a:lnTo>
                      <a:pt x="108" y="124"/>
                    </a:lnTo>
                    <a:lnTo>
                      <a:pt x="114" y="117"/>
                    </a:lnTo>
                    <a:lnTo>
                      <a:pt x="114" y="117"/>
                    </a:lnTo>
                    <a:lnTo>
                      <a:pt x="114" y="117"/>
                    </a:lnTo>
                    <a:lnTo>
                      <a:pt x="114" y="117"/>
                    </a:lnTo>
                    <a:lnTo>
                      <a:pt x="112" y="117"/>
                    </a:lnTo>
                    <a:lnTo>
                      <a:pt x="107" y="123"/>
                    </a:lnTo>
                    <a:lnTo>
                      <a:pt x="107" y="123"/>
                    </a:lnTo>
                    <a:lnTo>
                      <a:pt x="107" y="124"/>
                    </a:lnTo>
                    <a:lnTo>
                      <a:pt x="107" y="124"/>
                    </a:lnTo>
                    <a:lnTo>
                      <a:pt x="107" y="124"/>
                    </a:lnTo>
                    <a:close/>
                    <a:moveTo>
                      <a:pt x="105" y="124"/>
                    </a:moveTo>
                    <a:lnTo>
                      <a:pt x="105" y="124"/>
                    </a:lnTo>
                    <a:lnTo>
                      <a:pt x="105" y="124"/>
                    </a:lnTo>
                    <a:lnTo>
                      <a:pt x="105" y="124"/>
                    </a:lnTo>
                    <a:lnTo>
                      <a:pt x="105" y="124"/>
                    </a:lnTo>
                    <a:lnTo>
                      <a:pt x="105" y="125"/>
                    </a:lnTo>
                    <a:lnTo>
                      <a:pt x="105" y="125"/>
                    </a:lnTo>
                    <a:lnTo>
                      <a:pt x="105" y="125"/>
                    </a:lnTo>
                    <a:lnTo>
                      <a:pt x="107" y="125"/>
                    </a:lnTo>
                    <a:lnTo>
                      <a:pt x="107" y="125"/>
                    </a:lnTo>
                    <a:lnTo>
                      <a:pt x="107" y="125"/>
                    </a:lnTo>
                    <a:lnTo>
                      <a:pt x="105" y="124"/>
                    </a:lnTo>
                    <a:lnTo>
                      <a:pt x="105" y="124"/>
                    </a:lnTo>
                    <a:lnTo>
                      <a:pt x="105" y="124"/>
                    </a:lnTo>
                    <a:close/>
                    <a:moveTo>
                      <a:pt x="107" y="125"/>
                    </a:moveTo>
                    <a:lnTo>
                      <a:pt x="108" y="124"/>
                    </a:lnTo>
                    <a:lnTo>
                      <a:pt x="108" y="124"/>
                    </a:lnTo>
                    <a:lnTo>
                      <a:pt x="107" y="124"/>
                    </a:lnTo>
                    <a:lnTo>
                      <a:pt x="107" y="124"/>
                    </a:lnTo>
                    <a:lnTo>
                      <a:pt x="107" y="123"/>
                    </a:lnTo>
                    <a:lnTo>
                      <a:pt x="105" y="124"/>
                    </a:lnTo>
                    <a:lnTo>
                      <a:pt x="105" y="124"/>
                    </a:lnTo>
                    <a:lnTo>
                      <a:pt x="105" y="124"/>
                    </a:lnTo>
                    <a:lnTo>
                      <a:pt x="105" y="124"/>
                    </a:lnTo>
                    <a:lnTo>
                      <a:pt x="107" y="125"/>
                    </a:lnTo>
                    <a:lnTo>
                      <a:pt x="107" y="125"/>
                    </a:lnTo>
                    <a:lnTo>
                      <a:pt x="107" y="125"/>
                    </a:lnTo>
                    <a:close/>
                    <a:moveTo>
                      <a:pt x="83" y="90"/>
                    </a:moveTo>
                    <a:lnTo>
                      <a:pt x="83" y="90"/>
                    </a:lnTo>
                    <a:lnTo>
                      <a:pt x="84" y="91"/>
                    </a:lnTo>
                    <a:lnTo>
                      <a:pt x="86" y="92"/>
                    </a:lnTo>
                    <a:lnTo>
                      <a:pt x="89" y="92"/>
                    </a:lnTo>
                    <a:lnTo>
                      <a:pt x="90" y="91"/>
                    </a:lnTo>
                    <a:lnTo>
                      <a:pt x="90" y="91"/>
                    </a:lnTo>
                    <a:lnTo>
                      <a:pt x="92" y="90"/>
                    </a:lnTo>
                    <a:lnTo>
                      <a:pt x="92" y="87"/>
                    </a:lnTo>
                    <a:lnTo>
                      <a:pt x="92" y="86"/>
                    </a:lnTo>
                    <a:lnTo>
                      <a:pt x="92" y="84"/>
                    </a:lnTo>
                    <a:lnTo>
                      <a:pt x="92" y="84"/>
                    </a:lnTo>
                    <a:lnTo>
                      <a:pt x="91" y="82"/>
                    </a:lnTo>
                    <a:lnTo>
                      <a:pt x="89" y="82"/>
                    </a:lnTo>
                    <a:lnTo>
                      <a:pt x="86" y="82"/>
                    </a:lnTo>
                    <a:lnTo>
                      <a:pt x="84" y="82"/>
                    </a:lnTo>
                    <a:lnTo>
                      <a:pt x="84" y="82"/>
                    </a:lnTo>
                    <a:lnTo>
                      <a:pt x="83" y="84"/>
                    </a:lnTo>
                    <a:lnTo>
                      <a:pt x="82" y="86"/>
                    </a:lnTo>
                    <a:lnTo>
                      <a:pt x="82" y="87"/>
                    </a:lnTo>
                    <a:lnTo>
                      <a:pt x="83" y="90"/>
                    </a:lnTo>
                    <a:lnTo>
                      <a:pt x="83" y="90"/>
                    </a:lnTo>
                    <a:lnTo>
                      <a:pt x="83" y="90"/>
                    </a:lnTo>
                    <a:close/>
                    <a:moveTo>
                      <a:pt x="86" y="80"/>
                    </a:moveTo>
                    <a:lnTo>
                      <a:pt x="86" y="80"/>
                    </a:lnTo>
                    <a:lnTo>
                      <a:pt x="90" y="80"/>
                    </a:lnTo>
                    <a:lnTo>
                      <a:pt x="93" y="83"/>
                    </a:lnTo>
                    <a:lnTo>
                      <a:pt x="93" y="83"/>
                    </a:lnTo>
                    <a:lnTo>
                      <a:pt x="95" y="86"/>
                    </a:lnTo>
                    <a:lnTo>
                      <a:pt x="93" y="89"/>
                    </a:lnTo>
                    <a:lnTo>
                      <a:pt x="93" y="91"/>
                    </a:lnTo>
                    <a:lnTo>
                      <a:pt x="91" y="92"/>
                    </a:lnTo>
                    <a:lnTo>
                      <a:pt x="91" y="92"/>
                    </a:lnTo>
                    <a:lnTo>
                      <a:pt x="89" y="93"/>
                    </a:lnTo>
                    <a:lnTo>
                      <a:pt x="86" y="93"/>
                    </a:lnTo>
                    <a:lnTo>
                      <a:pt x="84" y="92"/>
                    </a:lnTo>
                    <a:lnTo>
                      <a:pt x="82" y="90"/>
                    </a:lnTo>
                    <a:lnTo>
                      <a:pt x="82" y="90"/>
                    </a:lnTo>
                    <a:lnTo>
                      <a:pt x="80" y="87"/>
                    </a:lnTo>
                    <a:lnTo>
                      <a:pt x="80" y="86"/>
                    </a:lnTo>
                    <a:lnTo>
                      <a:pt x="82" y="83"/>
                    </a:lnTo>
                    <a:lnTo>
                      <a:pt x="84" y="80"/>
                    </a:lnTo>
                    <a:lnTo>
                      <a:pt x="84" y="80"/>
                    </a:lnTo>
                    <a:lnTo>
                      <a:pt x="86" y="80"/>
                    </a:lnTo>
                    <a:lnTo>
                      <a:pt x="86" y="80"/>
                    </a:lnTo>
                    <a:lnTo>
                      <a:pt x="84" y="80"/>
                    </a:lnTo>
                    <a:lnTo>
                      <a:pt x="84" y="80"/>
                    </a:lnTo>
                    <a:lnTo>
                      <a:pt x="83" y="80"/>
                    </a:lnTo>
                    <a:lnTo>
                      <a:pt x="83" y="80"/>
                    </a:lnTo>
                    <a:lnTo>
                      <a:pt x="80" y="82"/>
                    </a:lnTo>
                    <a:lnTo>
                      <a:pt x="80" y="86"/>
                    </a:lnTo>
                    <a:lnTo>
                      <a:pt x="80" y="87"/>
                    </a:lnTo>
                    <a:lnTo>
                      <a:pt x="80" y="91"/>
                    </a:lnTo>
                    <a:lnTo>
                      <a:pt x="80" y="91"/>
                    </a:lnTo>
                    <a:lnTo>
                      <a:pt x="80" y="91"/>
                    </a:lnTo>
                    <a:lnTo>
                      <a:pt x="82" y="91"/>
                    </a:lnTo>
                    <a:lnTo>
                      <a:pt x="82" y="91"/>
                    </a:lnTo>
                    <a:lnTo>
                      <a:pt x="83" y="93"/>
                    </a:lnTo>
                    <a:lnTo>
                      <a:pt x="83" y="93"/>
                    </a:lnTo>
                    <a:lnTo>
                      <a:pt x="88" y="95"/>
                    </a:lnTo>
                    <a:lnTo>
                      <a:pt x="90" y="95"/>
                    </a:lnTo>
                    <a:lnTo>
                      <a:pt x="92" y="93"/>
                    </a:lnTo>
                    <a:lnTo>
                      <a:pt x="92" y="93"/>
                    </a:lnTo>
                    <a:lnTo>
                      <a:pt x="95" y="90"/>
                    </a:lnTo>
                    <a:lnTo>
                      <a:pt x="95" y="90"/>
                    </a:lnTo>
                    <a:lnTo>
                      <a:pt x="95" y="90"/>
                    </a:lnTo>
                    <a:lnTo>
                      <a:pt x="93" y="89"/>
                    </a:lnTo>
                    <a:lnTo>
                      <a:pt x="93" y="89"/>
                    </a:lnTo>
                    <a:lnTo>
                      <a:pt x="95" y="87"/>
                    </a:lnTo>
                    <a:lnTo>
                      <a:pt x="95" y="87"/>
                    </a:lnTo>
                    <a:lnTo>
                      <a:pt x="95" y="86"/>
                    </a:lnTo>
                    <a:lnTo>
                      <a:pt x="95" y="82"/>
                    </a:lnTo>
                    <a:lnTo>
                      <a:pt x="95" y="82"/>
                    </a:lnTo>
                    <a:lnTo>
                      <a:pt x="91" y="80"/>
                    </a:lnTo>
                    <a:lnTo>
                      <a:pt x="86" y="78"/>
                    </a:lnTo>
                    <a:lnTo>
                      <a:pt x="86" y="78"/>
                    </a:lnTo>
                    <a:lnTo>
                      <a:pt x="86" y="78"/>
                    </a:lnTo>
                    <a:lnTo>
                      <a:pt x="86" y="80"/>
                    </a:lnTo>
                    <a:lnTo>
                      <a:pt x="86" y="80"/>
                    </a:lnTo>
                    <a:lnTo>
                      <a:pt x="86" y="80"/>
                    </a:lnTo>
                    <a:close/>
                    <a:moveTo>
                      <a:pt x="86" y="80"/>
                    </a:moveTo>
                    <a:lnTo>
                      <a:pt x="86" y="80"/>
                    </a:lnTo>
                    <a:lnTo>
                      <a:pt x="86" y="80"/>
                    </a:lnTo>
                    <a:lnTo>
                      <a:pt x="86" y="78"/>
                    </a:lnTo>
                    <a:lnTo>
                      <a:pt x="86" y="78"/>
                    </a:lnTo>
                    <a:lnTo>
                      <a:pt x="86" y="78"/>
                    </a:lnTo>
                    <a:lnTo>
                      <a:pt x="86" y="78"/>
                    </a:lnTo>
                    <a:lnTo>
                      <a:pt x="84" y="80"/>
                    </a:lnTo>
                    <a:lnTo>
                      <a:pt x="84" y="80"/>
                    </a:lnTo>
                    <a:lnTo>
                      <a:pt x="86" y="80"/>
                    </a:lnTo>
                    <a:lnTo>
                      <a:pt x="86" y="80"/>
                    </a:lnTo>
                    <a:lnTo>
                      <a:pt x="86" y="80"/>
                    </a:lnTo>
                    <a:close/>
                    <a:moveTo>
                      <a:pt x="80" y="91"/>
                    </a:moveTo>
                    <a:lnTo>
                      <a:pt x="80" y="91"/>
                    </a:lnTo>
                    <a:lnTo>
                      <a:pt x="83" y="93"/>
                    </a:lnTo>
                    <a:lnTo>
                      <a:pt x="83" y="93"/>
                    </a:lnTo>
                    <a:lnTo>
                      <a:pt x="82" y="91"/>
                    </a:lnTo>
                    <a:lnTo>
                      <a:pt x="80" y="91"/>
                    </a:lnTo>
                    <a:lnTo>
                      <a:pt x="80" y="91"/>
                    </a:lnTo>
                    <a:lnTo>
                      <a:pt x="80" y="91"/>
                    </a:lnTo>
                    <a:close/>
                    <a:moveTo>
                      <a:pt x="95" y="90"/>
                    </a:moveTo>
                    <a:lnTo>
                      <a:pt x="95" y="90"/>
                    </a:lnTo>
                    <a:lnTo>
                      <a:pt x="95" y="90"/>
                    </a:lnTo>
                    <a:lnTo>
                      <a:pt x="95" y="90"/>
                    </a:lnTo>
                    <a:lnTo>
                      <a:pt x="95" y="87"/>
                    </a:lnTo>
                    <a:lnTo>
                      <a:pt x="95" y="87"/>
                    </a:lnTo>
                    <a:lnTo>
                      <a:pt x="93" y="89"/>
                    </a:lnTo>
                    <a:lnTo>
                      <a:pt x="95" y="90"/>
                    </a:lnTo>
                    <a:lnTo>
                      <a:pt x="95" y="90"/>
                    </a:lnTo>
                    <a:lnTo>
                      <a:pt x="95" y="90"/>
                    </a:lnTo>
                    <a:close/>
                    <a:moveTo>
                      <a:pt x="88" y="164"/>
                    </a:moveTo>
                    <a:lnTo>
                      <a:pt x="88" y="164"/>
                    </a:lnTo>
                    <a:lnTo>
                      <a:pt x="80" y="164"/>
                    </a:lnTo>
                    <a:lnTo>
                      <a:pt x="73" y="163"/>
                    </a:lnTo>
                    <a:lnTo>
                      <a:pt x="65" y="160"/>
                    </a:lnTo>
                    <a:lnTo>
                      <a:pt x="58" y="158"/>
                    </a:lnTo>
                    <a:lnTo>
                      <a:pt x="51" y="155"/>
                    </a:lnTo>
                    <a:lnTo>
                      <a:pt x="45" y="151"/>
                    </a:lnTo>
                    <a:lnTo>
                      <a:pt x="39" y="146"/>
                    </a:lnTo>
                    <a:lnTo>
                      <a:pt x="34" y="141"/>
                    </a:lnTo>
                    <a:lnTo>
                      <a:pt x="29" y="136"/>
                    </a:lnTo>
                    <a:lnTo>
                      <a:pt x="24" y="130"/>
                    </a:lnTo>
                    <a:lnTo>
                      <a:pt x="20" y="124"/>
                    </a:lnTo>
                    <a:lnTo>
                      <a:pt x="17" y="117"/>
                    </a:lnTo>
                    <a:lnTo>
                      <a:pt x="15" y="110"/>
                    </a:lnTo>
                    <a:lnTo>
                      <a:pt x="13" y="103"/>
                    </a:lnTo>
                    <a:lnTo>
                      <a:pt x="11" y="95"/>
                    </a:lnTo>
                    <a:lnTo>
                      <a:pt x="11" y="87"/>
                    </a:lnTo>
                    <a:lnTo>
                      <a:pt x="11" y="87"/>
                    </a:lnTo>
                    <a:lnTo>
                      <a:pt x="11" y="80"/>
                    </a:lnTo>
                    <a:lnTo>
                      <a:pt x="13" y="71"/>
                    </a:lnTo>
                    <a:lnTo>
                      <a:pt x="15" y="65"/>
                    </a:lnTo>
                    <a:lnTo>
                      <a:pt x="17" y="57"/>
                    </a:lnTo>
                    <a:lnTo>
                      <a:pt x="20" y="50"/>
                    </a:lnTo>
                    <a:lnTo>
                      <a:pt x="24" y="44"/>
                    </a:lnTo>
                    <a:lnTo>
                      <a:pt x="29" y="38"/>
                    </a:lnTo>
                    <a:lnTo>
                      <a:pt x="34" y="32"/>
                    </a:lnTo>
                    <a:lnTo>
                      <a:pt x="39" y="28"/>
                    </a:lnTo>
                    <a:lnTo>
                      <a:pt x="45" y="23"/>
                    </a:lnTo>
                    <a:lnTo>
                      <a:pt x="51" y="19"/>
                    </a:lnTo>
                    <a:lnTo>
                      <a:pt x="58" y="16"/>
                    </a:lnTo>
                    <a:lnTo>
                      <a:pt x="65" y="14"/>
                    </a:lnTo>
                    <a:lnTo>
                      <a:pt x="73" y="13"/>
                    </a:lnTo>
                    <a:lnTo>
                      <a:pt x="80" y="12"/>
                    </a:lnTo>
                    <a:lnTo>
                      <a:pt x="88" y="10"/>
                    </a:lnTo>
                    <a:lnTo>
                      <a:pt x="88" y="10"/>
                    </a:lnTo>
                    <a:lnTo>
                      <a:pt x="95" y="12"/>
                    </a:lnTo>
                    <a:lnTo>
                      <a:pt x="103" y="13"/>
                    </a:lnTo>
                    <a:lnTo>
                      <a:pt x="110" y="14"/>
                    </a:lnTo>
                    <a:lnTo>
                      <a:pt x="117" y="16"/>
                    </a:lnTo>
                    <a:lnTo>
                      <a:pt x="124" y="19"/>
                    </a:lnTo>
                    <a:lnTo>
                      <a:pt x="131" y="23"/>
                    </a:lnTo>
                    <a:lnTo>
                      <a:pt x="137" y="28"/>
                    </a:lnTo>
                    <a:lnTo>
                      <a:pt x="142" y="32"/>
                    </a:lnTo>
                    <a:lnTo>
                      <a:pt x="146" y="38"/>
                    </a:lnTo>
                    <a:lnTo>
                      <a:pt x="151" y="44"/>
                    </a:lnTo>
                    <a:lnTo>
                      <a:pt x="156" y="50"/>
                    </a:lnTo>
                    <a:lnTo>
                      <a:pt x="159" y="57"/>
                    </a:lnTo>
                    <a:lnTo>
                      <a:pt x="161" y="65"/>
                    </a:lnTo>
                    <a:lnTo>
                      <a:pt x="163" y="71"/>
                    </a:lnTo>
                    <a:lnTo>
                      <a:pt x="164" y="80"/>
                    </a:lnTo>
                    <a:lnTo>
                      <a:pt x="164" y="87"/>
                    </a:lnTo>
                    <a:lnTo>
                      <a:pt x="164" y="87"/>
                    </a:lnTo>
                    <a:lnTo>
                      <a:pt x="164" y="95"/>
                    </a:lnTo>
                    <a:lnTo>
                      <a:pt x="163" y="103"/>
                    </a:lnTo>
                    <a:lnTo>
                      <a:pt x="161" y="110"/>
                    </a:lnTo>
                    <a:lnTo>
                      <a:pt x="159" y="117"/>
                    </a:lnTo>
                    <a:lnTo>
                      <a:pt x="156" y="124"/>
                    </a:lnTo>
                    <a:lnTo>
                      <a:pt x="151" y="130"/>
                    </a:lnTo>
                    <a:lnTo>
                      <a:pt x="146" y="136"/>
                    </a:lnTo>
                    <a:lnTo>
                      <a:pt x="142" y="141"/>
                    </a:lnTo>
                    <a:lnTo>
                      <a:pt x="137" y="146"/>
                    </a:lnTo>
                    <a:lnTo>
                      <a:pt x="131" y="151"/>
                    </a:lnTo>
                    <a:lnTo>
                      <a:pt x="124" y="155"/>
                    </a:lnTo>
                    <a:lnTo>
                      <a:pt x="117" y="158"/>
                    </a:lnTo>
                    <a:lnTo>
                      <a:pt x="110" y="160"/>
                    </a:lnTo>
                    <a:lnTo>
                      <a:pt x="103" y="163"/>
                    </a:lnTo>
                    <a:lnTo>
                      <a:pt x="95" y="164"/>
                    </a:lnTo>
                    <a:lnTo>
                      <a:pt x="88" y="164"/>
                    </a:lnTo>
                    <a:lnTo>
                      <a:pt x="88" y="164"/>
                    </a:lnTo>
                    <a:lnTo>
                      <a:pt x="88" y="164"/>
                    </a:lnTo>
                    <a:close/>
                    <a:moveTo>
                      <a:pt x="88" y="175"/>
                    </a:moveTo>
                    <a:lnTo>
                      <a:pt x="88" y="175"/>
                    </a:lnTo>
                    <a:lnTo>
                      <a:pt x="97" y="175"/>
                    </a:lnTo>
                    <a:lnTo>
                      <a:pt x="105" y="173"/>
                    </a:lnTo>
                    <a:lnTo>
                      <a:pt x="114" y="171"/>
                    </a:lnTo>
                    <a:lnTo>
                      <a:pt x="122" y="169"/>
                    </a:lnTo>
                    <a:lnTo>
                      <a:pt x="130" y="164"/>
                    </a:lnTo>
                    <a:lnTo>
                      <a:pt x="137" y="160"/>
                    </a:lnTo>
                    <a:lnTo>
                      <a:pt x="144" y="155"/>
                    </a:lnTo>
                    <a:lnTo>
                      <a:pt x="150" y="149"/>
                    </a:lnTo>
                    <a:lnTo>
                      <a:pt x="156" y="142"/>
                    </a:lnTo>
                    <a:lnTo>
                      <a:pt x="161" y="136"/>
                    </a:lnTo>
                    <a:lnTo>
                      <a:pt x="165" y="129"/>
                    </a:lnTo>
                    <a:lnTo>
                      <a:pt x="169" y="122"/>
                    </a:lnTo>
                    <a:lnTo>
                      <a:pt x="172" y="114"/>
                    </a:lnTo>
                    <a:lnTo>
                      <a:pt x="174" y="105"/>
                    </a:lnTo>
                    <a:lnTo>
                      <a:pt x="176" y="96"/>
                    </a:lnTo>
                    <a:lnTo>
                      <a:pt x="176" y="87"/>
                    </a:lnTo>
                    <a:lnTo>
                      <a:pt x="176" y="87"/>
                    </a:lnTo>
                    <a:lnTo>
                      <a:pt x="176" y="78"/>
                    </a:lnTo>
                    <a:lnTo>
                      <a:pt x="174" y="68"/>
                    </a:lnTo>
                    <a:lnTo>
                      <a:pt x="172" y="61"/>
                    </a:lnTo>
                    <a:lnTo>
                      <a:pt x="169" y="53"/>
                    </a:lnTo>
                    <a:lnTo>
                      <a:pt x="165" y="46"/>
                    </a:lnTo>
                    <a:lnTo>
                      <a:pt x="161" y="38"/>
                    </a:lnTo>
                    <a:lnTo>
                      <a:pt x="156" y="31"/>
                    </a:lnTo>
                    <a:lnTo>
                      <a:pt x="150" y="25"/>
                    </a:lnTo>
                    <a:lnTo>
                      <a:pt x="144" y="19"/>
                    </a:lnTo>
                    <a:lnTo>
                      <a:pt x="137" y="14"/>
                    </a:lnTo>
                    <a:lnTo>
                      <a:pt x="130" y="10"/>
                    </a:lnTo>
                    <a:lnTo>
                      <a:pt x="122" y="7"/>
                    </a:lnTo>
                    <a:lnTo>
                      <a:pt x="114" y="4"/>
                    </a:lnTo>
                    <a:lnTo>
                      <a:pt x="105" y="1"/>
                    </a:lnTo>
                    <a:lnTo>
                      <a:pt x="97" y="0"/>
                    </a:lnTo>
                    <a:lnTo>
                      <a:pt x="88" y="0"/>
                    </a:lnTo>
                    <a:lnTo>
                      <a:pt x="88" y="0"/>
                    </a:lnTo>
                    <a:lnTo>
                      <a:pt x="78" y="0"/>
                    </a:lnTo>
                    <a:lnTo>
                      <a:pt x="70" y="1"/>
                    </a:lnTo>
                    <a:lnTo>
                      <a:pt x="62" y="4"/>
                    </a:lnTo>
                    <a:lnTo>
                      <a:pt x="54" y="7"/>
                    </a:lnTo>
                    <a:lnTo>
                      <a:pt x="45" y="10"/>
                    </a:lnTo>
                    <a:lnTo>
                      <a:pt x="38" y="14"/>
                    </a:lnTo>
                    <a:lnTo>
                      <a:pt x="31" y="19"/>
                    </a:lnTo>
                    <a:lnTo>
                      <a:pt x="25" y="25"/>
                    </a:lnTo>
                    <a:lnTo>
                      <a:pt x="19" y="31"/>
                    </a:lnTo>
                    <a:lnTo>
                      <a:pt x="15" y="38"/>
                    </a:lnTo>
                    <a:lnTo>
                      <a:pt x="10" y="46"/>
                    </a:lnTo>
                    <a:lnTo>
                      <a:pt x="7" y="53"/>
                    </a:lnTo>
                    <a:lnTo>
                      <a:pt x="3" y="61"/>
                    </a:lnTo>
                    <a:lnTo>
                      <a:pt x="1" y="68"/>
                    </a:lnTo>
                    <a:lnTo>
                      <a:pt x="0" y="78"/>
                    </a:lnTo>
                    <a:lnTo>
                      <a:pt x="0" y="87"/>
                    </a:lnTo>
                    <a:lnTo>
                      <a:pt x="0" y="87"/>
                    </a:lnTo>
                    <a:lnTo>
                      <a:pt x="0" y="96"/>
                    </a:lnTo>
                    <a:lnTo>
                      <a:pt x="1" y="105"/>
                    </a:lnTo>
                    <a:lnTo>
                      <a:pt x="3" y="114"/>
                    </a:lnTo>
                    <a:lnTo>
                      <a:pt x="7" y="122"/>
                    </a:lnTo>
                    <a:lnTo>
                      <a:pt x="10" y="129"/>
                    </a:lnTo>
                    <a:lnTo>
                      <a:pt x="15" y="136"/>
                    </a:lnTo>
                    <a:lnTo>
                      <a:pt x="19" y="142"/>
                    </a:lnTo>
                    <a:lnTo>
                      <a:pt x="25" y="149"/>
                    </a:lnTo>
                    <a:lnTo>
                      <a:pt x="31" y="155"/>
                    </a:lnTo>
                    <a:lnTo>
                      <a:pt x="38" y="160"/>
                    </a:lnTo>
                    <a:lnTo>
                      <a:pt x="45" y="164"/>
                    </a:lnTo>
                    <a:lnTo>
                      <a:pt x="54" y="169"/>
                    </a:lnTo>
                    <a:lnTo>
                      <a:pt x="62" y="171"/>
                    </a:lnTo>
                    <a:lnTo>
                      <a:pt x="70" y="173"/>
                    </a:lnTo>
                    <a:lnTo>
                      <a:pt x="78" y="175"/>
                    </a:lnTo>
                    <a:lnTo>
                      <a:pt x="88" y="175"/>
                    </a:lnTo>
                    <a:lnTo>
                      <a:pt x="88" y="175"/>
                    </a:lnTo>
                    <a:lnTo>
                      <a:pt x="88" y="175"/>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80" name="Freeform 213"/>
              <p:cNvSpPr>
                <a:spLocks noEditPoints="1"/>
              </p:cNvSpPr>
              <p:nvPr/>
            </p:nvSpPr>
            <p:spPr bwMode="auto">
              <a:xfrm rot="5400000">
                <a:off x="10945612" y="442420"/>
                <a:ext cx="190649" cy="202224"/>
              </a:xfrm>
              <a:custGeom>
                <a:avLst/>
                <a:gdLst>
                  <a:gd name="T0" fmla="*/ 54 w 174"/>
                  <a:gd name="T1" fmla="*/ 35 h 177"/>
                  <a:gd name="T2" fmla="*/ 72 w 174"/>
                  <a:gd name="T3" fmla="*/ 35 h 177"/>
                  <a:gd name="T4" fmla="*/ 72 w 174"/>
                  <a:gd name="T5" fmla="*/ 54 h 177"/>
                  <a:gd name="T6" fmla="*/ 91 w 174"/>
                  <a:gd name="T7" fmla="*/ 54 h 177"/>
                  <a:gd name="T8" fmla="*/ 91 w 174"/>
                  <a:gd name="T9" fmla="*/ 72 h 177"/>
                  <a:gd name="T10" fmla="*/ 72 w 174"/>
                  <a:gd name="T11" fmla="*/ 72 h 177"/>
                  <a:gd name="T12" fmla="*/ 72 w 174"/>
                  <a:gd name="T13" fmla="*/ 92 h 177"/>
                  <a:gd name="T14" fmla="*/ 54 w 174"/>
                  <a:gd name="T15" fmla="*/ 92 h 177"/>
                  <a:gd name="T16" fmla="*/ 54 w 174"/>
                  <a:gd name="T17" fmla="*/ 72 h 177"/>
                  <a:gd name="T18" fmla="*/ 34 w 174"/>
                  <a:gd name="T19" fmla="*/ 72 h 177"/>
                  <a:gd name="T20" fmla="*/ 34 w 174"/>
                  <a:gd name="T21" fmla="*/ 54 h 177"/>
                  <a:gd name="T22" fmla="*/ 54 w 174"/>
                  <a:gd name="T23" fmla="*/ 54 h 177"/>
                  <a:gd name="T24" fmla="*/ 54 w 174"/>
                  <a:gd name="T25" fmla="*/ 35 h 177"/>
                  <a:gd name="T26" fmla="*/ 63 w 174"/>
                  <a:gd name="T27" fmla="*/ 11 h 177"/>
                  <a:gd name="T28" fmla="*/ 10 w 174"/>
                  <a:gd name="T29" fmla="*/ 63 h 177"/>
                  <a:gd name="T30" fmla="*/ 63 w 174"/>
                  <a:gd name="T31" fmla="*/ 116 h 177"/>
                  <a:gd name="T32" fmla="*/ 115 w 174"/>
                  <a:gd name="T33" fmla="*/ 63 h 177"/>
                  <a:gd name="T34" fmla="*/ 63 w 174"/>
                  <a:gd name="T35" fmla="*/ 11 h 177"/>
                  <a:gd name="T36" fmla="*/ 63 w 174"/>
                  <a:gd name="T37" fmla="*/ 0 h 177"/>
                  <a:gd name="T38" fmla="*/ 126 w 174"/>
                  <a:gd name="T39" fmla="*/ 63 h 177"/>
                  <a:gd name="T40" fmla="*/ 113 w 174"/>
                  <a:gd name="T41" fmla="*/ 101 h 177"/>
                  <a:gd name="T42" fmla="*/ 117 w 174"/>
                  <a:gd name="T43" fmla="*/ 105 h 177"/>
                  <a:gd name="T44" fmla="*/ 125 w 174"/>
                  <a:gd name="T45" fmla="*/ 103 h 177"/>
                  <a:gd name="T46" fmla="*/ 170 w 174"/>
                  <a:gd name="T47" fmla="*/ 148 h 177"/>
                  <a:gd name="T48" fmla="*/ 146 w 174"/>
                  <a:gd name="T49" fmla="*/ 172 h 177"/>
                  <a:gd name="T50" fmla="*/ 100 w 174"/>
                  <a:gd name="T51" fmla="*/ 128 h 177"/>
                  <a:gd name="T52" fmla="*/ 103 w 174"/>
                  <a:gd name="T53" fmla="*/ 119 h 177"/>
                  <a:gd name="T54" fmla="*/ 98 w 174"/>
                  <a:gd name="T55" fmla="*/ 116 h 177"/>
                  <a:gd name="T56" fmla="*/ 63 w 174"/>
                  <a:gd name="T57" fmla="*/ 126 h 177"/>
                  <a:gd name="T58" fmla="*/ 0 w 174"/>
                  <a:gd name="T59" fmla="*/ 63 h 177"/>
                  <a:gd name="T60" fmla="*/ 63 w 174"/>
                  <a:gd name="T6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77">
                    <a:moveTo>
                      <a:pt x="54" y="35"/>
                    </a:moveTo>
                    <a:cubicBezTo>
                      <a:pt x="72" y="35"/>
                      <a:pt x="72" y="35"/>
                      <a:pt x="72" y="35"/>
                    </a:cubicBezTo>
                    <a:cubicBezTo>
                      <a:pt x="72" y="54"/>
                      <a:pt x="72" y="54"/>
                      <a:pt x="72" y="54"/>
                    </a:cubicBezTo>
                    <a:cubicBezTo>
                      <a:pt x="91" y="54"/>
                      <a:pt x="91" y="54"/>
                      <a:pt x="91" y="54"/>
                    </a:cubicBezTo>
                    <a:cubicBezTo>
                      <a:pt x="91" y="72"/>
                      <a:pt x="91" y="72"/>
                      <a:pt x="91" y="72"/>
                    </a:cubicBezTo>
                    <a:cubicBezTo>
                      <a:pt x="72" y="72"/>
                      <a:pt x="72" y="72"/>
                      <a:pt x="72" y="72"/>
                    </a:cubicBezTo>
                    <a:cubicBezTo>
                      <a:pt x="72" y="92"/>
                      <a:pt x="72" y="92"/>
                      <a:pt x="72" y="92"/>
                    </a:cubicBezTo>
                    <a:cubicBezTo>
                      <a:pt x="54" y="92"/>
                      <a:pt x="54" y="92"/>
                      <a:pt x="54" y="92"/>
                    </a:cubicBezTo>
                    <a:cubicBezTo>
                      <a:pt x="54" y="72"/>
                      <a:pt x="54" y="72"/>
                      <a:pt x="54" y="72"/>
                    </a:cubicBezTo>
                    <a:cubicBezTo>
                      <a:pt x="34" y="72"/>
                      <a:pt x="34" y="72"/>
                      <a:pt x="34" y="72"/>
                    </a:cubicBezTo>
                    <a:cubicBezTo>
                      <a:pt x="34" y="54"/>
                      <a:pt x="34" y="54"/>
                      <a:pt x="34" y="54"/>
                    </a:cubicBezTo>
                    <a:cubicBezTo>
                      <a:pt x="54" y="54"/>
                      <a:pt x="54" y="54"/>
                      <a:pt x="54" y="54"/>
                    </a:cubicBezTo>
                    <a:cubicBezTo>
                      <a:pt x="54" y="35"/>
                      <a:pt x="54" y="35"/>
                      <a:pt x="54" y="35"/>
                    </a:cubicBezTo>
                    <a:close/>
                    <a:moveTo>
                      <a:pt x="63" y="11"/>
                    </a:moveTo>
                    <a:cubicBezTo>
                      <a:pt x="34" y="11"/>
                      <a:pt x="10" y="34"/>
                      <a:pt x="10" y="63"/>
                    </a:cubicBezTo>
                    <a:cubicBezTo>
                      <a:pt x="10" y="92"/>
                      <a:pt x="34" y="116"/>
                      <a:pt x="63" y="116"/>
                    </a:cubicBezTo>
                    <a:cubicBezTo>
                      <a:pt x="92" y="116"/>
                      <a:pt x="115" y="92"/>
                      <a:pt x="115" y="63"/>
                    </a:cubicBezTo>
                    <a:cubicBezTo>
                      <a:pt x="115" y="34"/>
                      <a:pt x="92" y="11"/>
                      <a:pt x="63" y="11"/>
                    </a:cubicBezTo>
                    <a:close/>
                    <a:moveTo>
                      <a:pt x="63" y="0"/>
                    </a:moveTo>
                    <a:cubicBezTo>
                      <a:pt x="98" y="0"/>
                      <a:pt x="126" y="28"/>
                      <a:pt x="126" y="63"/>
                    </a:cubicBezTo>
                    <a:cubicBezTo>
                      <a:pt x="126" y="78"/>
                      <a:pt x="121" y="91"/>
                      <a:pt x="113" y="101"/>
                    </a:cubicBezTo>
                    <a:cubicBezTo>
                      <a:pt x="117" y="105"/>
                      <a:pt x="117" y="105"/>
                      <a:pt x="117" y="105"/>
                    </a:cubicBezTo>
                    <a:cubicBezTo>
                      <a:pt x="125" y="103"/>
                      <a:pt x="125" y="103"/>
                      <a:pt x="125" y="103"/>
                    </a:cubicBezTo>
                    <a:cubicBezTo>
                      <a:pt x="170" y="148"/>
                      <a:pt x="170" y="148"/>
                      <a:pt x="170" y="148"/>
                    </a:cubicBezTo>
                    <a:cubicBezTo>
                      <a:pt x="171" y="155"/>
                      <a:pt x="174" y="177"/>
                      <a:pt x="146" y="172"/>
                    </a:cubicBezTo>
                    <a:cubicBezTo>
                      <a:pt x="100" y="128"/>
                      <a:pt x="100" y="128"/>
                      <a:pt x="100" y="128"/>
                    </a:cubicBezTo>
                    <a:cubicBezTo>
                      <a:pt x="103" y="119"/>
                      <a:pt x="103" y="119"/>
                      <a:pt x="103" y="119"/>
                    </a:cubicBezTo>
                    <a:cubicBezTo>
                      <a:pt x="98" y="116"/>
                      <a:pt x="98" y="116"/>
                      <a:pt x="98" y="116"/>
                    </a:cubicBezTo>
                    <a:cubicBezTo>
                      <a:pt x="88" y="122"/>
                      <a:pt x="76" y="126"/>
                      <a:pt x="63" y="126"/>
                    </a:cubicBezTo>
                    <a:cubicBezTo>
                      <a:pt x="28" y="126"/>
                      <a:pt x="0" y="98"/>
                      <a:pt x="0" y="63"/>
                    </a:cubicBezTo>
                    <a:cubicBezTo>
                      <a:pt x="0" y="28"/>
                      <a:pt x="28" y="0"/>
                      <a:pt x="63" y="0"/>
                    </a:cubicBezTo>
                    <a:close/>
                  </a:path>
                </a:pathLst>
              </a:custGeom>
              <a:solidFill>
                <a:srgbClr val="5A5A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81" name="Freeform 214"/>
              <p:cNvSpPr>
                <a:spLocks noEditPoints="1"/>
              </p:cNvSpPr>
              <p:nvPr/>
            </p:nvSpPr>
            <p:spPr bwMode="auto">
              <a:xfrm>
                <a:off x="10561566" y="159385"/>
                <a:ext cx="110605" cy="208261"/>
              </a:xfrm>
              <a:custGeom>
                <a:avLst/>
                <a:gdLst>
                  <a:gd name="T0" fmla="*/ 43 w 101"/>
                  <a:gd name="T1" fmla="*/ 165 h 183"/>
                  <a:gd name="T2" fmla="*/ 42 w 101"/>
                  <a:gd name="T3" fmla="*/ 166 h 183"/>
                  <a:gd name="T4" fmla="*/ 42 w 101"/>
                  <a:gd name="T5" fmla="*/ 172 h 183"/>
                  <a:gd name="T6" fmla="*/ 43 w 101"/>
                  <a:gd name="T7" fmla="*/ 174 h 183"/>
                  <a:gd name="T8" fmla="*/ 57 w 101"/>
                  <a:gd name="T9" fmla="*/ 174 h 183"/>
                  <a:gd name="T10" fmla="*/ 59 w 101"/>
                  <a:gd name="T11" fmla="*/ 172 h 183"/>
                  <a:gd name="T12" fmla="*/ 59 w 101"/>
                  <a:gd name="T13" fmla="*/ 166 h 183"/>
                  <a:gd name="T14" fmla="*/ 57 w 101"/>
                  <a:gd name="T15" fmla="*/ 165 h 183"/>
                  <a:gd name="T16" fmla="*/ 43 w 101"/>
                  <a:gd name="T17" fmla="*/ 165 h 183"/>
                  <a:gd name="T18" fmla="*/ 7 w 101"/>
                  <a:gd name="T19" fmla="*/ 11 h 183"/>
                  <a:gd name="T20" fmla="*/ 6 w 101"/>
                  <a:gd name="T21" fmla="*/ 12 h 183"/>
                  <a:gd name="T22" fmla="*/ 6 w 101"/>
                  <a:gd name="T23" fmla="*/ 160 h 183"/>
                  <a:gd name="T24" fmla="*/ 7 w 101"/>
                  <a:gd name="T25" fmla="*/ 161 h 183"/>
                  <a:gd name="T26" fmla="*/ 94 w 101"/>
                  <a:gd name="T27" fmla="*/ 161 h 183"/>
                  <a:gd name="T28" fmla="*/ 95 w 101"/>
                  <a:gd name="T29" fmla="*/ 160 h 183"/>
                  <a:gd name="T30" fmla="*/ 95 w 101"/>
                  <a:gd name="T31" fmla="*/ 12 h 183"/>
                  <a:gd name="T32" fmla="*/ 94 w 101"/>
                  <a:gd name="T33" fmla="*/ 11 h 183"/>
                  <a:gd name="T34" fmla="*/ 7 w 101"/>
                  <a:gd name="T35" fmla="*/ 11 h 183"/>
                  <a:gd name="T36" fmla="*/ 43 w 101"/>
                  <a:gd name="T37" fmla="*/ 4 h 183"/>
                  <a:gd name="T38" fmla="*/ 43 w 101"/>
                  <a:gd name="T39" fmla="*/ 5 h 183"/>
                  <a:gd name="T40" fmla="*/ 43 w 101"/>
                  <a:gd name="T41" fmla="*/ 6 h 183"/>
                  <a:gd name="T42" fmla="*/ 43 w 101"/>
                  <a:gd name="T43" fmla="*/ 7 h 183"/>
                  <a:gd name="T44" fmla="*/ 57 w 101"/>
                  <a:gd name="T45" fmla="*/ 7 h 183"/>
                  <a:gd name="T46" fmla="*/ 58 w 101"/>
                  <a:gd name="T47" fmla="*/ 6 h 183"/>
                  <a:gd name="T48" fmla="*/ 58 w 101"/>
                  <a:gd name="T49" fmla="*/ 5 h 183"/>
                  <a:gd name="T50" fmla="*/ 57 w 101"/>
                  <a:gd name="T51" fmla="*/ 4 h 183"/>
                  <a:gd name="T52" fmla="*/ 43 w 101"/>
                  <a:gd name="T53" fmla="*/ 4 h 183"/>
                  <a:gd name="T54" fmla="*/ 81 w 101"/>
                  <a:gd name="T55" fmla="*/ 3 h 183"/>
                  <a:gd name="T56" fmla="*/ 79 w 101"/>
                  <a:gd name="T57" fmla="*/ 5 h 183"/>
                  <a:gd name="T58" fmla="*/ 81 w 101"/>
                  <a:gd name="T59" fmla="*/ 8 h 183"/>
                  <a:gd name="T60" fmla="*/ 84 w 101"/>
                  <a:gd name="T61" fmla="*/ 5 h 183"/>
                  <a:gd name="T62" fmla="*/ 81 w 101"/>
                  <a:gd name="T63" fmla="*/ 3 h 183"/>
                  <a:gd name="T64" fmla="*/ 5 w 101"/>
                  <a:gd name="T65" fmla="*/ 0 h 183"/>
                  <a:gd name="T66" fmla="*/ 95 w 101"/>
                  <a:gd name="T67" fmla="*/ 0 h 183"/>
                  <a:gd name="T68" fmla="*/ 101 w 101"/>
                  <a:gd name="T69" fmla="*/ 5 h 183"/>
                  <a:gd name="T70" fmla="*/ 101 w 101"/>
                  <a:gd name="T71" fmla="*/ 177 h 183"/>
                  <a:gd name="T72" fmla="*/ 95 w 101"/>
                  <a:gd name="T73" fmla="*/ 183 h 183"/>
                  <a:gd name="T74" fmla="*/ 5 w 101"/>
                  <a:gd name="T75" fmla="*/ 183 h 183"/>
                  <a:gd name="T76" fmla="*/ 0 w 101"/>
                  <a:gd name="T77" fmla="*/ 177 h 183"/>
                  <a:gd name="T78" fmla="*/ 0 w 101"/>
                  <a:gd name="T79" fmla="*/ 5 h 183"/>
                  <a:gd name="T80" fmla="*/ 5 w 101"/>
                  <a:gd name="T81"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183">
                    <a:moveTo>
                      <a:pt x="43" y="165"/>
                    </a:moveTo>
                    <a:cubicBezTo>
                      <a:pt x="42" y="165"/>
                      <a:pt x="42" y="166"/>
                      <a:pt x="42" y="166"/>
                    </a:cubicBezTo>
                    <a:cubicBezTo>
                      <a:pt x="42" y="172"/>
                      <a:pt x="42" y="172"/>
                      <a:pt x="42" y="172"/>
                    </a:cubicBezTo>
                    <a:cubicBezTo>
                      <a:pt x="42" y="173"/>
                      <a:pt x="42" y="174"/>
                      <a:pt x="43" y="174"/>
                    </a:cubicBezTo>
                    <a:cubicBezTo>
                      <a:pt x="57" y="174"/>
                      <a:pt x="57" y="174"/>
                      <a:pt x="57" y="174"/>
                    </a:cubicBezTo>
                    <a:cubicBezTo>
                      <a:pt x="58" y="174"/>
                      <a:pt x="59" y="173"/>
                      <a:pt x="59" y="172"/>
                    </a:cubicBezTo>
                    <a:cubicBezTo>
                      <a:pt x="59" y="166"/>
                      <a:pt x="59" y="166"/>
                      <a:pt x="59" y="166"/>
                    </a:cubicBezTo>
                    <a:cubicBezTo>
                      <a:pt x="59" y="166"/>
                      <a:pt x="58" y="165"/>
                      <a:pt x="57" y="165"/>
                    </a:cubicBezTo>
                    <a:lnTo>
                      <a:pt x="43" y="165"/>
                    </a:lnTo>
                    <a:close/>
                    <a:moveTo>
                      <a:pt x="7" y="11"/>
                    </a:moveTo>
                    <a:cubicBezTo>
                      <a:pt x="6" y="11"/>
                      <a:pt x="6" y="11"/>
                      <a:pt x="6" y="12"/>
                    </a:cubicBezTo>
                    <a:cubicBezTo>
                      <a:pt x="6" y="160"/>
                      <a:pt x="6" y="160"/>
                      <a:pt x="6" y="160"/>
                    </a:cubicBezTo>
                    <a:cubicBezTo>
                      <a:pt x="6" y="160"/>
                      <a:pt x="6" y="161"/>
                      <a:pt x="7" y="161"/>
                    </a:cubicBezTo>
                    <a:cubicBezTo>
                      <a:pt x="94" y="161"/>
                      <a:pt x="94" y="161"/>
                      <a:pt x="94" y="161"/>
                    </a:cubicBezTo>
                    <a:cubicBezTo>
                      <a:pt x="94" y="161"/>
                      <a:pt x="95" y="160"/>
                      <a:pt x="95" y="160"/>
                    </a:cubicBezTo>
                    <a:cubicBezTo>
                      <a:pt x="95" y="12"/>
                      <a:pt x="95" y="12"/>
                      <a:pt x="95" y="12"/>
                    </a:cubicBezTo>
                    <a:cubicBezTo>
                      <a:pt x="95" y="11"/>
                      <a:pt x="94" y="11"/>
                      <a:pt x="94" y="11"/>
                    </a:cubicBezTo>
                    <a:lnTo>
                      <a:pt x="7" y="11"/>
                    </a:lnTo>
                    <a:close/>
                    <a:moveTo>
                      <a:pt x="43" y="4"/>
                    </a:moveTo>
                    <a:cubicBezTo>
                      <a:pt x="43" y="4"/>
                      <a:pt x="43" y="5"/>
                      <a:pt x="43" y="5"/>
                    </a:cubicBezTo>
                    <a:cubicBezTo>
                      <a:pt x="43" y="6"/>
                      <a:pt x="43" y="6"/>
                      <a:pt x="43" y="6"/>
                    </a:cubicBezTo>
                    <a:cubicBezTo>
                      <a:pt x="43" y="7"/>
                      <a:pt x="43" y="7"/>
                      <a:pt x="43" y="7"/>
                    </a:cubicBezTo>
                    <a:cubicBezTo>
                      <a:pt x="57" y="7"/>
                      <a:pt x="57" y="7"/>
                      <a:pt x="57" y="7"/>
                    </a:cubicBezTo>
                    <a:cubicBezTo>
                      <a:pt x="57" y="7"/>
                      <a:pt x="58" y="7"/>
                      <a:pt x="58" y="6"/>
                    </a:cubicBezTo>
                    <a:cubicBezTo>
                      <a:pt x="58" y="5"/>
                      <a:pt x="58" y="5"/>
                      <a:pt x="58" y="5"/>
                    </a:cubicBezTo>
                    <a:cubicBezTo>
                      <a:pt x="58" y="5"/>
                      <a:pt x="57" y="4"/>
                      <a:pt x="57" y="4"/>
                    </a:cubicBezTo>
                    <a:lnTo>
                      <a:pt x="43" y="4"/>
                    </a:lnTo>
                    <a:close/>
                    <a:moveTo>
                      <a:pt x="81" y="3"/>
                    </a:moveTo>
                    <a:cubicBezTo>
                      <a:pt x="80" y="3"/>
                      <a:pt x="79" y="4"/>
                      <a:pt x="79" y="5"/>
                    </a:cubicBezTo>
                    <a:cubicBezTo>
                      <a:pt x="79" y="7"/>
                      <a:pt x="80" y="8"/>
                      <a:pt x="81" y="8"/>
                    </a:cubicBezTo>
                    <a:cubicBezTo>
                      <a:pt x="83" y="8"/>
                      <a:pt x="84" y="7"/>
                      <a:pt x="84" y="5"/>
                    </a:cubicBezTo>
                    <a:cubicBezTo>
                      <a:pt x="84" y="4"/>
                      <a:pt x="83" y="3"/>
                      <a:pt x="81" y="3"/>
                    </a:cubicBezTo>
                    <a:close/>
                    <a:moveTo>
                      <a:pt x="5" y="0"/>
                    </a:moveTo>
                    <a:cubicBezTo>
                      <a:pt x="95" y="0"/>
                      <a:pt x="95" y="0"/>
                      <a:pt x="95" y="0"/>
                    </a:cubicBezTo>
                    <a:cubicBezTo>
                      <a:pt x="98" y="0"/>
                      <a:pt x="101" y="2"/>
                      <a:pt x="101" y="5"/>
                    </a:cubicBezTo>
                    <a:cubicBezTo>
                      <a:pt x="101" y="177"/>
                      <a:pt x="101" y="177"/>
                      <a:pt x="101" y="177"/>
                    </a:cubicBezTo>
                    <a:cubicBezTo>
                      <a:pt x="101" y="180"/>
                      <a:pt x="98" y="183"/>
                      <a:pt x="95" y="183"/>
                    </a:cubicBezTo>
                    <a:cubicBezTo>
                      <a:pt x="5" y="183"/>
                      <a:pt x="5" y="183"/>
                      <a:pt x="5" y="183"/>
                    </a:cubicBezTo>
                    <a:cubicBezTo>
                      <a:pt x="2" y="183"/>
                      <a:pt x="0" y="180"/>
                      <a:pt x="0" y="177"/>
                    </a:cubicBezTo>
                    <a:cubicBezTo>
                      <a:pt x="0" y="5"/>
                      <a:pt x="0" y="5"/>
                      <a:pt x="0" y="5"/>
                    </a:cubicBezTo>
                    <a:cubicBezTo>
                      <a:pt x="0" y="2"/>
                      <a:pt x="2" y="0"/>
                      <a:pt x="5" y="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82" name="Freeform 215"/>
              <p:cNvSpPr>
                <a:spLocks noEditPoints="1"/>
              </p:cNvSpPr>
              <p:nvPr/>
            </p:nvSpPr>
            <p:spPr bwMode="auto">
              <a:xfrm>
                <a:off x="11958300" y="504892"/>
                <a:ext cx="112061" cy="208261"/>
              </a:xfrm>
              <a:custGeom>
                <a:avLst/>
                <a:gdLst>
                  <a:gd name="T0" fmla="*/ 51 w 102"/>
                  <a:gd name="T1" fmla="*/ 142 h 183"/>
                  <a:gd name="T2" fmla="*/ 45 w 102"/>
                  <a:gd name="T3" fmla="*/ 148 h 183"/>
                  <a:gd name="T4" fmla="*/ 51 w 102"/>
                  <a:gd name="T5" fmla="*/ 154 h 183"/>
                  <a:gd name="T6" fmla="*/ 57 w 102"/>
                  <a:gd name="T7" fmla="*/ 148 h 183"/>
                  <a:gd name="T8" fmla="*/ 51 w 102"/>
                  <a:gd name="T9" fmla="*/ 142 h 183"/>
                  <a:gd name="T10" fmla="*/ 51 w 102"/>
                  <a:gd name="T11" fmla="*/ 117 h 183"/>
                  <a:gd name="T12" fmla="*/ 40 w 102"/>
                  <a:gd name="T13" fmla="*/ 128 h 183"/>
                  <a:gd name="T14" fmla="*/ 51 w 102"/>
                  <a:gd name="T15" fmla="*/ 139 h 183"/>
                  <a:gd name="T16" fmla="*/ 62 w 102"/>
                  <a:gd name="T17" fmla="*/ 128 h 183"/>
                  <a:gd name="T18" fmla="*/ 51 w 102"/>
                  <a:gd name="T19" fmla="*/ 117 h 183"/>
                  <a:gd name="T20" fmla="*/ 72 w 102"/>
                  <a:gd name="T21" fmla="*/ 52 h 183"/>
                  <a:gd name="T22" fmla="*/ 72 w 102"/>
                  <a:gd name="T23" fmla="*/ 105 h 183"/>
                  <a:gd name="T24" fmla="*/ 78 w 102"/>
                  <a:gd name="T25" fmla="*/ 105 h 183"/>
                  <a:gd name="T26" fmla="*/ 78 w 102"/>
                  <a:gd name="T27" fmla="*/ 52 h 183"/>
                  <a:gd name="T28" fmla="*/ 72 w 102"/>
                  <a:gd name="T29" fmla="*/ 52 h 183"/>
                  <a:gd name="T30" fmla="*/ 56 w 102"/>
                  <a:gd name="T31" fmla="*/ 52 h 183"/>
                  <a:gd name="T32" fmla="*/ 56 w 102"/>
                  <a:gd name="T33" fmla="*/ 105 h 183"/>
                  <a:gd name="T34" fmla="*/ 63 w 102"/>
                  <a:gd name="T35" fmla="*/ 105 h 183"/>
                  <a:gd name="T36" fmla="*/ 63 w 102"/>
                  <a:gd name="T37" fmla="*/ 52 h 183"/>
                  <a:gd name="T38" fmla="*/ 56 w 102"/>
                  <a:gd name="T39" fmla="*/ 52 h 183"/>
                  <a:gd name="T40" fmla="*/ 40 w 102"/>
                  <a:gd name="T41" fmla="*/ 52 h 183"/>
                  <a:gd name="T42" fmla="*/ 40 w 102"/>
                  <a:gd name="T43" fmla="*/ 105 h 183"/>
                  <a:gd name="T44" fmla="*/ 47 w 102"/>
                  <a:gd name="T45" fmla="*/ 105 h 183"/>
                  <a:gd name="T46" fmla="*/ 47 w 102"/>
                  <a:gd name="T47" fmla="*/ 52 h 183"/>
                  <a:gd name="T48" fmla="*/ 40 w 102"/>
                  <a:gd name="T49" fmla="*/ 52 h 183"/>
                  <a:gd name="T50" fmla="*/ 24 w 102"/>
                  <a:gd name="T51" fmla="*/ 52 h 183"/>
                  <a:gd name="T52" fmla="*/ 24 w 102"/>
                  <a:gd name="T53" fmla="*/ 105 h 183"/>
                  <a:gd name="T54" fmla="*/ 31 w 102"/>
                  <a:gd name="T55" fmla="*/ 105 h 183"/>
                  <a:gd name="T56" fmla="*/ 31 w 102"/>
                  <a:gd name="T57" fmla="*/ 52 h 183"/>
                  <a:gd name="T58" fmla="*/ 24 w 102"/>
                  <a:gd name="T59" fmla="*/ 52 h 183"/>
                  <a:gd name="T60" fmla="*/ 13 w 102"/>
                  <a:gd name="T61" fmla="*/ 15 h 183"/>
                  <a:gd name="T62" fmla="*/ 11 w 102"/>
                  <a:gd name="T63" fmla="*/ 17 h 183"/>
                  <a:gd name="T64" fmla="*/ 11 w 102"/>
                  <a:gd name="T65" fmla="*/ 26 h 183"/>
                  <a:gd name="T66" fmla="*/ 13 w 102"/>
                  <a:gd name="T67" fmla="*/ 28 h 183"/>
                  <a:gd name="T68" fmla="*/ 89 w 102"/>
                  <a:gd name="T69" fmla="*/ 28 h 183"/>
                  <a:gd name="T70" fmla="*/ 91 w 102"/>
                  <a:gd name="T71" fmla="*/ 26 h 183"/>
                  <a:gd name="T72" fmla="*/ 91 w 102"/>
                  <a:gd name="T73" fmla="*/ 17 h 183"/>
                  <a:gd name="T74" fmla="*/ 89 w 102"/>
                  <a:gd name="T75" fmla="*/ 15 h 183"/>
                  <a:gd name="T76" fmla="*/ 13 w 102"/>
                  <a:gd name="T77" fmla="*/ 15 h 183"/>
                  <a:gd name="T78" fmla="*/ 5 w 102"/>
                  <a:gd name="T79" fmla="*/ 0 h 183"/>
                  <a:gd name="T80" fmla="*/ 97 w 102"/>
                  <a:gd name="T81" fmla="*/ 0 h 183"/>
                  <a:gd name="T82" fmla="*/ 102 w 102"/>
                  <a:gd name="T83" fmla="*/ 5 h 183"/>
                  <a:gd name="T84" fmla="*/ 102 w 102"/>
                  <a:gd name="T85" fmla="*/ 174 h 183"/>
                  <a:gd name="T86" fmla="*/ 97 w 102"/>
                  <a:gd name="T87" fmla="*/ 180 h 183"/>
                  <a:gd name="T88" fmla="*/ 91 w 102"/>
                  <a:gd name="T89" fmla="*/ 180 h 183"/>
                  <a:gd name="T90" fmla="*/ 91 w 102"/>
                  <a:gd name="T91" fmla="*/ 183 h 183"/>
                  <a:gd name="T92" fmla="*/ 11 w 102"/>
                  <a:gd name="T93" fmla="*/ 183 h 183"/>
                  <a:gd name="T94" fmla="*/ 11 w 102"/>
                  <a:gd name="T95" fmla="*/ 180 h 183"/>
                  <a:gd name="T96" fmla="*/ 5 w 102"/>
                  <a:gd name="T97" fmla="*/ 180 h 183"/>
                  <a:gd name="T98" fmla="*/ 0 w 102"/>
                  <a:gd name="T99" fmla="*/ 174 h 183"/>
                  <a:gd name="T100" fmla="*/ 0 w 102"/>
                  <a:gd name="T101" fmla="*/ 5 h 183"/>
                  <a:gd name="T102" fmla="*/ 5 w 102"/>
                  <a:gd name="T10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 h="183">
                    <a:moveTo>
                      <a:pt x="51" y="142"/>
                    </a:moveTo>
                    <a:cubicBezTo>
                      <a:pt x="48" y="142"/>
                      <a:pt x="45" y="145"/>
                      <a:pt x="45" y="148"/>
                    </a:cubicBezTo>
                    <a:cubicBezTo>
                      <a:pt x="45" y="151"/>
                      <a:pt x="48" y="154"/>
                      <a:pt x="51" y="154"/>
                    </a:cubicBezTo>
                    <a:cubicBezTo>
                      <a:pt x="54" y="154"/>
                      <a:pt x="57" y="151"/>
                      <a:pt x="57" y="148"/>
                    </a:cubicBezTo>
                    <a:cubicBezTo>
                      <a:pt x="57" y="145"/>
                      <a:pt x="54" y="142"/>
                      <a:pt x="51" y="142"/>
                    </a:cubicBezTo>
                    <a:close/>
                    <a:moveTo>
                      <a:pt x="51" y="117"/>
                    </a:moveTo>
                    <a:cubicBezTo>
                      <a:pt x="45" y="117"/>
                      <a:pt x="40" y="122"/>
                      <a:pt x="40" y="128"/>
                    </a:cubicBezTo>
                    <a:cubicBezTo>
                      <a:pt x="40" y="134"/>
                      <a:pt x="45" y="139"/>
                      <a:pt x="51" y="139"/>
                    </a:cubicBezTo>
                    <a:cubicBezTo>
                      <a:pt x="57" y="139"/>
                      <a:pt x="62" y="134"/>
                      <a:pt x="62" y="128"/>
                    </a:cubicBezTo>
                    <a:cubicBezTo>
                      <a:pt x="62" y="122"/>
                      <a:pt x="57" y="117"/>
                      <a:pt x="51" y="117"/>
                    </a:cubicBezTo>
                    <a:close/>
                    <a:moveTo>
                      <a:pt x="72" y="52"/>
                    </a:moveTo>
                    <a:cubicBezTo>
                      <a:pt x="72" y="105"/>
                      <a:pt x="72" y="105"/>
                      <a:pt x="72" y="105"/>
                    </a:cubicBezTo>
                    <a:cubicBezTo>
                      <a:pt x="78" y="105"/>
                      <a:pt x="78" y="105"/>
                      <a:pt x="78" y="105"/>
                    </a:cubicBezTo>
                    <a:cubicBezTo>
                      <a:pt x="78" y="52"/>
                      <a:pt x="78" y="52"/>
                      <a:pt x="78" y="52"/>
                    </a:cubicBezTo>
                    <a:cubicBezTo>
                      <a:pt x="72" y="52"/>
                      <a:pt x="72" y="52"/>
                      <a:pt x="72" y="52"/>
                    </a:cubicBezTo>
                    <a:close/>
                    <a:moveTo>
                      <a:pt x="56" y="52"/>
                    </a:moveTo>
                    <a:cubicBezTo>
                      <a:pt x="56" y="105"/>
                      <a:pt x="56" y="105"/>
                      <a:pt x="56" y="105"/>
                    </a:cubicBezTo>
                    <a:cubicBezTo>
                      <a:pt x="63" y="105"/>
                      <a:pt x="63" y="105"/>
                      <a:pt x="63" y="105"/>
                    </a:cubicBezTo>
                    <a:cubicBezTo>
                      <a:pt x="63" y="52"/>
                      <a:pt x="63" y="52"/>
                      <a:pt x="63" y="52"/>
                    </a:cubicBezTo>
                    <a:cubicBezTo>
                      <a:pt x="56" y="52"/>
                      <a:pt x="56" y="52"/>
                      <a:pt x="56" y="52"/>
                    </a:cubicBezTo>
                    <a:close/>
                    <a:moveTo>
                      <a:pt x="40" y="52"/>
                    </a:moveTo>
                    <a:cubicBezTo>
                      <a:pt x="40" y="105"/>
                      <a:pt x="40" y="105"/>
                      <a:pt x="40" y="105"/>
                    </a:cubicBezTo>
                    <a:cubicBezTo>
                      <a:pt x="47" y="105"/>
                      <a:pt x="47" y="105"/>
                      <a:pt x="47" y="105"/>
                    </a:cubicBezTo>
                    <a:cubicBezTo>
                      <a:pt x="47" y="52"/>
                      <a:pt x="47" y="52"/>
                      <a:pt x="47" y="52"/>
                    </a:cubicBezTo>
                    <a:cubicBezTo>
                      <a:pt x="40" y="52"/>
                      <a:pt x="40" y="52"/>
                      <a:pt x="40" y="52"/>
                    </a:cubicBezTo>
                    <a:close/>
                    <a:moveTo>
                      <a:pt x="24" y="52"/>
                    </a:moveTo>
                    <a:cubicBezTo>
                      <a:pt x="24" y="105"/>
                      <a:pt x="24" y="105"/>
                      <a:pt x="24" y="105"/>
                    </a:cubicBezTo>
                    <a:cubicBezTo>
                      <a:pt x="31" y="105"/>
                      <a:pt x="31" y="105"/>
                      <a:pt x="31" y="105"/>
                    </a:cubicBezTo>
                    <a:cubicBezTo>
                      <a:pt x="31" y="52"/>
                      <a:pt x="31" y="52"/>
                      <a:pt x="31" y="52"/>
                    </a:cubicBezTo>
                    <a:cubicBezTo>
                      <a:pt x="24" y="52"/>
                      <a:pt x="24" y="52"/>
                      <a:pt x="24" y="52"/>
                    </a:cubicBezTo>
                    <a:close/>
                    <a:moveTo>
                      <a:pt x="13" y="15"/>
                    </a:moveTo>
                    <a:cubicBezTo>
                      <a:pt x="12" y="15"/>
                      <a:pt x="11" y="16"/>
                      <a:pt x="11" y="17"/>
                    </a:cubicBezTo>
                    <a:cubicBezTo>
                      <a:pt x="11" y="26"/>
                      <a:pt x="11" y="26"/>
                      <a:pt x="11" y="26"/>
                    </a:cubicBezTo>
                    <a:cubicBezTo>
                      <a:pt x="11" y="27"/>
                      <a:pt x="12" y="28"/>
                      <a:pt x="13" y="28"/>
                    </a:cubicBezTo>
                    <a:cubicBezTo>
                      <a:pt x="89" y="28"/>
                      <a:pt x="89" y="28"/>
                      <a:pt x="89" y="28"/>
                    </a:cubicBezTo>
                    <a:cubicBezTo>
                      <a:pt x="90" y="28"/>
                      <a:pt x="91" y="27"/>
                      <a:pt x="91" y="26"/>
                    </a:cubicBezTo>
                    <a:cubicBezTo>
                      <a:pt x="91" y="17"/>
                      <a:pt x="91" y="17"/>
                      <a:pt x="91" y="17"/>
                    </a:cubicBezTo>
                    <a:cubicBezTo>
                      <a:pt x="91" y="16"/>
                      <a:pt x="90" y="15"/>
                      <a:pt x="89" y="15"/>
                    </a:cubicBezTo>
                    <a:lnTo>
                      <a:pt x="13" y="15"/>
                    </a:lnTo>
                    <a:close/>
                    <a:moveTo>
                      <a:pt x="5" y="0"/>
                    </a:moveTo>
                    <a:cubicBezTo>
                      <a:pt x="97" y="0"/>
                      <a:pt x="97" y="0"/>
                      <a:pt x="97" y="0"/>
                    </a:cubicBezTo>
                    <a:cubicBezTo>
                      <a:pt x="100" y="0"/>
                      <a:pt x="102" y="3"/>
                      <a:pt x="102" y="5"/>
                    </a:cubicBezTo>
                    <a:cubicBezTo>
                      <a:pt x="102" y="174"/>
                      <a:pt x="102" y="174"/>
                      <a:pt x="102" y="174"/>
                    </a:cubicBezTo>
                    <a:cubicBezTo>
                      <a:pt x="102" y="177"/>
                      <a:pt x="100" y="180"/>
                      <a:pt x="97" y="180"/>
                    </a:cubicBezTo>
                    <a:cubicBezTo>
                      <a:pt x="91" y="180"/>
                      <a:pt x="91" y="180"/>
                      <a:pt x="91" y="180"/>
                    </a:cubicBezTo>
                    <a:cubicBezTo>
                      <a:pt x="91" y="183"/>
                      <a:pt x="91" y="183"/>
                      <a:pt x="91" y="183"/>
                    </a:cubicBezTo>
                    <a:cubicBezTo>
                      <a:pt x="11" y="183"/>
                      <a:pt x="11" y="183"/>
                      <a:pt x="11" y="183"/>
                    </a:cubicBezTo>
                    <a:cubicBezTo>
                      <a:pt x="11" y="180"/>
                      <a:pt x="11" y="180"/>
                      <a:pt x="11" y="180"/>
                    </a:cubicBezTo>
                    <a:cubicBezTo>
                      <a:pt x="5" y="180"/>
                      <a:pt x="5" y="180"/>
                      <a:pt x="5" y="180"/>
                    </a:cubicBezTo>
                    <a:cubicBezTo>
                      <a:pt x="2" y="180"/>
                      <a:pt x="0" y="177"/>
                      <a:pt x="0" y="174"/>
                    </a:cubicBezTo>
                    <a:cubicBezTo>
                      <a:pt x="0" y="5"/>
                      <a:pt x="0" y="5"/>
                      <a:pt x="0" y="5"/>
                    </a:cubicBezTo>
                    <a:cubicBezTo>
                      <a:pt x="0" y="3"/>
                      <a:pt x="2" y="0"/>
                      <a:pt x="5" y="0"/>
                    </a:cubicBez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80" name="Freeform 216"/>
              <p:cNvSpPr>
                <a:spLocks noEditPoints="1"/>
              </p:cNvSpPr>
              <p:nvPr/>
            </p:nvSpPr>
            <p:spPr bwMode="auto">
              <a:xfrm flipH="1">
                <a:off x="11096289" y="1199709"/>
                <a:ext cx="176096" cy="264099"/>
              </a:xfrm>
              <a:custGeom>
                <a:avLst/>
                <a:gdLst>
                  <a:gd name="T0" fmla="*/ 112 w 160"/>
                  <a:gd name="T1" fmla="*/ 211 h 232"/>
                  <a:gd name="T2" fmla="*/ 99 w 160"/>
                  <a:gd name="T3" fmla="*/ 202 h 232"/>
                  <a:gd name="T4" fmla="*/ 93 w 160"/>
                  <a:gd name="T5" fmla="*/ 215 h 232"/>
                  <a:gd name="T6" fmla="*/ 110 w 160"/>
                  <a:gd name="T7" fmla="*/ 196 h 232"/>
                  <a:gd name="T8" fmla="*/ 119 w 160"/>
                  <a:gd name="T9" fmla="*/ 202 h 232"/>
                  <a:gd name="T10" fmla="*/ 107 w 160"/>
                  <a:gd name="T11" fmla="*/ 208 h 232"/>
                  <a:gd name="T12" fmla="*/ 108 w 160"/>
                  <a:gd name="T13" fmla="*/ 194 h 232"/>
                  <a:gd name="T14" fmla="*/ 119 w 160"/>
                  <a:gd name="T15" fmla="*/ 198 h 232"/>
                  <a:gd name="T16" fmla="*/ 114 w 160"/>
                  <a:gd name="T17" fmla="*/ 192 h 232"/>
                  <a:gd name="T18" fmla="*/ 105 w 160"/>
                  <a:gd name="T19" fmla="*/ 186 h 232"/>
                  <a:gd name="T20" fmla="*/ 107 w 160"/>
                  <a:gd name="T21" fmla="*/ 192 h 232"/>
                  <a:gd name="T22" fmla="*/ 105 w 160"/>
                  <a:gd name="T23" fmla="*/ 186 h 232"/>
                  <a:gd name="T24" fmla="*/ 114 w 160"/>
                  <a:gd name="T25" fmla="*/ 184 h 232"/>
                  <a:gd name="T26" fmla="*/ 111 w 160"/>
                  <a:gd name="T27" fmla="*/ 189 h 232"/>
                  <a:gd name="T28" fmla="*/ 108 w 160"/>
                  <a:gd name="T29" fmla="*/ 184 h 232"/>
                  <a:gd name="T30" fmla="*/ 112 w 160"/>
                  <a:gd name="T31" fmla="*/ 178 h 232"/>
                  <a:gd name="T32" fmla="*/ 66 w 160"/>
                  <a:gd name="T33" fmla="*/ 79 h 232"/>
                  <a:gd name="T34" fmla="*/ 76 w 160"/>
                  <a:gd name="T35" fmla="*/ 74 h 232"/>
                  <a:gd name="T36" fmla="*/ 82 w 160"/>
                  <a:gd name="T37" fmla="*/ 177 h 232"/>
                  <a:gd name="T38" fmla="*/ 105 w 160"/>
                  <a:gd name="T39" fmla="*/ 180 h 232"/>
                  <a:gd name="T40" fmla="*/ 98 w 160"/>
                  <a:gd name="T41" fmla="*/ 196 h 232"/>
                  <a:gd name="T42" fmla="*/ 95 w 160"/>
                  <a:gd name="T43" fmla="*/ 201 h 232"/>
                  <a:gd name="T44" fmla="*/ 86 w 160"/>
                  <a:gd name="T45" fmla="*/ 216 h 232"/>
                  <a:gd name="T46" fmla="*/ 86 w 160"/>
                  <a:gd name="T47" fmla="*/ 221 h 232"/>
                  <a:gd name="T48" fmla="*/ 86 w 160"/>
                  <a:gd name="T49" fmla="*/ 227 h 232"/>
                  <a:gd name="T50" fmla="*/ 91 w 160"/>
                  <a:gd name="T51" fmla="*/ 222 h 232"/>
                  <a:gd name="T52" fmla="*/ 92 w 160"/>
                  <a:gd name="T53" fmla="*/ 217 h 232"/>
                  <a:gd name="T54" fmla="*/ 111 w 160"/>
                  <a:gd name="T55" fmla="*/ 214 h 232"/>
                  <a:gd name="T56" fmla="*/ 124 w 160"/>
                  <a:gd name="T57" fmla="*/ 221 h 232"/>
                  <a:gd name="T58" fmla="*/ 125 w 160"/>
                  <a:gd name="T59" fmla="*/ 225 h 232"/>
                  <a:gd name="T60" fmla="*/ 123 w 160"/>
                  <a:gd name="T61" fmla="*/ 230 h 232"/>
                  <a:gd name="T62" fmla="*/ 129 w 160"/>
                  <a:gd name="T63" fmla="*/ 231 h 232"/>
                  <a:gd name="T64" fmla="*/ 128 w 160"/>
                  <a:gd name="T65" fmla="*/ 225 h 232"/>
                  <a:gd name="T66" fmla="*/ 127 w 160"/>
                  <a:gd name="T67" fmla="*/ 217 h 232"/>
                  <a:gd name="T68" fmla="*/ 126 w 160"/>
                  <a:gd name="T69" fmla="*/ 201 h 232"/>
                  <a:gd name="T70" fmla="*/ 120 w 160"/>
                  <a:gd name="T71" fmla="*/ 187 h 232"/>
                  <a:gd name="T72" fmla="*/ 117 w 160"/>
                  <a:gd name="T73" fmla="*/ 177 h 232"/>
                  <a:gd name="T74" fmla="*/ 125 w 160"/>
                  <a:gd name="T75" fmla="*/ 173 h 232"/>
                  <a:gd name="T76" fmla="*/ 155 w 160"/>
                  <a:gd name="T77" fmla="*/ 80 h 232"/>
                  <a:gd name="T78" fmla="*/ 66 w 160"/>
                  <a:gd name="T79" fmla="*/ 78 h 232"/>
                  <a:gd name="T80" fmla="*/ 66 w 160"/>
                  <a:gd name="T81" fmla="*/ 43 h 232"/>
                  <a:gd name="T82" fmla="*/ 48 w 160"/>
                  <a:gd name="T83" fmla="*/ 61 h 232"/>
                  <a:gd name="T84" fmla="*/ 66 w 160"/>
                  <a:gd name="T85" fmla="*/ 43 h 232"/>
                  <a:gd name="T86" fmla="*/ 22 w 160"/>
                  <a:gd name="T87" fmla="*/ 58 h 232"/>
                  <a:gd name="T88" fmla="*/ 62 w 160"/>
                  <a:gd name="T89" fmla="*/ 33 h 232"/>
                  <a:gd name="T90" fmla="*/ 54 w 160"/>
                  <a:gd name="T91" fmla="*/ 0 h 232"/>
                  <a:gd name="T92" fmla="*/ 13 w 160"/>
                  <a:gd name="T93" fmla="*/ 49 h 232"/>
                  <a:gd name="T94" fmla="*/ 59 w 160"/>
                  <a:gd name="T95" fmla="*/ 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232">
                    <a:moveTo>
                      <a:pt x="120" y="204"/>
                    </a:moveTo>
                    <a:cubicBezTo>
                      <a:pt x="123" y="218"/>
                      <a:pt x="123" y="218"/>
                      <a:pt x="123" y="218"/>
                    </a:cubicBezTo>
                    <a:cubicBezTo>
                      <a:pt x="112" y="211"/>
                      <a:pt x="112" y="211"/>
                      <a:pt x="112" y="211"/>
                    </a:cubicBezTo>
                    <a:cubicBezTo>
                      <a:pt x="112" y="210"/>
                      <a:pt x="112" y="210"/>
                      <a:pt x="112" y="210"/>
                    </a:cubicBezTo>
                    <a:cubicBezTo>
                      <a:pt x="120" y="204"/>
                      <a:pt x="120" y="204"/>
                      <a:pt x="120" y="204"/>
                    </a:cubicBezTo>
                    <a:close/>
                    <a:moveTo>
                      <a:pt x="99" y="202"/>
                    </a:moveTo>
                    <a:cubicBezTo>
                      <a:pt x="106" y="210"/>
                      <a:pt x="106" y="210"/>
                      <a:pt x="106" y="210"/>
                    </a:cubicBezTo>
                    <a:cubicBezTo>
                      <a:pt x="106" y="210"/>
                      <a:pt x="106" y="210"/>
                      <a:pt x="106" y="210"/>
                    </a:cubicBezTo>
                    <a:cubicBezTo>
                      <a:pt x="93" y="215"/>
                      <a:pt x="93" y="215"/>
                      <a:pt x="93" y="215"/>
                    </a:cubicBezTo>
                    <a:cubicBezTo>
                      <a:pt x="99" y="202"/>
                      <a:pt x="99" y="202"/>
                      <a:pt x="99" y="202"/>
                    </a:cubicBezTo>
                    <a:close/>
                    <a:moveTo>
                      <a:pt x="108" y="194"/>
                    </a:moveTo>
                    <a:cubicBezTo>
                      <a:pt x="108" y="195"/>
                      <a:pt x="109" y="196"/>
                      <a:pt x="110" y="196"/>
                    </a:cubicBezTo>
                    <a:cubicBezTo>
                      <a:pt x="111" y="196"/>
                      <a:pt x="112" y="195"/>
                      <a:pt x="112" y="195"/>
                    </a:cubicBezTo>
                    <a:cubicBezTo>
                      <a:pt x="119" y="202"/>
                      <a:pt x="119" y="202"/>
                      <a:pt x="119" y="202"/>
                    </a:cubicBezTo>
                    <a:cubicBezTo>
                      <a:pt x="119" y="202"/>
                      <a:pt x="119" y="202"/>
                      <a:pt x="119" y="202"/>
                    </a:cubicBezTo>
                    <a:cubicBezTo>
                      <a:pt x="111" y="209"/>
                      <a:pt x="111" y="209"/>
                      <a:pt x="111" y="209"/>
                    </a:cubicBezTo>
                    <a:cubicBezTo>
                      <a:pt x="110" y="208"/>
                      <a:pt x="110" y="208"/>
                      <a:pt x="109" y="208"/>
                    </a:cubicBezTo>
                    <a:cubicBezTo>
                      <a:pt x="108" y="208"/>
                      <a:pt x="108" y="208"/>
                      <a:pt x="107" y="208"/>
                    </a:cubicBezTo>
                    <a:cubicBezTo>
                      <a:pt x="100" y="200"/>
                      <a:pt x="100" y="200"/>
                      <a:pt x="100" y="200"/>
                    </a:cubicBezTo>
                    <a:cubicBezTo>
                      <a:pt x="100" y="200"/>
                      <a:pt x="100" y="200"/>
                      <a:pt x="100" y="200"/>
                    </a:cubicBezTo>
                    <a:lnTo>
                      <a:pt x="108" y="194"/>
                    </a:lnTo>
                    <a:close/>
                    <a:moveTo>
                      <a:pt x="116" y="188"/>
                    </a:moveTo>
                    <a:cubicBezTo>
                      <a:pt x="117" y="188"/>
                      <a:pt x="117" y="188"/>
                      <a:pt x="117" y="188"/>
                    </a:cubicBezTo>
                    <a:cubicBezTo>
                      <a:pt x="119" y="198"/>
                      <a:pt x="119" y="198"/>
                      <a:pt x="119" y="198"/>
                    </a:cubicBezTo>
                    <a:cubicBezTo>
                      <a:pt x="113" y="193"/>
                      <a:pt x="113" y="193"/>
                      <a:pt x="113" y="193"/>
                    </a:cubicBezTo>
                    <a:cubicBezTo>
                      <a:pt x="114" y="193"/>
                      <a:pt x="114" y="193"/>
                      <a:pt x="114" y="193"/>
                    </a:cubicBezTo>
                    <a:cubicBezTo>
                      <a:pt x="114" y="192"/>
                      <a:pt x="114" y="192"/>
                      <a:pt x="114" y="192"/>
                    </a:cubicBezTo>
                    <a:cubicBezTo>
                      <a:pt x="114" y="192"/>
                      <a:pt x="113" y="191"/>
                      <a:pt x="113" y="191"/>
                    </a:cubicBezTo>
                    <a:lnTo>
                      <a:pt x="116" y="188"/>
                    </a:lnTo>
                    <a:close/>
                    <a:moveTo>
                      <a:pt x="105" y="186"/>
                    </a:moveTo>
                    <a:cubicBezTo>
                      <a:pt x="108" y="190"/>
                      <a:pt x="108" y="190"/>
                      <a:pt x="108" y="190"/>
                    </a:cubicBezTo>
                    <a:cubicBezTo>
                      <a:pt x="107" y="191"/>
                      <a:pt x="107" y="191"/>
                      <a:pt x="107" y="192"/>
                    </a:cubicBezTo>
                    <a:cubicBezTo>
                      <a:pt x="107" y="192"/>
                      <a:pt x="107" y="192"/>
                      <a:pt x="107" y="192"/>
                    </a:cubicBezTo>
                    <a:cubicBezTo>
                      <a:pt x="101" y="196"/>
                      <a:pt x="101" y="196"/>
                      <a:pt x="101" y="196"/>
                    </a:cubicBezTo>
                    <a:cubicBezTo>
                      <a:pt x="105" y="187"/>
                      <a:pt x="105" y="187"/>
                      <a:pt x="105" y="187"/>
                    </a:cubicBezTo>
                    <a:cubicBezTo>
                      <a:pt x="105" y="186"/>
                      <a:pt x="105" y="186"/>
                      <a:pt x="105" y="186"/>
                    </a:cubicBezTo>
                    <a:close/>
                    <a:moveTo>
                      <a:pt x="115" y="178"/>
                    </a:moveTo>
                    <a:cubicBezTo>
                      <a:pt x="116" y="182"/>
                      <a:pt x="116" y="182"/>
                      <a:pt x="116" y="182"/>
                    </a:cubicBezTo>
                    <a:cubicBezTo>
                      <a:pt x="115" y="183"/>
                      <a:pt x="115" y="183"/>
                      <a:pt x="114" y="184"/>
                    </a:cubicBezTo>
                    <a:cubicBezTo>
                      <a:pt x="114" y="185"/>
                      <a:pt x="115" y="186"/>
                      <a:pt x="115" y="186"/>
                    </a:cubicBezTo>
                    <a:cubicBezTo>
                      <a:pt x="112" y="189"/>
                      <a:pt x="112" y="189"/>
                      <a:pt x="112" y="189"/>
                    </a:cubicBezTo>
                    <a:cubicBezTo>
                      <a:pt x="111" y="189"/>
                      <a:pt x="111" y="189"/>
                      <a:pt x="111" y="189"/>
                    </a:cubicBezTo>
                    <a:cubicBezTo>
                      <a:pt x="110" y="189"/>
                      <a:pt x="110" y="189"/>
                      <a:pt x="110" y="189"/>
                    </a:cubicBezTo>
                    <a:cubicBezTo>
                      <a:pt x="107" y="185"/>
                      <a:pt x="107" y="185"/>
                      <a:pt x="107" y="185"/>
                    </a:cubicBezTo>
                    <a:cubicBezTo>
                      <a:pt x="108" y="185"/>
                      <a:pt x="108" y="184"/>
                      <a:pt x="108" y="184"/>
                    </a:cubicBezTo>
                    <a:cubicBezTo>
                      <a:pt x="108" y="183"/>
                      <a:pt x="108" y="182"/>
                      <a:pt x="107" y="181"/>
                    </a:cubicBezTo>
                    <a:cubicBezTo>
                      <a:pt x="109" y="177"/>
                      <a:pt x="109" y="177"/>
                      <a:pt x="109" y="177"/>
                    </a:cubicBezTo>
                    <a:cubicBezTo>
                      <a:pt x="110" y="178"/>
                      <a:pt x="111" y="178"/>
                      <a:pt x="112" y="178"/>
                    </a:cubicBezTo>
                    <a:cubicBezTo>
                      <a:pt x="113" y="178"/>
                      <a:pt x="114" y="178"/>
                      <a:pt x="115" y="178"/>
                    </a:cubicBezTo>
                    <a:close/>
                    <a:moveTo>
                      <a:pt x="76" y="74"/>
                    </a:moveTo>
                    <a:cubicBezTo>
                      <a:pt x="74" y="77"/>
                      <a:pt x="71" y="80"/>
                      <a:pt x="66" y="79"/>
                    </a:cubicBezTo>
                    <a:cubicBezTo>
                      <a:pt x="84" y="116"/>
                      <a:pt x="84" y="116"/>
                      <a:pt x="84" y="116"/>
                    </a:cubicBezTo>
                    <a:cubicBezTo>
                      <a:pt x="88" y="114"/>
                      <a:pt x="94" y="110"/>
                      <a:pt x="97" y="108"/>
                    </a:cubicBezTo>
                    <a:cubicBezTo>
                      <a:pt x="91" y="96"/>
                      <a:pt x="83" y="86"/>
                      <a:pt x="76" y="74"/>
                    </a:cubicBezTo>
                    <a:close/>
                    <a:moveTo>
                      <a:pt x="155" y="80"/>
                    </a:moveTo>
                    <a:cubicBezTo>
                      <a:pt x="31" y="148"/>
                      <a:pt x="31" y="148"/>
                      <a:pt x="31" y="148"/>
                    </a:cubicBezTo>
                    <a:cubicBezTo>
                      <a:pt x="42" y="164"/>
                      <a:pt x="60" y="175"/>
                      <a:pt x="82" y="177"/>
                    </a:cubicBezTo>
                    <a:cubicBezTo>
                      <a:pt x="90" y="178"/>
                      <a:pt x="98" y="177"/>
                      <a:pt x="106" y="175"/>
                    </a:cubicBezTo>
                    <a:cubicBezTo>
                      <a:pt x="107" y="176"/>
                      <a:pt x="107" y="176"/>
                      <a:pt x="107" y="176"/>
                    </a:cubicBezTo>
                    <a:cubicBezTo>
                      <a:pt x="105" y="180"/>
                      <a:pt x="105" y="180"/>
                      <a:pt x="105" y="180"/>
                    </a:cubicBezTo>
                    <a:cubicBezTo>
                      <a:pt x="103" y="180"/>
                      <a:pt x="102" y="181"/>
                      <a:pt x="102" y="183"/>
                    </a:cubicBezTo>
                    <a:cubicBezTo>
                      <a:pt x="102" y="184"/>
                      <a:pt x="102" y="185"/>
                      <a:pt x="102" y="186"/>
                    </a:cubicBezTo>
                    <a:cubicBezTo>
                      <a:pt x="98" y="196"/>
                      <a:pt x="98" y="196"/>
                      <a:pt x="98" y="196"/>
                    </a:cubicBezTo>
                    <a:cubicBezTo>
                      <a:pt x="97" y="195"/>
                      <a:pt x="97" y="195"/>
                      <a:pt x="97" y="195"/>
                    </a:cubicBezTo>
                    <a:cubicBezTo>
                      <a:pt x="95" y="195"/>
                      <a:pt x="94" y="197"/>
                      <a:pt x="94" y="198"/>
                    </a:cubicBezTo>
                    <a:cubicBezTo>
                      <a:pt x="94" y="200"/>
                      <a:pt x="94" y="201"/>
                      <a:pt x="95" y="201"/>
                    </a:cubicBezTo>
                    <a:cubicBezTo>
                      <a:pt x="90" y="214"/>
                      <a:pt x="90" y="214"/>
                      <a:pt x="90" y="214"/>
                    </a:cubicBezTo>
                    <a:cubicBezTo>
                      <a:pt x="89" y="213"/>
                      <a:pt x="89" y="213"/>
                      <a:pt x="89" y="213"/>
                    </a:cubicBezTo>
                    <a:cubicBezTo>
                      <a:pt x="87" y="213"/>
                      <a:pt x="86" y="215"/>
                      <a:pt x="86" y="216"/>
                    </a:cubicBezTo>
                    <a:cubicBezTo>
                      <a:pt x="85" y="218"/>
                      <a:pt x="86" y="219"/>
                      <a:pt x="87" y="220"/>
                    </a:cubicBezTo>
                    <a:cubicBezTo>
                      <a:pt x="87" y="221"/>
                      <a:pt x="87" y="221"/>
                      <a:pt x="87" y="221"/>
                    </a:cubicBezTo>
                    <a:cubicBezTo>
                      <a:pt x="86" y="221"/>
                      <a:pt x="86" y="221"/>
                      <a:pt x="86" y="221"/>
                    </a:cubicBezTo>
                    <a:cubicBezTo>
                      <a:pt x="86" y="221"/>
                      <a:pt x="85" y="221"/>
                      <a:pt x="85" y="222"/>
                    </a:cubicBezTo>
                    <a:cubicBezTo>
                      <a:pt x="85" y="226"/>
                      <a:pt x="85" y="226"/>
                      <a:pt x="85" y="226"/>
                    </a:cubicBezTo>
                    <a:cubicBezTo>
                      <a:pt x="85" y="227"/>
                      <a:pt x="85" y="227"/>
                      <a:pt x="86" y="227"/>
                    </a:cubicBezTo>
                    <a:cubicBezTo>
                      <a:pt x="90" y="228"/>
                      <a:pt x="90" y="228"/>
                      <a:pt x="90" y="228"/>
                    </a:cubicBezTo>
                    <a:cubicBezTo>
                      <a:pt x="90" y="228"/>
                      <a:pt x="91" y="227"/>
                      <a:pt x="91" y="227"/>
                    </a:cubicBezTo>
                    <a:cubicBezTo>
                      <a:pt x="91" y="222"/>
                      <a:pt x="91" y="222"/>
                      <a:pt x="91" y="222"/>
                    </a:cubicBezTo>
                    <a:cubicBezTo>
                      <a:pt x="91" y="222"/>
                      <a:pt x="91" y="221"/>
                      <a:pt x="90" y="221"/>
                    </a:cubicBezTo>
                    <a:cubicBezTo>
                      <a:pt x="90" y="221"/>
                      <a:pt x="90" y="221"/>
                      <a:pt x="90" y="221"/>
                    </a:cubicBezTo>
                    <a:cubicBezTo>
                      <a:pt x="92" y="217"/>
                      <a:pt x="92" y="217"/>
                      <a:pt x="92" y="217"/>
                    </a:cubicBezTo>
                    <a:cubicBezTo>
                      <a:pt x="106" y="212"/>
                      <a:pt x="106" y="212"/>
                      <a:pt x="106" y="212"/>
                    </a:cubicBezTo>
                    <a:cubicBezTo>
                      <a:pt x="106" y="214"/>
                      <a:pt x="107" y="214"/>
                      <a:pt x="108" y="214"/>
                    </a:cubicBezTo>
                    <a:cubicBezTo>
                      <a:pt x="109" y="215"/>
                      <a:pt x="110" y="214"/>
                      <a:pt x="111" y="214"/>
                    </a:cubicBezTo>
                    <a:cubicBezTo>
                      <a:pt x="111" y="214"/>
                      <a:pt x="111" y="214"/>
                      <a:pt x="111" y="214"/>
                    </a:cubicBezTo>
                    <a:cubicBezTo>
                      <a:pt x="111" y="213"/>
                      <a:pt x="111" y="213"/>
                      <a:pt x="111" y="213"/>
                    </a:cubicBezTo>
                    <a:cubicBezTo>
                      <a:pt x="124" y="221"/>
                      <a:pt x="124" y="221"/>
                      <a:pt x="124" y="221"/>
                    </a:cubicBezTo>
                    <a:cubicBezTo>
                      <a:pt x="124" y="221"/>
                      <a:pt x="124" y="221"/>
                      <a:pt x="124" y="221"/>
                    </a:cubicBezTo>
                    <a:cubicBezTo>
                      <a:pt x="124" y="221"/>
                      <a:pt x="124" y="221"/>
                      <a:pt x="124" y="222"/>
                    </a:cubicBezTo>
                    <a:cubicBezTo>
                      <a:pt x="125" y="225"/>
                      <a:pt x="125" y="225"/>
                      <a:pt x="125" y="225"/>
                    </a:cubicBezTo>
                    <a:cubicBezTo>
                      <a:pt x="125" y="225"/>
                      <a:pt x="125" y="225"/>
                      <a:pt x="125" y="225"/>
                    </a:cubicBezTo>
                    <a:cubicBezTo>
                      <a:pt x="124" y="225"/>
                      <a:pt x="123" y="225"/>
                      <a:pt x="123" y="226"/>
                    </a:cubicBezTo>
                    <a:cubicBezTo>
                      <a:pt x="123" y="230"/>
                      <a:pt x="123" y="230"/>
                      <a:pt x="123" y="230"/>
                    </a:cubicBezTo>
                    <a:cubicBezTo>
                      <a:pt x="123" y="231"/>
                      <a:pt x="123" y="231"/>
                      <a:pt x="124" y="231"/>
                    </a:cubicBezTo>
                    <a:cubicBezTo>
                      <a:pt x="128" y="231"/>
                      <a:pt x="128" y="231"/>
                      <a:pt x="128" y="231"/>
                    </a:cubicBezTo>
                    <a:cubicBezTo>
                      <a:pt x="128" y="232"/>
                      <a:pt x="129" y="231"/>
                      <a:pt x="129" y="231"/>
                    </a:cubicBezTo>
                    <a:cubicBezTo>
                      <a:pt x="129" y="226"/>
                      <a:pt x="129" y="226"/>
                      <a:pt x="129" y="226"/>
                    </a:cubicBezTo>
                    <a:cubicBezTo>
                      <a:pt x="130" y="226"/>
                      <a:pt x="129" y="225"/>
                      <a:pt x="129" y="225"/>
                    </a:cubicBezTo>
                    <a:cubicBezTo>
                      <a:pt x="128" y="225"/>
                      <a:pt x="128" y="225"/>
                      <a:pt x="128" y="225"/>
                    </a:cubicBezTo>
                    <a:cubicBezTo>
                      <a:pt x="128" y="224"/>
                      <a:pt x="128" y="224"/>
                      <a:pt x="128" y="224"/>
                    </a:cubicBezTo>
                    <a:cubicBezTo>
                      <a:pt x="129" y="223"/>
                      <a:pt x="130" y="222"/>
                      <a:pt x="130" y="221"/>
                    </a:cubicBezTo>
                    <a:cubicBezTo>
                      <a:pt x="130" y="219"/>
                      <a:pt x="129" y="217"/>
                      <a:pt x="127" y="217"/>
                    </a:cubicBezTo>
                    <a:cubicBezTo>
                      <a:pt x="126" y="217"/>
                      <a:pt x="126" y="217"/>
                      <a:pt x="126" y="217"/>
                    </a:cubicBezTo>
                    <a:cubicBezTo>
                      <a:pt x="123" y="204"/>
                      <a:pt x="123" y="204"/>
                      <a:pt x="123" y="204"/>
                    </a:cubicBezTo>
                    <a:cubicBezTo>
                      <a:pt x="125" y="204"/>
                      <a:pt x="125" y="203"/>
                      <a:pt x="126" y="201"/>
                    </a:cubicBezTo>
                    <a:cubicBezTo>
                      <a:pt x="126" y="200"/>
                      <a:pt x="124" y="198"/>
                      <a:pt x="123" y="198"/>
                    </a:cubicBezTo>
                    <a:cubicBezTo>
                      <a:pt x="122" y="198"/>
                      <a:pt x="122" y="198"/>
                      <a:pt x="122" y="198"/>
                    </a:cubicBezTo>
                    <a:cubicBezTo>
                      <a:pt x="120" y="187"/>
                      <a:pt x="120" y="187"/>
                      <a:pt x="120" y="187"/>
                    </a:cubicBezTo>
                    <a:cubicBezTo>
                      <a:pt x="120" y="187"/>
                      <a:pt x="121" y="186"/>
                      <a:pt x="121" y="185"/>
                    </a:cubicBezTo>
                    <a:cubicBezTo>
                      <a:pt x="121" y="183"/>
                      <a:pt x="120" y="182"/>
                      <a:pt x="118" y="182"/>
                    </a:cubicBezTo>
                    <a:cubicBezTo>
                      <a:pt x="117" y="177"/>
                      <a:pt x="117" y="177"/>
                      <a:pt x="117" y="177"/>
                    </a:cubicBezTo>
                    <a:cubicBezTo>
                      <a:pt x="118" y="176"/>
                      <a:pt x="118" y="176"/>
                      <a:pt x="119" y="175"/>
                    </a:cubicBezTo>
                    <a:cubicBezTo>
                      <a:pt x="122" y="175"/>
                      <a:pt x="122" y="175"/>
                      <a:pt x="122" y="175"/>
                    </a:cubicBezTo>
                    <a:cubicBezTo>
                      <a:pt x="123" y="175"/>
                      <a:pt x="125" y="174"/>
                      <a:pt x="125" y="173"/>
                    </a:cubicBezTo>
                    <a:cubicBezTo>
                      <a:pt x="125" y="167"/>
                      <a:pt x="125" y="167"/>
                      <a:pt x="125" y="167"/>
                    </a:cubicBezTo>
                    <a:cubicBezTo>
                      <a:pt x="144" y="155"/>
                      <a:pt x="157" y="136"/>
                      <a:pt x="159" y="113"/>
                    </a:cubicBezTo>
                    <a:cubicBezTo>
                      <a:pt x="160" y="101"/>
                      <a:pt x="159" y="90"/>
                      <a:pt x="155" y="80"/>
                    </a:cubicBezTo>
                    <a:close/>
                    <a:moveTo>
                      <a:pt x="67" y="59"/>
                    </a:moveTo>
                    <a:cubicBezTo>
                      <a:pt x="62" y="59"/>
                      <a:pt x="57" y="63"/>
                      <a:pt x="57" y="68"/>
                    </a:cubicBezTo>
                    <a:cubicBezTo>
                      <a:pt x="56" y="73"/>
                      <a:pt x="60" y="78"/>
                      <a:pt x="66" y="78"/>
                    </a:cubicBezTo>
                    <a:cubicBezTo>
                      <a:pt x="71" y="79"/>
                      <a:pt x="75" y="75"/>
                      <a:pt x="76" y="70"/>
                    </a:cubicBezTo>
                    <a:cubicBezTo>
                      <a:pt x="76" y="64"/>
                      <a:pt x="73" y="60"/>
                      <a:pt x="67" y="59"/>
                    </a:cubicBezTo>
                    <a:close/>
                    <a:moveTo>
                      <a:pt x="66" y="43"/>
                    </a:moveTo>
                    <a:cubicBezTo>
                      <a:pt x="60" y="42"/>
                      <a:pt x="55" y="44"/>
                      <a:pt x="50" y="48"/>
                    </a:cubicBezTo>
                    <a:cubicBezTo>
                      <a:pt x="46" y="51"/>
                      <a:pt x="43" y="56"/>
                      <a:pt x="43" y="62"/>
                    </a:cubicBezTo>
                    <a:cubicBezTo>
                      <a:pt x="48" y="61"/>
                      <a:pt x="48" y="61"/>
                      <a:pt x="48" y="61"/>
                    </a:cubicBezTo>
                    <a:cubicBezTo>
                      <a:pt x="48" y="58"/>
                      <a:pt x="50" y="54"/>
                      <a:pt x="53" y="51"/>
                    </a:cubicBezTo>
                    <a:cubicBezTo>
                      <a:pt x="57" y="49"/>
                      <a:pt x="61" y="47"/>
                      <a:pt x="64" y="48"/>
                    </a:cubicBezTo>
                    <a:lnTo>
                      <a:pt x="66" y="43"/>
                    </a:lnTo>
                    <a:close/>
                    <a:moveTo>
                      <a:pt x="60" y="23"/>
                    </a:moveTo>
                    <a:cubicBezTo>
                      <a:pt x="51" y="23"/>
                      <a:pt x="42" y="26"/>
                      <a:pt x="35" y="32"/>
                    </a:cubicBezTo>
                    <a:cubicBezTo>
                      <a:pt x="28" y="38"/>
                      <a:pt x="23" y="48"/>
                      <a:pt x="22" y="58"/>
                    </a:cubicBezTo>
                    <a:cubicBezTo>
                      <a:pt x="31" y="58"/>
                      <a:pt x="31" y="58"/>
                      <a:pt x="31" y="58"/>
                    </a:cubicBezTo>
                    <a:cubicBezTo>
                      <a:pt x="32" y="51"/>
                      <a:pt x="35" y="44"/>
                      <a:pt x="41" y="39"/>
                    </a:cubicBezTo>
                    <a:cubicBezTo>
                      <a:pt x="47" y="34"/>
                      <a:pt x="55" y="32"/>
                      <a:pt x="62" y="33"/>
                    </a:cubicBezTo>
                    <a:cubicBezTo>
                      <a:pt x="64" y="24"/>
                      <a:pt x="64" y="24"/>
                      <a:pt x="64" y="24"/>
                    </a:cubicBezTo>
                    <a:cubicBezTo>
                      <a:pt x="63" y="24"/>
                      <a:pt x="61" y="24"/>
                      <a:pt x="60" y="23"/>
                    </a:cubicBezTo>
                    <a:close/>
                    <a:moveTo>
                      <a:pt x="54" y="0"/>
                    </a:moveTo>
                    <a:cubicBezTo>
                      <a:pt x="42" y="0"/>
                      <a:pt x="29" y="4"/>
                      <a:pt x="19" y="12"/>
                    </a:cubicBezTo>
                    <a:cubicBezTo>
                      <a:pt x="8" y="22"/>
                      <a:pt x="1" y="35"/>
                      <a:pt x="0" y="49"/>
                    </a:cubicBezTo>
                    <a:cubicBezTo>
                      <a:pt x="13" y="49"/>
                      <a:pt x="13" y="49"/>
                      <a:pt x="13" y="49"/>
                    </a:cubicBezTo>
                    <a:cubicBezTo>
                      <a:pt x="14" y="39"/>
                      <a:pt x="19" y="29"/>
                      <a:pt x="27" y="22"/>
                    </a:cubicBezTo>
                    <a:cubicBezTo>
                      <a:pt x="35" y="15"/>
                      <a:pt x="46" y="12"/>
                      <a:pt x="56" y="14"/>
                    </a:cubicBezTo>
                    <a:cubicBezTo>
                      <a:pt x="59" y="1"/>
                      <a:pt x="59" y="1"/>
                      <a:pt x="59" y="1"/>
                    </a:cubicBezTo>
                    <a:cubicBezTo>
                      <a:pt x="58" y="1"/>
                      <a:pt x="56" y="1"/>
                      <a:pt x="54" y="0"/>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84" name="Freeform 217"/>
              <p:cNvSpPr>
                <a:spLocks/>
              </p:cNvSpPr>
              <p:nvPr/>
            </p:nvSpPr>
            <p:spPr bwMode="auto">
              <a:xfrm rot="5400000">
                <a:off x="11267838" y="-133605"/>
                <a:ext cx="232853" cy="1574030"/>
              </a:xfrm>
              <a:custGeom>
                <a:avLst/>
                <a:gdLst>
                  <a:gd name="T0" fmla="*/ 0 w 212"/>
                  <a:gd name="T1" fmla="*/ 1384 h 1384"/>
                  <a:gd name="T2" fmla="*/ 0 w 212"/>
                  <a:gd name="T3" fmla="*/ 1350 h 1384"/>
                  <a:gd name="T4" fmla="*/ 106 w 212"/>
                  <a:gd name="T5" fmla="*/ 1350 h 1384"/>
                  <a:gd name="T6" fmla="*/ 160 w 212"/>
                  <a:gd name="T7" fmla="*/ 1331 h 1384"/>
                  <a:gd name="T8" fmla="*/ 173 w 212"/>
                  <a:gd name="T9" fmla="*/ 1245 h 1384"/>
                  <a:gd name="T10" fmla="*/ 173 w 212"/>
                  <a:gd name="T11" fmla="*/ 1243 h 1384"/>
                  <a:gd name="T12" fmla="*/ 173 w 212"/>
                  <a:gd name="T13" fmla="*/ 0 h 1384"/>
                  <a:gd name="T14" fmla="*/ 207 w 212"/>
                  <a:gd name="T15" fmla="*/ 0 h 1384"/>
                  <a:gd name="T16" fmla="*/ 207 w 212"/>
                  <a:gd name="T17" fmla="*/ 1242 h 1384"/>
                  <a:gd name="T18" fmla="*/ 186 w 212"/>
                  <a:gd name="T19" fmla="*/ 1354 h 1384"/>
                  <a:gd name="T20" fmla="*/ 106 w 212"/>
                  <a:gd name="T21" fmla="*/ 1384 h 1384"/>
                  <a:gd name="T22" fmla="*/ 0 w 212"/>
                  <a:gd name="T23" fmla="*/ 1384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2" h="1384">
                    <a:moveTo>
                      <a:pt x="0" y="1384"/>
                    </a:moveTo>
                    <a:cubicBezTo>
                      <a:pt x="0" y="1350"/>
                      <a:pt x="0" y="1350"/>
                      <a:pt x="0" y="1350"/>
                    </a:cubicBezTo>
                    <a:cubicBezTo>
                      <a:pt x="106" y="1350"/>
                      <a:pt x="106" y="1350"/>
                      <a:pt x="106" y="1350"/>
                    </a:cubicBezTo>
                    <a:cubicBezTo>
                      <a:pt x="132" y="1349"/>
                      <a:pt x="150" y="1343"/>
                      <a:pt x="160" y="1331"/>
                    </a:cubicBezTo>
                    <a:cubicBezTo>
                      <a:pt x="178" y="1312"/>
                      <a:pt x="177" y="1277"/>
                      <a:pt x="173" y="1245"/>
                    </a:cubicBezTo>
                    <a:cubicBezTo>
                      <a:pt x="173" y="1244"/>
                      <a:pt x="173" y="1244"/>
                      <a:pt x="173" y="1243"/>
                    </a:cubicBezTo>
                    <a:cubicBezTo>
                      <a:pt x="173" y="0"/>
                      <a:pt x="173" y="0"/>
                      <a:pt x="173" y="0"/>
                    </a:cubicBezTo>
                    <a:cubicBezTo>
                      <a:pt x="207" y="0"/>
                      <a:pt x="207" y="0"/>
                      <a:pt x="207" y="0"/>
                    </a:cubicBezTo>
                    <a:cubicBezTo>
                      <a:pt x="207" y="1242"/>
                      <a:pt x="207" y="1242"/>
                      <a:pt x="207" y="1242"/>
                    </a:cubicBezTo>
                    <a:cubicBezTo>
                      <a:pt x="211" y="1281"/>
                      <a:pt x="212" y="1325"/>
                      <a:pt x="186" y="1354"/>
                    </a:cubicBezTo>
                    <a:cubicBezTo>
                      <a:pt x="169" y="1373"/>
                      <a:pt x="142" y="1383"/>
                      <a:pt x="106" y="1384"/>
                    </a:cubicBezTo>
                    <a:lnTo>
                      <a:pt x="0" y="1384"/>
                    </a:lnTo>
                    <a:close/>
                  </a:path>
                </a:pathLst>
              </a:custGeom>
              <a:solidFill>
                <a:srgbClr val="DC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85" name="Rectangle 684"/>
              <p:cNvSpPr>
                <a:spLocks noChangeArrowheads="1"/>
              </p:cNvSpPr>
              <p:nvPr/>
            </p:nvSpPr>
            <p:spPr bwMode="auto">
              <a:xfrm rot="5400000">
                <a:off x="10574637" y="446081"/>
                <a:ext cx="82954" cy="37728"/>
              </a:xfrm>
              <a:prstGeom prst="rect">
                <a:avLst/>
              </a:prstGeom>
              <a:solidFill>
                <a:srgbClr val="DC5B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86" name="Freeform 219"/>
              <p:cNvSpPr>
                <a:spLocks/>
              </p:cNvSpPr>
              <p:nvPr/>
            </p:nvSpPr>
            <p:spPr bwMode="auto">
              <a:xfrm rot="5400000">
                <a:off x="10579003" y="347175"/>
                <a:ext cx="74222" cy="116203"/>
              </a:xfrm>
              <a:custGeom>
                <a:avLst/>
                <a:gdLst>
                  <a:gd name="T0" fmla="*/ 51 w 51"/>
                  <a:gd name="T1" fmla="*/ 77 h 77"/>
                  <a:gd name="T2" fmla="*/ 0 w 51"/>
                  <a:gd name="T3" fmla="*/ 38 h 77"/>
                  <a:gd name="T4" fmla="*/ 51 w 51"/>
                  <a:gd name="T5" fmla="*/ 0 h 77"/>
                  <a:gd name="T6" fmla="*/ 51 w 51"/>
                  <a:gd name="T7" fmla="*/ 77 h 77"/>
                  <a:gd name="T8" fmla="*/ 51 w 51"/>
                  <a:gd name="T9" fmla="*/ 77 h 77"/>
                </a:gdLst>
                <a:ahLst/>
                <a:cxnLst>
                  <a:cxn ang="0">
                    <a:pos x="T0" y="T1"/>
                  </a:cxn>
                  <a:cxn ang="0">
                    <a:pos x="T2" y="T3"/>
                  </a:cxn>
                  <a:cxn ang="0">
                    <a:pos x="T4" y="T5"/>
                  </a:cxn>
                  <a:cxn ang="0">
                    <a:pos x="T6" y="T7"/>
                  </a:cxn>
                  <a:cxn ang="0">
                    <a:pos x="T8" y="T9"/>
                  </a:cxn>
                </a:cxnLst>
                <a:rect l="0" t="0" r="r" b="b"/>
                <a:pathLst>
                  <a:path w="51" h="77">
                    <a:moveTo>
                      <a:pt x="51" y="77"/>
                    </a:moveTo>
                    <a:lnTo>
                      <a:pt x="0" y="38"/>
                    </a:lnTo>
                    <a:lnTo>
                      <a:pt x="51" y="0"/>
                    </a:lnTo>
                    <a:lnTo>
                      <a:pt x="51" y="77"/>
                    </a:lnTo>
                    <a:lnTo>
                      <a:pt x="51" y="77"/>
                    </a:lnTo>
                    <a:close/>
                  </a:path>
                </a:pathLst>
              </a:custGeom>
              <a:solidFill>
                <a:srgbClr val="DC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87" name="Freeform 220"/>
              <p:cNvSpPr>
                <a:spLocks/>
              </p:cNvSpPr>
              <p:nvPr/>
            </p:nvSpPr>
            <p:spPr bwMode="auto">
              <a:xfrm rot="5400000">
                <a:off x="11175950" y="991164"/>
                <a:ext cx="854280" cy="1136380"/>
              </a:xfrm>
              <a:custGeom>
                <a:avLst/>
                <a:gdLst>
                  <a:gd name="T0" fmla="*/ 779 w 779"/>
                  <a:gd name="T1" fmla="*/ 999 h 999"/>
                  <a:gd name="T2" fmla="*/ 354 w 779"/>
                  <a:gd name="T3" fmla="*/ 999 h 999"/>
                  <a:gd name="T4" fmla="*/ 63 w 779"/>
                  <a:gd name="T5" fmla="*/ 980 h 999"/>
                  <a:gd name="T6" fmla="*/ 2 w 779"/>
                  <a:gd name="T7" fmla="*/ 874 h 999"/>
                  <a:gd name="T8" fmla="*/ 0 w 779"/>
                  <a:gd name="T9" fmla="*/ 849 h 999"/>
                  <a:gd name="T10" fmla="*/ 0 w 779"/>
                  <a:gd name="T11" fmla="*/ 847 h 999"/>
                  <a:gd name="T12" fmla="*/ 0 w 779"/>
                  <a:gd name="T13" fmla="*/ 0 h 999"/>
                  <a:gd name="T14" fmla="*/ 34 w 779"/>
                  <a:gd name="T15" fmla="*/ 0 h 999"/>
                  <a:gd name="T16" fmla="*/ 34 w 779"/>
                  <a:gd name="T17" fmla="*/ 847 h 999"/>
                  <a:gd name="T18" fmla="*/ 36 w 779"/>
                  <a:gd name="T19" fmla="*/ 871 h 999"/>
                  <a:gd name="T20" fmla="*/ 75 w 779"/>
                  <a:gd name="T21" fmla="*/ 948 h 999"/>
                  <a:gd name="T22" fmla="*/ 354 w 779"/>
                  <a:gd name="T23" fmla="*/ 965 h 999"/>
                  <a:gd name="T24" fmla="*/ 779 w 779"/>
                  <a:gd name="T25" fmla="*/ 965 h 999"/>
                  <a:gd name="T26" fmla="*/ 779 w 779"/>
                  <a:gd name="T27" fmla="*/ 99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9" h="999">
                    <a:moveTo>
                      <a:pt x="779" y="999"/>
                    </a:moveTo>
                    <a:cubicBezTo>
                      <a:pt x="354" y="999"/>
                      <a:pt x="354" y="999"/>
                      <a:pt x="354" y="999"/>
                    </a:cubicBezTo>
                    <a:cubicBezTo>
                      <a:pt x="189" y="999"/>
                      <a:pt x="108" y="996"/>
                      <a:pt x="63" y="980"/>
                    </a:cubicBezTo>
                    <a:cubicBezTo>
                      <a:pt x="11" y="961"/>
                      <a:pt x="7" y="925"/>
                      <a:pt x="2" y="874"/>
                    </a:cubicBezTo>
                    <a:cubicBezTo>
                      <a:pt x="2" y="866"/>
                      <a:pt x="1" y="858"/>
                      <a:pt x="0" y="849"/>
                    </a:cubicBezTo>
                    <a:cubicBezTo>
                      <a:pt x="0" y="849"/>
                      <a:pt x="0" y="848"/>
                      <a:pt x="0" y="847"/>
                    </a:cubicBezTo>
                    <a:cubicBezTo>
                      <a:pt x="0" y="0"/>
                      <a:pt x="0" y="0"/>
                      <a:pt x="0" y="0"/>
                    </a:cubicBezTo>
                    <a:cubicBezTo>
                      <a:pt x="34" y="0"/>
                      <a:pt x="34" y="0"/>
                      <a:pt x="34" y="0"/>
                    </a:cubicBezTo>
                    <a:cubicBezTo>
                      <a:pt x="34" y="847"/>
                      <a:pt x="34" y="847"/>
                      <a:pt x="34" y="847"/>
                    </a:cubicBezTo>
                    <a:cubicBezTo>
                      <a:pt x="35" y="855"/>
                      <a:pt x="35" y="863"/>
                      <a:pt x="36" y="871"/>
                    </a:cubicBezTo>
                    <a:cubicBezTo>
                      <a:pt x="41" y="922"/>
                      <a:pt x="44" y="937"/>
                      <a:pt x="75" y="948"/>
                    </a:cubicBezTo>
                    <a:cubicBezTo>
                      <a:pt x="114" y="962"/>
                      <a:pt x="196" y="965"/>
                      <a:pt x="354" y="965"/>
                    </a:cubicBezTo>
                    <a:cubicBezTo>
                      <a:pt x="779" y="965"/>
                      <a:pt x="779" y="965"/>
                      <a:pt x="779" y="965"/>
                    </a:cubicBezTo>
                    <a:lnTo>
                      <a:pt x="779" y="999"/>
                    </a:lnTo>
                    <a:close/>
                  </a:path>
                </a:pathLst>
              </a:custGeom>
              <a:solidFill>
                <a:srgbClr val="21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688" name="Group 687"/>
              <p:cNvGrpSpPr/>
              <p:nvPr/>
            </p:nvGrpSpPr>
            <p:grpSpPr>
              <a:xfrm rot="16200000">
                <a:off x="10903609" y="1557175"/>
                <a:ext cx="239953" cy="221210"/>
                <a:chOff x="10903605" y="1557171"/>
                <a:chExt cx="239953" cy="221210"/>
              </a:xfrm>
            </p:grpSpPr>
            <p:grpSp>
              <p:nvGrpSpPr>
                <p:cNvPr id="725" name="Group 724"/>
                <p:cNvGrpSpPr/>
                <p:nvPr/>
              </p:nvGrpSpPr>
              <p:grpSpPr>
                <a:xfrm>
                  <a:off x="10903605" y="1557171"/>
                  <a:ext cx="239953" cy="221210"/>
                  <a:chOff x="10903605" y="1557171"/>
                  <a:chExt cx="239953" cy="221210"/>
                </a:xfrm>
              </p:grpSpPr>
              <p:sp>
                <p:nvSpPr>
                  <p:cNvPr id="730" name="Freeform 221"/>
                  <p:cNvSpPr>
                    <a:spLocks/>
                  </p:cNvSpPr>
                  <p:nvPr/>
                </p:nvSpPr>
                <p:spPr bwMode="auto">
                  <a:xfrm rot="5400000">
                    <a:off x="10945423" y="1580246"/>
                    <a:ext cx="221210" cy="175060"/>
                  </a:xfrm>
                  <a:custGeom>
                    <a:avLst/>
                    <a:gdLst>
                      <a:gd name="T0" fmla="*/ 0 w 201"/>
                      <a:gd name="T1" fmla="*/ 25 h 153"/>
                      <a:gd name="T2" fmla="*/ 25 w 201"/>
                      <a:gd name="T3" fmla="*/ 0 h 153"/>
                      <a:gd name="T4" fmla="*/ 175 w 201"/>
                      <a:gd name="T5" fmla="*/ 0 h 153"/>
                      <a:gd name="T6" fmla="*/ 201 w 201"/>
                      <a:gd name="T7" fmla="*/ 25 h 153"/>
                      <a:gd name="T8" fmla="*/ 201 w 201"/>
                      <a:gd name="T9" fmla="*/ 127 h 153"/>
                      <a:gd name="T10" fmla="*/ 175 w 201"/>
                      <a:gd name="T11" fmla="*/ 153 h 153"/>
                      <a:gd name="T12" fmla="*/ 25 w 201"/>
                      <a:gd name="T13" fmla="*/ 153 h 153"/>
                      <a:gd name="T14" fmla="*/ 0 w 201"/>
                      <a:gd name="T15" fmla="*/ 127 h 153"/>
                      <a:gd name="T16" fmla="*/ 0 w 201"/>
                      <a:gd name="T17" fmla="*/ 2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53">
                        <a:moveTo>
                          <a:pt x="0" y="25"/>
                        </a:moveTo>
                        <a:cubicBezTo>
                          <a:pt x="0" y="11"/>
                          <a:pt x="11" y="0"/>
                          <a:pt x="25" y="0"/>
                        </a:cubicBezTo>
                        <a:cubicBezTo>
                          <a:pt x="175" y="0"/>
                          <a:pt x="175" y="0"/>
                          <a:pt x="175" y="0"/>
                        </a:cubicBezTo>
                        <a:cubicBezTo>
                          <a:pt x="189" y="0"/>
                          <a:pt x="201" y="11"/>
                          <a:pt x="201" y="25"/>
                        </a:cubicBezTo>
                        <a:cubicBezTo>
                          <a:pt x="201" y="127"/>
                          <a:pt x="201" y="127"/>
                          <a:pt x="201" y="127"/>
                        </a:cubicBezTo>
                        <a:cubicBezTo>
                          <a:pt x="201" y="141"/>
                          <a:pt x="189" y="153"/>
                          <a:pt x="175" y="153"/>
                        </a:cubicBezTo>
                        <a:cubicBezTo>
                          <a:pt x="25" y="153"/>
                          <a:pt x="25" y="153"/>
                          <a:pt x="25" y="153"/>
                        </a:cubicBezTo>
                        <a:cubicBezTo>
                          <a:pt x="11" y="153"/>
                          <a:pt x="0" y="141"/>
                          <a:pt x="0" y="127"/>
                        </a:cubicBezTo>
                        <a:lnTo>
                          <a:pt x="0" y="25"/>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31" name="Freeform 222"/>
                  <p:cNvSpPr>
                    <a:spLocks/>
                  </p:cNvSpPr>
                  <p:nvPr/>
                </p:nvSpPr>
                <p:spPr bwMode="auto">
                  <a:xfrm rot="5400000">
                    <a:off x="10897053" y="1604472"/>
                    <a:ext cx="94597" cy="81493"/>
                  </a:xfrm>
                  <a:custGeom>
                    <a:avLst/>
                    <a:gdLst>
                      <a:gd name="T0" fmla="*/ 0 w 65"/>
                      <a:gd name="T1" fmla="*/ 0 h 54"/>
                      <a:gd name="T2" fmla="*/ 13 w 65"/>
                      <a:gd name="T3" fmla="*/ 54 h 54"/>
                      <a:gd name="T4" fmla="*/ 65 w 65"/>
                      <a:gd name="T5" fmla="*/ 0 h 54"/>
                      <a:gd name="T6" fmla="*/ 0 w 65"/>
                      <a:gd name="T7" fmla="*/ 0 h 54"/>
                      <a:gd name="T8" fmla="*/ 0 w 65"/>
                      <a:gd name="T9" fmla="*/ 0 h 54"/>
                    </a:gdLst>
                    <a:ahLst/>
                    <a:cxnLst>
                      <a:cxn ang="0">
                        <a:pos x="T0" y="T1"/>
                      </a:cxn>
                      <a:cxn ang="0">
                        <a:pos x="T2" y="T3"/>
                      </a:cxn>
                      <a:cxn ang="0">
                        <a:pos x="T4" y="T5"/>
                      </a:cxn>
                      <a:cxn ang="0">
                        <a:pos x="T6" y="T7"/>
                      </a:cxn>
                      <a:cxn ang="0">
                        <a:pos x="T8" y="T9"/>
                      </a:cxn>
                    </a:cxnLst>
                    <a:rect l="0" t="0" r="r" b="b"/>
                    <a:pathLst>
                      <a:path w="65" h="54">
                        <a:moveTo>
                          <a:pt x="0" y="0"/>
                        </a:moveTo>
                        <a:lnTo>
                          <a:pt x="13" y="54"/>
                        </a:lnTo>
                        <a:lnTo>
                          <a:pt x="65" y="0"/>
                        </a:lnTo>
                        <a:lnTo>
                          <a:pt x="0" y="0"/>
                        </a:lnTo>
                        <a:lnTo>
                          <a:pt x="0" y="0"/>
                        </a:lnTo>
                        <a:close/>
                      </a:path>
                    </a:pathLst>
                  </a:custGeom>
                  <a:solidFill>
                    <a:srgbClr val="F78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nvGrpSpPr>
                <p:cNvPr id="726" name="Group 725"/>
                <p:cNvGrpSpPr/>
                <p:nvPr/>
              </p:nvGrpSpPr>
              <p:grpSpPr>
                <a:xfrm>
                  <a:off x="11065083" y="1592098"/>
                  <a:ext cx="27164" cy="80043"/>
                  <a:chOff x="11065083" y="1592098"/>
                  <a:chExt cx="27164" cy="80043"/>
                </a:xfrm>
              </p:grpSpPr>
              <p:sp>
                <p:nvSpPr>
                  <p:cNvPr id="727" name="Freeform 224"/>
                  <p:cNvSpPr>
                    <a:spLocks noEditPoints="1"/>
                  </p:cNvSpPr>
                  <p:nvPr/>
                </p:nvSpPr>
                <p:spPr bwMode="auto">
                  <a:xfrm rot="5400000">
                    <a:off x="11061928" y="1595253"/>
                    <a:ext cx="33473" cy="27164"/>
                  </a:xfrm>
                  <a:custGeom>
                    <a:avLst/>
                    <a:gdLst>
                      <a:gd name="T0" fmla="*/ 14 w 30"/>
                      <a:gd name="T1" fmla="*/ 25 h 25"/>
                      <a:gd name="T2" fmla="*/ 0 w 30"/>
                      <a:gd name="T3" fmla="*/ 25 h 25"/>
                      <a:gd name="T4" fmla="*/ 0 w 30"/>
                      <a:gd name="T5" fmla="*/ 15 h 25"/>
                      <a:gd name="T6" fmla="*/ 3 w 30"/>
                      <a:gd name="T7" fmla="*/ 6 h 25"/>
                      <a:gd name="T8" fmla="*/ 11 w 30"/>
                      <a:gd name="T9" fmla="*/ 0 h 25"/>
                      <a:gd name="T10" fmla="*/ 14 w 30"/>
                      <a:gd name="T11" fmla="*/ 5 h 25"/>
                      <a:gd name="T12" fmla="*/ 9 w 30"/>
                      <a:gd name="T13" fmla="*/ 9 h 25"/>
                      <a:gd name="T14" fmla="*/ 7 w 30"/>
                      <a:gd name="T15" fmla="*/ 13 h 25"/>
                      <a:gd name="T16" fmla="*/ 14 w 30"/>
                      <a:gd name="T17" fmla="*/ 13 h 25"/>
                      <a:gd name="T18" fmla="*/ 14 w 30"/>
                      <a:gd name="T19" fmla="*/ 25 h 25"/>
                      <a:gd name="T20" fmla="*/ 30 w 30"/>
                      <a:gd name="T21" fmla="*/ 25 h 25"/>
                      <a:gd name="T22" fmla="*/ 16 w 30"/>
                      <a:gd name="T23" fmla="*/ 25 h 25"/>
                      <a:gd name="T24" fmla="*/ 16 w 30"/>
                      <a:gd name="T25" fmla="*/ 15 h 25"/>
                      <a:gd name="T26" fmla="*/ 18 w 30"/>
                      <a:gd name="T27" fmla="*/ 6 h 25"/>
                      <a:gd name="T28" fmla="*/ 27 w 30"/>
                      <a:gd name="T29" fmla="*/ 0 h 25"/>
                      <a:gd name="T30" fmla="*/ 30 w 30"/>
                      <a:gd name="T31" fmla="*/ 5 h 25"/>
                      <a:gd name="T32" fmla="*/ 25 w 30"/>
                      <a:gd name="T33" fmla="*/ 9 h 25"/>
                      <a:gd name="T34" fmla="*/ 23 w 30"/>
                      <a:gd name="T35" fmla="*/ 13 h 25"/>
                      <a:gd name="T36" fmla="*/ 30 w 30"/>
                      <a:gd name="T37" fmla="*/ 13 h 25"/>
                      <a:gd name="T38" fmla="*/ 30 w 30"/>
                      <a:gd name="T3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25">
                        <a:moveTo>
                          <a:pt x="14" y="25"/>
                        </a:moveTo>
                        <a:cubicBezTo>
                          <a:pt x="0" y="25"/>
                          <a:pt x="0" y="25"/>
                          <a:pt x="0" y="25"/>
                        </a:cubicBezTo>
                        <a:cubicBezTo>
                          <a:pt x="0" y="15"/>
                          <a:pt x="0" y="15"/>
                          <a:pt x="0" y="15"/>
                        </a:cubicBezTo>
                        <a:cubicBezTo>
                          <a:pt x="0" y="11"/>
                          <a:pt x="1" y="8"/>
                          <a:pt x="3" y="6"/>
                        </a:cubicBezTo>
                        <a:cubicBezTo>
                          <a:pt x="4" y="3"/>
                          <a:pt x="7" y="1"/>
                          <a:pt x="11" y="0"/>
                        </a:cubicBezTo>
                        <a:cubicBezTo>
                          <a:pt x="14" y="5"/>
                          <a:pt x="14" y="5"/>
                          <a:pt x="14" y="5"/>
                        </a:cubicBezTo>
                        <a:cubicBezTo>
                          <a:pt x="11" y="6"/>
                          <a:pt x="10" y="7"/>
                          <a:pt x="9" y="9"/>
                        </a:cubicBezTo>
                        <a:cubicBezTo>
                          <a:pt x="8" y="10"/>
                          <a:pt x="7" y="11"/>
                          <a:pt x="7" y="13"/>
                        </a:cubicBezTo>
                        <a:cubicBezTo>
                          <a:pt x="14" y="13"/>
                          <a:pt x="14" y="13"/>
                          <a:pt x="14" y="13"/>
                        </a:cubicBezTo>
                        <a:lnTo>
                          <a:pt x="14" y="25"/>
                        </a:lnTo>
                        <a:close/>
                        <a:moveTo>
                          <a:pt x="30" y="25"/>
                        </a:moveTo>
                        <a:cubicBezTo>
                          <a:pt x="16" y="25"/>
                          <a:pt x="16" y="25"/>
                          <a:pt x="16" y="25"/>
                        </a:cubicBezTo>
                        <a:cubicBezTo>
                          <a:pt x="16" y="15"/>
                          <a:pt x="16" y="15"/>
                          <a:pt x="16" y="15"/>
                        </a:cubicBezTo>
                        <a:cubicBezTo>
                          <a:pt x="16" y="11"/>
                          <a:pt x="17" y="8"/>
                          <a:pt x="18" y="6"/>
                        </a:cubicBezTo>
                        <a:cubicBezTo>
                          <a:pt x="20" y="3"/>
                          <a:pt x="23" y="1"/>
                          <a:pt x="27" y="0"/>
                        </a:cubicBezTo>
                        <a:cubicBezTo>
                          <a:pt x="30" y="5"/>
                          <a:pt x="30" y="5"/>
                          <a:pt x="30" y="5"/>
                        </a:cubicBezTo>
                        <a:cubicBezTo>
                          <a:pt x="27" y="6"/>
                          <a:pt x="26" y="7"/>
                          <a:pt x="25" y="9"/>
                        </a:cubicBezTo>
                        <a:cubicBezTo>
                          <a:pt x="24" y="10"/>
                          <a:pt x="23" y="11"/>
                          <a:pt x="23" y="13"/>
                        </a:cubicBezTo>
                        <a:cubicBezTo>
                          <a:pt x="30" y="13"/>
                          <a:pt x="30" y="13"/>
                          <a:pt x="30" y="13"/>
                        </a:cubicBezTo>
                        <a:lnTo>
                          <a:pt x="3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9" name="Freeform 225"/>
                  <p:cNvSpPr>
                    <a:spLocks noEditPoints="1"/>
                  </p:cNvSpPr>
                  <p:nvPr/>
                </p:nvSpPr>
                <p:spPr bwMode="auto">
                  <a:xfrm rot="5400000">
                    <a:off x="11062656" y="1642551"/>
                    <a:ext cx="32017" cy="27164"/>
                  </a:xfrm>
                  <a:custGeom>
                    <a:avLst/>
                    <a:gdLst>
                      <a:gd name="T0" fmla="*/ 0 w 29"/>
                      <a:gd name="T1" fmla="*/ 0 h 25"/>
                      <a:gd name="T2" fmla="*/ 14 w 29"/>
                      <a:gd name="T3" fmla="*/ 0 h 25"/>
                      <a:gd name="T4" fmla="*/ 14 w 29"/>
                      <a:gd name="T5" fmla="*/ 10 h 25"/>
                      <a:gd name="T6" fmla="*/ 11 w 29"/>
                      <a:gd name="T7" fmla="*/ 19 h 25"/>
                      <a:gd name="T8" fmla="*/ 3 w 29"/>
                      <a:gd name="T9" fmla="*/ 25 h 25"/>
                      <a:gd name="T10" fmla="*/ 0 w 29"/>
                      <a:gd name="T11" fmla="*/ 20 h 25"/>
                      <a:gd name="T12" fmla="*/ 5 w 29"/>
                      <a:gd name="T13" fmla="*/ 16 h 25"/>
                      <a:gd name="T14" fmla="*/ 7 w 29"/>
                      <a:gd name="T15" fmla="*/ 12 h 25"/>
                      <a:gd name="T16" fmla="*/ 0 w 29"/>
                      <a:gd name="T17" fmla="*/ 12 h 25"/>
                      <a:gd name="T18" fmla="*/ 0 w 29"/>
                      <a:gd name="T19" fmla="*/ 0 h 25"/>
                      <a:gd name="T20" fmla="*/ 16 w 29"/>
                      <a:gd name="T21" fmla="*/ 0 h 25"/>
                      <a:gd name="T22" fmla="*/ 29 w 29"/>
                      <a:gd name="T23" fmla="*/ 0 h 25"/>
                      <a:gd name="T24" fmla="*/ 29 w 29"/>
                      <a:gd name="T25" fmla="*/ 10 h 25"/>
                      <a:gd name="T26" fmla="*/ 27 w 29"/>
                      <a:gd name="T27" fmla="*/ 19 h 25"/>
                      <a:gd name="T28" fmla="*/ 19 w 29"/>
                      <a:gd name="T29" fmla="*/ 25 h 25"/>
                      <a:gd name="T30" fmla="*/ 16 w 29"/>
                      <a:gd name="T31" fmla="*/ 20 h 25"/>
                      <a:gd name="T32" fmla="*/ 21 w 29"/>
                      <a:gd name="T33" fmla="*/ 16 h 25"/>
                      <a:gd name="T34" fmla="*/ 22 w 29"/>
                      <a:gd name="T35" fmla="*/ 12 h 25"/>
                      <a:gd name="T36" fmla="*/ 16 w 29"/>
                      <a:gd name="T37" fmla="*/ 12 h 25"/>
                      <a:gd name="T38" fmla="*/ 16 w 29"/>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5">
                        <a:moveTo>
                          <a:pt x="0" y="0"/>
                        </a:moveTo>
                        <a:cubicBezTo>
                          <a:pt x="14" y="0"/>
                          <a:pt x="14" y="0"/>
                          <a:pt x="14" y="0"/>
                        </a:cubicBezTo>
                        <a:cubicBezTo>
                          <a:pt x="14" y="10"/>
                          <a:pt x="14" y="10"/>
                          <a:pt x="14" y="10"/>
                        </a:cubicBezTo>
                        <a:cubicBezTo>
                          <a:pt x="14" y="14"/>
                          <a:pt x="13" y="17"/>
                          <a:pt x="11" y="19"/>
                        </a:cubicBezTo>
                        <a:cubicBezTo>
                          <a:pt x="10" y="21"/>
                          <a:pt x="7" y="23"/>
                          <a:pt x="3" y="25"/>
                        </a:cubicBezTo>
                        <a:cubicBezTo>
                          <a:pt x="0" y="20"/>
                          <a:pt x="0" y="20"/>
                          <a:pt x="0" y="20"/>
                        </a:cubicBezTo>
                        <a:cubicBezTo>
                          <a:pt x="2" y="18"/>
                          <a:pt x="4" y="17"/>
                          <a:pt x="5" y="16"/>
                        </a:cubicBezTo>
                        <a:cubicBezTo>
                          <a:pt x="6" y="15"/>
                          <a:pt x="6" y="14"/>
                          <a:pt x="7" y="12"/>
                        </a:cubicBezTo>
                        <a:cubicBezTo>
                          <a:pt x="0" y="12"/>
                          <a:pt x="0" y="12"/>
                          <a:pt x="0" y="12"/>
                        </a:cubicBezTo>
                        <a:lnTo>
                          <a:pt x="0" y="0"/>
                        </a:lnTo>
                        <a:close/>
                        <a:moveTo>
                          <a:pt x="16" y="0"/>
                        </a:moveTo>
                        <a:cubicBezTo>
                          <a:pt x="29" y="0"/>
                          <a:pt x="29" y="0"/>
                          <a:pt x="29" y="0"/>
                        </a:cubicBezTo>
                        <a:cubicBezTo>
                          <a:pt x="29" y="10"/>
                          <a:pt x="29" y="10"/>
                          <a:pt x="29" y="10"/>
                        </a:cubicBezTo>
                        <a:cubicBezTo>
                          <a:pt x="29" y="14"/>
                          <a:pt x="29" y="17"/>
                          <a:pt x="27" y="19"/>
                        </a:cubicBezTo>
                        <a:cubicBezTo>
                          <a:pt x="25" y="21"/>
                          <a:pt x="23" y="23"/>
                          <a:pt x="19" y="25"/>
                        </a:cubicBezTo>
                        <a:cubicBezTo>
                          <a:pt x="16" y="20"/>
                          <a:pt x="16" y="20"/>
                          <a:pt x="16" y="20"/>
                        </a:cubicBezTo>
                        <a:cubicBezTo>
                          <a:pt x="18" y="18"/>
                          <a:pt x="20" y="17"/>
                          <a:pt x="21" y="16"/>
                        </a:cubicBezTo>
                        <a:cubicBezTo>
                          <a:pt x="22" y="15"/>
                          <a:pt x="22" y="14"/>
                          <a:pt x="22" y="12"/>
                        </a:cubicBezTo>
                        <a:cubicBezTo>
                          <a:pt x="16" y="12"/>
                          <a:pt x="16" y="12"/>
                          <a:pt x="16" y="12"/>
                        </a:cubicBez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sp>
            <p:nvSpPr>
              <p:cNvPr id="689" name="Freeform 226"/>
              <p:cNvSpPr>
                <a:spLocks noEditPoints="1"/>
              </p:cNvSpPr>
              <p:nvPr/>
            </p:nvSpPr>
            <p:spPr bwMode="auto">
              <a:xfrm rot="18900000">
                <a:off x="11274280" y="1428435"/>
                <a:ext cx="213934" cy="200715"/>
              </a:xfrm>
              <a:custGeom>
                <a:avLst/>
                <a:gdLst>
                  <a:gd name="T0" fmla="*/ 113 w 196"/>
                  <a:gd name="T1" fmla="*/ 118 h 177"/>
                  <a:gd name="T2" fmla="*/ 114 w 196"/>
                  <a:gd name="T3" fmla="*/ 126 h 177"/>
                  <a:gd name="T4" fmla="*/ 122 w 196"/>
                  <a:gd name="T5" fmla="*/ 127 h 177"/>
                  <a:gd name="T6" fmla="*/ 124 w 196"/>
                  <a:gd name="T7" fmla="*/ 135 h 177"/>
                  <a:gd name="T8" fmla="*/ 131 w 196"/>
                  <a:gd name="T9" fmla="*/ 135 h 177"/>
                  <a:gd name="T10" fmla="*/ 132 w 196"/>
                  <a:gd name="T11" fmla="*/ 144 h 177"/>
                  <a:gd name="T12" fmla="*/ 141 w 196"/>
                  <a:gd name="T13" fmla="*/ 145 h 177"/>
                  <a:gd name="T14" fmla="*/ 128 w 196"/>
                  <a:gd name="T15" fmla="*/ 166 h 177"/>
                  <a:gd name="T16" fmla="*/ 119 w 196"/>
                  <a:gd name="T17" fmla="*/ 165 h 177"/>
                  <a:gd name="T18" fmla="*/ 111 w 196"/>
                  <a:gd name="T19" fmla="*/ 157 h 177"/>
                  <a:gd name="T20" fmla="*/ 109 w 196"/>
                  <a:gd name="T21" fmla="*/ 149 h 177"/>
                  <a:gd name="T22" fmla="*/ 101 w 196"/>
                  <a:gd name="T23" fmla="*/ 147 h 177"/>
                  <a:gd name="T24" fmla="*/ 93 w 196"/>
                  <a:gd name="T25" fmla="*/ 139 h 177"/>
                  <a:gd name="T26" fmla="*/ 92 w 196"/>
                  <a:gd name="T27" fmla="*/ 130 h 177"/>
                  <a:gd name="T28" fmla="*/ 109 w 196"/>
                  <a:gd name="T29" fmla="*/ 116 h 177"/>
                  <a:gd name="T30" fmla="*/ 172 w 196"/>
                  <a:gd name="T31" fmla="*/ 148 h 177"/>
                  <a:gd name="T32" fmla="*/ 166 w 196"/>
                  <a:gd name="T33" fmla="*/ 172 h 177"/>
                  <a:gd name="T34" fmla="*/ 140 w 196"/>
                  <a:gd name="T35" fmla="*/ 164 h 177"/>
                  <a:gd name="T36" fmla="*/ 139 w 196"/>
                  <a:gd name="T37" fmla="*/ 136 h 177"/>
                  <a:gd name="T38" fmla="*/ 124 w 196"/>
                  <a:gd name="T39" fmla="*/ 120 h 177"/>
                  <a:gd name="T40" fmla="*/ 154 w 196"/>
                  <a:gd name="T41" fmla="*/ 78 h 177"/>
                  <a:gd name="T42" fmla="*/ 182 w 196"/>
                  <a:gd name="T43" fmla="*/ 104 h 177"/>
                  <a:gd name="T44" fmla="*/ 164 w 196"/>
                  <a:gd name="T45" fmla="*/ 130 h 177"/>
                  <a:gd name="T46" fmla="*/ 128 w 196"/>
                  <a:gd name="T47" fmla="*/ 104 h 177"/>
                  <a:gd name="T48" fmla="*/ 128 w 196"/>
                  <a:gd name="T49" fmla="*/ 105 h 177"/>
                  <a:gd name="T50" fmla="*/ 126 w 196"/>
                  <a:gd name="T51" fmla="*/ 110 h 177"/>
                  <a:gd name="T52" fmla="*/ 121 w 196"/>
                  <a:gd name="T53" fmla="*/ 114 h 177"/>
                  <a:gd name="T54" fmla="*/ 117 w 196"/>
                  <a:gd name="T55" fmla="*/ 94 h 177"/>
                  <a:gd name="T56" fmla="*/ 117 w 196"/>
                  <a:gd name="T57" fmla="*/ 93 h 177"/>
                  <a:gd name="T58" fmla="*/ 127 w 196"/>
                  <a:gd name="T59" fmla="*/ 79 h 177"/>
                  <a:gd name="T60" fmla="*/ 167 w 196"/>
                  <a:gd name="T61" fmla="*/ 67 h 177"/>
                  <a:gd name="T62" fmla="*/ 194 w 196"/>
                  <a:gd name="T63" fmla="*/ 91 h 177"/>
                  <a:gd name="T64" fmla="*/ 192 w 196"/>
                  <a:gd name="T65" fmla="*/ 101 h 177"/>
                  <a:gd name="T66" fmla="*/ 161 w 196"/>
                  <a:gd name="T67" fmla="*/ 78 h 177"/>
                  <a:gd name="T68" fmla="*/ 163 w 196"/>
                  <a:gd name="T69" fmla="*/ 68 h 177"/>
                  <a:gd name="T70" fmla="*/ 35 w 196"/>
                  <a:gd name="T71" fmla="*/ 33 h 177"/>
                  <a:gd name="T72" fmla="*/ 35 w 196"/>
                  <a:gd name="T73" fmla="*/ 66 h 177"/>
                  <a:gd name="T74" fmla="*/ 33 w 196"/>
                  <a:gd name="T75" fmla="*/ 33 h 177"/>
                  <a:gd name="T76" fmla="*/ 56 w 196"/>
                  <a:gd name="T77" fmla="*/ 16 h 177"/>
                  <a:gd name="T78" fmla="*/ 56 w 196"/>
                  <a:gd name="T79" fmla="*/ 95 h 177"/>
                  <a:gd name="T80" fmla="*/ 56 w 196"/>
                  <a:gd name="T81" fmla="*/ 16 h 177"/>
                  <a:gd name="T82" fmla="*/ 111 w 196"/>
                  <a:gd name="T83" fmla="*/ 56 h 177"/>
                  <a:gd name="T84" fmla="*/ 106 w 196"/>
                  <a:gd name="T85" fmla="*/ 82 h 177"/>
                  <a:gd name="T86" fmla="*/ 105 w 196"/>
                  <a:gd name="T87" fmla="*/ 110 h 177"/>
                  <a:gd name="T88" fmla="*/ 82 w 196"/>
                  <a:gd name="T89" fmla="*/ 106 h 177"/>
                  <a:gd name="T90" fmla="*/ 56 w 196"/>
                  <a:gd name="T91" fmla="*/ 111 h 177"/>
                  <a:gd name="T92" fmla="*/ 56 w 196"/>
                  <a:gd name="T9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6" h="177">
                    <a:moveTo>
                      <a:pt x="109" y="116"/>
                    </a:moveTo>
                    <a:cubicBezTo>
                      <a:pt x="110" y="116"/>
                      <a:pt x="112" y="117"/>
                      <a:pt x="113" y="118"/>
                    </a:cubicBezTo>
                    <a:cubicBezTo>
                      <a:pt x="114" y="118"/>
                      <a:pt x="114" y="118"/>
                      <a:pt x="114" y="118"/>
                    </a:cubicBezTo>
                    <a:cubicBezTo>
                      <a:pt x="116" y="121"/>
                      <a:pt x="116" y="124"/>
                      <a:pt x="114" y="126"/>
                    </a:cubicBezTo>
                    <a:cubicBezTo>
                      <a:pt x="115" y="125"/>
                      <a:pt x="117" y="125"/>
                      <a:pt x="118" y="125"/>
                    </a:cubicBezTo>
                    <a:cubicBezTo>
                      <a:pt x="119" y="125"/>
                      <a:pt x="121" y="125"/>
                      <a:pt x="122" y="127"/>
                    </a:cubicBezTo>
                    <a:cubicBezTo>
                      <a:pt x="123" y="127"/>
                      <a:pt x="123" y="127"/>
                      <a:pt x="123" y="127"/>
                    </a:cubicBezTo>
                    <a:cubicBezTo>
                      <a:pt x="125" y="129"/>
                      <a:pt x="125" y="132"/>
                      <a:pt x="124" y="135"/>
                    </a:cubicBezTo>
                    <a:cubicBezTo>
                      <a:pt x="124" y="134"/>
                      <a:pt x="126" y="134"/>
                      <a:pt x="127" y="134"/>
                    </a:cubicBezTo>
                    <a:cubicBezTo>
                      <a:pt x="128" y="134"/>
                      <a:pt x="130" y="134"/>
                      <a:pt x="131" y="135"/>
                    </a:cubicBezTo>
                    <a:cubicBezTo>
                      <a:pt x="132" y="136"/>
                      <a:pt x="132" y="136"/>
                      <a:pt x="132" y="136"/>
                    </a:cubicBezTo>
                    <a:cubicBezTo>
                      <a:pt x="134" y="138"/>
                      <a:pt x="134" y="142"/>
                      <a:pt x="132" y="144"/>
                    </a:cubicBezTo>
                    <a:cubicBezTo>
                      <a:pt x="134" y="142"/>
                      <a:pt x="138" y="142"/>
                      <a:pt x="140" y="144"/>
                    </a:cubicBezTo>
                    <a:cubicBezTo>
                      <a:pt x="141" y="145"/>
                      <a:pt x="141" y="145"/>
                      <a:pt x="141" y="145"/>
                    </a:cubicBezTo>
                    <a:cubicBezTo>
                      <a:pt x="143" y="147"/>
                      <a:pt x="143" y="151"/>
                      <a:pt x="141" y="153"/>
                    </a:cubicBezTo>
                    <a:cubicBezTo>
                      <a:pt x="128" y="166"/>
                      <a:pt x="128" y="166"/>
                      <a:pt x="128" y="166"/>
                    </a:cubicBezTo>
                    <a:cubicBezTo>
                      <a:pt x="126" y="168"/>
                      <a:pt x="122" y="168"/>
                      <a:pt x="120" y="166"/>
                    </a:cubicBezTo>
                    <a:cubicBezTo>
                      <a:pt x="119" y="165"/>
                      <a:pt x="119" y="165"/>
                      <a:pt x="119" y="165"/>
                    </a:cubicBezTo>
                    <a:cubicBezTo>
                      <a:pt x="117" y="163"/>
                      <a:pt x="117" y="160"/>
                      <a:pt x="119" y="157"/>
                    </a:cubicBezTo>
                    <a:cubicBezTo>
                      <a:pt x="116" y="159"/>
                      <a:pt x="113" y="159"/>
                      <a:pt x="111" y="157"/>
                    </a:cubicBezTo>
                    <a:cubicBezTo>
                      <a:pt x="110" y="156"/>
                      <a:pt x="110" y="156"/>
                      <a:pt x="110" y="156"/>
                    </a:cubicBezTo>
                    <a:cubicBezTo>
                      <a:pt x="108" y="154"/>
                      <a:pt x="108" y="151"/>
                      <a:pt x="109" y="149"/>
                    </a:cubicBezTo>
                    <a:cubicBezTo>
                      <a:pt x="107" y="151"/>
                      <a:pt x="104" y="150"/>
                      <a:pt x="102" y="148"/>
                    </a:cubicBezTo>
                    <a:cubicBezTo>
                      <a:pt x="101" y="147"/>
                      <a:pt x="101" y="147"/>
                      <a:pt x="101" y="147"/>
                    </a:cubicBezTo>
                    <a:cubicBezTo>
                      <a:pt x="99" y="145"/>
                      <a:pt x="99" y="142"/>
                      <a:pt x="101" y="140"/>
                    </a:cubicBezTo>
                    <a:cubicBezTo>
                      <a:pt x="99" y="142"/>
                      <a:pt x="95" y="141"/>
                      <a:pt x="93" y="139"/>
                    </a:cubicBezTo>
                    <a:cubicBezTo>
                      <a:pt x="92" y="139"/>
                      <a:pt x="92" y="139"/>
                      <a:pt x="92" y="139"/>
                    </a:cubicBezTo>
                    <a:cubicBezTo>
                      <a:pt x="90" y="136"/>
                      <a:pt x="90" y="132"/>
                      <a:pt x="92" y="130"/>
                    </a:cubicBezTo>
                    <a:cubicBezTo>
                      <a:pt x="105" y="118"/>
                      <a:pt x="105" y="118"/>
                      <a:pt x="105" y="118"/>
                    </a:cubicBezTo>
                    <a:cubicBezTo>
                      <a:pt x="106" y="117"/>
                      <a:pt x="107" y="116"/>
                      <a:pt x="109" y="116"/>
                    </a:cubicBezTo>
                    <a:close/>
                    <a:moveTo>
                      <a:pt x="134" y="109"/>
                    </a:moveTo>
                    <a:cubicBezTo>
                      <a:pt x="172" y="148"/>
                      <a:pt x="172" y="148"/>
                      <a:pt x="172" y="148"/>
                    </a:cubicBezTo>
                    <a:cubicBezTo>
                      <a:pt x="177" y="153"/>
                      <a:pt x="177" y="160"/>
                      <a:pt x="172" y="165"/>
                    </a:cubicBezTo>
                    <a:cubicBezTo>
                      <a:pt x="166" y="172"/>
                      <a:pt x="166" y="172"/>
                      <a:pt x="166" y="172"/>
                    </a:cubicBezTo>
                    <a:cubicBezTo>
                      <a:pt x="161" y="177"/>
                      <a:pt x="153" y="177"/>
                      <a:pt x="148" y="172"/>
                    </a:cubicBezTo>
                    <a:cubicBezTo>
                      <a:pt x="140" y="164"/>
                      <a:pt x="140" y="164"/>
                      <a:pt x="140" y="164"/>
                    </a:cubicBezTo>
                    <a:cubicBezTo>
                      <a:pt x="147" y="156"/>
                      <a:pt x="147" y="156"/>
                      <a:pt x="147" y="156"/>
                    </a:cubicBezTo>
                    <a:cubicBezTo>
                      <a:pt x="149" y="153"/>
                      <a:pt x="152" y="142"/>
                      <a:pt x="139" y="136"/>
                    </a:cubicBezTo>
                    <a:cubicBezTo>
                      <a:pt x="138" y="133"/>
                      <a:pt x="135" y="128"/>
                      <a:pt x="131" y="127"/>
                    </a:cubicBezTo>
                    <a:cubicBezTo>
                      <a:pt x="130" y="125"/>
                      <a:pt x="128" y="122"/>
                      <a:pt x="124" y="120"/>
                    </a:cubicBezTo>
                    <a:cubicBezTo>
                      <a:pt x="128" y="118"/>
                      <a:pt x="131" y="115"/>
                      <a:pt x="134" y="109"/>
                    </a:cubicBezTo>
                    <a:close/>
                    <a:moveTo>
                      <a:pt x="154" y="78"/>
                    </a:moveTo>
                    <a:cubicBezTo>
                      <a:pt x="156" y="78"/>
                      <a:pt x="158" y="79"/>
                      <a:pt x="160" y="81"/>
                    </a:cubicBezTo>
                    <a:cubicBezTo>
                      <a:pt x="182" y="104"/>
                      <a:pt x="182" y="104"/>
                      <a:pt x="182" y="104"/>
                    </a:cubicBezTo>
                    <a:cubicBezTo>
                      <a:pt x="185" y="106"/>
                      <a:pt x="184" y="109"/>
                      <a:pt x="183" y="111"/>
                    </a:cubicBezTo>
                    <a:cubicBezTo>
                      <a:pt x="164" y="130"/>
                      <a:pt x="164" y="130"/>
                      <a:pt x="164" y="130"/>
                    </a:cubicBezTo>
                    <a:cubicBezTo>
                      <a:pt x="131" y="97"/>
                      <a:pt x="131" y="97"/>
                      <a:pt x="131" y="97"/>
                    </a:cubicBezTo>
                    <a:cubicBezTo>
                      <a:pt x="128" y="104"/>
                      <a:pt x="128" y="104"/>
                      <a:pt x="128" y="104"/>
                    </a:cubicBezTo>
                    <a:cubicBezTo>
                      <a:pt x="128" y="104"/>
                      <a:pt x="128" y="104"/>
                      <a:pt x="128" y="104"/>
                    </a:cubicBezTo>
                    <a:cubicBezTo>
                      <a:pt x="128" y="105"/>
                      <a:pt x="128" y="105"/>
                      <a:pt x="128" y="105"/>
                    </a:cubicBezTo>
                    <a:cubicBezTo>
                      <a:pt x="127" y="107"/>
                      <a:pt x="127" y="109"/>
                      <a:pt x="126" y="110"/>
                    </a:cubicBezTo>
                    <a:cubicBezTo>
                      <a:pt x="126" y="110"/>
                      <a:pt x="126" y="110"/>
                      <a:pt x="126" y="110"/>
                    </a:cubicBezTo>
                    <a:cubicBezTo>
                      <a:pt x="125" y="110"/>
                      <a:pt x="125" y="110"/>
                      <a:pt x="125" y="110"/>
                    </a:cubicBezTo>
                    <a:cubicBezTo>
                      <a:pt x="124" y="112"/>
                      <a:pt x="123" y="113"/>
                      <a:pt x="121" y="114"/>
                    </a:cubicBezTo>
                    <a:cubicBezTo>
                      <a:pt x="113" y="116"/>
                      <a:pt x="111" y="111"/>
                      <a:pt x="112" y="107"/>
                    </a:cubicBezTo>
                    <a:cubicBezTo>
                      <a:pt x="117" y="94"/>
                      <a:pt x="117" y="94"/>
                      <a:pt x="117" y="94"/>
                    </a:cubicBezTo>
                    <a:cubicBezTo>
                      <a:pt x="117" y="93"/>
                      <a:pt x="117" y="93"/>
                      <a:pt x="117" y="93"/>
                    </a:cubicBezTo>
                    <a:cubicBezTo>
                      <a:pt x="117" y="93"/>
                      <a:pt x="117" y="93"/>
                      <a:pt x="117" y="93"/>
                    </a:cubicBezTo>
                    <a:cubicBezTo>
                      <a:pt x="121" y="84"/>
                      <a:pt x="121" y="84"/>
                      <a:pt x="121" y="84"/>
                    </a:cubicBezTo>
                    <a:cubicBezTo>
                      <a:pt x="122" y="82"/>
                      <a:pt x="124" y="80"/>
                      <a:pt x="127" y="79"/>
                    </a:cubicBezTo>
                    <a:lnTo>
                      <a:pt x="154" y="78"/>
                    </a:lnTo>
                    <a:close/>
                    <a:moveTo>
                      <a:pt x="167" y="67"/>
                    </a:moveTo>
                    <a:cubicBezTo>
                      <a:pt x="169" y="67"/>
                      <a:pt x="170" y="67"/>
                      <a:pt x="171" y="68"/>
                    </a:cubicBezTo>
                    <a:cubicBezTo>
                      <a:pt x="194" y="91"/>
                      <a:pt x="194" y="91"/>
                      <a:pt x="194" y="91"/>
                    </a:cubicBezTo>
                    <a:cubicBezTo>
                      <a:pt x="196" y="93"/>
                      <a:pt x="196" y="97"/>
                      <a:pt x="194" y="99"/>
                    </a:cubicBezTo>
                    <a:cubicBezTo>
                      <a:pt x="192" y="101"/>
                      <a:pt x="192" y="101"/>
                      <a:pt x="192" y="101"/>
                    </a:cubicBezTo>
                    <a:cubicBezTo>
                      <a:pt x="190" y="103"/>
                      <a:pt x="186" y="103"/>
                      <a:pt x="184" y="101"/>
                    </a:cubicBezTo>
                    <a:cubicBezTo>
                      <a:pt x="161" y="78"/>
                      <a:pt x="161" y="78"/>
                      <a:pt x="161" y="78"/>
                    </a:cubicBezTo>
                    <a:cubicBezTo>
                      <a:pt x="159" y="76"/>
                      <a:pt x="159" y="73"/>
                      <a:pt x="161" y="70"/>
                    </a:cubicBezTo>
                    <a:cubicBezTo>
                      <a:pt x="163" y="68"/>
                      <a:pt x="163" y="68"/>
                      <a:pt x="163" y="68"/>
                    </a:cubicBezTo>
                    <a:cubicBezTo>
                      <a:pt x="164" y="67"/>
                      <a:pt x="166" y="67"/>
                      <a:pt x="167" y="67"/>
                    </a:cubicBezTo>
                    <a:close/>
                    <a:moveTo>
                      <a:pt x="35" y="33"/>
                    </a:moveTo>
                    <a:cubicBezTo>
                      <a:pt x="39" y="33"/>
                      <a:pt x="39" y="37"/>
                      <a:pt x="39" y="39"/>
                    </a:cubicBezTo>
                    <a:cubicBezTo>
                      <a:pt x="36" y="43"/>
                      <a:pt x="29" y="50"/>
                      <a:pt x="35" y="66"/>
                    </a:cubicBezTo>
                    <a:cubicBezTo>
                      <a:pt x="35" y="69"/>
                      <a:pt x="33" y="72"/>
                      <a:pt x="29" y="70"/>
                    </a:cubicBezTo>
                    <a:cubicBezTo>
                      <a:pt x="19" y="54"/>
                      <a:pt x="29" y="38"/>
                      <a:pt x="33" y="33"/>
                    </a:cubicBezTo>
                    <a:cubicBezTo>
                      <a:pt x="34" y="33"/>
                      <a:pt x="34" y="33"/>
                      <a:pt x="35" y="33"/>
                    </a:cubicBezTo>
                    <a:close/>
                    <a:moveTo>
                      <a:pt x="56" y="16"/>
                    </a:moveTo>
                    <a:cubicBezTo>
                      <a:pt x="34" y="16"/>
                      <a:pt x="16" y="34"/>
                      <a:pt x="16" y="56"/>
                    </a:cubicBezTo>
                    <a:cubicBezTo>
                      <a:pt x="16" y="77"/>
                      <a:pt x="34" y="95"/>
                      <a:pt x="56" y="95"/>
                    </a:cubicBezTo>
                    <a:cubicBezTo>
                      <a:pt x="77" y="95"/>
                      <a:pt x="95" y="77"/>
                      <a:pt x="95" y="56"/>
                    </a:cubicBezTo>
                    <a:cubicBezTo>
                      <a:pt x="95" y="34"/>
                      <a:pt x="77" y="16"/>
                      <a:pt x="56" y="16"/>
                    </a:cubicBezTo>
                    <a:close/>
                    <a:moveTo>
                      <a:pt x="56" y="0"/>
                    </a:moveTo>
                    <a:cubicBezTo>
                      <a:pt x="86" y="0"/>
                      <a:pt x="111" y="25"/>
                      <a:pt x="111" y="56"/>
                    </a:cubicBezTo>
                    <a:cubicBezTo>
                      <a:pt x="111" y="65"/>
                      <a:pt x="109" y="73"/>
                      <a:pt x="105" y="81"/>
                    </a:cubicBezTo>
                    <a:cubicBezTo>
                      <a:pt x="105" y="81"/>
                      <a:pt x="106" y="82"/>
                      <a:pt x="106" y="82"/>
                    </a:cubicBezTo>
                    <a:cubicBezTo>
                      <a:pt x="112" y="88"/>
                      <a:pt x="112" y="88"/>
                      <a:pt x="112" y="88"/>
                    </a:cubicBezTo>
                    <a:cubicBezTo>
                      <a:pt x="109" y="96"/>
                      <a:pt x="104" y="106"/>
                      <a:pt x="105" y="110"/>
                    </a:cubicBezTo>
                    <a:cubicBezTo>
                      <a:pt x="100" y="111"/>
                      <a:pt x="97" y="115"/>
                      <a:pt x="94" y="118"/>
                    </a:cubicBezTo>
                    <a:cubicBezTo>
                      <a:pt x="82" y="106"/>
                      <a:pt x="82" y="106"/>
                      <a:pt x="82" y="106"/>
                    </a:cubicBezTo>
                    <a:cubicBezTo>
                      <a:pt x="81" y="105"/>
                      <a:pt x="81" y="105"/>
                      <a:pt x="81" y="105"/>
                    </a:cubicBezTo>
                    <a:cubicBezTo>
                      <a:pt x="73" y="109"/>
                      <a:pt x="65" y="111"/>
                      <a:pt x="56" y="111"/>
                    </a:cubicBezTo>
                    <a:cubicBezTo>
                      <a:pt x="25" y="111"/>
                      <a:pt x="0" y="86"/>
                      <a:pt x="0" y="56"/>
                    </a:cubicBezTo>
                    <a:cubicBezTo>
                      <a:pt x="0" y="25"/>
                      <a:pt x="25" y="0"/>
                      <a:pt x="56" y="0"/>
                    </a:cubicBez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0" name="Freeform 227"/>
              <p:cNvSpPr>
                <a:spLocks/>
              </p:cNvSpPr>
              <p:nvPr/>
            </p:nvSpPr>
            <p:spPr bwMode="auto">
              <a:xfrm rot="5400000">
                <a:off x="11575277" y="352539"/>
                <a:ext cx="135346" cy="141859"/>
              </a:xfrm>
              <a:custGeom>
                <a:avLst/>
                <a:gdLst>
                  <a:gd name="T0" fmla="*/ 0 w 93"/>
                  <a:gd name="T1" fmla="*/ 23 h 94"/>
                  <a:gd name="T2" fmla="*/ 46 w 93"/>
                  <a:gd name="T3" fmla="*/ 23 h 94"/>
                  <a:gd name="T4" fmla="*/ 46 w 93"/>
                  <a:gd name="T5" fmla="*/ 0 h 94"/>
                  <a:gd name="T6" fmla="*/ 93 w 93"/>
                  <a:gd name="T7" fmla="*/ 47 h 94"/>
                  <a:gd name="T8" fmla="*/ 46 w 93"/>
                  <a:gd name="T9" fmla="*/ 94 h 94"/>
                  <a:gd name="T10" fmla="*/ 46 w 93"/>
                  <a:gd name="T11" fmla="*/ 71 h 94"/>
                  <a:gd name="T12" fmla="*/ 0 w 93"/>
                  <a:gd name="T13" fmla="*/ 71 h 94"/>
                  <a:gd name="T14" fmla="*/ 0 w 93"/>
                  <a:gd name="T15" fmla="*/ 23 h 94"/>
                  <a:gd name="T16" fmla="*/ 0 w 93"/>
                  <a:gd name="T17"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4">
                    <a:moveTo>
                      <a:pt x="0" y="23"/>
                    </a:moveTo>
                    <a:lnTo>
                      <a:pt x="46" y="23"/>
                    </a:lnTo>
                    <a:lnTo>
                      <a:pt x="46" y="0"/>
                    </a:lnTo>
                    <a:lnTo>
                      <a:pt x="93" y="47"/>
                    </a:lnTo>
                    <a:lnTo>
                      <a:pt x="46" y="94"/>
                    </a:lnTo>
                    <a:lnTo>
                      <a:pt x="46" y="71"/>
                    </a:lnTo>
                    <a:lnTo>
                      <a:pt x="0" y="71"/>
                    </a:lnTo>
                    <a:lnTo>
                      <a:pt x="0" y="23"/>
                    </a:lnTo>
                    <a:lnTo>
                      <a:pt x="0" y="23"/>
                    </a:ln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1" name="Freeform 228"/>
              <p:cNvSpPr>
                <a:spLocks/>
              </p:cNvSpPr>
              <p:nvPr/>
            </p:nvSpPr>
            <p:spPr bwMode="auto">
              <a:xfrm rot="5400000">
                <a:off x="11081949" y="1032392"/>
                <a:ext cx="136801" cy="89039"/>
              </a:xfrm>
              <a:custGeom>
                <a:avLst/>
                <a:gdLst>
                  <a:gd name="T0" fmla="*/ 94 w 94"/>
                  <a:gd name="T1" fmla="*/ 15 h 59"/>
                  <a:gd name="T2" fmla="*/ 30 w 94"/>
                  <a:gd name="T3" fmla="*/ 15 h 59"/>
                  <a:gd name="T4" fmla="*/ 30 w 94"/>
                  <a:gd name="T5" fmla="*/ 0 h 59"/>
                  <a:gd name="T6" fmla="*/ 0 w 94"/>
                  <a:gd name="T7" fmla="*/ 29 h 59"/>
                  <a:gd name="T8" fmla="*/ 30 w 94"/>
                  <a:gd name="T9" fmla="*/ 59 h 59"/>
                  <a:gd name="T10" fmla="*/ 30 w 94"/>
                  <a:gd name="T11" fmla="*/ 44 h 59"/>
                  <a:gd name="T12" fmla="*/ 94 w 94"/>
                  <a:gd name="T13" fmla="*/ 44 h 59"/>
                  <a:gd name="T14" fmla="*/ 94 w 94"/>
                  <a:gd name="T15" fmla="*/ 15 h 59"/>
                  <a:gd name="T16" fmla="*/ 94 w 94"/>
                  <a:gd name="T17"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59">
                    <a:moveTo>
                      <a:pt x="94" y="15"/>
                    </a:moveTo>
                    <a:lnTo>
                      <a:pt x="30" y="15"/>
                    </a:lnTo>
                    <a:lnTo>
                      <a:pt x="30" y="0"/>
                    </a:lnTo>
                    <a:lnTo>
                      <a:pt x="0" y="29"/>
                    </a:lnTo>
                    <a:lnTo>
                      <a:pt x="30" y="59"/>
                    </a:lnTo>
                    <a:lnTo>
                      <a:pt x="30" y="44"/>
                    </a:lnTo>
                    <a:lnTo>
                      <a:pt x="94" y="44"/>
                    </a:lnTo>
                    <a:lnTo>
                      <a:pt x="94" y="15"/>
                    </a:lnTo>
                    <a:lnTo>
                      <a:pt x="94" y="15"/>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2" name="Rectangle 691"/>
              <p:cNvSpPr>
                <a:spLocks noChangeArrowheads="1"/>
              </p:cNvSpPr>
              <p:nvPr/>
            </p:nvSpPr>
            <p:spPr bwMode="auto">
              <a:xfrm rot="5400000">
                <a:off x="10574637" y="94138"/>
                <a:ext cx="82954" cy="37728"/>
              </a:xfrm>
              <a:prstGeom prst="rect">
                <a:avLst/>
              </a:prstGeom>
              <a:solidFill>
                <a:srgbClr val="028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3" name="Freeform 230"/>
              <p:cNvSpPr>
                <a:spLocks/>
              </p:cNvSpPr>
              <p:nvPr/>
            </p:nvSpPr>
            <p:spPr bwMode="auto">
              <a:xfrm rot="5400000">
                <a:off x="10579003" y="-4768"/>
                <a:ext cx="74222" cy="116203"/>
              </a:xfrm>
              <a:custGeom>
                <a:avLst/>
                <a:gdLst>
                  <a:gd name="T0" fmla="*/ 51 w 51"/>
                  <a:gd name="T1" fmla="*/ 77 h 77"/>
                  <a:gd name="T2" fmla="*/ 0 w 51"/>
                  <a:gd name="T3" fmla="*/ 38 h 77"/>
                  <a:gd name="T4" fmla="*/ 51 w 51"/>
                  <a:gd name="T5" fmla="*/ 0 h 77"/>
                  <a:gd name="T6" fmla="*/ 51 w 51"/>
                  <a:gd name="T7" fmla="*/ 77 h 77"/>
                  <a:gd name="T8" fmla="*/ 51 w 51"/>
                  <a:gd name="T9" fmla="*/ 77 h 77"/>
                </a:gdLst>
                <a:ahLst/>
                <a:cxnLst>
                  <a:cxn ang="0">
                    <a:pos x="T0" y="T1"/>
                  </a:cxn>
                  <a:cxn ang="0">
                    <a:pos x="T2" y="T3"/>
                  </a:cxn>
                  <a:cxn ang="0">
                    <a:pos x="T4" y="T5"/>
                  </a:cxn>
                  <a:cxn ang="0">
                    <a:pos x="T6" y="T7"/>
                  </a:cxn>
                  <a:cxn ang="0">
                    <a:pos x="T8" y="T9"/>
                  </a:cxn>
                </a:cxnLst>
                <a:rect l="0" t="0" r="r" b="b"/>
                <a:pathLst>
                  <a:path w="51" h="77">
                    <a:moveTo>
                      <a:pt x="51" y="77"/>
                    </a:moveTo>
                    <a:lnTo>
                      <a:pt x="0" y="38"/>
                    </a:lnTo>
                    <a:lnTo>
                      <a:pt x="51" y="0"/>
                    </a:lnTo>
                    <a:lnTo>
                      <a:pt x="51" y="77"/>
                    </a:lnTo>
                    <a:lnTo>
                      <a:pt x="51" y="77"/>
                    </a:lnTo>
                    <a:close/>
                  </a:path>
                </a:pathLst>
              </a:custGeom>
              <a:solidFill>
                <a:srgbClr val="028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4" name="Freeform 231"/>
              <p:cNvSpPr>
                <a:spLocks noEditPoints="1"/>
              </p:cNvSpPr>
              <p:nvPr/>
            </p:nvSpPr>
            <p:spPr bwMode="auto">
              <a:xfrm rot="5400000">
                <a:off x="11289644" y="565473"/>
                <a:ext cx="106240" cy="75457"/>
              </a:xfrm>
              <a:custGeom>
                <a:avLst/>
                <a:gdLst>
                  <a:gd name="T0" fmla="*/ 41 w 73"/>
                  <a:gd name="T1" fmla="*/ 0 h 50"/>
                  <a:gd name="T2" fmla="*/ 41 w 73"/>
                  <a:gd name="T3" fmla="*/ 50 h 50"/>
                  <a:gd name="T4" fmla="*/ 73 w 73"/>
                  <a:gd name="T5" fmla="*/ 26 h 50"/>
                  <a:gd name="T6" fmla="*/ 41 w 73"/>
                  <a:gd name="T7" fmla="*/ 0 h 50"/>
                  <a:gd name="T8" fmla="*/ 41 w 73"/>
                  <a:gd name="T9" fmla="*/ 0 h 50"/>
                  <a:gd name="T10" fmla="*/ 41 w 73"/>
                  <a:gd name="T11" fmla="*/ 0 h 50"/>
                  <a:gd name="T12" fmla="*/ 32 w 73"/>
                  <a:gd name="T13" fmla="*/ 26 h 50"/>
                  <a:gd name="T14" fmla="*/ 0 w 73"/>
                  <a:gd name="T15" fmla="*/ 50 h 50"/>
                  <a:gd name="T16" fmla="*/ 0 w 73"/>
                  <a:gd name="T17" fmla="*/ 0 h 50"/>
                  <a:gd name="T18" fmla="*/ 32 w 73"/>
                  <a:gd name="T19" fmla="*/ 26 h 50"/>
                  <a:gd name="T20" fmla="*/ 32 w 73"/>
                  <a:gd name="T21" fmla="*/ 26 h 50"/>
                  <a:gd name="T22" fmla="*/ 32 w 73"/>
                  <a:gd name="T23"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0">
                    <a:moveTo>
                      <a:pt x="41" y="0"/>
                    </a:moveTo>
                    <a:lnTo>
                      <a:pt x="41" y="50"/>
                    </a:lnTo>
                    <a:lnTo>
                      <a:pt x="73" y="26"/>
                    </a:lnTo>
                    <a:lnTo>
                      <a:pt x="41" y="0"/>
                    </a:lnTo>
                    <a:lnTo>
                      <a:pt x="41" y="0"/>
                    </a:lnTo>
                    <a:lnTo>
                      <a:pt x="41" y="0"/>
                    </a:lnTo>
                    <a:close/>
                    <a:moveTo>
                      <a:pt x="32" y="26"/>
                    </a:moveTo>
                    <a:lnTo>
                      <a:pt x="0" y="50"/>
                    </a:lnTo>
                    <a:lnTo>
                      <a:pt x="0" y="0"/>
                    </a:lnTo>
                    <a:lnTo>
                      <a:pt x="32" y="26"/>
                    </a:lnTo>
                    <a:lnTo>
                      <a:pt x="32" y="26"/>
                    </a:lnTo>
                    <a:lnTo>
                      <a:pt x="32" y="26"/>
                    </a:ln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695" name="Group 694"/>
              <p:cNvGrpSpPr/>
              <p:nvPr/>
            </p:nvGrpSpPr>
            <p:grpSpPr>
              <a:xfrm rot="16200000">
                <a:off x="10598188" y="1571960"/>
                <a:ext cx="313901" cy="133891"/>
                <a:chOff x="10648560" y="1439289"/>
                <a:chExt cx="313901" cy="133891"/>
              </a:xfrm>
            </p:grpSpPr>
            <p:sp>
              <p:nvSpPr>
                <p:cNvPr id="715" name="Freeform 233"/>
                <p:cNvSpPr>
                  <a:spLocks noEditPoints="1"/>
                </p:cNvSpPr>
                <p:nvPr/>
              </p:nvSpPr>
              <p:spPr bwMode="auto">
                <a:xfrm rot="5400000">
                  <a:off x="10847925" y="1485053"/>
                  <a:ext cx="90231" cy="45274"/>
                </a:xfrm>
                <a:custGeom>
                  <a:avLst/>
                  <a:gdLst>
                    <a:gd name="T0" fmla="*/ 0 w 83"/>
                    <a:gd name="T1" fmla="*/ 21 h 39"/>
                    <a:gd name="T2" fmla="*/ 0 w 83"/>
                    <a:gd name="T3" fmla="*/ 21 h 39"/>
                    <a:gd name="T4" fmla="*/ 0 w 83"/>
                    <a:gd name="T5" fmla="*/ 21 h 39"/>
                    <a:gd name="T6" fmla="*/ 32 w 83"/>
                    <a:gd name="T7" fmla="*/ 0 h 39"/>
                    <a:gd name="T8" fmla="*/ 42 w 83"/>
                    <a:gd name="T9" fmla="*/ 16 h 39"/>
                    <a:gd name="T10" fmla="*/ 51 w 83"/>
                    <a:gd name="T11" fmla="*/ 0 h 39"/>
                    <a:gd name="T12" fmla="*/ 64 w 83"/>
                    <a:gd name="T13" fmla="*/ 3 h 39"/>
                    <a:gd name="T14" fmla="*/ 83 w 83"/>
                    <a:gd name="T15" fmla="*/ 21 h 39"/>
                    <a:gd name="T16" fmla="*/ 83 w 83"/>
                    <a:gd name="T17" fmla="*/ 21 h 39"/>
                    <a:gd name="T18" fmla="*/ 64 w 83"/>
                    <a:gd name="T19" fmla="*/ 39 h 39"/>
                    <a:gd name="T20" fmla="*/ 19 w 83"/>
                    <a:gd name="T21" fmla="*/ 39 h 39"/>
                    <a:gd name="T22" fmla="*/ 0 w 83"/>
                    <a:gd name="T23" fmla="*/ 21 h 39"/>
                    <a:gd name="T24" fmla="*/ 19 w 83"/>
                    <a:gd name="T25" fmla="*/ 3 h 39"/>
                    <a:gd name="T26" fmla="*/ 32 w 83"/>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39">
                      <a:moveTo>
                        <a:pt x="0" y="21"/>
                      </a:moveTo>
                      <a:cubicBezTo>
                        <a:pt x="0" y="21"/>
                        <a:pt x="0" y="21"/>
                        <a:pt x="0" y="21"/>
                      </a:cubicBezTo>
                      <a:cubicBezTo>
                        <a:pt x="0" y="21"/>
                        <a:pt x="0" y="21"/>
                        <a:pt x="0" y="21"/>
                      </a:cubicBezTo>
                      <a:close/>
                      <a:moveTo>
                        <a:pt x="32" y="0"/>
                      </a:moveTo>
                      <a:cubicBezTo>
                        <a:pt x="42" y="16"/>
                        <a:pt x="42" y="16"/>
                        <a:pt x="42" y="16"/>
                      </a:cubicBezTo>
                      <a:cubicBezTo>
                        <a:pt x="51" y="0"/>
                        <a:pt x="51" y="0"/>
                        <a:pt x="51" y="0"/>
                      </a:cubicBezTo>
                      <a:cubicBezTo>
                        <a:pt x="55" y="1"/>
                        <a:pt x="60" y="3"/>
                        <a:pt x="64" y="3"/>
                      </a:cubicBezTo>
                      <a:cubicBezTo>
                        <a:pt x="74" y="3"/>
                        <a:pt x="83" y="11"/>
                        <a:pt x="83" y="21"/>
                      </a:cubicBezTo>
                      <a:cubicBezTo>
                        <a:pt x="83" y="21"/>
                        <a:pt x="83" y="21"/>
                        <a:pt x="83" y="21"/>
                      </a:cubicBezTo>
                      <a:cubicBezTo>
                        <a:pt x="83" y="31"/>
                        <a:pt x="74" y="39"/>
                        <a:pt x="64" y="39"/>
                      </a:cubicBezTo>
                      <a:cubicBezTo>
                        <a:pt x="19" y="39"/>
                        <a:pt x="19" y="39"/>
                        <a:pt x="19" y="39"/>
                      </a:cubicBezTo>
                      <a:cubicBezTo>
                        <a:pt x="9" y="39"/>
                        <a:pt x="0" y="31"/>
                        <a:pt x="0" y="21"/>
                      </a:cubicBezTo>
                      <a:cubicBezTo>
                        <a:pt x="0" y="11"/>
                        <a:pt x="9" y="3"/>
                        <a:pt x="19" y="3"/>
                      </a:cubicBezTo>
                      <a:cubicBezTo>
                        <a:pt x="23" y="3"/>
                        <a:pt x="28" y="1"/>
                        <a:pt x="32" y="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716" name="Group 715"/>
                <p:cNvGrpSpPr/>
                <p:nvPr/>
              </p:nvGrpSpPr>
              <p:grpSpPr>
                <a:xfrm>
                  <a:off x="10648560" y="1439289"/>
                  <a:ext cx="313901" cy="133891"/>
                  <a:chOff x="10648560" y="1439289"/>
                  <a:chExt cx="313901" cy="133891"/>
                </a:xfrm>
              </p:grpSpPr>
              <p:sp>
                <p:nvSpPr>
                  <p:cNvPr id="717" name="Oval 716"/>
                  <p:cNvSpPr>
                    <a:spLocks noChangeArrowheads="1"/>
                  </p:cNvSpPr>
                  <p:nvPr/>
                </p:nvSpPr>
                <p:spPr bwMode="auto">
                  <a:xfrm rot="5400000">
                    <a:off x="10921632" y="1484325"/>
                    <a:ext cx="36384" cy="45274"/>
                  </a:xfrm>
                  <a:prstGeom prst="ellipse">
                    <a:avLst/>
                  </a:pr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8" name="Freeform 234"/>
                  <p:cNvSpPr>
                    <a:spLocks/>
                  </p:cNvSpPr>
                  <p:nvPr/>
                </p:nvSpPr>
                <p:spPr bwMode="auto">
                  <a:xfrm rot="5400000">
                    <a:off x="10790256" y="1459397"/>
                    <a:ext cx="72767" cy="96585"/>
                  </a:xfrm>
                  <a:custGeom>
                    <a:avLst/>
                    <a:gdLst>
                      <a:gd name="T0" fmla="*/ 0 w 67"/>
                      <a:gd name="T1" fmla="*/ 0 h 85"/>
                      <a:gd name="T2" fmla="*/ 67 w 67"/>
                      <a:gd name="T3" fmla="*/ 0 h 85"/>
                      <a:gd name="T4" fmla="*/ 67 w 67"/>
                      <a:gd name="T5" fmla="*/ 23 h 85"/>
                      <a:gd name="T6" fmla="*/ 56 w 67"/>
                      <a:gd name="T7" fmla="*/ 47 h 85"/>
                      <a:gd name="T8" fmla="*/ 62 w 67"/>
                      <a:gd name="T9" fmla="*/ 62 h 85"/>
                      <a:gd name="T10" fmla="*/ 67 w 67"/>
                      <a:gd name="T11" fmla="*/ 63 h 85"/>
                      <a:gd name="T12" fmla="*/ 67 w 67"/>
                      <a:gd name="T13" fmla="*/ 71 h 85"/>
                      <a:gd name="T14" fmla="*/ 67 w 67"/>
                      <a:gd name="T15" fmla="*/ 79 h 85"/>
                      <a:gd name="T16" fmla="*/ 67 w 67"/>
                      <a:gd name="T17" fmla="*/ 85 h 85"/>
                      <a:gd name="T18" fmla="*/ 0 w 67"/>
                      <a:gd name="T19" fmla="*/ 85 h 85"/>
                      <a:gd name="T20" fmla="*/ 0 w 67"/>
                      <a:gd name="T21" fmla="*/ 79 h 85"/>
                      <a:gd name="T22" fmla="*/ 0 w 67"/>
                      <a:gd name="T23" fmla="*/ 71 h 85"/>
                      <a:gd name="T24" fmla="*/ 0 w 67"/>
                      <a:gd name="T25" fmla="*/ 63 h 85"/>
                      <a:gd name="T26" fmla="*/ 5 w 67"/>
                      <a:gd name="T27" fmla="*/ 62 h 85"/>
                      <a:gd name="T28" fmla="*/ 11 w 67"/>
                      <a:gd name="T29" fmla="*/ 47 h 85"/>
                      <a:gd name="T30" fmla="*/ 0 w 67"/>
                      <a:gd name="T31" fmla="*/ 23 h 85"/>
                      <a:gd name="T32" fmla="*/ 0 w 67"/>
                      <a:gd name="T3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85">
                        <a:moveTo>
                          <a:pt x="0" y="0"/>
                        </a:moveTo>
                        <a:cubicBezTo>
                          <a:pt x="67" y="0"/>
                          <a:pt x="67" y="0"/>
                          <a:pt x="67" y="0"/>
                        </a:cubicBezTo>
                        <a:cubicBezTo>
                          <a:pt x="67" y="23"/>
                          <a:pt x="67" y="23"/>
                          <a:pt x="67" y="23"/>
                        </a:cubicBezTo>
                        <a:cubicBezTo>
                          <a:pt x="56" y="47"/>
                          <a:pt x="56" y="47"/>
                          <a:pt x="56" y="47"/>
                        </a:cubicBezTo>
                        <a:cubicBezTo>
                          <a:pt x="54" y="52"/>
                          <a:pt x="56" y="59"/>
                          <a:pt x="62" y="62"/>
                        </a:cubicBezTo>
                        <a:cubicBezTo>
                          <a:pt x="64" y="63"/>
                          <a:pt x="66" y="63"/>
                          <a:pt x="67" y="63"/>
                        </a:cubicBezTo>
                        <a:cubicBezTo>
                          <a:pt x="67" y="71"/>
                          <a:pt x="67" y="71"/>
                          <a:pt x="67" y="71"/>
                        </a:cubicBezTo>
                        <a:cubicBezTo>
                          <a:pt x="67" y="79"/>
                          <a:pt x="67" y="79"/>
                          <a:pt x="67" y="79"/>
                        </a:cubicBezTo>
                        <a:cubicBezTo>
                          <a:pt x="67" y="85"/>
                          <a:pt x="67" y="85"/>
                          <a:pt x="67" y="85"/>
                        </a:cubicBezTo>
                        <a:cubicBezTo>
                          <a:pt x="0" y="85"/>
                          <a:pt x="0" y="85"/>
                          <a:pt x="0" y="85"/>
                        </a:cubicBezTo>
                        <a:cubicBezTo>
                          <a:pt x="0" y="79"/>
                          <a:pt x="0" y="79"/>
                          <a:pt x="0" y="79"/>
                        </a:cubicBezTo>
                        <a:cubicBezTo>
                          <a:pt x="0" y="71"/>
                          <a:pt x="0" y="71"/>
                          <a:pt x="0" y="71"/>
                        </a:cubicBezTo>
                        <a:cubicBezTo>
                          <a:pt x="0" y="63"/>
                          <a:pt x="0" y="63"/>
                          <a:pt x="0" y="63"/>
                        </a:cubicBezTo>
                        <a:cubicBezTo>
                          <a:pt x="1" y="63"/>
                          <a:pt x="3" y="63"/>
                          <a:pt x="5" y="62"/>
                        </a:cubicBezTo>
                        <a:cubicBezTo>
                          <a:pt x="11" y="59"/>
                          <a:pt x="13" y="52"/>
                          <a:pt x="11" y="47"/>
                        </a:cubicBezTo>
                        <a:cubicBezTo>
                          <a:pt x="0" y="23"/>
                          <a:pt x="0" y="23"/>
                          <a:pt x="0" y="23"/>
                        </a:cubicBezTo>
                        <a:cubicBezTo>
                          <a:pt x="0" y="0"/>
                          <a:pt x="0" y="0"/>
                          <a:pt x="0" y="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9" name="Freeform 235"/>
                  <p:cNvSpPr>
                    <a:spLocks/>
                  </p:cNvSpPr>
                  <p:nvPr/>
                </p:nvSpPr>
                <p:spPr bwMode="auto">
                  <a:xfrm rot="5400000">
                    <a:off x="10707901" y="1416331"/>
                    <a:ext cx="26196" cy="144877"/>
                  </a:xfrm>
                  <a:custGeom>
                    <a:avLst/>
                    <a:gdLst>
                      <a:gd name="T0" fmla="*/ 0 w 23"/>
                      <a:gd name="T1" fmla="*/ 12 h 127"/>
                      <a:gd name="T2" fmla="*/ 12 w 23"/>
                      <a:gd name="T3" fmla="*/ 0 h 127"/>
                      <a:gd name="T4" fmla="*/ 12 w 23"/>
                      <a:gd name="T5" fmla="*/ 0 h 127"/>
                      <a:gd name="T6" fmla="*/ 23 w 23"/>
                      <a:gd name="T7" fmla="*/ 12 h 127"/>
                      <a:gd name="T8" fmla="*/ 23 w 23"/>
                      <a:gd name="T9" fmla="*/ 115 h 127"/>
                      <a:gd name="T10" fmla="*/ 12 w 23"/>
                      <a:gd name="T11" fmla="*/ 127 h 127"/>
                      <a:gd name="T12" fmla="*/ 12 w 23"/>
                      <a:gd name="T13" fmla="*/ 127 h 127"/>
                      <a:gd name="T14" fmla="*/ 0 w 23"/>
                      <a:gd name="T15" fmla="*/ 115 h 127"/>
                      <a:gd name="T16" fmla="*/ 0 w 23"/>
                      <a:gd name="T17" fmla="*/ 1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7">
                        <a:moveTo>
                          <a:pt x="0" y="12"/>
                        </a:moveTo>
                        <a:cubicBezTo>
                          <a:pt x="0" y="6"/>
                          <a:pt x="6" y="0"/>
                          <a:pt x="12" y="0"/>
                        </a:cubicBezTo>
                        <a:cubicBezTo>
                          <a:pt x="12" y="0"/>
                          <a:pt x="12" y="0"/>
                          <a:pt x="12" y="0"/>
                        </a:cubicBezTo>
                        <a:cubicBezTo>
                          <a:pt x="18" y="0"/>
                          <a:pt x="23" y="6"/>
                          <a:pt x="23" y="12"/>
                        </a:cubicBezTo>
                        <a:cubicBezTo>
                          <a:pt x="23" y="115"/>
                          <a:pt x="23" y="115"/>
                          <a:pt x="23" y="115"/>
                        </a:cubicBezTo>
                        <a:cubicBezTo>
                          <a:pt x="23" y="121"/>
                          <a:pt x="18" y="127"/>
                          <a:pt x="12" y="127"/>
                        </a:cubicBezTo>
                        <a:cubicBezTo>
                          <a:pt x="12" y="127"/>
                          <a:pt x="12" y="127"/>
                          <a:pt x="12" y="127"/>
                        </a:cubicBezTo>
                        <a:cubicBezTo>
                          <a:pt x="6" y="127"/>
                          <a:pt x="0" y="121"/>
                          <a:pt x="0" y="115"/>
                        </a:cubicBezTo>
                        <a:lnTo>
                          <a:pt x="0" y="12"/>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0" name="Freeform 236"/>
                  <p:cNvSpPr>
                    <a:spLocks/>
                  </p:cNvSpPr>
                  <p:nvPr/>
                </p:nvSpPr>
                <p:spPr bwMode="auto">
                  <a:xfrm rot="5400000">
                    <a:off x="10708629" y="1453442"/>
                    <a:ext cx="24741" cy="144877"/>
                  </a:xfrm>
                  <a:custGeom>
                    <a:avLst/>
                    <a:gdLst>
                      <a:gd name="T0" fmla="*/ 0 w 23"/>
                      <a:gd name="T1" fmla="*/ 12 h 127"/>
                      <a:gd name="T2" fmla="*/ 11 w 23"/>
                      <a:gd name="T3" fmla="*/ 0 h 127"/>
                      <a:gd name="T4" fmla="*/ 11 w 23"/>
                      <a:gd name="T5" fmla="*/ 0 h 127"/>
                      <a:gd name="T6" fmla="*/ 23 w 23"/>
                      <a:gd name="T7" fmla="*/ 12 h 127"/>
                      <a:gd name="T8" fmla="*/ 23 w 23"/>
                      <a:gd name="T9" fmla="*/ 115 h 127"/>
                      <a:gd name="T10" fmla="*/ 11 w 23"/>
                      <a:gd name="T11" fmla="*/ 127 h 127"/>
                      <a:gd name="T12" fmla="*/ 11 w 23"/>
                      <a:gd name="T13" fmla="*/ 127 h 127"/>
                      <a:gd name="T14" fmla="*/ 0 w 23"/>
                      <a:gd name="T15" fmla="*/ 115 h 127"/>
                      <a:gd name="T16" fmla="*/ 0 w 23"/>
                      <a:gd name="T17" fmla="*/ 1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27">
                        <a:moveTo>
                          <a:pt x="0" y="12"/>
                        </a:moveTo>
                        <a:cubicBezTo>
                          <a:pt x="0" y="6"/>
                          <a:pt x="5" y="0"/>
                          <a:pt x="11" y="0"/>
                        </a:cubicBezTo>
                        <a:cubicBezTo>
                          <a:pt x="11" y="0"/>
                          <a:pt x="11" y="0"/>
                          <a:pt x="11" y="0"/>
                        </a:cubicBezTo>
                        <a:cubicBezTo>
                          <a:pt x="17" y="0"/>
                          <a:pt x="23" y="6"/>
                          <a:pt x="23" y="12"/>
                        </a:cubicBezTo>
                        <a:cubicBezTo>
                          <a:pt x="23" y="115"/>
                          <a:pt x="23" y="115"/>
                          <a:pt x="23" y="115"/>
                        </a:cubicBezTo>
                        <a:cubicBezTo>
                          <a:pt x="23" y="121"/>
                          <a:pt x="17" y="127"/>
                          <a:pt x="11" y="127"/>
                        </a:cubicBezTo>
                        <a:cubicBezTo>
                          <a:pt x="11" y="127"/>
                          <a:pt x="11" y="127"/>
                          <a:pt x="11" y="127"/>
                        </a:cubicBezTo>
                        <a:cubicBezTo>
                          <a:pt x="5" y="127"/>
                          <a:pt x="0" y="121"/>
                          <a:pt x="0" y="115"/>
                        </a:cubicBezTo>
                        <a:lnTo>
                          <a:pt x="0" y="12"/>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1" name="Freeform 237"/>
                  <p:cNvSpPr>
                    <a:spLocks/>
                  </p:cNvSpPr>
                  <p:nvPr/>
                </p:nvSpPr>
                <p:spPr bwMode="auto">
                  <a:xfrm rot="5400000">
                    <a:off x="10853883" y="1518930"/>
                    <a:ext cx="45116" cy="63384"/>
                  </a:xfrm>
                  <a:custGeom>
                    <a:avLst/>
                    <a:gdLst>
                      <a:gd name="T0" fmla="*/ 3 w 41"/>
                      <a:gd name="T1" fmla="*/ 15 h 56"/>
                      <a:gd name="T2" fmla="*/ 6 w 41"/>
                      <a:gd name="T3" fmla="*/ 2 h 56"/>
                      <a:gd name="T4" fmla="*/ 6 w 41"/>
                      <a:gd name="T5" fmla="*/ 2 h 56"/>
                      <a:gd name="T6" fmla="*/ 19 w 41"/>
                      <a:gd name="T7" fmla="*/ 6 h 56"/>
                      <a:gd name="T8" fmla="*/ 39 w 41"/>
                      <a:gd name="T9" fmla="*/ 40 h 56"/>
                      <a:gd name="T10" fmla="*/ 35 w 41"/>
                      <a:gd name="T11" fmla="*/ 53 h 56"/>
                      <a:gd name="T12" fmla="*/ 35 w 41"/>
                      <a:gd name="T13" fmla="*/ 53 h 56"/>
                      <a:gd name="T14" fmla="*/ 23 w 41"/>
                      <a:gd name="T15" fmla="*/ 49 h 56"/>
                      <a:gd name="T16" fmla="*/ 3 w 41"/>
                      <a:gd name="T17"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6">
                        <a:moveTo>
                          <a:pt x="3" y="15"/>
                        </a:moveTo>
                        <a:cubicBezTo>
                          <a:pt x="0" y="11"/>
                          <a:pt x="2" y="5"/>
                          <a:pt x="6" y="2"/>
                        </a:cubicBezTo>
                        <a:cubicBezTo>
                          <a:pt x="6" y="2"/>
                          <a:pt x="6" y="2"/>
                          <a:pt x="6" y="2"/>
                        </a:cubicBezTo>
                        <a:cubicBezTo>
                          <a:pt x="11" y="0"/>
                          <a:pt x="17" y="1"/>
                          <a:pt x="19" y="6"/>
                        </a:cubicBezTo>
                        <a:cubicBezTo>
                          <a:pt x="39" y="40"/>
                          <a:pt x="39" y="40"/>
                          <a:pt x="39" y="40"/>
                        </a:cubicBezTo>
                        <a:cubicBezTo>
                          <a:pt x="41" y="45"/>
                          <a:pt x="40" y="50"/>
                          <a:pt x="35" y="53"/>
                        </a:cubicBezTo>
                        <a:cubicBezTo>
                          <a:pt x="35" y="53"/>
                          <a:pt x="35" y="53"/>
                          <a:pt x="35" y="53"/>
                        </a:cubicBezTo>
                        <a:cubicBezTo>
                          <a:pt x="31" y="56"/>
                          <a:pt x="25" y="54"/>
                          <a:pt x="23" y="49"/>
                        </a:cubicBezTo>
                        <a:lnTo>
                          <a:pt x="3" y="15"/>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2" name="Freeform 238"/>
                  <p:cNvSpPr>
                    <a:spLocks/>
                  </p:cNvSpPr>
                  <p:nvPr/>
                </p:nvSpPr>
                <p:spPr bwMode="auto">
                  <a:xfrm rot="5400000">
                    <a:off x="10816047" y="1523350"/>
                    <a:ext cx="39294" cy="60365"/>
                  </a:xfrm>
                  <a:custGeom>
                    <a:avLst/>
                    <a:gdLst>
                      <a:gd name="T0" fmla="*/ 19 w 36"/>
                      <a:gd name="T1" fmla="*/ 6 h 54"/>
                      <a:gd name="T2" fmla="*/ 30 w 36"/>
                      <a:gd name="T3" fmla="*/ 2 h 54"/>
                      <a:gd name="T4" fmla="*/ 30 w 36"/>
                      <a:gd name="T5" fmla="*/ 2 h 54"/>
                      <a:gd name="T6" fmla="*/ 34 w 36"/>
                      <a:gd name="T7" fmla="*/ 13 h 54"/>
                      <a:gd name="T8" fmla="*/ 18 w 36"/>
                      <a:gd name="T9" fmla="*/ 48 h 54"/>
                      <a:gd name="T10" fmla="*/ 6 w 36"/>
                      <a:gd name="T11" fmla="*/ 52 h 54"/>
                      <a:gd name="T12" fmla="*/ 6 w 36"/>
                      <a:gd name="T13" fmla="*/ 52 h 54"/>
                      <a:gd name="T14" fmla="*/ 2 w 36"/>
                      <a:gd name="T15" fmla="*/ 41 h 54"/>
                      <a:gd name="T16" fmla="*/ 19 w 36"/>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4">
                        <a:moveTo>
                          <a:pt x="19" y="6"/>
                        </a:moveTo>
                        <a:cubicBezTo>
                          <a:pt x="21" y="1"/>
                          <a:pt x="26" y="0"/>
                          <a:pt x="30" y="2"/>
                        </a:cubicBezTo>
                        <a:cubicBezTo>
                          <a:pt x="30" y="2"/>
                          <a:pt x="30" y="2"/>
                          <a:pt x="30" y="2"/>
                        </a:cubicBezTo>
                        <a:cubicBezTo>
                          <a:pt x="34" y="4"/>
                          <a:pt x="36" y="9"/>
                          <a:pt x="34" y="13"/>
                        </a:cubicBezTo>
                        <a:cubicBezTo>
                          <a:pt x="18" y="48"/>
                          <a:pt x="18" y="48"/>
                          <a:pt x="18" y="48"/>
                        </a:cubicBezTo>
                        <a:cubicBezTo>
                          <a:pt x="16" y="52"/>
                          <a:pt x="11" y="54"/>
                          <a:pt x="6" y="52"/>
                        </a:cubicBezTo>
                        <a:cubicBezTo>
                          <a:pt x="6" y="52"/>
                          <a:pt x="6" y="52"/>
                          <a:pt x="6" y="52"/>
                        </a:cubicBezTo>
                        <a:cubicBezTo>
                          <a:pt x="2" y="50"/>
                          <a:pt x="0" y="45"/>
                          <a:pt x="2" y="41"/>
                        </a:cubicBezTo>
                        <a:lnTo>
                          <a:pt x="19" y="6"/>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3" name="Freeform 239"/>
                  <p:cNvSpPr>
                    <a:spLocks/>
                  </p:cNvSpPr>
                  <p:nvPr/>
                </p:nvSpPr>
                <p:spPr bwMode="auto">
                  <a:xfrm rot="5400000">
                    <a:off x="10853155" y="1430883"/>
                    <a:ext cx="46571" cy="63384"/>
                  </a:xfrm>
                  <a:custGeom>
                    <a:avLst/>
                    <a:gdLst>
                      <a:gd name="T0" fmla="*/ 39 w 42"/>
                      <a:gd name="T1" fmla="*/ 15 h 56"/>
                      <a:gd name="T2" fmla="*/ 36 w 42"/>
                      <a:gd name="T3" fmla="*/ 2 h 56"/>
                      <a:gd name="T4" fmla="*/ 36 w 42"/>
                      <a:gd name="T5" fmla="*/ 2 h 56"/>
                      <a:gd name="T6" fmla="*/ 23 w 42"/>
                      <a:gd name="T7" fmla="*/ 6 h 56"/>
                      <a:gd name="T8" fmla="*/ 3 w 42"/>
                      <a:gd name="T9" fmla="*/ 40 h 56"/>
                      <a:gd name="T10" fmla="*/ 7 w 42"/>
                      <a:gd name="T11" fmla="*/ 53 h 56"/>
                      <a:gd name="T12" fmla="*/ 7 w 42"/>
                      <a:gd name="T13" fmla="*/ 53 h 56"/>
                      <a:gd name="T14" fmla="*/ 19 w 42"/>
                      <a:gd name="T15" fmla="*/ 49 h 56"/>
                      <a:gd name="T16" fmla="*/ 39 w 42"/>
                      <a:gd name="T17" fmla="*/ 1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6">
                        <a:moveTo>
                          <a:pt x="39" y="15"/>
                        </a:moveTo>
                        <a:cubicBezTo>
                          <a:pt x="42" y="11"/>
                          <a:pt x="40" y="5"/>
                          <a:pt x="36" y="2"/>
                        </a:cubicBezTo>
                        <a:cubicBezTo>
                          <a:pt x="36" y="2"/>
                          <a:pt x="36" y="2"/>
                          <a:pt x="36" y="2"/>
                        </a:cubicBezTo>
                        <a:cubicBezTo>
                          <a:pt x="31" y="0"/>
                          <a:pt x="25" y="1"/>
                          <a:pt x="23" y="6"/>
                        </a:cubicBezTo>
                        <a:cubicBezTo>
                          <a:pt x="3" y="40"/>
                          <a:pt x="3" y="40"/>
                          <a:pt x="3" y="40"/>
                        </a:cubicBezTo>
                        <a:cubicBezTo>
                          <a:pt x="0" y="45"/>
                          <a:pt x="2" y="50"/>
                          <a:pt x="7" y="53"/>
                        </a:cubicBezTo>
                        <a:cubicBezTo>
                          <a:pt x="7" y="53"/>
                          <a:pt x="7" y="53"/>
                          <a:pt x="7" y="53"/>
                        </a:cubicBezTo>
                        <a:cubicBezTo>
                          <a:pt x="11" y="56"/>
                          <a:pt x="17" y="54"/>
                          <a:pt x="19" y="49"/>
                        </a:cubicBezTo>
                        <a:lnTo>
                          <a:pt x="39" y="15"/>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24" name="Freeform 240"/>
                  <p:cNvSpPr>
                    <a:spLocks/>
                  </p:cNvSpPr>
                  <p:nvPr/>
                </p:nvSpPr>
                <p:spPr bwMode="auto">
                  <a:xfrm rot="5400000">
                    <a:off x="10816047" y="1431664"/>
                    <a:ext cx="39294" cy="60365"/>
                  </a:xfrm>
                  <a:custGeom>
                    <a:avLst/>
                    <a:gdLst>
                      <a:gd name="T0" fmla="*/ 17 w 36"/>
                      <a:gd name="T1" fmla="*/ 6 h 54"/>
                      <a:gd name="T2" fmla="*/ 6 w 36"/>
                      <a:gd name="T3" fmla="*/ 2 h 54"/>
                      <a:gd name="T4" fmla="*/ 6 w 36"/>
                      <a:gd name="T5" fmla="*/ 2 h 54"/>
                      <a:gd name="T6" fmla="*/ 2 w 36"/>
                      <a:gd name="T7" fmla="*/ 13 h 54"/>
                      <a:gd name="T8" fmla="*/ 18 w 36"/>
                      <a:gd name="T9" fmla="*/ 48 h 54"/>
                      <a:gd name="T10" fmla="*/ 30 w 36"/>
                      <a:gd name="T11" fmla="*/ 52 h 54"/>
                      <a:gd name="T12" fmla="*/ 30 w 36"/>
                      <a:gd name="T13" fmla="*/ 52 h 54"/>
                      <a:gd name="T14" fmla="*/ 34 w 36"/>
                      <a:gd name="T15" fmla="*/ 41 h 54"/>
                      <a:gd name="T16" fmla="*/ 17 w 36"/>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4">
                        <a:moveTo>
                          <a:pt x="17" y="6"/>
                        </a:moveTo>
                        <a:cubicBezTo>
                          <a:pt x="15" y="1"/>
                          <a:pt x="10" y="0"/>
                          <a:pt x="6" y="2"/>
                        </a:cubicBezTo>
                        <a:cubicBezTo>
                          <a:pt x="6" y="2"/>
                          <a:pt x="6" y="2"/>
                          <a:pt x="6" y="2"/>
                        </a:cubicBezTo>
                        <a:cubicBezTo>
                          <a:pt x="1" y="4"/>
                          <a:pt x="0" y="9"/>
                          <a:pt x="2" y="13"/>
                        </a:cubicBezTo>
                        <a:cubicBezTo>
                          <a:pt x="18" y="48"/>
                          <a:pt x="18" y="48"/>
                          <a:pt x="18" y="48"/>
                        </a:cubicBezTo>
                        <a:cubicBezTo>
                          <a:pt x="20" y="52"/>
                          <a:pt x="25" y="54"/>
                          <a:pt x="30" y="52"/>
                        </a:cubicBezTo>
                        <a:cubicBezTo>
                          <a:pt x="30" y="52"/>
                          <a:pt x="30" y="52"/>
                          <a:pt x="30" y="52"/>
                        </a:cubicBezTo>
                        <a:cubicBezTo>
                          <a:pt x="34" y="50"/>
                          <a:pt x="36" y="45"/>
                          <a:pt x="34" y="41"/>
                        </a:cubicBezTo>
                        <a:lnTo>
                          <a:pt x="17" y="6"/>
                        </a:ln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sp>
            <p:nvSpPr>
              <p:cNvPr id="696" name="Freeform 241"/>
              <p:cNvSpPr>
                <a:spLocks noEditPoints="1"/>
              </p:cNvSpPr>
              <p:nvPr/>
            </p:nvSpPr>
            <p:spPr bwMode="auto">
              <a:xfrm>
                <a:off x="12000421" y="1707561"/>
                <a:ext cx="104784" cy="176569"/>
              </a:xfrm>
              <a:custGeom>
                <a:avLst/>
                <a:gdLst>
                  <a:gd name="T0" fmla="*/ 82 w 95"/>
                  <a:gd name="T1" fmla="*/ 13 h 155"/>
                  <a:gd name="T2" fmla="*/ 49 w 95"/>
                  <a:gd name="T3" fmla="*/ 0 h 155"/>
                  <a:gd name="T4" fmla="*/ 16 w 95"/>
                  <a:gd name="T5" fmla="*/ 13 h 155"/>
                  <a:gd name="T6" fmla="*/ 0 w 95"/>
                  <a:gd name="T7" fmla="*/ 46 h 155"/>
                  <a:gd name="T8" fmla="*/ 8 w 95"/>
                  <a:gd name="T9" fmla="*/ 75 h 155"/>
                  <a:gd name="T10" fmla="*/ 31 w 95"/>
                  <a:gd name="T11" fmla="*/ 106 h 155"/>
                  <a:gd name="T12" fmla="*/ 45 w 95"/>
                  <a:gd name="T13" fmla="*/ 155 h 155"/>
                  <a:gd name="T14" fmla="*/ 53 w 95"/>
                  <a:gd name="T15" fmla="*/ 155 h 155"/>
                  <a:gd name="T16" fmla="*/ 72 w 95"/>
                  <a:gd name="T17" fmla="*/ 95 h 155"/>
                  <a:gd name="T18" fmla="*/ 88 w 95"/>
                  <a:gd name="T19" fmla="*/ 75 h 155"/>
                  <a:gd name="T20" fmla="*/ 95 w 95"/>
                  <a:gd name="T21" fmla="*/ 46 h 155"/>
                  <a:gd name="T22" fmla="*/ 82 w 95"/>
                  <a:gd name="T23" fmla="*/ 13 h 155"/>
                  <a:gd name="T24" fmla="*/ 49 w 95"/>
                  <a:gd name="T25" fmla="*/ 71 h 155"/>
                  <a:gd name="T26" fmla="*/ 25 w 95"/>
                  <a:gd name="T27" fmla="*/ 48 h 155"/>
                  <a:gd name="T28" fmla="*/ 49 w 95"/>
                  <a:gd name="T29" fmla="*/ 27 h 155"/>
                  <a:gd name="T30" fmla="*/ 70 w 95"/>
                  <a:gd name="T31" fmla="*/ 48 h 155"/>
                  <a:gd name="T32" fmla="*/ 49 w 95"/>
                  <a:gd name="T33" fmla="*/ 7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155">
                    <a:moveTo>
                      <a:pt x="82" y="13"/>
                    </a:moveTo>
                    <a:cubicBezTo>
                      <a:pt x="72" y="6"/>
                      <a:pt x="60" y="0"/>
                      <a:pt x="49" y="0"/>
                    </a:cubicBezTo>
                    <a:cubicBezTo>
                      <a:pt x="35" y="0"/>
                      <a:pt x="24" y="6"/>
                      <a:pt x="16" y="13"/>
                    </a:cubicBezTo>
                    <a:cubicBezTo>
                      <a:pt x="6" y="23"/>
                      <a:pt x="0" y="35"/>
                      <a:pt x="0" y="46"/>
                    </a:cubicBezTo>
                    <a:cubicBezTo>
                      <a:pt x="0" y="58"/>
                      <a:pt x="4" y="68"/>
                      <a:pt x="8" y="75"/>
                    </a:cubicBezTo>
                    <a:cubicBezTo>
                      <a:pt x="16" y="87"/>
                      <a:pt x="24" y="95"/>
                      <a:pt x="31" y="106"/>
                    </a:cubicBezTo>
                    <a:cubicBezTo>
                      <a:pt x="39" y="118"/>
                      <a:pt x="45" y="132"/>
                      <a:pt x="45" y="155"/>
                    </a:cubicBezTo>
                    <a:cubicBezTo>
                      <a:pt x="53" y="155"/>
                      <a:pt x="53" y="155"/>
                      <a:pt x="53" y="155"/>
                    </a:cubicBezTo>
                    <a:cubicBezTo>
                      <a:pt x="53" y="124"/>
                      <a:pt x="62" y="108"/>
                      <a:pt x="72" y="95"/>
                    </a:cubicBezTo>
                    <a:cubicBezTo>
                      <a:pt x="78" y="89"/>
                      <a:pt x="84" y="83"/>
                      <a:pt x="88" y="75"/>
                    </a:cubicBezTo>
                    <a:cubicBezTo>
                      <a:pt x="93" y="68"/>
                      <a:pt x="95" y="58"/>
                      <a:pt x="95" y="46"/>
                    </a:cubicBezTo>
                    <a:cubicBezTo>
                      <a:pt x="95" y="35"/>
                      <a:pt x="89" y="23"/>
                      <a:pt x="82" y="13"/>
                    </a:cubicBezTo>
                    <a:close/>
                    <a:moveTo>
                      <a:pt x="49" y="71"/>
                    </a:moveTo>
                    <a:cubicBezTo>
                      <a:pt x="35" y="71"/>
                      <a:pt x="25" y="60"/>
                      <a:pt x="25" y="48"/>
                    </a:cubicBezTo>
                    <a:cubicBezTo>
                      <a:pt x="25" y="37"/>
                      <a:pt x="35" y="27"/>
                      <a:pt x="49" y="27"/>
                    </a:cubicBezTo>
                    <a:cubicBezTo>
                      <a:pt x="60" y="27"/>
                      <a:pt x="70" y="37"/>
                      <a:pt x="70" y="48"/>
                    </a:cubicBezTo>
                    <a:cubicBezTo>
                      <a:pt x="70" y="60"/>
                      <a:pt x="60" y="71"/>
                      <a:pt x="49" y="71"/>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7" name="Freeform 242"/>
              <p:cNvSpPr>
                <a:spLocks noEditPoints="1"/>
              </p:cNvSpPr>
              <p:nvPr/>
            </p:nvSpPr>
            <p:spPr bwMode="auto">
              <a:xfrm rot="5400000">
                <a:off x="11571961" y="1163023"/>
                <a:ext cx="71312" cy="149404"/>
              </a:xfrm>
              <a:custGeom>
                <a:avLst/>
                <a:gdLst>
                  <a:gd name="T0" fmla="*/ 24 w 49"/>
                  <a:gd name="T1" fmla="*/ 82 h 99"/>
                  <a:gd name="T2" fmla="*/ 27 w 49"/>
                  <a:gd name="T3" fmla="*/ 83 h 99"/>
                  <a:gd name="T4" fmla="*/ 29 w 49"/>
                  <a:gd name="T5" fmla="*/ 86 h 99"/>
                  <a:gd name="T6" fmla="*/ 31 w 49"/>
                  <a:gd name="T7" fmla="*/ 89 h 99"/>
                  <a:gd name="T8" fmla="*/ 30 w 49"/>
                  <a:gd name="T9" fmla="*/ 93 h 99"/>
                  <a:gd name="T10" fmla="*/ 28 w 49"/>
                  <a:gd name="T11" fmla="*/ 96 h 99"/>
                  <a:gd name="T12" fmla="*/ 25 w 49"/>
                  <a:gd name="T13" fmla="*/ 98 h 99"/>
                  <a:gd name="T14" fmla="*/ 22 w 49"/>
                  <a:gd name="T15" fmla="*/ 99 h 99"/>
                  <a:gd name="T16" fmla="*/ 18 w 49"/>
                  <a:gd name="T17" fmla="*/ 99 h 99"/>
                  <a:gd name="T18" fmla="*/ 15 w 49"/>
                  <a:gd name="T19" fmla="*/ 97 h 99"/>
                  <a:gd name="T20" fmla="*/ 13 w 49"/>
                  <a:gd name="T21" fmla="*/ 94 h 99"/>
                  <a:gd name="T22" fmla="*/ 11 w 49"/>
                  <a:gd name="T23" fmla="*/ 91 h 99"/>
                  <a:gd name="T24" fmla="*/ 12 w 49"/>
                  <a:gd name="T25" fmla="*/ 88 h 99"/>
                  <a:gd name="T26" fmla="*/ 13 w 49"/>
                  <a:gd name="T27" fmla="*/ 85 h 99"/>
                  <a:gd name="T28" fmla="*/ 16 w 49"/>
                  <a:gd name="T29" fmla="*/ 82 h 99"/>
                  <a:gd name="T30" fmla="*/ 20 w 49"/>
                  <a:gd name="T31" fmla="*/ 82 h 99"/>
                  <a:gd name="T32" fmla="*/ 21 w 49"/>
                  <a:gd name="T33" fmla="*/ 82 h 99"/>
                  <a:gd name="T34" fmla="*/ 26 w 49"/>
                  <a:gd name="T35" fmla="*/ 1 h 99"/>
                  <a:gd name="T36" fmla="*/ 31 w 49"/>
                  <a:gd name="T37" fmla="*/ 2 h 99"/>
                  <a:gd name="T38" fmla="*/ 36 w 49"/>
                  <a:gd name="T39" fmla="*/ 3 h 99"/>
                  <a:gd name="T40" fmla="*/ 41 w 49"/>
                  <a:gd name="T41" fmla="*/ 5 h 99"/>
                  <a:gd name="T42" fmla="*/ 44 w 49"/>
                  <a:gd name="T43" fmla="*/ 8 h 99"/>
                  <a:gd name="T44" fmla="*/ 47 w 49"/>
                  <a:gd name="T45" fmla="*/ 12 h 99"/>
                  <a:gd name="T46" fmla="*/ 48 w 49"/>
                  <a:gd name="T47" fmla="*/ 16 h 99"/>
                  <a:gd name="T48" fmla="*/ 49 w 49"/>
                  <a:gd name="T49" fmla="*/ 21 h 99"/>
                  <a:gd name="T50" fmla="*/ 49 w 49"/>
                  <a:gd name="T51" fmla="*/ 26 h 99"/>
                  <a:gd name="T52" fmla="*/ 47 w 49"/>
                  <a:gd name="T53" fmla="*/ 30 h 99"/>
                  <a:gd name="T54" fmla="*/ 46 w 49"/>
                  <a:gd name="T55" fmla="*/ 34 h 99"/>
                  <a:gd name="T56" fmla="*/ 44 w 49"/>
                  <a:gd name="T57" fmla="*/ 38 h 99"/>
                  <a:gd name="T58" fmla="*/ 38 w 49"/>
                  <a:gd name="T59" fmla="*/ 44 h 99"/>
                  <a:gd name="T60" fmla="*/ 33 w 49"/>
                  <a:gd name="T61" fmla="*/ 49 h 99"/>
                  <a:gd name="T62" fmla="*/ 29 w 49"/>
                  <a:gd name="T63" fmla="*/ 52 h 99"/>
                  <a:gd name="T64" fmla="*/ 28 w 49"/>
                  <a:gd name="T65" fmla="*/ 55 h 99"/>
                  <a:gd name="T66" fmla="*/ 26 w 49"/>
                  <a:gd name="T67" fmla="*/ 57 h 99"/>
                  <a:gd name="T68" fmla="*/ 25 w 49"/>
                  <a:gd name="T69" fmla="*/ 61 h 99"/>
                  <a:gd name="T70" fmla="*/ 25 w 49"/>
                  <a:gd name="T71" fmla="*/ 66 h 99"/>
                  <a:gd name="T72" fmla="*/ 27 w 49"/>
                  <a:gd name="T73" fmla="*/ 70 h 99"/>
                  <a:gd name="T74" fmla="*/ 13 w 49"/>
                  <a:gd name="T75" fmla="*/ 70 h 99"/>
                  <a:gd name="T76" fmla="*/ 13 w 49"/>
                  <a:gd name="T77" fmla="*/ 68 h 99"/>
                  <a:gd name="T78" fmla="*/ 12 w 49"/>
                  <a:gd name="T79" fmla="*/ 64 h 99"/>
                  <a:gd name="T80" fmla="*/ 12 w 49"/>
                  <a:gd name="T81" fmla="*/ 59 h 99"/>
                  <a:gd name="T82" fmla="*/ 13 w 49"/>
                  <a:gd name="T83" fmla="*/ 56 h 99"/>
                  <a:gd name="T84" fmla="*/ 16 w 49"/>
                  <a:gd name="T85" fmla="*/ 51 h 99"/>
                  <a:gd name="T86" fmla="*/ 20 w 49"/>
                  <a:gd name="T87" fmla="*/ 45 h 99"/>
                  <a:gd name="T88" fmla="*/ 25 w 49"/>
                  <a:gd name="T89" fmla="*/ 39 h 99"/>
                  <a:gd name="T90" fmla="*/ 31 w 49"/>
                  <a:gd name="T91" fmla="*/ 34 h 99"/>
                  <a:gd name="T92" fmla="*/ 33 w 49"/>
                  <a:gd name="T93" fmla="*/ 30 h 99"/>
                  <a:gd name="T94" fmla="*/ 34 w 49"/>
                  <a:gd name="T95" fmla="*/ 27 h 99"/>
                  <a:gd name="T96" fmla="*/ 34 w 49"/>
                  <a:gd name="T97" fmla="*/ 24 h 99"/>
                  <a:gd name="T98" fmla="*/ 33 w 49"/>
                  <a:gd name="T99" fmla="*/ 21 h 99"/>
                  <a:gd name="T100" fmla="*/ 32 w 49"/>
                  <a:gd name="T101" fmla="*/ 19 h 99"/>
                  <a:gd name="T102" fmla="*/ 30 w 49"/>
                  <a:gd name="T103" fmla="*/ 17 h 99"/>
                  <a:gd name="T104" fmla="*/ 27 w 49"/>
                  <a:gd name="T105" fmla="*/ 15 h 99"/>
                  <a:gd name="T106" fmla="*/ 22 w 49"/>
                  <a:gd name="T107" fmla="*/ 14 h 99"/>
                  <a:gd name="T108" fmla="*/ 16 w 49"/>
                  <a:gd name="T109" fmla="*/ 14 h 99"/>
                  <a:gd name="T110" fmla="*/ 11 w 49"/>
                  <a:gd name="T111" fmla="*/ 14 h 99"/>
                  <a:gd name="T112" fmla="*/ 7 w 49"/>
                  <a:gd name="T113" fmla="*/ 17 h 99"/>
                  <a:gd name="T114" fmla="*/ 2 w 49"/>
                  <a:gd name="T115" fmla="*/ 20 h 99"/>
                  <a:gd name="T116" fmla="*/ 1 w 49"/>
                  <a:gd name="T117" fmla="*/ 6 h 99"/>
                  <a:gd name="T118" fmla="*/ 7 w 49"/>
                  <a:gd name="T119" fmla="*/ 3 h 99"/>
                  <a:gd name="T120" fmla="*/ 13 w 49"/>
                  <a:gd name="T121" fmla="*/ 2 h 99"/>
                  <a:gd name="T122" fmla="*/ 18 w 49"/>
                  <a:gd name="T123" fmla="*/ 1 h 99"/>
                  <a:gd name="T124" fmla="*/ 22 w 49"/>
                  <a:gd name="T12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 h="99">
                    <a:moveTo>
                      <a:pt x="21" y="82"/>
                    </a:moveTo>
                    <a:lnTo>
                      <a:pt x="22" y="82"/>
                    </a:lnTo>
                    <a:lnTo>
                      <a:pt x="23" y="82"/>
                    </a:lnTo>
                    <a:lnTo>
                      <a:pt x="24" y="82"/>
                    </a:lnTo>
                    <a:lnTo>
                      <a:pt x="25" y="82"/>
                    </a:lnTo>
                    <a:lnTo>
                      <a:pt x="25" y="82"/>
                    </a:lnTo>
                    <a:lnTo>
                      <a:pt x="26" y="83"/>
                    </a:lnTo>
                    <a:lnTo>
                      <a:pt x="27" y="83"/>
                    </a:lnTo>
                    <a:lnTo>
                      <a:pt x="28" y="84"/>
                    </a:lnTo>
                    <a:lnTo>
                      <a:pt x="28" y="85"/>
                    </a:lnTo>
                    <a:lnTo>
                      <a:pt x="29" y="85"/>
                    </a:lnTo>
                    <a:lnTo>
                      <a:pt x="29" y="86"/>
                    </a:lnTo>
                    <a:lnTo>
                      <a:pt x="30" y="87"/>
                    </a:lnTo>
                    <a:lnTo>
                      <a:pt x="30" y="88"/>
                    </a:lnTo>
                    <a:lnTo>
                      <a:pt x="30" y="88"/>
                    </a:lnTo>
                    <a:lnTo>
                      <a:pt x="31" y="89"/>
                    </a:lnTo>
                    <a:lnTo>
                      <a:pt x="31" y="91"/>
                    </a:lnTo>
                    <a:lnTo>
                      <a:pt x="31" y="91"/>
                    </a:lnTo>
                    <a:lnTo>
                      <a:pt x="30" y="92"/>
                    </a:lnTo>
                    <a:lnTo>
                      <a:pt x="30" y="93"/>
                    </a:lnTo>
                    <a:lnTo>
                      <a:pt x="30" y="94"/>
                    </a:lnTo>
                    <a:lnTo>
                      <a:pt x="29" y="94"/>
                    </a:lnTo>
                    <a:lnTo>
                      <a:pt x="29" y="95"/>
                    </a:lnTo>
                    <a:lnTo>
                      <a:pt x="28" y="96"/>
                    </a:lnTo>
                    <a:lnTo>
                      <a:pt x="28" y="97"/>
                    </a:lnTo>
                    <a:lnTo>
                      <a:pt x="27" y="97"/>
                    </a:lnTo>
                    <a:lnTo>
                      <a:pt x="26" y="97"/>
                    </a:lnTo>
                    <a:lnTo>
                      <a:pt x="25" y="98"/>
                    </a:lnTo>
                    <a:lnTo>
                      <a:pt x="25" y="99"/>
                    </a:lnTo>
                    <a:lnTo>
                      <a:pt x="24" y="99"/>
                    </a:lnTo>
                    <a:lnTo>
                      <a:pt x="23" y="99"/>
                    </a:lnTo>
                    <a:lnTo>
                      <a:pt x="22" y="99"/>
                    </a:lnTo>
                    <a:lnTo>
                      <a:pt x="21" y="99"/>
                    </a:lnTo>
                    <a:lnTo>
                      <a:pt x="20" y="99"/>
                    </a:lnTo>
                    <a:lnTo>
                      <a:pt x="19" y="99"/>
                    </a:lnTo>
                    <a:lnTo>
                      <a:pt x="18" y="99"/>
                    </a:lnTo>
                    <a:lnTo>
                      <a:pt x="17" y="99"/>
                    </a:lnTo>
                    <a:lnTo>
                      <a:pt x="16" y="98"/>
                    </a:lnTo>
                    <a:lnTo>
                      <a:pt x="16" y="97"/>
                    </a:lnTo>
                    <a:lnTo>
                      <a:pt x="15" y="97"/>
                    </a:lnTo>
                    <a:lnTo>
                      <a:pt x="14" y="97"/>
                    </a:lnTo>
                    <a:lnTo>
                      <a:pt x="13" y="96"/>
                    </a:lnTo>
                    <a:lnTo>
                      <a:pt x="13" y="95"/>
                    </a:lnTo>
                    <a:lnTo>
                      <a:pt x="13" y="94"/>
                    </a:lnTo>
                    <a:lnTo>
                      <a:pt x="12" y="94"/>
                    </a:lnTo>
                    <a:lnTo>
                      <a:pt x="12" y="93"/>
                    </a:lnTo>
                    <a:lnTo>
                      <a:pt x="12" y="92"/>
                    </a:lnTo>
                    <a:lnTo>
                      <a:pt x="11" y="91"/>
                    </a:lnTo>
                    <a:lnTo>
                      <a:pt x="11" y="91"/>
                    </a:lnTo>
                    <a:lnTo>
                      <a:pt x="11" y="89"/>
                    </a:lnTo>
                    <a:lnTo>
                      <a:pt x="12" y="88"/>
                    </a:lnTo>
                    <a:lnTo>
                      <a:pt x="12" y="88"/>
                    </a:lnTo>
                    <a:lnTo>
                      <a:pt x="12" y="87"/>
                    </a:lnTo>
                    <a:lnTo>
                      <a:pt x="13" y="86"/>
                    </a:lnTo>
                    <a:lnTo>
                      <a:pt x="13" y="85"/>
                    </a:lnTo>
                    <a:lnTo>
                      <a:pt x="13" y="85"/>
                    </a:lnTo>
                    <a:lnTo>
                      <a:pt x="14" y="84"/>
                    </a:lnTo>
                    <a:lnTo>
                      <a:pt x="15" y="83"/>
                    </a:lnTo>
                    <a:lnTo>
                      <a:pt x="16" y="83"/>
                    </a:lnTo>
                    <a:lnTo>
                      <a:pt x="16" y="82"/>
                    </a:lnTo>
                    <a:lnTo>
                      <a:pt x="17" y="82"/>
                    </a:lnTo>
                    <a:lnTo>
                      <a:pt x="18" y="82"/>
                    </a:lnTo>
                    <a:lnTo>
                      <a:pt x="19" y="82"/>
                    </a:lnTo>
                    <a:lnTo>
                      <a:pt x="20" y="82"/>
                    </a:lnTo>
                    <a:lnTo>
                      <a:pt x="21" y="82"/>
                    </a:lnTo>
                    <a:lnTo>
                      <a:pt x="21" y="82"/>
                    </a:lnTo>
                    <a:lnTo>
                      <a:pt x="21" y="82"/>
                    </a:lnTo>
                    <a:lnTo>
                      <a:pt x="21" y="82"/>
                    </a:lnTo>
                    <a:close/>
                    <a:moveTo>
                      <a:pt x="22" y="0"/>
                    </a:moveTo>
                    <a:lnTo>
                      <a:pt x="24" y="0"/>
                    </a:lnTo>
                    <a:lnTo>
                      <a:pt x="25" y="1"/>
                    </a:lnTo>
                    <a:lnTo>
                      <a:pt x="26" y="1"/>
                    </a:lnTo>
                    <a:lnTo>
                      <a:pt x="28" y="1"/>
                    </a:lnTo>
                    <a:lnTo>
                      <a:pt x="29" y="1"/>
                    </a:lnTo>
                    <a:lnTo>
                      <a:pt x="30" y="1"/>
                    </a:lnTo>
                    <a:lnTo>
                      <a:pt x="31" y="2"/>
                    </a:lnTo>
                    <a:lnTo>
                      <a:pt x="33" y="2"/>
                    </a:lnTo>
                    <a:lnTo>
                      <a:pt x="34" y="2"/>
                    </a:lnTo>
                    <a:lnTo>
                      <a:pt x="35" y="2"/>
                    </a:lnTo>
                    <a:lnTo>
                      <a:pt x="36" y="3"/>
                    </a:lnTo>
                    <a:lnTo>
                      <a:pt x="38" y="4"/>
                    </a:lnTo>
                    <a:lnTo>
                      <a:pt x="38" y="4"/>
                    </a:lnTo>
                    <a:lnTo>
                      <a:pt x="39" y="5"/>
                    </a:lnTo>
                    <a:lnTo>
                      <a:pt x="41" y="5"/>
                    </a:lnTo>
                    <a:lnTo>
                      <a:pt x="41" y="6"/>
                    </a:lnTo>
                    <a:lnTo>
                      <a:pt x="42" y="7"/>
                    </a:lnTo>
                    <a:lnTo>
                      <a:pt x="43" y="8"/>
                    </a:lnTo>
                    <a:lnTo>
                      <a:pt x="44" y="8"/>
                    </a:lnTo>
                    <a:lnTo>
                      <a:pt x="44" y="9"/>
                    </a:lnTo>
                    <a:lnTo>
                      <a:pt x="45" y="10"/>
                    </a:lnTo>
                    <a:lnTo>
                      <a:pt x="46" y="11"/>
                    </a:lnTo>
                    <a:lnTo>
                      <a:pt x="47" y="12"/>
                    </a:lnTo>
                    <a:lnTo>
                      <a:pt x="47" y="13"/>
                    </a:lnTo>
                    <a:lnTo>
                      <a:pt x="47" y="14"/>
                    </a:lnTo>
                    <a:lnTo>
                      <a:pt x="48" y="15"/>
                    </a:lnTo>
                    <a:lnTo>
                      <a:pt x="48" y="16"/>
                    </a:lnTo>
                    <a:lnTo>
                      <a:pt x="48" y="17"/>
                    </a:lnTo>
                    <a:lnTo>
                      <a:pt x="49" y="18"/>
                    </a:lnTo>
                    <a:lnTo>
                      <a:pt x="49" y="20"/>
                    </a:lnTo>
                    <a:lnTo>
                      <a:pt x="49" y="21"/>
                    </a:lnTo>
                    <a:lnTo>
                      <a:pt x="49" y="22"/>
                    </a:lnTo>
                    <a:lnTo>
                      <a:pt x="49" y="23"/>
                    </a:lnTo>
                    <a:lnTo>
                      <a:pt x="49" y="25"/>
                    </a:lnTo>
                    <a:lnTo>
                      <a:pt x="49" y="26"/>
                    </a:lnTo>
                    <a:lnTo>
                      <a:pt x="49" y="27"/>
                    </a:lnTo>
                    <a:lnTo>
                      <a:pt x="48" y="28"/>
                    </a:lnTo>
                    <a:lnTo>
                      <a:pt x="48" y="30"/>
                    </a:lnTo>
                    <a:lnTo>
                      <a:pt x="47" y="30"/>
                    </a:lnTo>
                    <a:lnTo>
                      <a:pt x="47" y="32"/>
                    </a:lnTo>
                    <a:lnTo>
                      <a:pt x="47" y="33"/>
                    </a:lnTo>
                    <a:lnTo>
                      <a:pt x="47" y="33"/>
                    </a:lnTo>
                    <a:lnTo>
                      <a:pt x="46" y="34"/>
                    </a:lnTo>
                    <a:lnTo>
                      <a:pt x="45" y="36"/>
                    </a:lnTo>
                    <a:lnTo>
                      <a:pt x="44" y="36"/>
                    </a:lnTo>
                    <a:lnTo>
                      <a:pt x="44" y="37"/>
                    </a:lnTo>
                    <a:lnTo>
                      <a:pt x="44" y="38"/>
                    </a:lnTo>
                    <a:lnTo>
                      <a:pt x="43" y="39"/>
                    </a:lnTo>
                    <a:lnTo>
                      <a:pt x="41" y="41"/>
                    </a:lnTo>
                    <a:lnTo>
                      <a:pt x="40" y="42"/>
                    </a:lnTo>
                    <a:lnTo>
                      <a:pt x="38" y="44"/>
                    </a:lnTo>
                    <a:lnTo>
                      <a:pt x="37" y="45"/>
                    </a:lnTo>
                    <a:lnTo>
                      <a:pt x="35" y="46"/>
                    </a:lnTo>
                    <a:lnTo>
                      <a:pt x="34" y="48"/>
                    </a:lnTo>
                    <a:lnTo>
                      <a:pt x="33" y="49"/>
                    </a:lnTo>
                    <a:lnTo>
                      <a:pt x="31" y="50"/>
                    </a:lnTo>
                    <a:lnTo>
                      <a:pt x="31" y="51"/>
                    </a:lnTo>
                    <a:lnTo>
                      <a:pt x="30" y="51"/>
                    </a:lnTo>
                    <a:lnTo>
                      <a:pt x="29" y="52"/>
                    </a:lnTo>
                    <a:lnTo>
                      <a:pt x="29" y="53"/>
                    </a:lnTo>
                    <a:lnTo>
                      <a:pt x="28" y="54"/>
                    </a:lnTo>
                    <a:lnTo>
                      <a:pt x="28" y="54"/>
                    </a:lnTo>
                    <a:lnTo>
                      <a:pt x="28" y="55"/>
                    </a:lnTo>
                    <a:lnTo>
                      <a:pt x="27" y="55"/>
                    </a:lnTo>
                    <a:lnTo>
                      <a:pt x="27" y="56"/>
                    </a:lnTo>
                    <a:lnTo>
                      <a:pt x="26" y="57"/>
                    </a:lnTo>
                    <a:lnTo>
                      <a:pt x="26" y="57"/>
                    </a:lnTo>
                    <a:lnTo>
                      <a:pt x="25" y="58"/>
                    </a:lnTo>
                    <a:lnTo>
                      <a:pt x="25" y="59"/>
                    </a:lnTo>
                    <a:lnTo>
                      <a:pt x="25" y="60"/>
                    </a:lnTo>
                    <a:lnTo>
                      <a:pt x="25" y="61"/>
                    </a:lnTo>
                    <a:lnTo>
                      <a:pt x="25" y="62"/>
                    </a:lnTo>
                    <a:lnTo>
                      <a:pt x="25" y="63"/>
                    </a:lnTo>
                    <a:lnTo>
                      <a:pt x="25" y="64"/>
                    </a:lnTo>
                    <a:lnTo>
                      <a:pt x="25" y="66"/>
                    </a:lnTo>
                    <a:lnTo>
                      <a:pt x="26" y="67"/>
                    </a:lnTo>
                    <a:lnTo>
                      <a:pt x="26" y="68"/>
                    </a:lnTo>
                    <a:lnTo>
                      <a:pt x="27" y="69"/>
                    </a:lnTo>
                    <a:lnTo>
                      <a:pt x="27" y="70"/>
                    </a:lnTo>
                    <a:lnTo>
                      <a:pt x="28" y="71"/>
                    </a:lnTo>
                    <a:lnTo>
                      <a:pt x="13" y="71"/>
                    </a:lnTo>
                    <a:lnTo>
                      <a:pt x="13" y="70"/>
                    </a:lnTo>
                    <a:lnTo>
                      <a:pt x="13" y="70"/>
                    </a:lnTo>
                    <a:lnTo>
                      <a:pt x="13" y="69"/>
                    </a:lnTo>
                    <a:lnTo>
                      <a:pt x="13" y="69"/>
                    </a:lnTo>
                    <a:lnTo>
                      <a:pt x="13" y="69"/>
                    </a:lnTo>
                    <a:lnTo>
                      <a:pt x="13" y="68"/>
                    </a:lnTo>
                    <a:lnTo>
                      <a:pt x="13" y="67"/>
                    </a:lnTo>
                    <a:lnTo>
                      <a:pt x="13" y="66"/>
                    </a:lnTo>
                    <a:lnTo>
                      <a:pt x="12" y="65"/>
                    </a:lnTo>
                    <a:lnTo>
                      <a:pt x="12" y="64"/>
                    </a:lnTo>
                    <a:lnTo>
                      <a:pt x="12" y="63"/>
                    </a:lnTo>
                    <a:lnTo>
                      <a:pt x="12" y="61"/>
                    </a:lnTo>
                    <a:lnTo>
                      <a:pt x="12" y="60"/>
                    </a:lnTo>
                    <a:lnTo>
                      <a:pt x="12" y="59"/>
                    </a:lnTo>
                    <a:lnTo>
                      <a:pt x="12" y="58"/>
                    </a:lnTo>
                    <a:lnTo>
                      <a:pt x="13" y="57"/>
                    </a:lnTo>
                    <a:lnTo>
                      <a:pt x="13" y="57"/>
                    </a:lnTo>
                    <a:lnTo>
                      <a:pt x="13" y="56"/>
                    </a:lnTo>
                    <a:lnTo>
                      <a:pt x="13" y="54"/>
                    </a:lnTo>
                    <a:lnTo>
                      <a:pt x="13" y="54"/>
                    </a:lnTo>
                    <a:lnTo>
                      <a:pt x="14" y="52"/>
                    </a:lnTo>
                    <a:lnTo>
                      <a:pt x="16" y="51"/>
                    </a:lnTo>
                    <a:lnTo>
                      <a:pt x="16" y="49"/>
                    </a:lnTo>
                    <a:lnTo>
                      <a:pt x="18" y="48"/>
                    </a:lnTo>
                    <a:lnTo>
                      <a:pt x="19" y="46"/>
                    </a:lnTo>
                    <a:lnTo>
                      <a:pt x="20" y="45"/>
                    </a:lnTo>
                    <a:lnTo>
                      <a:pt x="22" y="43"/>
                    </a:lnTo>
                    <a:lnTo>
                      <a:pt x="23" y="42"/>
                    </a:lnTo>
                    <a:lnTo>
                      <a:pt x="24" y="41"/>
                    </a:lnTo>
                    <a:lnTo>
                      <a:pt x="25" y="39"/>
                    </a:lnTo>
                    <a:lnTo>
                      <a:pt x="27" y="38"/>
                    </a:lnTo>
                    <a:lnTo>
                      <a:pt x="28" y="37"/>
                    </a:lnTo>
                    <a:lnTo>
                      <a:pt x="29" y="36"/>
                    </a:lnTo>
                    <a:lnTo>
                      <a:pt x="31" y="34"/>
                    </a:lnTo>
                    <a:lnTo>
                      <a:pt x="31" y="33"/>
                    </a:lnTo>
                    <a:lnTo>
                      <a:pt x="32" y="32"/>
                    </a:lnTo>
                    <a:lnTo>
                      <a:pt x="33" y="31"/>
                    </a:lnTo>
                    <a:lnTo>
                      <a:pt x="33" y="30"/>
                    </a:lnTo>
                    <a:lnTo>
                      <a:pt x="33" y="30"/>
                    </a:lnTo>
                    <a:lnTo>
                      <a:pt x="34" y="29"/>
                    </a:lnTo>
                    <a:lnTo>
                      <a:pt x="34" y="28"/>
                    </a:lnTo>
                    <a:lnTo>
                      <a:pt x="34" y="27"/>
                    </a:lnTo>
                    <a:lnTo>
                      <a:pt x="34" y="27"/>
                    </a:lnTo>
                    <a:lnTo>
                      <a:pt x="34" y="26"/>
                    </a:lnTo>
                    <a:lnTo>
                      <a:pt x="34" y="25"/>
                    </a:lnTo>
                    <a:lnTo>
                      <a:pt x="34" y="24"/>
                    </a:lnTo>
                    <a:lnTo>
                      <a:pt x="34" y="23"/>
                    </a:lnTo>
                    <a:lnTo>
                      <a:pt x="34" y="23"/>
                    </a:lnTo>
                    <a:lnTo>
                      <a:pt x="34" y="22"/>
                    </a:lnTo>
                    <a:lnTo>
                      <a:pt x="33" y="21"/>
                    </a:lnTo>
                    <a:lnTo>
                      <a:pt x="33" y="20"/>
                    </a:lnTo>
                    <a:lnTo>
                      <a:pt x="33" y="20"/>
                    </a:lnTo>
                    <a:lnTo>
                      <a:pt x="32" y="20"/>
                    </a:lnTo>
                    <a:lnTo>
                      <a:pt x="32" y="19"/>
                    </a:lnTo>
                    <a:lnTo>
                      <a:pt x="31" y="18"/>
                    </a:lnTo>
                    <a:lnTo>
                      <a:pt x="31" y="18"/>
                    </a:lnTo>
                    <a:lnTo>
                      <a:pt x="31" y="17"/>
                    </a:lnTo>
                    <a:lnTo>
                      <a:pt x="30" y="17"/>
                    </a:lnTo>
                    <a:lnTo>
                      <a:pt x="30" y="17"/>
                    </a:lnTo>
                    <a:lnTo>
                      <a:pt x="29" y="17"/>
                    </a:lnTo>
                    <a:lnTo>
                      <a:pt x="28" y="16"/>
                    </a:lnTo>
                    <a:lnTo>
                      <a:pt x="27" y="15"/>
                    </a:lnTo>
                    <a:lnTo>
                      <a:pt x="26" y="14"/>
                    </a:lnTo>
                    <a:lnTo>
                      <a:pt x="25" y="14"/>
                    </a:lnTo>
                    <a:lnTo>
                      <a:pt x="23" y="14"/>
                    </a:lnTo>
                    <a:lnTo>
                      <a:pt x="22" y="14"/>
                    </a:lnTo>
                    <a:lnTo>
                      <a:pt x="20" y="14"/>
                    </a:lnTo>
                    <a:lnTo>
                      <a:pt x="19" y="14"/>
                    </a:lnTo>
                    <a:lnTo>
                      <a:pt x="17" y="14"/>
                    </a:lnTo>
                    <a:lnTo>
                      <a:pt x="16" y="14"/>
                    </a:lnTo>
                    <a:lnTo>
                      <a:pt x="15" y="14"/>
                    </a:lnTo>
                    <a:lnTo>
                      <a:pt x="14" y="14"/>
                    </a:lnTo>
                    <a:lnTo>
                      <a:pt x="13" y="14"/>
                    </a:lnTo>
                    <a:lnTo>
                      <a:pt x="11" y="14"/>
                    </a:lnTo>
                    <a:lnTo>
                      <a:pt x="10" y="15"/>
                    </a:lnTo>
                    <a:lnTo>
                      <a:pt x="9" y="16"/>
                    </a:lnTo>
                    <a:lnTo>
                      <a:pt x="8" y="16"/>
                    </a:lnTo>
                    <a:lnTo>
                      <a:pt x="7" y="17"/>
                    </a:lnTo>
                    <a:lnTo>
                      <a:pt x="5" y="17"/>
                    </a:lnTo>
                    <a:lnTo>
                      <a:pt x="4" y="18"/>
                    </a:lnTo>
                    <a:lnTo>
                      <a:pt x="3" y="19"/>
                    </a:lnTo>
                    <a:lnTo>
                      <a:pt x="2" y="20"/>
                    </a:lnTo>
                    <a:lnTo>
                      <a:pt x="1" y="21"/>
                    </a:lnTo>
                    <a:lnTo>
                      <a:pt x="0" y="22"/>
                    </a:lnTo>
                    <a:lnTo>
                      <a:pt x="0" y="7"/>
                    </a:lnTo>
                    <a:lnTo>
                      <a:pt x="1" y="6"/>
                    </a:lnTo>
                    <a:lnTo>
                      <a:pt x="3" y="5"/>
                    </a:lnTo>
                    <a:lnTo>
                      <a:pt x="4" y="5"/>
                    </a:lnTo>
                    <a:lnTo>
                      <a:pt x="5" y="4"/>
                    </a:lnTo>
                    <a:lnTo>
                      <a:pt x="7" y="3"/>
                    </a:lnTo>
                    <a:lnTo>
                      <a:pt x="8" y="3"/>
                    </a:lnTo>
                    <a:lnTo>
                      <a:pt x="10" y="2"/>
                    </a:lnTo>
                    <a:lnTo>
                      <a:pt x="11" y="2"/>
                    </a:lnTo>
                    <a:lnTo>
                      <a:pt x="13" y="2"/>
                    </a:lnTo>
                    <a:lnTo>
                      <a:pt x="13" y="2"/>
                    </a:lnTo>
                    <a:lnTo>
                      <a:pt x="15" y="1"/>
                    </a:lnTo>
                    <a:lnTo>
                      <a:pt x="16" y="1"/>
                    </a:lnTo>
                    <a:lnTo>
                      <a:pt x="18" y="1"/>
                    </a:lnTo>
                    <a:lnTo>
                      <a:pt x="19" y="1"/>
                    </a:lnTo>
                    <a:lnTo>
                      <a:pt x="21" y="0"/>
                    </a:lnTo>
                    <a:lnTo>
                      <a:pt x="22" y="0"/>
                    </a:lnTo>
                    <a:lnTo>
                      <a:pt x="22" y="0"/>
                    </a:lnTo>
                    <a:lnTo>
                      <a:pt x="22" y="0"/>
                    </a:lnTo>
                    <a:lnTo>
                      <a:pt x="22"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8" name="Freeform 243"/>
              <p:cNvSpPr>
                <a:spLocks/>
              </p:cNvSpPr>
              <p:nvPr/>
            </p:nvSpPr>
            <p:spPr bwMode="auto">
              <a:xfrm rot="5400000">
                <a:off x="10645137" y="844463"/>
                <a:ext cx="18920" cy="18110"/>
              </a:xfrm>
              <a:custGeom>
                <a:avLst/>
                <a:gdLst>
                  <a:gd name="T0" fmla="*/ 9 w 17"/>
                  <a:gd name="T1" fmla="*/ 16 h 16"/>
                  <a:gd name="T2" fmla="*/ 0 w 17"/>
                  <a:gd name="T3" fmla="*/ 8 h 16"/>
                  <a:gd name="T4" fmla="*/ 8 w 17"/>
                  <a:gd name="T5" fmla="*/ 0 h 16"/>
                  <a:gd name="T6" fmla="*/ 17 w 17"/>
                  <a:gd name="T7" fmla="*/ 8 h 16"/>
                  <a:gd name="T8" fmla="*/ 9 w 17"/>
                  <a:gd name="T9" fmla="*/ 16 h 16"/>
                </a:gdLst>
                <a:ahLst/>
                <a:cxnLst>
                  <a:cxn ang="0">
                    <a:pos x="T0" y="T1"/>
                  </a:cxn>
                  <a:cxn ang="0">
                    <a:pos x="T2" y="T3"/>
                  </a:cxn>
                  <a:cxn ang="0">
                    <a:pos x="T4" y="T5"/>
                  </a:cxn>
                  <a:cxn ang="0">
                    <a:pos x="T6" y="T7"/>
                  </a:cxn>
                  <a:cxn ang="0">
                    <a:pos x="T8" y="T9"/>
                  </a:cxn>
                </a:cxnLst>
                <a:rect l="0" t="0" r="r" b="b"/>
                <a:pathLst>
                  <a:path w="17" h="16">
                    <a:moveTo>
                      <a:pt x="9" y="16"/>
                    </a:moveTo>
                    <a:cubicBezTo>
                      <a:pt x="5" y="16"/>
                      <a:pt x="1" y="12"/>
                      <a:pt x="0" y="8"/>
                    </a:cubicBezTo>
                    <a:cubicBezTo>
                      <a:pt x="0" y="4"/>
                      <a:pt x="3" y="0"/>
                      <a:pt x="8" y="0"/>
                    </a:cubicBezTo>
                    <a:cubicBezTo>
                      <a:pt x="13" y="0"/>
                      <a:pt x="17" y="3"/>
                      <a:pt x="17" y="8"/>
                    </a:cubicBezTo>
                    <a:cubicBezTo>
                      <a:pt x="17" y="12"/>
                      <a:pt x="14" y="16"/>
                      <a:pt x="9" y="16"/>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699" name="Freeform 244"/>
              <p:cNvSpPr>
                <a:spLocks/>
              </p:cNvSpPr>
              <p:nvPr/>
            </p:nvSpPr>
            <p:spPr bwMode="auto">
              <a:xfrm rot="5400000">
                <a:off x="10647723" y="843441"/>
                <a:ext cx="77133" cy="75457"/>
              </a:xfrm>
              <a:custGeom>
                <a:avLst/>
                <a:gdLst>
                  <a:gd name="T0" fmla="*/ 70 w 70"/>
                  <a:gd name="T1" fmla="*/ 64 h 67"/>
                  <a:gd name="T2" fmla="*/ 37 w 70"/>
                  <a:gd name="T3" fmla="*/ 8 h 67"/>
                  <a:gd name="T4" fmla="*/ 1 w 70"/>
                  <a:gd name="T5" fmla="*/ 1 h 67"/>
                  <a:gd name="T6" fmla="*/ 0 w 70"/>
                  <a:gd name="T7" fmla="*/ 2 h 67"/>
                  <a:gd name="T8" fmla="*/ 0 w 70"/>
                  <a:gd name="T9" fmla="*/ 11 h 67"/>
                  <a:gd name="T10" fmla="*/ 1 w 70"/>
                  <a:gd name="T11" fmla="*/ 12 h 67"/>
                  <a:gd name="T12" fmla="*/ 31 w 70"/>
                  <a:gd name="T13" fmla="*/ 19 h 67"/>
                  <a:gd name="T14" fmla="*/ 59 w 70"/>
                  <a:gd name="T15" fmla="*/ 66 h 67"/>
                  <a:gd name="T16" fmla="*/ 60 w 70"/>
                  <a:gd name="T17" fmla="*/ 67 h 67"/>
                  <a:gd name="T18" fmla="*/ 69 w 70"/>
                  <a:gd name="T19" fmla="*/ 66 h 67"/>
                  <a:gd name="T20" fmla="*/ 70 w 70"/>
                  <a:gd name="T21" fmla="*/ 6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67">
                    <a:moveTo>
                      <a:pt x="70" y="64"/>
                    </a:moveTo>
                    <a:cubicBezTo>
                      <a:pt x="69" y="33"/>
                      <a:pt x="53" y="16"/>
                      <a:pt x="37" y="8"/>
                    </a:cubicBezTo>
                    <a:cubicBezTo>
                      <a:pt x="21" y="0"/>
                      <a:pt x="5" y="1"/>
                      <a:pt x="1" y="1"/>
                    </a:cubicBezTo>
                    <a:cubicBezTo>
                      <a:pt x="0" y="1"/>
                      <a:pt x="0" y="1"/>
                      <a:pt x="0" y="2"/>
                    </a:cubicBezTo>
                    <a:cubicBezTo>
                      <a:pt x="0" y="3"/>
                      <a:pt x="0" y="10"/>
                      <a:pt x="0" y="11"/>
                    </a:cubicBezTo>
                    <a:cubicBezTo>
                      <a:pt x="0" y="12"/>
                      <a:pt x="0" y="12"/>
                      <a:pt x="1" y="12"/>
                    </a:cubicBezTo>
                    <a:cubicBezTo>
                      <a:pt x="5" y="11"/>
                      <a:pt x="18" y="12"/>
                      <a:pt x="31" y="19"/>
                    </a:cubicBezTo>
                    <a:cubicBezTo>
                      <a:pt x="44" y="26"/>
                      <a:pt x="57" y="41"/>
                      <a:pt x="59" y="66"/>
                    </a:cubicBezTo>
                    <a:cubicBezTo>
                      <a:pt x="59" y="66"/>
                      <a:pt x="59" y="67"/>
                      <a:pt x="60" y="67"/>
                    </a:cubicBezTo>
                    <a:cubicBezTo>
                      <a:pt x="60" y="67"/>
                      <a:pt x="68" y="66"/>
                      <a:pt x="69" y="66"/>
                    </a:cubicBezTo>
                    <a:cubicBezTo>
                      <a:pt x="70" y="66"/>
                      <a:pt x="70" y="66"/>
                      <a:pt x="70" y="64"/>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00" name="Freeform 245"/>
              <p:cNvSpPr>
                <a:spLocks/>
              </p:cNvSpPr>
              <p:nvPr/>
            </p:nvSpPr>
            <p:spPr bwMode="auto">
              <a:xfrm rot="5400000">
                <a:off x="10644948" y="843198"/>
                <a:ext cx="49481" cy="48292"/>
              </a:xfrm>
              <a:custGeom>
                <a:avLst/>
                <a:gdLst>
                  <a:gd name="T0" fmla="*/ 45 w 45"/>
                  <a:gd name="T1" fmla="*/ 40 h 42"/>
                  <a:gd name="T2" fmla="*/ 1 w 45"/>
                  <a:gd name="T3" fmla="*/ 0 h 42"/>
                  <a:gd name="T4" fmla="*/ 0 w 45"/>
                  <a:gd name="T5" fmla="*/ 1 h 42"/>
                  <a:gd name="T6" fmla="*/ 0 w 45"/>
                  <a:gd name="T7" fmla="*/ 10 h 42"/>
                  <a:gd name="T8" fmla="*/ 1 w 45"/>
                  <a:gd name="T9" fmla="*/ 12 h 42"/>
                  <a:gd name="T10" fmla="*/ 32 w 45"/>
                  <a:gd name="T11" fmla="*/ 40 h 42"/>
                  <a:gd name="T12" fmla="*/ 34 w 45"/>
                  <a:gd name="T13" fmla="*/ 42 h 42"/>
                  <a:gd name="T14" fmla="*/ 43 w 45"/>
                  <a:gd name="T15" fmla="*/ 41 h 42"/>
                  <a:gd name="T16" fmla="*/ 45 w 45"/>
                  <a:gd name="T17"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2">
                    <a:moveTo>
                      <a:pt x="45" y="40"/>
                    </a:moveTo>
                    <a:cubicBezTo>
                      <a:pt x="42" y="9"/>
                      <a:pt x="16" y="0"/>
                      <a:pt x="1" y="0"/>
                    </a:cubicBezTo>
                    <a:cubicBezTo>
                      <a:pt x="0" y="0"/>
                      <a:pt x="0" y="0"/>
                      <a:pt x="0" y="1"/>
                    </a:cubicBezTo>
                    <a:cubicBezTo>
                      <a:pt x="0" y="1"/>
                      <a:pt x="0" y="10"/>
                      <a:pt x="0" y="10"/>
                    </a:cubicBezTo>
                    <a:cubicBezTo>
                      <a:pt x="0" y="11"/>
                      <a:pt x="0" y="12"/>
                      <a:pt x="1" y="12"/>
                    </a:cubicBezTo>
                    <a:cubicBezTo>
                      <a:pt x="9" y="12"/>
                      <a:pt x="29" y="16"/>
                      <a:pt x="32" y="40"/>
                    </a:cubicBezTo>
                    <a:cubicBezTo>
                      <a:pt x="33" y="41"/>
                      <a:pt x="33" y="42"/>
                      <a:pt x="34" y="42"/>
                    </a:cubicBezTo>
                    <a:cubicBezTo>
                      <a:pt x="34" y="42"/>
                      <a:pt x="43" y="41"/>
                      <a:pt x="43" y="41"/>
                    </a:cubicBezTo>
                    <a:cubicBezTo>
                      <a:pt x="44" y="41"/>
                      <a:pt x="45" y="41"/>
                      <a:pt x="45" y="40"/>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701" name="Group 700"/>
              <p:cNvGrpSpPr/>
              <p:nvPr/>
            </p:nvGrpSpPr>
            <p:grpSpPr>
              <a:xfrm rot="16200000">
                <a:off x="10518775" y="1654678"/>
                <a:ext cx="90548" cy="88776"/>
                <a:chOff x="10518775" y="1654678"/>
                <a:chExt cx="90548" cy="88776"/>
              </a:xfrm>
            </p:grpSpPr>
            <p:sp>
              <p:nvSpPr>
                <p:cNvPr id="712" name="Freeform 249"/>
                <p:cNvSpPr>
                  <a:spLocks/>
                </p:cNvSpPr>
                <p:nvPr/>
              </p:nvSpPr>
              <p:spPr bwMode="auto">
                <a:xfrm rot="5400000">
                  <a:off x="10519906" y="1656458"/>
                  <a:ext cx="20375" cy="22637"/>
                </a:xfrm>
                <a:custGeom>
                  <a:avLst/>
                  <a:gdLst>
                    <a:gd name="T0" fmla="*/ 10 w 19"/>
                    <a:gd name="T1" fmla="*/ 19 h 19"/>
                    <a:gd name="T2" fmla="*/ 0 w 19"/>
                    <a:gd name="T3" fmla="*/ 9 h 19"/>
                    <a:gd name="T4" fmla="*/ 9 w 19"/>
                    <a:gd name="T5" fmla="*/ 0 h 19"/>
                    <a:gd name="T6" fmla="*/ 19 w 19"/>
                    <a:gd name="T7" fmla="*/ 9 h 19"/>
                    <a:gd name="T8" fmla="*/ 10 w 19"/>
                    <a:gd name="T9" fmla="*/ 19 h 19"/>
                  </a:gdLst>
                  <a:ahLst/>
                  <a:cxnLst>
                    <a:cxn ang="0">
                      <a:pos x="T0" y="T1"/>
                    </a:cxn>
                    <a:cxn ang="0">
                      <a:pos x="T2" y="T3"/>
                    </a:cxn>
                    <a:cxn ang="0">
                      <a:pos x="T4" y="T5"/>
                    </a:cxn>
                    <a:cxn ang="0">
                      <a:pos x="T6" y="T7"/>
                    </a:cxn>
                    <a:cxn ang="0">
                      <a:pos x="T8" y="T9"/>
                    </a:cxn>
                  </a:cxnLst>
                  <a:rect l="0" t="0" r="r" b="b"/>
                  <a:pathLst>
                    <a:path w="19" h="19">
                      <a:moveTo>
                        <a:pt x="10" y="19"/>
                      </a:moveTo>
                      <a:cubicBezTo>
                        <a:pt x="5" y="19"/>
                        <a:pt x="0" y="15"/>
                        <a:pt x="0" y="9"/>
                      </a:cubicBezTo>
                      <a:cubicBezTo>
                        <a:pt x="0" y="4"/>
                        <a:pt x="3" y="0"/>
                        <a:pt x="9" y="0"/>
                      </a:cubicBezTo>
                      <a:cubicBezTo>
                        <a:pt x="14" y="0"/>
                        <a:pt x="19" y="4"/>
                        <a:pt x="19" y="9"/>
                      </a:cubicBezTo>
                      <a:cubicBezTo>
                        <a:pt x="19" y="15"/>
                        <a:pt x="15" y="19"/>
                        <a:pt x="10" y="19"/>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3" name="Freeform 250"/>
                <p:cNvSpPr>
                  <a:spLocks/>
                </p:cNvSpPr>
                <p:nvPr/>
              </p:nvSpPr>
              <p:spPr bwMode="auto">
                <a:xfrm rot="5400000">
                  <a:off x="10521925" y="1656056"/>
                  <a:ext cx="88776" cy="86020"/>
                </a:xfrm>
                <a:custGeom>
                  <a:avLst/>
                  <a:gdLst>
                    <a:gd name="T0" fmla="*/ 81 w 81"/>
                    <a:gd name="T1" fmla="*/ 73 h 76"/>
                    <a:gd name="T2" fmla="*/ 43 w 81"/>
                    <a:gd name="T3" fmla="*/ 9 h 76"/>
                    <a:gd name="T4" fmla="*/ 1 w 81"/>
                    <a:gd name="T5" fmla="*/ 0 h 76"/>
                    <a:gd name="T6" fmla="*/ 0 w 81"/>
                    <a:gd name="T7" fmla="*/ 2 h 76"/>
                    <a:gd name="T8" fmla="*/ 0 w 81"/>
                    <a:gd name="T9" fmla="*/ 11 h 76"/>
                    <a:gd name="T10" fmla="*/ 1 w 81"/>
                    <a:gd name="T11" fmla="*/ 13 h 76"/>
                    <a:gd name="T12" fmla="*/ 36 w 81"/>
                    <a:gd name="T13" fmla="*/ 21 h 76"/>
                    <a:gd name="T14" fmla="*/ 68 w 81"/>
                    <a:gd name="T15" fmla="*/ 75 h 76"/>
                    <a:gd name="T16" fmla="*/ 69 w 81"/>
                    <a:gd name="T17" fmla="*/ 76 h 76"/>
                    <a:gd name="T18" fmla="*/ 80 w 81"/>
                    <a:gd name="T19" fmla="*/ 75 h 76"/>
                    <a:gd name="T20" fmla="*/ 81 w 81"/>
                    <a:gd name="T21" fmla="*/ 7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76">
                      <a:moveTo>
                        <a:pt x="81" y="73"/>
                      </a:moveTo>
                      <a:cubicBezTo>
                        <a:pt x="80" y="38"/>
                        <a:pt x="61" y="18"/>
                        <a:pt x="43" y="9"/>
                      </a:cubicBezTo>
                      <a:cubicBezTo>
                        <a:pt x="24" y="0"/>
                        <a:pt x="6" y="0"/>
                        <a:pt x="1" y="0"/>
                      </a:cubicBezTo>
                      <a:cubicBezTo>
                        <a:pt x="1" y="0"/>
                        <a:pt x="0" y="1"/>
                        <a:pt x="0" y="2"/>
                      </a:cubicBezTo>
                      <a:cubicBezTo>
                        <a:pt x="0" y="2"/>
                        <a:pt x="0" y="11"/>
                        <a:pt x="0" y="11"/>
                      </a:cubicBezTo>
                      <a:cubicBezTo>
                        <a:pt x="0" y="13"/>
                        <a:pt x="0" y="13"/>
                        <a:pt x="1" y="13"/>
                      </a:cubicBezTo>
                      <a:cubicBezTo>
                        <a:pt x="6" y="12"/>
                        <a:pt x="21" y="13"/>
                        <a:pt x="36" y="21"/>
                      </a:cubicBezTo>
                      <a:cubicBezTo>
                        <a:pt x="52" y="30"/>
                        <a:pt x="67" y="46"/>
                        <a:pt x="68" y="75"/>
                      </a:cubicBezTo>
                      <a:cubicBezTo>
                        <a:pt x="68" y="76"/>
                        <a:pt x="68" y="76"/>
                        <a:pt x="69" y="76"/>
                      </a:cubicBezTo>
                      <a:cubicBezTo>
                        <a:pt x="70" y="76"/>
                        <a:pt x="79" y="75"/>
                        <a:pt x="80" y="75"/>
                      </a:cubicBezTo>
                      <a:cubicBezTo>
                        <a:pt x="81" y="75"/>
                        <a:pt x="81" y="75"/>
                        <a:pt x="81" y="73"/>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4" name="Freeform 251"/>
                <p:cNvSpPr>
                  <a:spLocks/>
                </p:cNvSpPr>
                <p:nvPr/>
              </p:nvSpPr>
              <p:spPr bwMode="auto">
                <a:xfrm rot="5400000">
                  <a:off x="10518315" y="1655139"/>
                  <a:ext cx="56758" cy="55838"/>
                </a:xfrm>
                <a:custGeom>
                  <a:avLst/>
                  <a:gdLst>
                    <a:gd name="T0" fmla="*/ 52 w 52"/>
                    <a:gd name="T1" fmla="*/ 46 h 49"/>
                    <a:gd name="T2" fmla="*/ 1 w 52"/>
                    <a:gd name="T3" fmla="*/ 0 h 49"/>
                    <a:gd name="T4" fmla="*/ 0 w 52"/>
                    <a:gd name="T5" fmla="*/ 1 h 49"/>
                    <a:gd name="T6" fmla="*/ 0 w 52"/>
                    <a:gd name="T7" fmla="*/ 12 h 49"/>
                    <a:gd name="T8" fmla="*/ 1 w 52"/>
                    <a:gd name="T9" fmla="*/ 14 h 49"/>
                    <a:gd name="T10" fmla="*/ 38 w 52"/>
                    <a:gd name="T11" fmla="*/ 47 h 49"/>
                    <a:gd name="T12" fmla="*/ 40 w 52"/>
                    <a:gd name="T13" fmla="*/ 49 h 49"/>
                    <a:gd name="T14" fmla="*/ 50 w 52"/>
                    <a:gd name="T15" fmla="*/ 48 h 49"/>
                    <a:gd name="T16" fmla="*/ 52 w 52"/>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9">
                      <a:moveTo>
                        <a:pt x="52" y="46"/>
                      </a:moveTo>
                      <a:cubicBezTo>
                        <a:pt x="49" y="10"/>
                        <a:pt x="18" y="0"/>
                        <a:pt x="1" y="0"/>
                      </a:cubicBezTo>
                      <a:cubicBezTo>
                        <a:pt x="0" y="0"/>
                        <a:pt x="0" y="0"/>
                        <a:pt x="0" y="1"/>
                      </a:cubicBezTo>
                      <a:cubicBezTo>
                        <a:pt x="0" y="2"/>
                        <a:pt x="0" y="11"/>
                        <a:pt x="0" y="12"/>
                      </a:cubicBezTo>
                      <a:cubicBezTo>
                        <a:pt x="0" y="13"/>
                        <a:pt x="0" y="14"/>
                        <a:pt x="1" y="14"/>
                      </a:cubicBezTo>
                      <a:cubicBezTo>
                        <a:pt x="10" y="14"/>
                        <a:pt x="34" y="19"/>
                        <a:pt x="38" y="47"/>
                      </a:cubicBezTo>
                      <a:cubicBezTo>
                        <a:pt x="38" y="48"/>
                        <a:pt x="38" y="49"/>
                        <a:pt x="40" y="49"/>
                      </a:cubicBezTo>
                      <a:cubicBezTo>
                        <a:pt x="40" y="49"/>
                        <a:pt x="50" y="48"/>
                        <a:pt x="50" y="48"/>
                      </a:cubicBezTo>
                      <a:cubicBezTo>
                        <a:pt x="52" y="48"/>
                        <a:pt x="52" y="47"/>
                        <a:pt x="52" y="46"/>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sp>
            <p:nvSpPr>
              <p:cNvPr id="702" name="Freeform 252"/>
              <p:cNvSpPr>
                <a:spLocks/>
              </p:cNvSpPr>
              <p:nvPr/>
            </p:nvSpPr>
            <p:spPr bwMode="auto">
              <a:xfrm rot="5400000">
                <a:off x="11863849" y="1222685"/>
                <a:ext cx="217066" cy="368231"/>
              </a:xfrm>
              <a:custGeom>
                <a:avLst/>
                <a:gdLst>
                  <a:gd name="T0" fmla="*/ 340 w 340"/>
                  <a:gd name="T1" fmla="*/ 2 h 200"/>
                  <a:gd name="T2" fmla="*/ 340 w 340"/>
                  <a:gd name="T3" fmla="*/ 200 h 200"/>
                  <a:gd name="T4" fmla="*/ 1 w 340"/>
                  <a:gd name="T5" fmla="*/ 200 h 200"/>
                  <a:gd name="T6" fmla="*/ 0 w 340"/>
                  <a:gd name="T7" fmla="*/ 0 h 200"/>
                  <a:gd name="T8" fmla="*/ 340 w 340"/>
                  <a:gd name="T9" fmla="*/ 2 h 200"/>
                  <a:gd name="T10" fmla="*/ 340 w 340"/>
                  <a:gd name="T11" fmla="*/ 2 h 200"/>
                </a:gdLst>
                <a:ahLst/>
                <a:cxnLst>
                  <a:cxn ang="0">
                    <a:pos x="T0" y="T1"/>
                  </a:cxn>
                  <a:cxn ang="0">
                    <a:pos x="T2" y="T3"/>
                  </a:cxn>
                  <a:cxn ang="0">
                    <a:pos x="T4" y="T5"/>
                  </a:cxn>
                  <a:cxn ang="0">
                    <a:pos x="T6" y="T7"/>
                  </a:cxn>
                  <a:cxn ang="0">
                    <a:pos x="T8" y="T9"/>
                  </a:cxn>
                  <a:cxn ang="0">
                    <a:pos x="T10" y="T11"/>
                  </a:cxn>
                </a:cxnLst>
                <a:rect l="0" t="0" r="r" b="b"/>
                <a:pathLst>
                  <a:path w="340" h="200">
                    <a:moveTo>
                      <a:pt x="340" y="2"/>
                    </a:moveTo>
                    <a:cubicBezTo>
                      <a:pt x="340" y="200"/>
                      <a:pt x="340" y="200"/>
                      <a:pt x="340" y="200"/>
                    </a:cubicBezTo>
                    <a:cubicBezTo>
                      <a:pt x="1" y="200"/>
                      <a:pt x="1" y="200"/>
                      <a:pt x="1" y="200"/>
                    </a:cubicBezTo>
                    <a:cubicBezTo>
                      <a:pt x="1" y="134"/>
                      <a:pt x="0" y="0"/>
                      <a:pt x="0" y="0"/>
                    </a:cubicBezTo>
                    <a:cubicBezTo>
                      <a:pt x="340" y="2"/>
                      <a:pt x="340" y="2"/>
                      <a:pt x="340" y="2"/>
                    </a:cubicBezTo>
                    <a:cubicBezTo>
                      <a:pt x="340" y="2"/>
                      <a:pt x="340" y="2"/>
                      <a:pt x="340" y="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703" name="Group 702"/>
              <p:cNvGrpSpPr/>
              <p:nvPr/>
            </p:nvGrpSpPr>
            <p:grpSpPr>
              <a:xfrm rot="16200000">
                <a:off x="11860368" y="1212586"/>
                <a:ext cx="241462" cy="385663"/>
                <a:chOff x="11866434" y="1203525"/>
                <a:chExt cx="241462" cy="385663"/>
              </a:xfrm>
            </p:grpSpPr>
            <p:sp>
              <p:nvSpPr>
                <p:cNvPr id="709" name="Freeform 253"/>
                <p:cNvSpPr>
                  <a:spLocks noEditPoints="1"/>
                </p:cNvSpPr>
                <p:nvPr/>
              </p:nvSpPr>
              <p:spPr bwMode="auto">
                <a:xfrm rot="5400000">
                  <a:off x="11794333" y="1275626"/>
                  <a:ext cx="385663" cy="241462"/>
                </a:xfrm>
                <a:custGeom>
                  <a:avLst/>
                  <a:gdLst>
                    <a:gd name="T0" fmla="*/ 346 w 352"/>
                    <a:gd name="T1" fmla="*/ 212 h 212"/>
                    <a:gd name="T2" fmla="*/ 7 w 352"/>
                    <a:gd name="T3" fmla="*/ 212 h 212"/>
                    <a:gd name="T4" fmla="*/ 1 w 352"/>
                    <a:gd name="T5" fmla="*/ 206 h 212"/>
                    <a:gd name="T6" fmla="*/ 0 w 352"/>
                    <a:gd name="T7" fmla="*/ 6 h 212"/>
                    <a:gd name="T8" fmla="*/ 2 w 352"/>
                    <a:gd name="T9" fmla="*/ 2 h 212"/>
                    <a:gd name="T10" fmla="*/ 6 w 352"/>
                    <a:gd name="T11" fmla="*/ 0 h 212"/>
                    <a:gd name="T12" fmla="*/ 6 w 352"/>
                    <a:gd name="T13" fmla="*/ 0 h 212"/>
                    <a:gd name="T14" fmla="*/ 346 w 352"/>
                    <a:gd name="T15" fmla="*/ 2 h 212"/>
                    <a:gd name="T16" fmla="*/ 352 w 352"/>
                    <a:gd name="T17" fmla="*/ 8 h 212"/>
                    <a:gd name="T18" fmla="*/ 352 w 352"/>
                    <a:gd name="T19" fmla="*/ 206 h 212"/>
                    <a:gd name="T20" fmla="*/ 346 w 352"/>
                    <a:gd name="T21" fmla="*/ 212 h 212"/>
                    <a:gd name="T22" fmla="*/ 13 w 352"/>
                    <a:gd name="T23" fmla="*/ 200 h 212"/>
                    <a:gd name="T24" fmla="*/ 340 w 352"/>
                    <a:gd name="T25" fmla="*/ 200 h 212"/>
                    <a:gd name="T26" fmla="*/ 340 w 352"/>
                    <a:gd name="T27" fmla="*/ 14 h 212"/>
                    <a:gd name="T28" fmla="*/ 12 w 352"/>
                    <a:gd name="T29" fmla="*/ 12 h 212"/>
                    <a:gd name="T30" fmla="*/ 13 w 352"/>
                    <a:gd name="T31" fmla="*/ 20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2" h="212">
                      <a:moveTo>
                        <a:pt x="346" y="212"/>
                      </a:moveTo>
                      <a:cubicBezTo>
                        <a:pt x="7" y="212"/>
                        <a:pt x="7" y="212"/>
                        <a:pt x="7" y="212"/>
                      </a:cubicBezTo>
                      <a:cubicBezTo>
                        <a:pt x="4" y="212"/>
                        <a:pt x="1" y="209"/>
                        <a:pt x="1" y="206"/>
                      </a:cubicBezTo>
                      <a:cubicBezTo>
                        <a:pt x="1" y="141"/>
                        <a:pt x="0" y="7"/>
                        <a:pt x="0" y="6"/>
                      </a:cubicBezTo>
                      <a:cubicBezTo>
                        <a:pt x="0" y="4"/>
                        <a:pt x="1" y="3"/>
                        <a:pt x="2" y="2"/>
                      </a:cubicBezTo>
                      <a:cubicBezTo>
                        <a:pt x="3" y="1"/>
                        <a:pt x="5" y="0"/>
                        <a:pt x="6" y="0"/>
                      </a:cubicBezTo>
                      <a:cubicBezTo>
                        <a:pt x="6" y="0"/>
                        <a:pt x="6" y="0"/>
                        <a:pt x="6" y="0"/>
                      </a:cubicBezTo>
                      <a:cubicBezTo>
                        <a:pt x="346" y="2"/>
                        <a:pt x="346" y="2"/>
                        <a:pt x="346" y="2"/>
                      </a:cubicBezTo>
                      <a:cubicBezTo>
                        <a:pt x="349" y="2"/>
                        <a:pt x="352" y="5"/>
                        <a:pt x="352" y="8"/>
                      </a:cubicBezTo>
                      <a:cubicBezTo>
                        <a:pt x="352" y="206"/>
                        <a:pt x="352" y="206"/>
                        <a:pt x="352" y="206"/>
                      </a:cubicBezTo>
                      <a:cubicBezTo>
                        <a:pt x="352" y="209"/>
                        <a:pt x="349" y="212"/>
                        <a:pt x="346" y="212"/>
                      </a:cubicBezTo>
                      <a:close/>
                      <a:moveTo>
                        <a:pt x="13" y="200"/>
                      </a:moveTo>
                      <a:cubicBezTo>
                        <a:pt x="340" y="200"/>
                        <a:pt x="340" y="200"/>
                        <a:pt x="340" y="200"/>
                      </a:cubicBezTo>
                      <a:cubicBezTo>
                        <a:pt x="340" y="14"/>
                        <a:pt x="340" y="14"/>
                        <a:pt x="340" y="14"/>
                      </a:cubicBezTo>
                      <a:cubicBezTo>
                        <a:pt x="12" y="12"/>
                        <a:pt x="12" y="12"/>
                        <a:pt x="12" y="12"/>
                      </a:cubicBezTo>
                      <a:cubicBezTo>
                        <a:pt x="12" y="38"/>
                        <a:pt x="13" y="142"/>
                        <a:pt x="13" y="200"/>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0" name="Freeform 254"/>
                <p:cNvSpPr>
                  <a:spLocks noEditPoints="1"/>
                </p:cNvSpPr>
                <p:nvPr/>
              </p:nvSpPr>
              <p:spPr bwMode="auto">
                <a:xfrm rot="5400000">
                  <a:off x="11895210" y="1352244"/>
                  <a:ext cx="209568" cy="188642"/>
                </a:xfrm>
                <a:custGeom>
                  <a:avLst/>
                  <a:gdLst>
                    <a:gd name="T0" fmla="*/ 157 w 192"/>
                    <a:gd name="T1" fmla="*/ 26 h 165"/>
                    <a:gd name="T2" fmla="*/ 139 w 192"/>
                    <a:gd name="T3" fmla="*/ 31 h 165"/>
                    <a:gd name="T4" fmla="*/ 90 w 192"/>
                    <a:gd name="T5" fmla="*/ 0 h 165"/>
                    <a:gd name="T6" fmla="*/ 38 w 192"/>
                    <a:gd name="T7" fmla="*/ 43 h 165"/>
                    <a:gd name="T8" fmla="*/ 27 w 192"/>
                    <a:gd name="T9" fmla="*/ 40 h 165"/>
                    <a:gd name="T10" fmla="*/ 0 w 192"/>
                    <a:gd name="T11" fmla="*/ 68 h 165"/>
                    <a:gd name="T12" fmla="*/ 27 w 192"/>
                    <a:gd name="T13" fmla="*/ 95 h 165"/>
                    <a:gd name="T14" fmla="*/ 157 w 192"/>
                    <a:gd name="T15" fmla="*/ 95 h 165"/>
                    <a:gd name="T16" fmla="*/ 192 w 192"/>
                    <a:gd name="T17" fmla="*/ 61 h 165"/>
                    <a:gd name="T18" fmla="*/ 157 w 192"/>
                    <a:gd name="T19" fmla="*/ 26 h 165"/>
                    <a:gd name="T20" fmla="*/ 125 w 192"/>
                    <a:gd name="T21" fmla="*/ 105 h 165"/>
                    <a:gd name="T22" fmla="*/ 115 w 192"/>
                    <a:gd name="T23" fmla="*/ 105 h 165"/>
                    <a:gd name="T24" fmla="*/ 115 w 192"/>
                    <a:gd name="T25" fmla="*/ 137 h 165"/>
                    <a:gd name="T26" fmla="*/ 96 w 192"/>
                    <a:gd name="T27" fmla="*/ 152 h 165"/>
                    <a:gd name="T28" fmla="*/ 77 w 192"/>
                    <a:gd name="T29" fmla="*/ 137 h 165"/>
                    <a:gd name="T30" fmla="*/ 77 w 192"/>
                    <a:gd name="T31" fmla="*/ 105 h 165"/>
                    <a:gd name="T32" fmla="*/ 67 w 192"/>
                    <a:gd name="T33" fmla="*/ 105 h 165"/>
                    <a:gd name="T34" fmla="*/ 67 w 192"/>
                    <a:gd name="T35" fmla="*/ 131 h 165"/>
                    <a:gd name="T36" fmla="*/ 52 w 192"/>
                    <a:gd name="T37" fmla="*/ 131 h 165"/>
                    <a:gd name="T38" fmla="*/ 96 w 192"/>
                    <a:gd name="T39" fmla="*/ 165 h 165"/>
                    <a:gd name="T40" fmla="*/ 139 w 192"/>
                    <a:gd name="T41" fmla="*/ 131 h 165"/>
                    <a:gd name="T42" fmla="*/ 125 w 192"/>
                    <a:gd name="T43" fmla="*/ 131 h 165"/>
                    <a:gd name="T44" fmla="*/ 125 w 192"/>
                    <a:gd name="T45" fmla="*/ 105 h 165"/>
                    <a:gd name="T46" fmla="*/ 125 w 192"/>
                    <a:gd name="T47" fmla="*/ 10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65">
                      <a:moveTo>
                        <a:pt x="157" y="26"/>
                      </a:moveTo>
                      <a:cubicBezTo>
                        <a:pt x="150" y="26"/>
                        <a:pt x="144" y="28"/>
                        <a:pt x="139" y="31"/>
                      </a:cubicBezTo>
                      <a:cubicBezTo>
                        <a:pt x="130" y="13"/>
                        <a:pt x="112" y="0"/>
                        <a:pt x="90" y="0"/>
                      </a:cubicBezTo>
                      <a:cubicBezTo>
                        <a:pt x="65" y="0"/>
                        <a:pt x="43" y="18"/>
                        <a:pt x="38" y="43"/>
                      </a:cubicBezTo>
                      <a:cubicBezTo>
                        <a:pt x="35" y="41"/>
                        <a:pt x="31" y="40"/>
                        <a:pt x="27" y="40"/>
                      </a:cubicBezTo>
                      <a:cubicBezTo>
                        <a:pt x="12" y="40"/>
                        <a:pt x="0" y="53"/>
                        <a:pt x="0" y="68"/>
                      </a:cubicBezTo>
                      <a:cubicBezTo>
                        <a:pt x="0" y="83"/>
                        <a:pt x="12" y="95"/>
                        <a:pt x="27" y="95"/>
                      </a:cubicBezTo>
                      <a:cubicBezTo>
                        <a:pt x="157" y="95"/>
                        <a:pt x="157" y="95"/>
                        <a:pt x="157" y="95"/>
                      </a:cubicBezTo>
                      <a:cubicBezTo>
                        <a:pt x="176" y="95"/>
                        <a:pt x="192" y="80"/>
                        <a:pt x="192" y="61"/>
                      </a:cubicBezTo>
                      <a:cubicBezTo>
                        <a:pt x="192" y="42"/>
                        <a:pt x="176" y="26"/>
                        <a:pt x="157" y="26"/>
                      </a:cubicBezTo>
                      <a:close/>
                      <a:moveTo>
                        <a:pt x="125" y="105"/>
                      </a:moveTo>
                      <a:cubicBezTo>
                        <a:pt x="115" y="105"/>
                        <a:pt x="115" y="105"/>
                        <a:pt x="115" y="105"/>
                      </a:cubicBezTo>
                      <a:cubicBezTo>
                        <a:pt x="115" y="137"/>
                        <a:pt x="115" y="137"/>
                        <a:pt x="115" y="137"/>
                      </a:cubicBezTo>
                      <a:cubicBezTo>
                        <a:pt x="96" y="152"/>
                        <a:pt x="96" y="152"/>
                        <a:pt x="96" y="152"/>
                      </a:cubicBezTo>
                      <a:cubicBezTo>
                        <a:pt x="77" y="137"/>
                        <a:pt x="77" y="137"/>
                        <a:pt x="77" y="137"/>
                      </a:cubicBezTo>
                      <a:cubicBezTo>
                        <a:pt x="77" y="105"/>
                        <a:pt x="77" y="105"/>
                        <a:pt x="77" y="105"/>
                      </a:cubicBezTo>
                      <a:cubicBezTo>
                        <a:pt x="67" y="105"/>
                        <a:pt x="67" y="105"/>
                        <a:pt x="67" y="105"/>
                      </a:cubicBezTo>
                      <a:cubicBezTo>
                        <a:pt x="67" y="131"/>
                        <a:pt x="67" y="131"/>
                        <a:pt x="67" y="131"/>
                      </a:cubicBezTo>
                      <a:cubicBezTo>
                        <a:pt x="52" y="131"/>
                        <a:pt x="52" y="131"/>
                        <a:pt x="52" y="131"/>
                      </a:cubicBezTo>
                      <a:cubicBezTo>
                        <a:pt x="96" y="165"/>
                        <a:pt x="96" y="165"/>
                        <a:pt x="96" y="165"/>
                      </a:cubicBezTo>
                      <a:cubicBezTo>
                        <a:pt x="139" y="131"/>
                        <a:pt x="139" y="131"/>
                        <a:pt x="139" y="131"/>
                      </a:cubicBezTo>
                      <a:cubicBezTo>
                        <a:pt x="125" y="131"/>
                        <a:pt x="125" y="131"/>
                        <a:pt x="125" y="131"/>
                      </a:cubicBezTo>
                      <a:cubicBezTo>
                        <a:pt x="125" y="105"/>
                        <a:pt x="125" y="105"/>
                        <a:pt x="125" y="105"/>
                      </a:cubicBezTo>
                      <a:cubicBezTo>
                        <a:pt x="125" y="105"/>
                        <a:pt x="125" y="105"/>
                        <a:pt x="125" y="105"/>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11" name="Freeform 255"/>
                <p:cNvSpPr>
                  <a:spLocks noEditPoints="1"/>
                </p:cNvSpPr>
                <p:nvPr/>
              </p:nvSpPr>
              <p:spPr bwMode="auto">
                <a:xfrm rot="5400000">
                  <a:off x="11896345" y="1249129"/>
                  <a:ext cx="107695" cy="95075"/>
                </a:xfrm>
                <a:custGeom>
                  <a:avLst/>
                  <a:gdLst>
                    <a:gd name="T0" fmla="*/ 95 w 98"/>
                    <a:gd name="T1" fmla="*/ 0 h 83"/>
                    <a:gd name="T2" fmla="*/ 3 w 98"/>
                    <a:gd name="T3" fmla="*/ 0 h 83"/>
                    <a:gd name="T4" fmla="*/ 0 w 98"/>
                    <a:gd name="T5" fmla="*/ 3 h 83"/>
                    <a:gd name="T6" fmla="*/ 0 w 98"/>
                    <a:gd name="T7" fmla="*/ 69 h 83"/>
                    <a:gd name="T8" fmla="*/ 3 w 98"/>
                    <a:gd name="T9" fmla="*/ 72 h 83"/>
                    <a:gd name="T10" fmla="*/ 33 w 98"/>
                    <a:gd name="T11" fmla="*/ 72 h 83"/>
                    <a:gd name="T12" fmla="*/ 33 w 98"/>
                    <a:gd name="T13" fmla="*/ 77 h 83"/>
                    <a:gd name="T14" fmla="*/ 27 w 98"/>
                    <a:gd name="T15" fmla="*/ 83 h 83"/>
                    <a:gd name="T16" fmla="*/ 73 w 98"/>
                    <a:gd name="T17" fmla="*/ 83 h 83"/>
                    <a:gd name="T18" fmla="*/ 67 w 98"/>
                    <a:gd name="T19" fmla="*/ 77 h 83"/>
                    <a:gd name="T20" fmla="*/ 67 w 98"/>
                    <a:gd name="T21" fmla="*/ 72 h 83"/>
                    <a:gd name="T22" fmla="*/ 95 w 98"/>
                    <a:gd name="T23" fmla="*/ 72 h 83"/>
                    <a:gd name="T24" fmla="*/ 98 w 98"/>
                    <a:gd name="T25" fmla="*/ 69 h 83"/>
                    <a:gd name="T26" fmla="*/ 98 w 98"/>
                    <a:gd name="T27" fmla="*/ 3 h 83"/>
                    <a:gd name="T28" fmla="*/ 95 w 98"/>
                    <a:gd name="T29" fmla="*/ 0 h 83"/>
                    <a:gd name="T30" fmla="*/ 93 w 98"/>
                    <a:gd name="T31" fmla="*/ 64 h 83"/>
                    <a:gd name="T32" fmla="*/ 90 w 98"/>
                    <a:gd name="T33" fmla="*/ 67 h 83"/>
                    <a:gd name="T34" fmla="*/ 8 w 98"/>
                    <a:gd name="T35" fmla="*/ 67 h 83"/>
                    <a:gd name="T36" fmla="*/ 6 w 98"/>
                    <a:gd name="T37" fmla="*/ 64 h 83"/>
                    <a:gd name="T38" fmla="*/ 6 w 98"/>
                    <a:gd name="T39" fmla="*/ 8 h 83"/>
                    <a:gd name="T40" fmla="*/ 8 w 98"/>
                    <a:gd name="T41" fmla="*/ 5 h 83"/>
                    <a:gd name="T42" fmla="*/ 90 w 98"/>
                    <a:gd name="T43" fmla="*/ 5 h 83"/>
                    <a:gd name="T44" fmla="*/ 93 w 98"/>
                    <a:gd name="T45" fmla="*/ 8 h 83"/>
                    <a:gd name="T46" fmla="*/ 93 w 98"/>
                    <a:gd name="T47" fmla="*/ 64 h 83"/>
                    <a:gd name="T48" fmla="*/ 93 w 98"/>
                    <a:gd name="T49" fmla="*/ 6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83">
                      <a:moveTo>
                        <a:pt x="95" y="0"/>
                      </a:moveTo>
                      <a:cubicBezTo>
                        <a:pt x="3" y="0"/>
                        <a:pt x="3" y="0"/>
                        <a:pt x="3" y="0"/>
                      </a:cubicBezTo>
                      <a:cubicBezTo>
                        <a:pt x="1" y="0"/>
                        <a:pt x="0" y="1"/>
                        <a:pt x="0" y="3"/>
                      </a:cubicBezTo>
                      <a:cubicBezTo>
                        <a:pt x="0" y="69"/>
                        <a:pt x="0" y="69"/>
                        <a:pt x="0" y="69"/>
                      </a:cubicBezTo>
                      <a:cubicBezTo>
                        <a:pt x="0" y="71"/>
                        <a:pt x="1" y="72"/>
                        <a:pt x="3" y="72"/>
                      </a:cubicBezTo>
                      <a:cubicBezTo>
                        <a:pt x="33" y="72"/>
                        <a:pt x="33" y="72"/>
                        <a:pt x="33" y="72"/>
                      </a:cubicBezTo>
                      <a:cubicBezTo>
                        <a:pt x="33" y="77"/>
                        <a:pt x="33" y="77"/>
                        <a:pt x="33" y="77"/>
                      </a:cubicBezTo>
                      <a:cubicBezTo>
                        <a:pt x="27" y="83"/>
                        <a:pt x="27" y="83"/>
                        <a:pt x="27" y="83"/>
                      </a:cubicBezTo>
                      <a:cubicBezTo>
                        <a:pt x="73" y="83"/>
                        <a:pt x="73" y="83"/>
                        <a:pt x="73" y="83"/>
                      </a:cubicBezTo>
                      <a:cubicBezTo>
                        <a:pt x="67" y="77"/>
                        <a:pt x="67" y="77"/>
                        <a:pt x="67" y="77"/>
                      </a:cubicBezTo>
                      <a:cubicBezTo>
                        <a:pt x="67" y="72"/>
                        <a:pt x="67" y="72"/>
                        <a:pt x="67" y="72"/>
                      </a:cubicBezTo>
                      <a:cubicBezTo>
                        <a:pt x="95" y="72"/>
                        <a:pt x="95" y="72"/>
                        <a:pt x="95" y="72"/>
                      </a:cubicBezTo>
                      <a:cubicBezTo>
                        <a:pt x="97" y="72"/>
                        <a:pt x="98" y="71"/>
                        <a:pt x="98" y="69"/>
                      </a:cubicBezTo>
                      <a:cubicBezTo>
                        <a:pt x="98" y="3"/>
                        <a:pt x="98" y="3"/>
                        <a:pt x="98" y="3"/>
                      </a:cubicBezTo>
                      <a:cubicBezTo>
                        <a:pt x="98" y="1"/>
                        <a:pt x="97" y="0"/>
                        <a:pt x="95" y="0"/>
                      </a:cubicBezTo>
                      <a:close/>
                      <a:moveTo>
                        <a:pt x="93" y="64"/>
                      </a:moveTo>
                      <a:cubicBezTo>
                        <a:pt x="93" y="66"/>
                        <a:pt x="91" y="67"/>
                        <a:pt x="90" y="67"/>
                      </a:cubicBezTo>
                      <a:cubicBezTo>
                        <a:pt x="8" y="67"/>
                        <a:pt x="8" y="67"/>
                        <a:pt x="8" y="67"/>
                      </a:cubicBezTo>
                      <a:cubicBezTo>
                        <a:pt x="7" y="67"/>
                        <a:pt x="6" y="66"/>
                        <a:pt x="6" y="64"/>
                      </a:cubicBezTo>
                      <a:cubicBezTo>
                        <a:pt x="6" y="8"/>
                        <a:pt x="6" y="8"/>
                        <a:pt x="6" y="8"/>
                      </a:cubicBezTo>
                      <a:cubicBezTo>
                        <a:pt x="6" y="6"/>
                        <a:pt x="7" y="5"/>
                        <a:pt x="8" y="5"/>
                      </a:cubicBezTo>
                      <a:cubicBezTo>
                        <a:pt x="90" y="5"/>
                        <a:pt x="90" y="5"/>
                        <a:pt x="90" y="5"/>
                      </a:cubicBezTo>
                      <a:cubicBezTo>
                        <a:pt x="91" y="5"/>
                        <a:pt x="93" y="6"/>
                        <a:pt x="93" y="8"/>
                      </a:cubicBezTo>
                      <a:cubicBezTo>
                        <a:pt x="93" y="64"/>
                        <a:pt x="93" y="64"/>
                        <a:pt x="93" y="64"/>
                      </a:cubicBezTo>
                      <a:cubicBezTo>
                        <a:pt x="93" y="64"/>
                        <a:pt x="93" y="64"/>
                        <a:pt x="93" y="64"/>
                      </a:cubicBezTo>
                      <a:close/>
                    </a:path>
                  </a:pathLst>
                </a:custGeom>
                <a:solidFill>
                  <a:srgbClr val="682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sp>
            <p:nvSpPr>
              <p:cNvPr id="704" name="Freeform 256"/>
              <p:cNvSpPr>
                <a:spLocks/>
              </p:cNvSpPr>
              <p:nvPr/>
            </p:nvSpPr>
            <p:spPr bwMode="auto">
              <a:xfrm rot="5400000">
                <a:off x="11859127" y="1846436"/>
                <a:ext cx="135346" cy="141859"/>
              </a:xfrm>
              <a:custGeom>
                <a:avLst/>
                <a:gdLst>
                  <a:gd name="T0" fmla="*/ 93 w 93"/>
                  <a:gd name="T1" fmla="*/ 23 h 94"/>
                  <a:gd name="T2" fmla="*/ 46 w 93"/>
                  <a:gd name="T3" fmla="*/ 23 h 94"/>
                  <a:gd name="T4" fmla="*/ 46 w 93"/>
                  <a:gd name="T5" fmla="*/ 0 h 94"/>
                  <a:gd name="T6" fmla="*/ 0 w 93"/>
                  <a:gd name="T7" fmla="*/ 47 h 94"/>
                  <a:gd name="T8" fmla="*/ 46 w 93"/>
                  <a:gd name="T9" fmla="*/ 94 h 94"/>
                  <a:gd name="T10" fmla="*/ 46 w 93"/>
                  <a:gd name="T11" fmla="*/ 70 h 94"/>
                  <a:gd name="T12" fmla="*/ 93 w 93"/>
                  <a:gd name="T13" fmla="*/ 70 h 94"/>
                  <a:gd name="T14" fmla="*/ 93 w 93"/>
                  <a:gd name="T15" fmla="*/ 23 h 94"/>
                  <a:gd name="T16" fmla="*/ 93 w 93"/>
                  <a:gd name="T17"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4">
                    <a:moveTo>
                      <a:pt x="93" y="23"/>
                    </a:moveTo>
                    <a:lnTo>
                      <a:pt x="46" y="23"/>
                    </a:lnTo>
                    <a:lnTo>
                      <a:pt x="46" y="0"/>
                    </a:lnTo>
                    <a:lnTo>
                      <a:pt x="0" y="47"/>
                    </a:lnTo>
                    <a:lnTo>
                      <a:pt x="46" y="94"/>
                    </a:lnTo>
                    <a:lnTo>
                      <a:pt x="46" y="70"/>
                    </a:lnTo>
                    <a:lnTo>
                      <a:pt x="93" y="70"/>
                    </a:lnTo>
                    <a:lnTo>
                      <a:pt x="93" y="23"/>
                    </a:lnTo>
                    <a:lnTo>
                      <a:pt x="93" y="23"/>
                    </a:lnTo>
                    <a:close/>
                  </a:path>
                </a:pathLst>
              </a:cu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nvGrpSpPr>
              <p:cNvPr id="705" name="Group 704"/>
              <p:cNvGrpSpPr/>
              <p:nvPr/>
            </p:nvGrpSpPr>
            <p:grpSpPr>
              <a:xfrm rot="16200000">
                <a:off x="10847771" y="1945572"/>
                <a:ext cx="239952" cy="64035"/>
                <a:chOff x="10769293" y="1881709"/>
                <a:chExt cx="239952" cy="64035"/>
              </a:xfrm>
            </p:grpSpPr>
            <p:sp>
              <p:nvSpPr>
                <p:cNvPr id="707" name="Freeform 257"/>
                <p:cNvSpPr>
                  <a:spLocks noEditPoints="1"/>
                </p:cNvSpPr>
                <p:nvPr/>
              </p:nvSpPr>
              <p:spPr bwMode="auto">
                <a:xfrm rot="5400000">
                  <a:off x="10857251" y="1793751"/>
                  <a:ext cx="64035" cy="239952"/>
                </a:xfrm>
                <a:custGeom>
                  <a:avLst/>
                  <a:gdLst>
                    <a:gd name="T0" fmla="*/ 49 w 58"/>
                    <a:gd name="T1" fmla="*/ 0 h 211"/>
                    <a:gd name="T2" fmla="*/ 9 w 58"/>
                    <a:gd name="T3" fmla="*/ 0 h 211"/>
                    <a:gd name="T4" fmla="*/ 0 w 58"/>
                    <a:gd name="T5" fmla="*/ 9 h 211"/>
                    <a:gd name="T6" fmla="*/ 0 w 58"/>
                    <a:gd name="T7" fmla="*/ 202 h 211"/>
                    <a:gd name="T8" fmla="*/ 9 w 58"/>
                    <a:gd name="T9" fmla="*/ 211 h 211"/>
                    <a:gd name="T10" fmla="*/ 49 w 58"/>
                    <a:gd name="T11" fmla="*/ 211 h 211"/>
                    <a:gd name="T12" fmla="*/ 58 w 58"/>
                    <a:gd name="T13" fmla="*/ 202 h 211"/>
                    <a:gd name="T14" fmla="*/ 58 w 58"/>
                    <a:gd name="T15" fmla="*/ 9 h 211"/>
                    <a:gd name="T16" fmla="*/ 49 w 58"/>
                    <a:gd name="T17" fmla="*/ 0 h 211"/>
                    <a:gd name="T18" fmla="*/ 13 w 58"/>
                    <a:gd name="T19" fmla="*/ 19 h 211"/>
                    <a:gd name="T20" fmla="*/ 19 w 58"/>
                    <a:gd name="T21" fmla="*/ 14 h 211"/>
                    <a:gd name="T22" fmla="*/ 39 w 58"/>
                    <a:gd name="T23" fmla="*/ 14 h 211"/>
                    <a:gd name="T24" fmla="*/ 44 w 58"/>
                    <a:gd name="T25" fmla="*/ 19 h 211"/>
                    <a:gd name="T26" fmla="*/ 44 w 58"/>
                    <a:gd name="T27" fmla="*/ 142 h 211"/>
                    <a:gd name="T28" fmla="*/ 39 w 58"/>
                    <a:gd name="T29" fmla="*/ 147 h 211"/>
                    <a:gd name="T30" fmla="*/ 19 w 58"/>
                    <a:gd name="T31" fmla="*/ 147 h 211"/>
                    <a:gd name="T32" fmla="*/ 13 w 58"/>
                    <a:gd name="T33" fmla="*/ 142 h 211"/>
                    <a:gd name="T34" fmla="*/ 13 w 58"/>
                    <a:gd name="T35" fmla="*/ 19 h 211"/>
                    <a:gd name="T36" fmla="*/ 13 w 58"/>
                    <a:gd name="T37" fmla="*/ 19 h 211"/>
                    <a:gd name="T38" fmla="*/ 29 w 58"/>
                    <a:gd name="T39" fmla="*/ 199 h 211"/>
                    <a:gd name="T40" fmla="*/ 13 w 58"/>
                    <a:gd name="T41" fmla="*/ 184 h 211"/>
                    <a:gd name="T42" fmla="*/ 29 w 58"/>
                    <a:gd name="T43" fmla="*/ 168 h 211"/>
                    <a:gd name="T44" fmla="*/ 44 w 58"/>
                    <a:gd name="T45" fmla="*/ 184 h 211"/>
                    <a:gd name="T46" fmla="*/ 29 w 58"/>
                    <a:gd name="T47" fmla="*/ 19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211">
                      <a:moveTo>
                        <a:pt x="49" y="0"/>
                      </a:moveTo>
                      <a:cubicBezTo>
                        <a:pt x="9" y="0"/>
                        <a:pt x="9" y="0"/>
                        <a:pt x="9" y="0"/>
                      </a:cubicBezTo>
                      <a:cubicBezTo>
                        <a:pt x="4" y="0"/>
                        <a:pt x="0" y="4"/>
                        <a:pt x="0" y="9"/>
                      </a:cubicBezTo>
                      <a:cubicBezTo>
                        <a:pt x="0" y="202"/>
                        <a:pt x="0" y="202"/>
                        <a:pt x="0" y="202"/>
                      </a:cubicBezTo>
                      <a:cubicBezTo>
                        <a:pt x="0" y="207"/>
                        <a:pt x="4" y="211"/>
                        <a:pt x="9" y="211"/>
                      </a:cubicBezTo>
                      <a:cubicBezTo>
                        <a:pt x="49" y="211"/>
                        <a:pt x="49" y="211"/>
                        <a:pt x="49" y="211"/>
                      </a:cubicBezTo>
                      <a:cubicBezTo>
                        <a:pt x="54" y="211"/>
                        <a:pt x="58" y="207"/>
                        <a:pt x="58" y="202"/>
                      </a:cubicBezTo>
                      <a:cubicBezTo>
                        <a:pt x="58" y="9"/>
                        <a:pt x="58" y="9"/>
                        <a:pt x="58" y="9"/>
                      </a:cubicBezTo>
                      <a:cubicBezTo>
                        <a:pt x="58" y="4"/>
                        <a:pt x="54" y="0"/>
                        <a:pt x="49" y="0"/>
                      </a:cubicBezTo>
                      <a:close/>
                      <a:moveTo>
                        <a:pt x="13" y="19"/>
                      </a:moveTo>
                      <a:cubicBezTo>
                        <a:pt x="13" y="17"/>
                        <a:pt x="16" y="14"/>
                        <a:pt x="19" y="14"/>
                      </a:cubicBezTo>
                      <a:cubicBezTo>
                        <a:pt x="39" y="14"/>
                        <a:pt x="39" y="14"/>
                        <a:pt x="39" y="14"/>
                      </a:cubicBezTo>
                      <a:cubicBezTo>
                        <a:pt x="42" y="14"/>
                        <a:pt x="44" y="17"/>
                        <a:pt x="44" y="19"/>
                      </a:cubicBezTo>
                      <a:cubicBezTo>
                        <a:pt x="44" y="142"/>
                        <a:pt x="44" y="142"/>
                        <a:pt x="44" y="142"/>
                      </a:cubicBezTo>
                      <a:cubicBezTo>
                        <a:pt x="44" y="145"/>
                        <a:pt x="42" y="147"/>
                        <a:pt x="39" y="147"/>
                      </a:cubicBezTo>
                      <a:cubicBezTo>
                        <a:pt x="19" y="147"/>
                        <a:pt x="19" y="147"/>
                        <a:pt x="19" y="147"/>
                      </a:cubicBezTo>
                      <a:cubicBezTo>
                        <a:pt x="16" y="147"/>
                        <a:pt x="13" y="145"/>
                        <a:pt x="13" y="142"/>
                      </a:cubicBezTo>
                      <a:cubicBezTo>
                        <a:pt x="13" y="19"/>
                        <a:pt x="13" y="19"/>
                        <a:pt x="13" y="19"/>
                      </a:cubicBezTo>
                      <a:cubicBezTo>
                        <a:pt x="13" y="19"/>
                        <a:pt x="13" y="19"/>
                        <a:pt x="13" y="19"/>
                      </a:cubicBezTo>
                      <a:close/>
                      <a:moveTo>
                        <a:pt x="29" y="199"/>
                      </a:moveTo>
                      <a:cubicBezTo>
                        <a:pt x="20" y="199"/>
                        <a:pt x="13" y="192"/>
                        <a:pt x="13" y="184"/>
                      </a:cubicBezTo>
                      <a:cubicBezTo>
                        <a:pt x="13" y="175"/>
                        <a:pt x="20" y="168"/>
                        <a:pt x="29" y="168"/>
                      </a:cubicBezTo>
                      <a:cubicBezTo>
                        <a:pt x="37" y="168"/>
                        <a:pt x="44" y="175"/>
                        <a:pt x="44" y="184"/>
                      </a:cubicBezTo>
                      <a:cubicBezTo>
                        <a:pt x="44" y="192"/>
                        <a:pt x="37" y="199"/>
                        <a:pt x="29" y="199"/>
                      </a:cubicBezTo>
                      <a:close/>
                    </a:path>
                  </a:pathLst>
                </a:cu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708" name="Oval 707"/>
                <p:cNvSpPr>
                  <a:spLocks noChangeArrowheads="1"/>
                </p:cNvSpPr>
                <p:nvPr/>
              </p:nvSpPr>
              <p:spPr bwMode="auto">
                <a:xfrm rot="5400000">
                  <a:off x="10792251" y="1904672"/>
                  <a:ext cx="17464" cy="18110"/>
                </a:xfrm>
                <a:prstGeom prst="ellipse">
                  <a:avLst/>
                </a:prstGeom>
                <a:solidFill>
                  <a:srgbClr val="2272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sp>
            <p:nvSpPr>
              <p:cNvPr id="706" name="Freeform 259"/>
              <p:cNvSpPr>
                <a:spLocks/>
              </p:cNvSpPr>
              <p:nvPr/>
            </p:nvSpPr>
            <p:spPr bwMode="auto">
              <a:xfrm>
                <a:off x="10332565" y="1583717"/>
                <a:ext cx="116985" cy="105399"/>
              </a:xfrm>
              <a:custGeom>
                <a:avLst/>
                <a:gdLst>
                  <a:gd name="T0" fmla="*/ 66 w 80"/>
                  <a:gd name="T1" fmla="*/ 0 h 70"/>
                  <a:gd name="T2" fmla="*/ 80 w 80"/>
                  <a:gd name="T3" fmla="*/ 14 h 70"/>
                  <a:gd name="T4" fmla="*/ 66 w 80"/>
                  <a:gd name="T5" fmla="*/ 28 h 70"/>
                  <a:gd name="T6" fmla="*/ 53 w 80"/>
                  <a:gd name="T7" fmla="*/ 19 h 70"/>
                  <a:gd name="T8" fmla="*/ 53 w 80"/>
                  <a:gd name="T9" fmla="*/ 18 h 70"/>
                  <a:gd name="T10" fmla="*/ 28 w 80"/>
                  <a:gd name="T11" fmla="*/ 28 h 70"/>
                  <a:gd name="T12" fmla="*/ 28 w 80"/>
                  <a:gd name="T13" fmla="*/ 29 h 70"/>
                  <a:gd name="T14" fmla="*/ 26 w 80"/>
                  <a:gd name="T15" fmla="*/ 34 h 70"/>
                  <a:gd name="T16" fmla="*/ 51 w 80"/>
                  <a:gd name="T17" fmla="*/ 49 h 70"/>
                  <a:gd name="T18" fmla="*/ 53 w 80"/>
                  <a:gd name="T19" fmla="*/ 46 h 70"/>
                  <a:gd name="T20" fmla="*/ 63 w 80"/>
                  <a:gd name="T21" fmla="*/ 42 h 70"/>
                  <a:gd name="T22" fmla="*/ 77 w 80"/>
                  <a:gd name="T23" fmla="*/ 56 h 70"/>
                  <a:gd name="T24" fmla="*/ 63 w 80"/>
                  <a:gd name="T25" fmla="*/ 70 h 70"/>
                  <a:gd name="T26" fmla="*/ 49 w 80"/>
                  <a:gd name="T27" fmla="*/ 56 h 70"/>
                  <a:gd name="T28" fmla="*/ 49 w 80"/>
                  <a:gd name="T29" fmla="*/ 55 h 70"/>
                  <a:gd name="T30" fmla="*/ 23 w 80"/>
                  <a:gd name="T31" fmla="*/ 40 h 70"/>
                  <a:gd name="T32" fmla="*/ 20 w 80"/>
                  <a:gd name="T33" fmla="*/ 42 h 70"/>
                  <a:gd name="T34" fmla="*/ 14 w 80"/>
                  <a:gd name="T35" fmla="*/ 43 h 70"/>
                  <a:gd name="T36" fmla="*/ 0 w 80"/>
                  <a:gd name="T37" fmla="*/ 29 h 70"/>
                  <a:gd name="T38" fmla="*/ 14 w 80"/>
                  <a:gd name="T39" fmla="*/ 15 h 70"/>
                  <a:gd name="T40" fmla="*/ 24 w 80"/>
                  <a:gd name="T41" fmla="*/ 19 h 70"/>
                  <a:gd name="T42" fmla="*/ 26 w 80"/>
                  <a:gd name="T43" fmla="*/ 21 h 70"/>
                  <a:gd name="T44" fmla="*/ 52 w 80"/>
                  <a:gd name="T45" fmla="*/ 12 h 70"/>
                  <a:gd name="T46" fmla="*/ 53 w 80"/>
                  <a:gd name="T47" fmla="*/ 8 h 70"/>
                  <a:gd name="T48" fmla="*/ 66 w 80"/>
                  <a:gd name="T4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 h="70">
                    <a:moveTo>
                      <a:pt x="66" y="0"/>
                    </a:moveTo>
                    <a:cubicBezTo>
                      <a:pt x="73" y="0"/>
                      <a:pt x="80" y="6"/>
                      <a:pt x="80" y="14"/>
                    </a:cubicBezTo>
                    <a:cubicBezTo>
                      <a:pt x="80" y="22"/>
                      <a:pt x="73" y="28"/>
                      <a:pt x="66" y="28"/>
                    </a:cubicBezTo>
                    <a:cubicBezTo>
                      <a:pt x="60" y="28"/>
                      <a:pt x="55" y="24"/>
                      <a:pt x="53" y="19"/>
                    </a:cubicBezTo>
                    <a:cubicBezTo>
                      <a:pt x="53" y="18"/>
                      <a:pt x="53" y="18"/>
                      <a:pt x="53" y="18"/>
                    </a:cubicBezTo>
                    <a:cubicBezTo>
                      <a:pt x="28" y="28"/>
                      <a:pt x="28" y="28"/>
                      <a:pt x="28" y="28"/>
                    </a:cubicBezTo>
                    <a:cubicBezTo>
                      <a:pt x="28" y="29"/>
                      <a:pt x="28" y="29"/>
                      <a:pt x="28" y="29"/>
                    </a:cubicBezTo>
                    <a:cubicBezTo>
                      <a:pt x="26" y="34"/>
                      <a:pt x="26" y="34"/>
                      <a:pt x="26" y="34"/>
                    </a:cubicBezTo>
                    <a:cubicBezTo>
                      <a:pt x="51" y="49"/>
                      <a:pt x="51" y="49"/>
                      <a:pt x="51" y="49"/>
                    </a:cubicBezTo>
                    <a:cubicBezTo>
                      <a:pt x="53" y="46"/>
                      <a:pt x="53" y="46"/>
                      <a:pt x="53" y="46"/>
                    </a:cubicBezTo>
                    <a:cubicBezTo>
                      <a:pt x="55" y="44"/>
                      <a:pt x="59" y="42"/>
                      <a:pt x="63" y="42"/>
                    </a:cubicBezTo>
                    <a:cubicBezTo>
                      <a:pt x="70" y="42"/>
                      <a:pt x="77" y="48"/>
                      <a:pt x="77" y="56"/>
                    </a:cubicBezTo>
                    <a:cubicBezTo>
                      <a:pt x="77" y="64"/>
                      <a:pt x="70" y="70"/>
                      <a:pt x="63" y="70"/>
                    </a:cubicBezTo>
                    <a:cubicBezTo>
                      <a:pt x="55" y="70"/>
                      <a:pt x="49" y="64"/>
                      <a:pt x="49" y="56"/>
                    </a:cubicBezTo>
                    <a:cubicBezTo>
                      <a:pt x="49" y="55"/>
                      <a:pt x="49" y="55"/>
                      <a:pt x="49" y="55"/>
                    </a:cubicBezTo>
                    <a:cubicBezTo>
                      <a:pt x="23" y="40"/>
                      <a:pt x="23" y="40"/>
                      <a:pt x="23" y="40"/>
                    </a:cubicBezTo>
                    <a:cubicBezTo>
                      <a:pt x="20" y="42"/>
                      <a:pt x="20" y="42"/>
                      <a:pt x="20" y="42"/>
                    </a:cubicBezTo>
                    <a:cubicBezTo>
                      <a:pt x="18" y="43"/>
                      <a:pt x="16" y="43"/>
                      <a:pt x="14" y="43"/>
                    </a:cubicBezTo>
                    <a:cubicBezTo>
                      <a:pt x="6" y="43"/>
                      <a:pt x="0" y="37"/>
                      <a:pt x="0" y="29"/>
                    </a:cubicBezTo>
                    <a:cubicBezTo>
                      <a:pt x="0" y="21"/>
                      <a:pt x="6" y="15"/>
                      <a:pt x="14" y="15"/>
                    </a:cubicBezTo>
                    <a:cubicBezTo>
                      <a:pt x="18" y="15"/>
                      <a:pt x="22" y="17"/>
                      <a:pt x="24" y="19"/>
                    </a:cubicBezTo>
                    <a:cubicBezTo>
                      <a:pt x="26" y="21"/>
                      <a:pt x="26" y="21"/>
                      <a:pt x="26" y="21"/>
                    </a:cubicBezTo>
                    <a:cubicBezTo>
                      <a:pt x="52" y="12"/>
                      <a:pt x="52" y="12"/>
                      <a:pt x="52" y="12"/>
                    </a:cubicBezTo>
                    <a:cubicBezTo>
                      <a:pt x="53" y="8"/>
                      <a:pt x="53" y="8"/>
                      <a:pt x="53" y="8"/>
                    </a:cubicBezTo>
                    <a:cubicBezTo>
                      <a:pt x="55" y="3"/>
                      <a:pt x="60" y="0"/>
                      <a:pt x="66" y="0"/>
                    </a:cubicBezTo>
                    <a:close/>
                  </a:path>
                </a:pathLst>
              </a:custGeom>
              <a:solidFill>
                <a:srgbClr val="DA4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nvGrpSpPr>
            <p:cNvPr id="380" name="Group 379"/>
            <p:cNvGrpSpPr/>
            <p:nvPr/>
          </p:nvGrpSpPr>
          <p:grpSpPr>
            <a:xfrm>
              <a:off x="11028859" y="4680637"/>
              <a:ext cx="1018140" cy="1001688"/>
              <a:chOff x="11146629" y="1737897"/>
              <a:chExt cx="835186" cy="821690"/>
            </a:xfrm>
          </p:grpSpPr>
          <p:sp>
            <p:nvSpPr>
              <p:cNvPr id="438" name="Rectangle 437"/>
              <p:cNvSpPr/>
              <p:nvPr/>
            </p:nvSpPr>
            <p:spPr>
              <a:xfrm>
                <a:off x="11146629" y="1737897"/>
                <a:ext cx="835186" cy="821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088105"/>
                <a:endParaRPr lang="en-US" sz="1200" dirty="0">
                  <a:solidFill>
                    <a:prstClr val="white"/>
                  </a:solidFill>
                </a:endParaRPr>
              </a:p>
            </p:txBody>
          </p:sp>
          <p:grpSp>
            <p:nvGrpSpPr>
              <p:cNvPr id="439" name="Group 438"/>
              <p:cNvGrpSpPr/>
              <p:nvPr/>
            </p:nvGrpSpPr>
            <p:grpSpPr>
              <a:xfrm>
                <a:off x="11328302" y="1917908"/>
                <a:ext cx="498726" cy="465947"/>
                <a:chOff x="10131652" y="3979813"/>
                <a:chExt cx="796500" cy="725203"/>
              </a:xfrm>
            </p:grpSpPr>
            <p:sp>
              <p:nvSpPr>
                <p:cNvPr id="440" name="Freeform 19"/>
                <p:cNvSpPr>
                  <a:spLocks/>
                </p:cNvSpPr>
                <p:nvPr/>
              </p:nvSpPr>
              <p:spPr bwMode="auto">
                <a:xfrm>
                  <a:off x="10131652" y="3979813"/>
                  <a:ext cx="562235" cy="368713"/>
                </a:xfrm>
                <a:custGeom>
                  <a:avLst/>
                  <a:gdLst>
                    <a:gd name="T0" fmla="*/ 165 w 197"/>
                    <a:gd name="T1" fmla="*/ 56 h 129"/>
                    <a:gd name="T2" fmla="*/ 165 w 197"/>
                    <a:gd name="T3" fmla="*/ 54 h 129"/>
                    <a:gd name="T4" fmla="*/ 111 w 197"/>
                    <a:gd name="T5" fmla="*/ 0 h 129"/>
                    <a:gd name="T6" fmla="*/ 66 w 197"/>
                    <a:gd name="T7" fmla="*/ 24 h 129"/>
                    <a:gd name="T8" fmla="*/ 51 w 197"/>
                    <a:gd name="T9" fmla="*/ 20 h 129"/>
                    <a:gd name="T10" fmla="*/ 34 w 197"/>
                    <a:gd name="T11" fmla="*/ 25 h 129"/>
                    <a:gd name="T12" fmla="*/ 20 w 197"/>
                    <a:gd name="T13" fmla="*/ 50 h 129"/>
                    <a:gd name="T14" fmla="*/ 0 w 197"/>
                    <a:gd name="T15" fmla="*/ 86 h 129"/>
                    <a:gd name="T16" fmla="*/ 38 w 197"/>
                    <a:gd name="T17" fmla="*/ 129 h 129"/>
                    <a:gd name="T18" fmla="*/ 43 w 197"/>
                    <a:gd name="T19" fmla="*/ 129 h 129"/>
                    <a:gd name="T20" fmla="*/ 47 w 197"/>
                    <a:gd name="T21" fmla="*/ 129 h 129"/>
                    <a:gd name="T22" fmla="*/ 136 w 197"/>
                    <a:gd name="T23" fmla="*/ 129 h 129"/>
                    <a:gd name="T24" fmla="*/ 138 w 197"/>
                    <a:gd name="T25" fmla="*/ 129 h 129"/>
                    <a:gd name="T26" fmla="*/ 140 w 197"/>
                    <a:gd name="T27" fmla="*/ 129 h 129"/>
                    <a:gd name="T28" fmla="*/ 146 w 197"/>
                    <a:gd name="T29" fmla="*/ 129 h 129"/>
                    <a:gd name="T30" fmla="*/ 160 w 197"/>
                    <a:gd name="T31" fmla="*/ 129 h 129"/>
                    <a:gd name="T32" fmla="*/ 197 w 197"/>
                    <a:gd name="T33" fmla="*/ 92 h 129"/>
                    <a:gd name="T34" fmla="*/ 165 w 197"/>
                    <a:gd name="T35" fmla="*/ 5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 h="129">
                      <a:moveTo>
                        <a:pt x="165" y="56"/>
                      </a:moveTo>
                      <a:cubicBezTo>
                        <a:pt x="165" y="56"/>
                        <a:pt x="165" y="54"/>
                        <a:pt x="165" y="54"/>
                      </a:cubicBezTo>
                      <a:cubicBezTo>
                        <a:pt x="165" y="24"/>
                        <a:pt x="141" y="0"/>
                        <a:pt x="111" y="0"/>
                      </a:cubicBezTo>
                      <a:cubicBezTo>
                        <a:pt x="92" y="0"/>
                        <a:pt x="76" y="9"/>
                        <a:pt x="66" y="24"/>
                      </a:cubicBezTo>
                      <a:cubicBezTo>
                        <a:pt x="62" y="21"/>
                        <a:pt x="57" y="20"/>
                        <a:pt x="51" y="20"/>
                      </a:cubicBezTo>
                      <a:cubicBezTo>
                        <a:pt x="45" y="20"/>
                        <a:pt x="39" y="22"/>
                        <a:pt x="34" y="25"/>
                      </a:cubicBezTo>
                      <a:cubicBezTo>
                        <a:pt x="25" y="31"/>
                        <a:pt x="20" y="40"/>
                        <a:pt x="20" y="50"/>
                      </a:cubicBezTo>
                      <a:cubicBezTo>
                        <a:pt x="8" y="58"/>
                        <a:pt x="0" y="71"/>
                        <a:pt x="0" y="86"/>
                      </a:cubicBezTo>
                      <a:cubicBezTo>
                        <a:pt x="0" y="108"/>
                        <a:pt x="17" y="126"/>
                        <a:pt x="38" y="129"/>
                      </a:cubicBezTo>
                      <a:cubicBezTo>
                        <a:pt x="40" y="129"/>
                        <a:pt x="41" y="129"/>
                        <a:pt x="43" y="129"/>
                      </a:cubicBezTo>
                      <a:cubicBezTo>
                        <a:pt x="44" y="129"/>
                        <a:pt x="46" y="129"/>
                        <a:pt x="47" y="129"/>
                      </a:cubicBezTo>
                      <a:cubicBezTo>
                        <a:pt x="67" y="129"/>
                        <a:pt x="114" y="129"/>
                        <a:pt x="136" y="129"/>
                      </a:cubicBezTo>
                      <a:cubicBezTo>
                        <a:pt x="136" y="129"/>
                        <a:pt x="137" y="129"/>
                        <a:pt x="138" y="129"/>
                      </a:cubicBezTo>
                      <a:cubicBezTo>
                        <a:pt x="140" y="129"/>
                        <a:pt x="140" y="129"/>
                        <a:pt x="140" y="129"/>
                      </a:cubicBezTo>
                      <a:cubicBezTo>
                        <a:pt x="141" y="129"/>
                        <a:pt x="144" y="129"/>
                        <a:pt x="146" y="129"/>
                      </a:cubicBezTo>
                      <a:cubicBezTo>
                        <a:pt x="160" y="129"/>
                        <a:pt x="160" y="129"/>
                        <a:pt x="160" y="129"/>
                      </a:cubicBezTo>
                      <a:cubicBezTo>
                        <a:pt x="181" y="129"/>
                        <a:pt x="197" y="112"/>
                        <a:pt x="197" y="92"/>
                      </a:cubicBezTo>
                      <a:cubicBezTo>
                        <a:pt x="197" y="74"/>
                        <a:pt x="183" y="59"/>
                        <a:pt x="165" y="56"/>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41" name="Freeform 20"/>
                <p:cNvSpPr>
                  <a:spLocks/>
                </p:cNvSpPr>
                <p:nvPr/>
              </p:nvSpPr>
              <p:spPr bwMode="auto">
                <a:xfrm>
                  <a:off x="10170357" y="4205930"/>
                  <a:ext cx="757795" cy="499086"/>
                </a:xfrm>
                <a:custGeom>
                  <a:avLst/>
                  <a:gdLst>
                    <a:gd name="T0" fmla="*/ 223 w 266"/>
                    <a:gd name="T1" fmla="*/ 77 h 175"/>
                    <a:gd name="T2" fmla="*/ 223 w 266"/>
                    <a:gd name="T3" fmla="*/ 74 h 175"/>
                    <a:gd name="T4" fmla="*/ 150 w 266"/>
                    <a:gd name="T5" fmla="*/ 0 h 175"/>
                    <a:gd name="T6" fmla="*/ 89 w 266"/>
                    <a:gd name="T7" fmla="*/ 33 h 175"/>
                    <a:gd name="T8" fmla="*/ 69 w 266"/>
                    <a:gd name="T9" fmla="*/ 28 h 175"/>
                    <a:gd name="T10" fmla="*/ 45 w 266"/>
                    <a:gd name="T11" fmla="*/ 35 h 175"/>
                    <a:gd name="T12" fmla="*/ 26 w 266"/>
                    <a:gd name="T13" fmla="*/ 69 h 175"/>
                    <a:gd name="T14" fmla="*/ 0 w 266"/>
                    <a:gd name="T15" fmla="*/ 118 h 175"/>
                    <a:gd name="T16" fmla="*/ 51 w 266"/>
                    <a:gd name="T17" fmla="*/ 175 h 175"/>
                    <a:gd name="T18" fmla="*/ 57 w 266"/>
                    <a:gd name="T19" fmla="*/ 175 h 175"/>
                    <a:gd name="T20" fmla="*/ 63 w 266"/>
                    <a:gd name="T21" fmla="*/ 175 h 175"/>
                    <a:gd name="T22" fmla="*/ 183 w 266"/>
                    <a:gd name="T23" fmla="*/ 175 h 175"/>
                    <a:gd name="T24" fmla="*/ 185 w 266"/>
                    <a:gd name="T25" fmla="*/ 175 h 175"/>
                    <a:gd name="T26" fmla="*/ 188 w 266"/>
                    <a:gd name="T27" fmla="*/ 175 h 175"/>
                    <a:gd name="T28" fmla="*/ 197 w 266"/>
                    <a:gd name="T29" fmla="*/ 175 h 175"/>
                    <a:gd name="T30" fmla="*/ 216 w 266"/>
                    <a:gd name="T31" fmla="*/ 175 h 175"/>
                    <a:gd name="T32" fmla="*/ 266 w 266"/>
                    <a:gd name="T33" fmla="*/ 126 h 175"/>
                    <a:gd name="T34" fmla="*/ 223 w 266"/>
                    <a:gd name="T35" fmla="*/ 7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6" h="175">
                      <a:moveTo>
                        <a:pt x="223" y="77"/>
                      </a:moveTo>
                      <a:cubicBezTo>
                        <a:pt x="223" y="76"/>
                        <a:pt x="223" y="75"/>
                        <a:pt x="223" y="74"/>
                      </a:cubicBezTo>
                      <a:cubicBezTo>
                        <a:pt x="223" y="33"/>
                        <a:pt x="190" y="0"/>
                        <a:pt x="150" y="0"/>
                      </a:cubicBezTo>
                      <a:cubicBezTo>
                        <a:pt x="124" y="0"/>
                        <a:pt x="102" y="14"/>
                        <a:pt x="89" y="33"/>
                      </a:cubicBezTo>
                      <a:cubicBezTo>
                        <a:pt x="83" y="30"/>
                        <a:pt x="76" y="28"/>
                        <a:pt x="69" y="28"/>
                      </a:cubicBezTo>
                      <a:cubicBezTo>
                        <a:pt x="60" y="28"/>
                        <a:pt x="52" y="30"/>
                        <a:pt x="45" y="35"/>
                      </a:cubicBezTo>
                      <a:cubicBezTo>
                        <a:pt x="34" y="42"/>
                        <a:pt x="27" y="55"/>
                        <a:pt x="26" y="69"/>
                      </a:cubicBezTo>
                      <a:cubicBezTo>
                        <a:pt x="11" y="80"/>
                        <a:pt x="0" y="98"/>
                        <a:pt x="0" y="118"/>
                      </a:cubicBezTo>
                      <a:cubicBezTo>
                        <a:pt x="0" y="147"/>
                        <a:pt x="22" y="172"/>
                        <a:pt x="51" y="175"/>
                      </a:cubicBezTo>
                      <a:cubicBezTo>
                        <a:pt x="53" y="175"/>
                        <a:pt x="56" y="175"/>
                        <a:pt x="57" y="175"/>
                      </a:cubicBezTo>
                      <a:cubicBezTo>
                        <a:pt x="59" y="175"/>
                        <a:pt x="61" y="175"/>
                        <a:pt x="63" y="175"/>
                      </a:cubicBezTo>
                      <a:cubicBezTo>
                        <a:pt x="90" y="175"/>
                        <a:pt x="153" y="175"/>
                        <a:pt x="183" y="175"/>
                      </a:cubicBezTo>
                      <a:cubicBezTo>
                        <a:pt x="184" y="175"/>
                        <a:pt x="185" y="175"/>
                        <a:pt x="185" y="175"/>
                      </a:cubicBezTo>
                      <a:cubicBezTo>
                        <a:pt x="188" y="175"/>
                        <a:pt x="188" y="175"/>
                        <a:pt x="188" y="175"/>
                      </a:cubicBezTo>
                      <a:cubicBezTo>
                        <a:pt x="190" y="175"/>
                        <a:pt x="194" y="175"/>
                        <a:pt x="197" y="175"/>
                      </a:cubicBezTo>
                      <a:cubicBezTo>
                        <a:pt x="216" y="175"/>
                        <a:pt x="216" y="175"/>
                        <a:pt x="216" y="175"/>
                      </a:cubicBezTo>
                      <a:cubicBezTo>
                        <a:pt x="244" y="175"/>
                        <a:pt x="266" y="153"/>
                        <a:pt x="266" y="126"/>
                      </a:cubicBezTo>
                      <a:cubicBezTo>
                        <a:pt x="266" y="101"/>
                        <a:pt x="247" y="81"/>
                        <a:pt x="223" y="7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grpSp>
          <p:nvGrpSpPr>
            <p:cNvPr id="381" name="Group 380"/>
            <p:cNvGrpSpPr/>
            <p:nvPr/>
          </p:nvGrpSpPr>
          <p:grpSpPr>
            <a:xfrm>
              <a:off x="11028863" y="5705291"/>
              <a:ext cx="1018187" cy="997895"/>
              <a:chOff x="11137074" y="2776123"/>
              <a:chExt cx="835222" cy="827508"/>
            </a:xfrm>
          </p:grpSpPr>
          <p:sp>
            <p:nvSpPr>
              <p:cNvPr id="408" name="Rectangle 407"/>
              <p:cNvSpPr/>
              <p:nvPr/>
            </p:nvSpPr>
            <p:spPr>
              <a:xfrm>
                <a:off x="11137110" y="2776123"/>
                <a:ext cx="835186" cy="8216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1088105"/>
                <a:endParaRPr lang="en-US" sz="1200" dirty="0">
                  <a:solidFill>
                    <a:prstClr val="white"/>
                  </a:solidFill>
                </a:endParaRPr>
              </a:p>
            </p:txBody>
          </p:sp>
          <p:grpSp>
            <p:nvGrpSpPr>
              <p:cNvPr id="409" name="Group 408"/>
              <p:cNvGrpSpPr/>
              <p:nvPr/>
            </p:nvGrpSpPr>
            <p:grpSpPr>
              <a:xfrm>
                <a:off x="11137074" y="3264425"/>
                <a:ext cx="824186" cy="339206"/>
                <a:chOff x="10027990" y="4738729"/>
                <a:chExt cx="2162197" cy="867217"/>
              </a:xfrm>
            </p:grpSpPr>
            <p:sp>
              <p:nvSpPr>
                <p:cNvPr id="410" name="Freeform 5"/>
                <p:cNvSpPr>
                  <a:spLocks/>
                </p:cNvSpPr>
                <p:nvPr/>
              </p:nvSpPr>
              <p:spPr bwMode="auto">
                <a:xfrm>
                  <a:off x="10428779" y="5276639"/>
                  <a:ext cx="30471" cy="119535"/>
                </a:xfrm>
                <a:custGeom>
                  <a:avLst/>
                  <a:gdLst>
                    <a:gd name="T0" fmla="*/ 26 w 26"/>
                    <a:gd name="T1" fmla="*/ 102 h 102"/>
                    <a:gd name="T2" fmla="*/ 26 w 26"/>
                    <a:gd name="T3" fmla="*/ 102 h 102"/>
                    <a:gd name="T4" fmla="*/ 0 w 26"/>
                    <a:gd name="T5" fmla="*/ 102 h 102"/>
                    <a:gd name="T6" fmla="*/ 0 w 26"/>
                    <a:gd name="T7" fmla="*/ 0 h 102"/>
                    <a:gd name="T8" fmla="*/ 26 w 26"/>
                    <a:gd name="T9" fmla="*/ 0 h 102"/>
                    <a:gd name="T10" fmla="*/ 26 w 26"/>
                    <a:gd name="T11" fmla="*/ 102 h 102"/>
                    <a:gd name="T12" fmla="*/ 26 w 26"/>
                    <a:gd name="T13" fmla="*/ 102 h 102"/>
                    <a:gd name="T14" fmla="*/ 26 w 26"/>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02">
                      <a:moveTo>
                        <a:pt x="26" y="102"/>
                      </a:moveTo>
                      <a:lnTo>
                        <a:pt x="26" y="102"/>
                      </a:lnTo>
                      <a:lnTo>
                        <a:pt x="0" y="102"/>
                      </a:lnTo>
                      <a:lnTo>
                        <a:pt x="0" y="0"/>
                      </a:lnTo>
                      <a:lnTo>
                        <a:pt x="26" y="0"/>
                      </a:lnTo>
                      <a:lnTo>
                        <a:pt x="26" y="102"/>
                      </a:lnTo>
                      <a:lnTo>
                        <a:pt x="26" y="102"/>
                      </a:lnTo>
                      <a:lnTo>
                        <a:pt x="26" y="10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1" name="Freeform 6"/>
                <p:cNvSpPr>
                  <a:spLocks/>
                </p:cNvSpPr>
                <p:nvPr/>
              </p:nvSpPr>
              <p:spPr bwMode="auto">
                <a:xfrm>
                  <a:off x="10363152" y="5171166"/>
                  <a:ext cx="158209" cy="159380"/>
                </a:xfrm>
                <a:custGeom>
                  <a:avLst/>
                  <a:gdLst>
                    <a:gd name="T0" fmla="*/ 97 w 97"/>
                    <a:gd name="T1" fmla="*/ 49 h 97"/>
                    <a:gd name="T2" fmla="*/ 97 w 97"/>
                    <a:gd name="T3" fmla="*/ 49 h 97"/>
                    <a:gd name="T4" fmla="*/ 49 w 97"/>
                    <a:gd name="T5" fmla="*/ 97 h 97"/>
                    <a:gd name="T6" fmla="*/ 0 w 97"/>
                    <a:gd name="T7" fmla="*/ 49 h 97"/>
                    <a:gd name="T8" fmla="*/ 49 w 97"/>
                    <a:gd name="T9" fmla="*/ 0 h 97"/>
                    <a:gd name="T10" fmla="*/ 97 w 97"/>
                    <a:gd name="T11" fmla="*/ 49 h 97"/>
                  </a:gdLst>
                  <a:ahLst/>
                  <a:cxnLst>
                    <a:cxn ang="0">
                      <a:pos x="T0" y="T1"/>
                    </a:cxn>
                    <a:cxn ang="0">
                      <a:pos x="T2" y="T3"/>
                    </a:cxn>
                    <a:cxn ang="0">
                      <a:pos x="T4" y="T5"/>
                    </a:cxn>
                    <a:cxn ang="0">
                      <a:pos x="T6" y="T7"/>
                    </a:cxn>
                    <a:cxn ang="0">
                      <a:pos x="T8" y="T9"/>
                    </a:cxn>
                    <a:cxn ang="0">
                      <a:pos x="T10" y="T11"/>
                    </a:cxn>
                  </a:cxnLst>
                  <a:rect l="0" t="0" r="r" b="b"/>
                  <a:pathLst>
                    <a:path w="97" h="97">
                      <a:moveTo>
                        <a:pt x="97" y="49"/>
                      </a:moveTo>
                      <a:cubicBezTo>
                        <a:pt x="97" y="49"/>
                        <a:pt x="97" y="49"/>
                        <a:pt x="97" y="49"/>
                      </a:cubicBezTo>
                      <a:cubicBezTo>
                        <a:pt x="97" y="75"/>
                        <a:pt x="75" y="97"/>
                        <a:pt x="49" y="97"/>
                      </a:cubicBezTo>
                      <a:cubicBezTo>
                        <a:pt x="22" y="97"/>
                        <a:pt x="0" y="75"/>
                        <a:pt x="0" y="49"/>
                      </a:cubicBezTo>
                      <a:cubicBezTo>
                        <a:pt x="0" y="22"/>
                        <a:pt x="22" y="0"/>
                        <a:pt x="49" y="0"/>
                      </a:cubicBezTo>
                      <a:cubicBezTo>
                        <a:pt x="75" y="0"/>
                        <a:pt x="97" y="22"/>
                        <a:pt x="97" y="4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2" name="Freeform 7"/>
                <p:cNvSpPr>
                  <a:spLocks/>
                </p:cNvSpPr>
                <p:nvPr/>
              </p:nvSpPr>
              <p:spPr bwMode="auto">
                <a:xfrm>
                  <a:off x="10384248" y="5089132"/>
                  <a:ext cx="116018" cy="117191"/>
                </a:xfrm>
                <a:custGeom>
                  <a:avLst/>
                  <a:gdLst>
                    <a:gd name="T0" fmla="*/ 71 w 71"/>
                    <a:gd name="T1" fmla="*/ 36 h 71"/>
                    <a:gd name="T2" fmla="*/ 71 w 71"/>
                    <a:gd name="T3" fmla="*/ 36 h 71"/>
                    <a:gd name="T4" fmla="*/ 36 w 71"/>
                    <a:gd name="T5" fmla="*/ 71 h 71"/>
                    <a:gd name="T6" fmla="*/ 0 w 71"/>
                    <a:gd name="T7" fmla="*/ 36 h 71"/>
                    <a:gd name="T8" fmla="*/ 36 w 71"/>
                    <a:gd name="T9" fmla="*/ 0 h 71"/>
                    <a:gd name="T10" fmla="*/ 71 w 71"/>
                    <a:gd name="T11" fmla="*/ 36 h 71"/>
                  </a:gdLst>
                  <a:ahLst/>
                  <a:cxnLst>
                    <a:cxn ang="0">
                      <a:pos x="T0" y="T1"/>
                    </a:cxn>
                    <a:cxn ang="0">
                      <a:pos x="T2" y="T3"/>
                    </a:cxn>
                    <a:cxn ang="0">
                      <a:pos x="T4" y="T5"/>
                    </a:cxn>
                    <a:cxn ang="0">
                      <a:pos x="T6" y="T7"/>
                    </a:cxn>
                    <a:cxn ang="0">
                      <a:pos x="T8" y="T9"/>
                    </a:cxn>
                    <a:cxn ang="0">
                      <a:pos x="T10" y="T11"/>
                    </a:cxn>
                  </a:cxnLst>
                  <a:rect l="0" t="0" r="r" b="b"/>
                  <a:pathLst>
                    <a:path w="71" h="71">
                      <a:moveTo>
                        <a:pt x="71" y="36"/>
                      </a:moveTo>
                      <a:cubicBezTo>
                        <a:pt x="71" y="36"/>
                        <a:pt x="71" y="36"/>
                        <a:pt x="71" y="36"/>
                      </a:cubicBezTo>
                      <a:cubicBezTo>
                        <a:pt x="71" y="55"/>
                        <a:pt x="55" y="71"/>
                        <a:pt x="36" y="71"/>
                      </a:cubicBezTo>
                      <a:cubicBezTo>
                        <a:pt x="16" y="71"/>
                        <a:pt x="0" y="55"/>
                        <a:pt x="0" y="36"/>
                      </a:cubicBezTo>
                      <a:cubicBezTo>
                        <a:pt x="0" y="16"/>
                        <a:pt x="16" y="0"/>
                        <a:pt x="36" y="0"/>
                      </a:cubicBezTo>
                      <a:cubicBezTo>
                        <a:pt x="55" y="0"/>
                        <a:pt x="71" y="16"/>
                        <a:pt x="71" y="3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3" name="Freeform 8"/>
                <p:cNvSpPr>
                  <a:spLocks/>
                </p:cNvSpPr>
                <p:nvPr/>
              </p:nvSpPr>
              <p:spPr bwMode="auto">
                <a:xfrm>
                  <a:off x="10027990" y="5378595"/>
                  <a:ext cx="1093390" cy="227351"/>
                </a:xfrm>
                <a:custGeom>
                  <a:avLst/>
                  <a:gdLst>
                    <a:gd name="T0" fmla="*/ 413 w 667"/>
                    <a:gd name="T1" fmla="*/ 7 h 139"/>
                    <a:gd name="T2" fmla="*/ 413 w 667"/>
                    <a:gd name="T3" fmla="*/ 7 h 139"/>
                    <a:gd name="T4" fmla="*/ 405 w 667"/>
                    <a:gd name="T5" fmla="*/ 6 h 139"/>
                    <a:gd name="T6" fmla="*/ 392 w 667"/>
                    <a:gd name="T7" fmla="*/ 22 h 139"/>
                    <a:gd name="T8" fmla="*/ 357 w 667"/>
                    <a:gd name="T9" fmla="*/ 38 h 139"/>
                    <a:gd name="T10" fmla="*/ 330 w 667"/>
                    <a:gd name="T11" fmla="*/ 23 h 139"/>
                    <a:gd name="T12" fmla="*/ 330 w 667"/>
                    <a:gd name="T13" fmla="*/ 0 h 139"/>
                    <a:gd name="T14" fmla="*/ 0 w 667"/>
                    <a:gd name="T15" fmla="*/ 139 h 139"/>
                    <a:gd name="T16" fmla="*/ 236 w 667"/>
                    <a:gd name="T17" fmla="*/ 139 h 139"/>
                    <a:gd name="T18" fmla="*/ 667 w 667"/>
                    <a:gd name="T19" fmla="*/ 139 h 139"/>
                    <a:gd name="T20" fmla="*/ 413 w 667"/>
                    <a:gd name="T21"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 h="139">
                      <a:moveTo>
                        <a:pt x="413" y="7"/>
                      </a:moveTo>
                      <a:cubicBezTo>
                        <a:pt x="413" y="7"/>
                        <a:pt x="413" y="7"/>
                        <a:pt x="413" y="7"/>
                      </a:cubicBezTo>
                      <a:cubicBezTo>
                        <a:pt x="410" y="6"/>
                        <a:pt x="408" y="6"/>
                        <a:pt x="405" y="6"/>
                      </a:cubicBezTo>
                      <a:cubicBezTo>
                        <a:pt x="401" y="12"/>
                        <a:pt x="396" y="18"/>
                        <a:pt x="392" y="22"/>
                      </a:cubicBezTo>
                      <a:cubicBezTo>
                        <a:pt x="381" y="33"/>
                        <a:pt x="371" y="38"/>
                        <a:pt x="357" y="38"/>
                      </a:cubicBezTo>
                      <a:cubicBezTo>
                        <a:pt x="344" y="38"/>
                        <a:pt x="334" y="33"/>
                        <a:pt x="330" y="23"/>
                      </a:cubicBezTo>
                      <a:cubicBezTo>
                        <a:pt x="327" y="17"/>
                        <a:pt x="327" y="9"/>
                        <a:pt x="330" y="0"/>
                      </a:cubicBezTo>
                      <a:cubicBezTo>
                        <a:pt x="210" y="1"/>
                        <a:pt x="92" y="47"/>
                        <a:pt x="0" y="139"/>
                      </a:cubicBezTo>
                      <a:cubicBezTo>
                        <a:pt x="236" y="139"/>
                        <a:pt x="236" y="139"/>
                        <a:pt x="236" y="139"/>
                      </a:cubicBezTo>
                      <a:cubicBezTo>
                        <a:pt x="667" y="139"/>
                        <a:pt x="667" y="139"/>
                        <a:pt x="667" y="139"/>
                      </a:cubicBezTo>
                      <a:cubicBezTo>
                        <a:pt x="595" y="66"/>
                        <a:pt x="506" y="23"/>
                        <a:pt x="413"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4" name="Freeform 9"/>
                <p:cNvSpPr>
                  <a:spLocks/>
                </p:cNvSpPr>
                <p:nvPr/>
              </p:nvSpPr>
              <p:spPr bwMode="auto">
                <a:xfrm>
                  <a:off x="10594022" y="5379768"/>
                  <a:ext cx="69141" cy="36331"/>
                </a:xfrm>
                <a:custGeom>
                  <a:avLst/>
                  <a:gdLst>
                    <a:gd name="T0" fmla="*/ 16 w 42"/>
                    <a:gd name="T1" fmla="*/ 22 h 22"/>
                    <a:gd name="T2" fmla="*/ 16 w 42"/>
                    <a:gd name="T3" fmla="*/ 22 h 22"/>
                    <a:gd name="T4" fmla="*/ 42 w 42"/>
                    <a:gd name="T5" fmla="*/ 2 h 22"/>
                    <a:gd name="T6" fmla="*/ 5 w 42"/>
                    <a:gd name="T7" fmla="*/ 0 h 22"/>
                    <a:gd name="T8" fmla="*/ 16 w 42"/>
                    <a:gd name="T9" fmla="*/ 22 h 22"/>
                  </a:gdLst>
                  <a:ahLst/>
                  <a:cxnLst>
                    <a:cxn ang="0">
                      <a:pos x="T0" y="T1"/>
                    </a:cxn>
                    <a:cxn ang="0">
                      <a:pos x="T2" y="T3"/>
                    </a:cxn>
                    <a:cxn ang="0">
                      <a:pos x="T4" y="T5"/>
                    </a:cxn>
                    <a:cxn ang="0">
                      <a:pos x="T6" y="T7"/>
                    </a:cxn>
                    <a:cxn ang="0">
                      <a:pos x="T8" y="T9"/>
                    </a:cxn>
                  </a:cxnLst>
                  <a:rect l="0" t="0" r="r" b="b"/>
                  <a:pathLst>
                    <a:path w="42" h="22">
                      <a:moveTo>
                        <a:pt x="16" y="22"/>
                      </a:moveTo>
                      <a:cubicBezTo>
                        <a:pt x="16" y="22"/>
                        <a:pt x="16" y="22"/>
                        <a:pt x="16" y="22"/>
                      </a:cubicBezTo>
                      <a:cubicBezTo>
                        <a:pt x="26" y="22"/>
                        <a:pt x="32" y="15"/>
                        <a:pt x="42" y="2"/>
                      </a:cubicBezTo>
                      <a:cubicBezTo>
                        <a:pt x="30" y="1"/>
                        <a:pt x="18" y="0"/>
                        <a:pt x="5" y="0"/>
                      </a:cubicBezTo>
                      <a:cubicBezTo>
                        <a:pt x="0" y="14"/>
                        <a:pt x="7" y="22"/>
                        <a:pt x="16" y="2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5" name="Freeform 10"/>
                <p:cNvSpPr>
                  <a:spLocks/>
                </p:cNvSpPr>
                <p:nvPr/>
              </p:nvSpPr>
              <p:spPr bwMode="auto">
                <a:xfrm>
                  <a:off x="10564725" y="5378595"/>
                  <a:ext cx="127738" cy="62111"/>
                </a:xfrm>
                <a:custGeom>
                  <a:avLst/>
                  <a:gdLst>
                    <a:gd name="T0" fmla="*/ 3 w 78"/>
                    <a:gd name="T1" fmla="*/ 23 h 38"/>
                    <a:gd name="T2" fmla="*/ 3 w 78"/>
                    <a:gd name="T3" fmla="*/ 23 h 38"/>
                    <a:gd name="T4" fmla="*/ 30 w 78"/>
                    <a:gd name="T5" fmla="*/ 38 h 38"/>
                    <a:gd name="T6" fmla="*/ 65 w 78"/>
                    <a:gd name="T7" fmla="*/ 22 h 38"/>
                    <a:gd name="T8" fmla="*/ 78 w 78"/>
                    <a:gd name="T9" fmla="*/ 6 h 38"/>
                    <a:gd name="T10" fmla="*/ 60 w 78"/>
                    <a:gd name="T11" fmla="*/ 3 h 38"/>
                    <a:gd name="T12" fmla="*/ 34 w 78"/>
                    <a:gd name="T13" fmla="*/ 23 h 38"/>
                    <a:gd name="T14" fmla="*/ 23 w 78"/>
                    <a:gd name="T15" fmla="*/ 1 h 38"/>
                    <a:gd name="T16" fmla="*/ 3 w 78"/>
                    <a:gd name="T17" fmla="*/ 0 h 38"/>
                    <a:gd name="T18" fmla="*/ 3 w 78"/>
                    <a:gd name="T19" fmla="*/ 2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38">
                      <a:moveTo>
                        <a:pt x="3" y="23"/>
                      </a:moveTo>
                      <a:cubicBezTo>
                        <a:pt x="3" y="23"/>
                        <a:pt x="3" y="23"/>
                        <a:pt x="3" y="23"/>
                      </a:cubicBezTo>
                      <a:cubicBezTo>
                        <a:pt x="7" y="33"/>
                        <a:pt x="17" y="38"/>
                        <a:pt x="30" y="38"/>
                      </a:cubicBezTo>
                      <a:cubicBezTo>
                        <a:pt x="44" y="38"/>
                        <a:pt x="54" y="33"/>
                        <a:pt x="65" y="22"/>
                      </a:cubicBezTo>
                      <a:cubicBezTo>
                        <a:pt x="69" y="18"/>
                        <a:pt x="74" y="12"/>
                        <a:pt x="78" y="6"/>
                      </a:cubicBezTo>
                      <a:cubicBezTo>
                        <a:pt x="72" y="5"/>
                        <a:pt x="66" y="4"/>
                        <a:pt x="60" y="3"/>
                      </a:cubicBezTo>
                      <a:cubicBezTo>
                        <a:pt x="50" y="16"/>
                        <a:pt x="44" y="23"/>
                        <a:pt x="34" y="23"/>
                      </a:cubicBezTo>
                      <a:cubicBezTo>
                        <a:pt x="25" y="23"/>
                        <a:pt x="18" y="15"/>
                        <a:pt x="23" y="1"/>
                      </a:cubicBezTo>
                      <a:cubicBezTo>
                        <a:pt x="16" y="0"/>
                        <a:pt x="10" y="0"/>
                        <a:pt x="3" y="0"/>
                      </a:cubicBezTo>
                      <a:cubicBezTo>
                        <a:pt x="0" y="9"/>
                        <a:pt x="0" y="17"/>
                        <a:pt x="3" y="23"/>
                      </a:cubicBezTo>
                      <a:close/>
                    </a:path>
                  </a:pathLst>
                </a:custGeom>
                <a:solidFill>
                  <a:srgbClr val="6E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6" name="Freeform 11"/>
                <p:cNvSpPr>
                  <a:spLocks noEditPoints="1"/>
                </p:cNvSpPr>
                <p:nvPr/>
              </p:nvSpPr>
              <p:spPr bwMode="auto">
                <a:xfrm>
                  <a:off x="10543630" y="5222732"/>
                  <a:ext cx="144145" cy="215633"/>
                </a:xfrm>
                <a:custGeom>
                  <a:avLst/>
                  <a:gdLst>
                    <a:gd name="T0" fmla="*/ 44 w 88"/>
                    <a:gd name="T1" fmla="*/ 16 h 132"/>
                    <a:gd name="T2" fmla="*/ 44 w 88"/>
                    <a:gd name="T3" fmla="*/ 16 h 132"/>
                    <a:gd name="T4" fmla="*/ 21 w 88"/>
                    <a:gd name="T5" fmla="*/ 67 h 132"/>
                    <a:gd name="T6" fmla="*/ 44 w 88"/>
                    <a:gd name="T7" fmla="*/ 116 h 132"/>
                    <a:gd name="T8" fmla="*/ 66 w 88"/>
                    <a:gd name="T9" fmla="*/ 67 h 132"/>
                    <a:gd name="T10" fmla="*/ 44 w 88"/>
                    <a:gd name="T11" fmla="*/ 16 h 132"/>
                    <a:gd name="T12" fmla="*/ 42 w 88"/>
                    <a:gd name="T13" fmla="*/ 132 h 132"/>
                    <a:gd name="T14" fmla="*/ 42 w 88"/>
                    <a:gd name="T15" fmla="*/ 132 h 132"/>
                    <a:gd name="T16" fmla="*/ 11 w 88"/>
                    <a:gd name="T17" fmla="*/ 116 h 132"/>
                    <a:gd name="T18" fmla="*/ 0 w 88"/>
                    <a:gd name="T19" fmla="*/ 68 h 132"/>
                    <a:gd name="T20" fmla="*/ 11 w 88"/>
                    <a:gd name="T21" fmla="*/ 17 h 132"/>
                    <a:gd name="T22" fmla="*/ 45 w 88"/>
                    <a:gd name="T23" fmla="*/ 0 h 132"/>
                    <a:gd name="T24" fmla="*/ 88 w 88"/>
                    <a:gd name="T25" fmla="*/ 65 h 132"/>
                    <a:gd name="T26" fmla="*/ 76 w 88"/>
                    <a:gd name="T27" fmla="*/ 115 h 132"/>
                    <a:gd name="T28" fmla="*/ 42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4" y="16"/>
                      </a:moveTo>
                      <a:cubicBezTo>
                        <a:pt x="44" y="16"/>
                        <a:pt x="44" y="16"/>
                        <a:pt x="44" y="16"/>
                      </a:cubicBezTo>
                      <a:cubicBezTo>
                        <a:pt x="29" y="16"/>
                        <a:pt x="21" y="33"/>
                        <a:pt x="21" y="67"/>
                      </a:cubicBezTo>
                      <a:cubicBezTo>
                        <a:pt x="21" y="100"/>
                        <a:pt x="29"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4" y="29"/>
                        <a:pt x="11" y="17"/>
                      </a:cubicBezTo>
                      <a:cubicBezTo>
                        <a:pt x="19" y="5"/>
                        <a:pt x="31" y="0"/>
                        <a:pt x="45" y="0"/>
                      </a:cubicBezTo>
                      <a:cubicBezTo>
                        <a:pt x="73" y="0"/>
                        <a:pt x="88" y="21"/>
                        <a:pt x="88" y="65"/>
                      </a:cubicBezTo>
                      <a:cubicBezTo>
                        <a:pt x="88" y="87"/>
                        <a:pt x="84" y="104"/>
                        <a:pt x="76" y="115"/>
                      </a:cubicBezTo>
                      <a:cubicBezTo>
                        <a:pt x="68" y="126"/>
                        <a:pt x="57" y="132"/>
                        <a:pt x="42"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7" name="Freeform 12"/>
                <p:cNvSpPr>
                  <a:spLocks/>
                </p:cNvSpPr>
                <p:nvPr/>
              </p:nvSpPr>
              <p:spPr bwMode="auto">
                <a:xfrm>
                  <a:off x="10701837" y="5223902"/>
                  <a:ext cx="76173" cy="209771"/>
                </a:xfrm>
                <a:custGeom>
                  <a:avLst/>
                  <a:gdLst>
                    <a:gd name="T0" fmla="*/ 46 w 46"/>
                    <a:gd name="T1" fmla="*/ 0 h 128"/>
                    <a:gd name="T2" fmla="*/ 46 w 46"/>
                    <a:gd name="T3" fmla="*/ 0 h 128"/>
                    <a:gd name="T4" fmla="*/ 46 w 46"/>
                    <a:gd name="T5" fmla="*/ 128 h 128"/>
                    <a:gd name="T6" fmla="*/ 26 w 46"/>
                    <a:gd name="T7" fmla="*/ 128 h 128"/>
                    <a:gd name="T8" fmla="*/ 26 w 46"/>
                    <a:gd name="T9" fmla="*/ 25 h 128"/>
                    <a:gd name="T10" fmla="*/ 14 w 46"/>
                    <a:gd name="T11" fmla="*/ 32 h 128"/>
                    <a:gd name="T12" fmla="*/ 0 w 46"/>
                    <a:gd name="T13" fmla="*/ 36 h 128"/>
                    <a:gd name="T14" fmla="*/ 0 w 46"/>
                    <a:gd name="T15" fmla="*/ 19 h 128"/>
                    <a:gd name="T16" fmla="*/ 9 w 46"/>
                    <a:gd name="T17" fmla="*/ 16 h 128"/>
                    <a:gd name="T18" fmla="*/ 19 w 46"/>
                    <a:gd name="T19" fmla="*/ 11 h 128"/>
                    <a:gd name="T20" fmla="*/ 28 w 46"/>
                    <a:gd name="T21" fmla="*/ 6 h 128"/>
                    <a:gd name="T22" fmla="*/ 38 w 46"/>
                    <a:gd name="T23" fmla="*/ 0 h 128"/>
                    <a:gd name="T24" fmla="*/ 46 w 46"/>
                    <a:gd name="T25" fmla="*/ 0 h 128"/>
                    <a:gd name="T26" fmla="*/ 46 w 46"/>
                    <a:gd name="T2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128">
                      <a:moveTo>
                        <a:pt x="46" y="0"/>
                      </a:moveTo>
                      <a:cubicBezTo>
                        <a:pt x="46" y="0"/>
                        <a:pt x="46" y="0"/>
                        <a:pt x="46" y="0"/>
                      </a:cubicBezTo>
                      <a:cubicBezTo>
                        <a:pt x="46" y="128"/>
                        <a:pt x="46" y="128"/>
                        <a:pt x="46" y="128"/>
                      </a:cubicBezTo>
                      <a:cubicBezTo>
                        <a:pt x="26" y="128"/>
                        <a:pt x="26" y="128"/>
                        <a:pt x="26" y="128"/>
                      </a:cubicBezTo>
                      <a:cubicBezTo>
                        <a:pt x="26" y="25"/>
                        <a:pt x="26" y="25"/>
                        <a:pt x="26" y="25"/>
                      </a:cubicBezTo>
                      <a:cubicBezTo>
                        <a:pt x="22" y="28"/>
                        <a:pt x="18" y="30"/>
                        <a:pt x="14" y="32"/>
                      </a:cubicBezTo>
                      <a:cubicBezTo>
                        <a:pt x="10" y="33"/>
                        <a:pt x="5" y="35"/>
                        <a:pt x="0" y="36"/>
                      </a:cubicBezTo>
                      <a:cubicBezTo>
                        <a:pt x="0" y="19"/>
                        <a:pt x="0" y="19"/>
                        <a:pt x="0" y="19"/>
                      </a:cubicBezTo>
                      <a:cubicBezTo>
                        <a:pt x="3" y="18"/>
                        <a:pt x="6" y="17"/>
                        <a:pt x="9" y="16"/>
                      </a:cubicBezTo>
                      <a:cubicBezTo>
                        <a:pt x="12" y="14"/>
                        <a:pt x="16" y="13"/>
                        <a:pt x="19" y="11"/>
                      </a:cubicBezTo>
                      <a:cubicBezTo>
                        <a:pt x="22" y="10"/>
                        <a:pt x="25" y="8"/>
                        <a:pt x="28" y="6"/>
                      </a:cubicBezTo>
                      <a:cubicBezTo>
                        <a:pt x="31" y="5"/>
                        <a:pt x="34" y="2"/>
                        <a:pt x="38" y="0"/>
                      </a:cubicBezTo>
                      <a:cubicBezTo>
                        <a:pt x="46" y="0"/>
                        <a:pt x="46" y="0"/>
                        <a:pt x="46" y="0"/>
                      </a:cubicBezTo>
                      <a:cubicBezTo>
                        <a:pt x="46" y="0"/>
                        <a:pt x="46" y="0"/>
                        <a:pt x="46" y="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8" name="Freeform 13"/>
                <p:cNvSpPr>
                  <a:spLocks noEditPoints="1"/>
                </p:cNvSpPr>
                <p:nvPr/>
              </p:nvSpPr>
              <p:spPr bwMode="auto">
                <a:xfrm>
                  <a:off x="10811997" y="5222732"/>
                  <a:ext cx="142973" cy="215633"/>
                </a:xfrm>
                <a:custGeom>
                  <a:avLst/>
                  <a:gdLst>
                    <a:gd name="T0" fmla="*/ 44 w 87"/>
                    <a:gd name="T1" fmla="*/ 16 h 132"/>
                    <a:gd name="T2" fmla="*/ 44 w 87"/>
                    <a:gd name="T3" fmla="*/ 16 h 132"/>
                    <a:gd name="T4" fmla="*/ 21 w 87"/>
                    <a:gd name="T5" fmla="*/ 67 h 132"/>
                    <a:gd name="T6" fmla="*/ 44 w 87"/>
                    <a:gd name="T7" fmla="*/ 116 h 132"/>
                    <a:gd name="T8" fmla="*/ 66 w 87"/>
                    <a:gd name="T9" fmla="*/ 67 h 132"/>
                    <a:gd name="T10" fmla="*/ 44 w 87"/>
                    <a:gd name="T11" fmla="*/ 16 h 132"/>
                    <a:gd name="T12" fmla="*/ 42 w 87"/>
                    <a:gd name="T13" fmla="*/ 132 h 132"/>
                    <a:gd name="T14" fmla="*/ 42 w 87"/>
                    <a:gd name="T15" fmla="*/ 132 h 132"/>
                    <a:gd name="T16" fmla="*/ 11 w 87"/>
                    <a:gd name="T17" fmla="*/ 116 h 132"/>
                    <a:gd name="T18" fmla="*/ 0 w 87"/>
                    <a:gd name="T19" fmla="*/ 68 h 132"/>
                    <a:gd name="T20" fmla="*/ 11 w 87"/>
                    <a:gd name="T21" fmla="*/ 17 h 132"/>
                    <a:gd name="T22" fmla="*/ 45 w 87"/>
                    <a:gd name="T23" fmla="*/ 0 h 132"/>
                    <a:gd name="T24" fmla="*/ 87 w 87"/>
                    <a:gd name="T25" fmla="*/ 65 h 132"/>
                    <a:gd name="T26" fmla="*/ 75 w 87"/>
                    <a:gd name="T27" fmla="*/ 115 h 132"/>
                    <a:gd name="T28" fmla="*/ 42 w 87"/>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32">
                      <a:moveTo>
                        <a:pt x="44" y="16"/>
                      </a:moveTo>
                      <a:cubicBezTo>
                        <a:pt x="44" y="16"/>
                        <a:pt x="44" y="16"/>
                        <a:pt x="44" y="16"/>
                      </a:cubicBezTo>
                      <a:cubicBezTo>
                        <a:pt x="29" y="16"/>
                        <a:pt x="21" y="33"/>
                        <a:pt x="21" y="67"/>
                      </a:cubicBezTo>
                      <a:cubicBezTo>
                        <a:pt x="21" y="100"/>
                        <a:pt x="28" y="116"/>
                        <a:pt x="44" y="116"/>
                      </a:cubicBezTo>
                      <a:cubicBezTo>
                        <a:pt x="59" y="116"/>
                        <a:pt x="66" y="99"/>
                        <a:pt x="66" y="67"/>
                      </a:cubicBezTo>
                      <a:cubicBezTo>
                        <a:pt x="66" y="33"/>
                        <a:pt x="59" y="16"/>
                        <a:pt x="44" y="16"/>
                      </a:cubicBezTo>
                      <a:close/>
                      <a:moveTo>
                        <a:pt x="42" y="132"/>
                      </a:moveTo>
                      <a:cubicBezTo>
                        <a:pt x="42" y="132"/>
                        <a:pt x="42" y="132"/>
                        <a:pt x="42" y="132"/>
                      </a:cubicBezTo>
                      <a:cubicBezTo>
                        <a:pt x="29" y="132"/>
                        <a:pt x="18" y="127"/>
                        <a:pt x="11" y="116"/>
                      </a:cubicBezTo>
                      <a:cubicBezTo>
                        <a:pt x="3" y="105"/>
                        <a:pt x="0" y="89"/>
                        <a:pt x="0" y="68"/>
                      </a:cubicBezTo>
                      <a:cubicBezTo>
                        <a:pt x="0" y="46"/>
                        <a:pt x="3" y="29"/>
                        <a:pt x="11" y="17"/>
                      </a:cubicBezTo>
                      <a:cubicBezTo>
                        <a:pt x="19" y="5"/>
                        <a:pt x="30" y="0"/>
                        <a:pt x="45" y="0"/>
                      </a:cubicBezTo>
                      <a:cubicBezTo>
                        <a:pt x="73" y="0"/>
                        <a:pt x="87" y="21"/>
                        <a:pt x="87" y="65"/>
                      </a:cubicBezTo>
                      <a:cubicBezTo>
                        <a:pt x="87" y="87"/>
                        <a:pt x="83" y="104"/>
                        <a:pt x="75" y="115"/>
                      </a:cubicBezTo>
                      <a:cubicBezTo>
                        <a:pt x="67" y="126"/>
                        <a:pt x="56" y="132"/>
                        <a:pt x="42"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19" name="Freeform 14"/>
                <p:cNvSpPr>
                  <a:spLocks noEditPoints="1"/>
                </p:cNvSpPr>
                <p:nvPr/>
              </p:nvSpPr>
              <p:spPr bwMode="auto">
                <a:xfrm>
                  <a:off x="10977235" y="5222732"/>
                  <a:ext cx="144145" cy="215633"/>
                </a:xfrm>
                <a:custGeom>
                  <a:avLst/>
                  <a:gdLst>
                    <a:gd name="T0" fmla="*/ 45 w 88"/>
                    <a:gd name="T1" fmla="*/ 16 h 132"/>
                    <a:gd name="T2" fmla="*/ 45 w 88"/>
                    <a:gd name="T3" fmla="*/ 16 h 132"/>
                    <a:gd name="T4" fmla="*/ 22 w 88"/>
                    <a:gd name="T5" fmla="*/ 67 h 132"/>
                    <a:gd name="T6" fmla="*/ 45 w 88"/>
                    <a:gd name="T7" fmla="*/ 116 h 132"/>
                    <a:gd name="T8" fmla="*/ 67 w 88"/>
                    <a:gd name="T9" fmla="*/ 67 h 132"/>
                    <a:gd name="T10" fmla="*/ 45 w 88"/>
                    <a:gd name="T11" fmla="*/ 16 h 132"/>
                    <a:gd name="T12" fmla="*/ 43 w 88"/>
                    <a:gd name="T13" fmla="*/ 132 h 132"/>
                    <a:gd name="T14" fmla="*/ 43 w 88"/>
                    <a:gd name="T15" fmla="*/ 132 h 132"/>
                    <a:gd name="T16" fmla="*/ 12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2" y="33"/>
                        <a:pt x="22" y="67"/>
                      </a:cubicBezTo>
                      <a:cubicBezTo>
                        <a:pt x="22" y="100"/>
                        <a:pt x="29" y="116"/>
                        <a:pt x="45" y="116"/>
                      </a:cubicBezTo>
                      <a:cubicBezTo>
                        <a:pt x="60" y="116"/>
                        <a:pt x="67" y="99"/>
                        <a:pt x="67" y="67"/>
                      </a:cubicBezTo>
                      <a:cubicBezTo>
                        <a:pt x="67" y="33"/>
                        <a:pt x="60" y="16"/>
                        <a:pt x="45" y="16"/>
                      </a:cubicBezTo>
                      <a:close/>
                      <a:moveTo>
                        <a:pt x="43" y="132"/>
                      </a:moveTo>
                      <a:cubicBezTo>
                        <a:pt x="43" y="132"/>
                        <a:pt x="43" y="132"/>
                        <a:pt x="43" y="132"/>
                      </a:cubicBezTo>
                      <a:cubicBezTo>
                        <a:pt x="29" y="132"/>
                        <a:pt x="19" y="127"/>
                        <a:pt x="12"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0" name="Freeform 15"/>
                <p:cNvSpPr>
                  <a:spLocks noEditPoints="1"/>
                </p:cNvSpPr>
                <p:nvPr/>
              </p:nvSpPr>
              <p:spPr bwMode="auto">
                <a:xfrm>
                  <a:off x="11154193" y="5222732"/>
                  <a:ext cx="144145" cy="215633"/>
                </a:xfrm>
                <a:custGeom>
                  <a:avLst/>
                  <a:gdLst>
                    <a:gd name="T0" fmla="*/ 45 w 88"/>
                    <a:gd name="T1" fmla="*/ 16 h 132"/>
                    <a:gd name="T2" fmla="*/ 45 w 88"/>
                    <a:gd name="T3" fmla="*/ 16 h 132"/>
                    <a:gd name="T4" fmla="*/ 21 w 88"/>
                    <a:gd name="T5" fmla="*/ 67 h 132"/>
                    <a:gd name="T6" fmla="*/ 44 w 88"/>
                    <a:gd name="T7" fmla="*/ 116 h 132"/>
                    <a:gd name="T8" fmla="*/ 67 w 88"/>
                    <a:gd name="T9" fmla="*/ 67 h 132"/>
                    <a:gd name="T10" fmla="*/ 45 w 88"/>
                    <a:gd name="T11" fmla="*/ 16 h 132"/>
                    <a:gd name="T12" fmla="*/ 43 w 88"/>
                    <a:gd name="T13" fmla="*/ 132 h 132"/>
                    <a:gd name="T14" fmla="*/ 43 w 88"/>
                    <a:gd name="T15" fmla="*/ 132 h 132"/>
                    <a:gd name="T16" fmla="*/ 11 w 88"/>
                    <a:gd name="T17" fmla="*/ 116 h 132"/>
                    <a:gd name="T18" fmla="*/ 0 w 88"/>
                    <a:gd name="T19" fmla="*/ 68 h 132"/>
                    <a:gd name="T20" fmla="*/ 12 w 88"/>
                    <a:gd name="T21" fmla="*/ 17 h 132"/>
                    <a:gd name="T22" fmla="*/ 46 w 88"/>
                    <a:gd name="T23" fmla="*/ 0 h 132"/>
                    <a:gd name="T24" fmla="*/ 88 w 88"/>
                    <a:gd name="T25" fmla="*/ 65 h 132"/>
                    <a:gd name="T26" fmla="*/ 76 w 88"/>
                    <a:gd name="T27" fmla="*/ 115 h 132"/>
                    <a:gd name="T28" fmla="*/ 43 w 88"/>
                    <a:gd name="T2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32">
                      <a:moveTo>
                        <a:pt x="45" y="16"/>
                      </a:moveTo>
                      <a:cubicBezTo>
                        <a:pt x="45" y="16"/>
                        <a:pt x="45" y="16"/>
                        <a:pt x="45" y="16"/>
                      </a:cubicBezTo>
                      <a:cubicBezTo>
                        <a:pt x="29" y="16"/>
                        <a:pt x="21" y="33"/>
                        <a:pt x="21" y="67"/>
                      </a:cubicBezTo>
                      <a:cubicBezTo>
                        <a:pt x="21" y="100"/>
                        <a:pt x="29" y="116"/>
                        <a:pt x="44" y="116"/>
                      </a:cubicBezTo>
                      <a:cubicBezTo>
                        <a:pt x="59" y="116"/>
                        <a:pt x="67" y="99"/>
                        <a:pt x="67" y="67"/>
                      </a:cubicBezTo>
                      <a:cubicBezTo>
                        <a:pt x="67" y="33"/>
                        <a:pt x="59" y="16"/>
                        <a:pt x="45" y="16"/>
                      </a:cubicBezTo>
                      <a:close/>
                      <a:moveTo>
                        <a:pt x="43" y="132"/>
                      </a:moveTo>
                      <a:cubicBezTo>
                        <a:pt x="43" y="132"/>
                        <a:pt x="43" y="132"/>
                        <a:pt x="43" y="132"/>
                      </a:cubicBezTo>
                      <a:cubicBezTo>
                        <a:pt x="29" y="132"/>
                        <a:pt x="19" y="127"/>
                        <a:pt x="11" y="116"/>
                      </a:cubicBezTo>
                      <a:cubicBezTo>
                        <a:pt x="4" y="105"/>
                        <a:pt x="0" y="89"/>
                        <a:pt x="0" y="68"/>
                      </a:cubicBezTo>
                      <a:cubicBezTo>
                        <a:pt x="0" y="46"/>
                        <a:pt x="4" y="29"/>
                        <a:pt x="12" y="17"/>
                      </a:cubicBezTo>
                      <a:cubicBezTo>
                        <a:pt x="20" y="5"/>
                        <a:pt x="31" y="0"/>
                        <a:pt x="46" y="0"/>
                      </a:cubicBezTo>
                      <a:cubicBezTo>
                        <a:pt x="74" y="0"/>
                        <a:pt x="88" y="21"/>
                        <a:pt x="88" y="65"/>
                      </a:cubicBezTo>
                      <a:cubicBezTo>
                        <a:pt x="88" y="87"/>
                        <a:pt x="84" y="104"/>
                        <a:pt x="76" y="115"/>
                      </a:cubicBezTo>
                      <a:cubicBezTo>
                        <a:pt x="68" y="126"/>
                        <a:pt x="57" y="132"/>
                        <a:pt x="43" y="13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1" name="Freeform 16"/>
                <p:cNvSpPr>
                  <a:spLocks/>
                </p:cNvSpPr>
                <p:nvPr/>
              </p:nvSpPr>
              <p:spPr bwMode="auto">
                <a:xfrm>
                  <a:off x="11465921" y="5312968"/>
                  <a:ext cx="724239" cy="292978"/>
                </a:xfrm>
                <a:custGeom>
                  <a:avLst/>
                  <a:gdLst>
                    <a:gd name="T0" fmla="*/ 0 w 442"/>
                    <a:gd name="T1" fmla="*/ 179 h 179"/>
                    <a:gd name="T2" fmla="*/ 0 w 442"/>
                    <a:gd name="T3" fmla="*/ 179 h 179"/>
                    <a:gd name="T4" fmla="*/ 290 w 442"/>
                    <a:gd name="T5" fmla="*/ 179 h 179"/>
                    <a:gd name="T6" fmla="*/ 442 w 442"/>
                    <a:gd name="T7" fmla="*/ 179 h 179"/>
                    <a:gd name="T8" fmla="*/ 442 w 442"/>
                    <a:gd name="T9" fmla="*/ 9 h 179"/>
                    <a:gd name="T10" fmla="*/ 0 w 442"/>
                    <a:gd name="T11" fmla="*/ 179 h 179"/>
                  </a:gdLst>
                  <a:ahLst/>
                  <a:cxnLst>
                    <a:cxn ang="0">
                      <a:pos x="T0" y="T1"/>
                    </a:cxn>
                    <a:cxn ang="0">
                      <a:pos x="T2" y="T3"/>
                    </a:cxn>
                    <a:cxn ang="0">
                      <a:pos x="T4" y="T5"/>
                    </a:cxn>
                    <a:cxn ang="0">
                      <a:pos x="T6" y="T7"/>
                    </a:cxn>
                    <a:cxn ang="0">
                      <a:pos x="T8" y="T9"/>
                    </a:cxn>
                    <a:cxn ang="0">
                      <a:pos x="T10" y="T11"/>
                    </a:cxn>
                  </a:cxnLst>
                  <a:rect l="0" t="0" r="r" b="b"/>
                  <a:pathLst>
                    <a:path w="442" h="179">
                      <a:moveTo>
                        <a:pt x="0" y="179"/>
                      </a:moveTo>
                      <a:cubicBezTo>
                        <a:pt x="0" y="179"/>
                        <a:pt x="0" y="179"/>
                        <a:pt x="0" y="179"/>
                      </a:cubicBezTo>
                      <a:cubicBezTo>
                        <a:pt x="290" y="179"/>
                        <a:pt x="290" y="179"/>
                        <a:pt x="290" y="179"/>
                      </a:cubicBezTo>
                      <a:cubicBezTo>
                        <a:pt x="442" y="179"/>
                        <a:pt x="442" y="179"/>
                        <a:pt x="442" y="179"/>
                      </a:cubicBezTo>
                      <a:cubicBezTo>
                        <a:pt x="442" y="9"/>
                        <a:pt x="442" y="9"/>
                        <a:pt x="442" y="9"/>
                      </a:cubicBezTo>
                      <a:cubicBezTo>
                        <a:pt x="283" y="0"/>
                        <a:pt x="122" y="57"/>
                        <a:pt x="0" y="17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2" name="Freeform 17"/>
                <p:cNvSpPr>
                  <a:spLocks/>
                </p:cNvSpPr>
                <p:nvPr/>
              </p:nvSpPr>
              <p:spPr bwMode="auto">
                <a:xfrm>
                  <a:off x="11297167" y="4746935"/>
                  <a:ext cx="229694" cy="631661"/>
                </a:xfrm>
                <a:custGeom>
                  <a:avLst/>
                  <a:gdLst>
                    <a:gd name="T0" fmla="*/ 140 w 140"/>
                    <a:gd name="T1" fmla="*/ 0 h 385"/>
                    <a:gd name="T2" fmla="*/ 140 w 140"/>
                    <a:gd name="T3" fmla="*/ 0 h 385"/>
                    <a:gd name="T4" fmla="*/ 140 w 140"/>
                    <a:gd name="T5" fmla="*/ 385 h 385"/>
                    <a:gd name="T6" fmla="*/ 79 w 140"/>
                    <a:gd name="T7" fmla="*/ 385 h 385"/>
                    <a:gd name="T8" fmla="*/ 79 w 140"/>
                    <a:gd name="T9" fmla="*/ 74 h 385"/>
                    <a:gd name="T10" fmla="*/ 43 w 140"/>
                    <a:gd name="T11" fmla="*/ 95 h 385"/>
                    <a:gd name="T12" fmla="*/ 0 w 140"/>
                    <a:gd name="T13" fmla="*/ 109 h 385"/>
                    <a:gd name="T14" fmla="*/ 0 w 140"/>
                    <a:gd name="T15" fmla="*/ 57 h 385"/>
                    <a:gd name="T16" fmla="*/ 29 w 140"/>
                    <a:gd name="T17" fmla="*/ 47 h 385"/>
                    <a:gd name="T18" fmla="*/ 57 w 140"/>
                    <a:gd name="T19" fmla="*/ 34 h 385"/>
                    <a:gd name="T20" fmla="*/ 85 w 140"/>
                    <a:gd name="T21" fmla="*/ 19 h 385"/>
                    <a:gd name="T22" fmla="*/ 114 w 140"/>
                    <a:gd name="T23" fmla="*/ 0 h 385"/>
                    <a:gd name="T24" fmla="*/ 140 w 140"/>
                    <a:gd name="T25" fmla="*/ 0 h 385"/>
                    <a:gd name="T26" fmla="*/ 140 w 140"/>
                    <a:gd name="T27"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 h="385">
                      <a:moveTo>
                        <a:pt x="140" y="0"/>
                      </a:moveTo>
                      <a:cubicBezTo>
                        <a:pt x="140" y="0"/>
                        <a:pt x="140" y="0"/>
                        <a:pt x="140" y="0"/>
                      </a:cubicBezTo>
                      <a:cubicBezTo>
                        <a:pt x="140" y="385"/>
                        <a:pt x="140" y="385"/>
                        <a:pt x="140" y="385"/>
                      </a:cubicBezTo>
                      <a:cubicBezTo>
                        <a:pt x="79" y="385"/>
                        <a:pt x="79" y="385"/>
                        <a:pt x="79" y="385"/>
                      </a:cubicBezTo>
                      <a:cubicBezTo>
                        <a:pt x="79" y="74"/>
                        <a:pt x="79" y="74"/>
                        <a:pt x="79" y="74"/>
                      </a:cubicBezTo>
                      <a:cubicBezTo>
                        <a:pt x="68" y="82"/>
                        <a:pt x="56" y="89"/>
                        <a:pt x="43" y="95"/>
                      </a:cubicBezTo>
                      <a:cubicBezTo>
                        <a:pt x="31" y="100"/>
                        <a:pt x="16" y="105"/>
                        <a:pt x="0" y="109"/>
                      </a:cubicBezTo>
                      <a:cubicBezTo>
                        <a:pt x="0" y="57"/>
                        <a:pt x="0" y="57"/>
                        <a:pt x="0" y="57"/>
                      </a:cubicBezTo>
                      <a:cubicBezTo>
                        <a:pt x="10" y="54"/>
                        <a:pt x="20" y="50"/>
                        <a:pt x="29" y="47"/>
                      </a:cubicBezTo>
                      <a:cubicBezTo>
                        <a:pt x="39" y="43"/>
                        <a:pt x="48" y="39"/>
                        <a:pt x="57" y="34"/>
                      </a:cubicBezTo>
                      <a:cubicBezTo>
                        <a:pt x="67" y="30"/>
                        <a:pt x="76" y="25"/>
                        <a:pt x="85" y="19"/>
                      </a:cubicBezTo>
                      <a:cubicBezTo>
                        <a:pt x="95" y="13"/>
                        <a:pt x="104" y="7"/>
                        <a:pt x="114" y="0"/>
                      </a:cubicBezTo>
                      <a:cubicBezTo>
                        <a:pt x="140" y="0"/>
                        <a:pt x="140" y="0"/>
                        <a:pt x="140" y="0"/>
                      </a:cubicBezTo>
                      <a:cubicBezTo>
                        <a:pt x="140" y="0"/>
                        <a:pt x="140" y="0"/>
                        <a:pt x="140"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3" name="Freeform 18"/>
                <p:cNvSpPr>
                  <a:spLocks noEditPoints="1"/>
                </p:cNvSpPr>
                <p:nvPr/>
              </p:nvSpPr>
              <p:spPr bwMode="auto">
                <a:xfrm>
                  <a:off x="11587798" y="4738729"/>
                  <a:ext cx="448840" cy="678537"/>
                </a:xfrm>
                <a:custGeom>
                  <a:avLst/>
                  <a:gdLst>
                    <a:gd name="T0" fmla="*/ 139 w 274"/>
                    <a:gd name="T1" fmla="*/ 52 h 414"/>
                    <a:gd name="T2" fmla="*/ 139 w 274"/>
                    <a:gd name="T3" fmla="*/ 52 h 414"/>
                    <a:gd name="T4" fmla="*/ 66 w 274"/>
                    <a:gd name="T5" fmla="*/ 212 h 414"/>
                    <a:gd name="T6" fmla="*/ 137 w 274"/>
                    <a:gd name="T7" fmla="*/ 363 h 414"/>
                    <a:gd name="T8" fmla="*/ 208 w 274"/>
                    <a:gd name="T9" fmla="*/ 210 h 414"/>
                    <a:gd name="T10" fmla="*/ 139 w 274"/>
                    <a:gd name="T11" fmla="*/ 52 h 414"/>
                    <a:gd name="T12" fmla="*/ 132 w 274"/>
                    <a:gd name="T13" fmla="*/ 414 h 414"/>
                    <a:gd name="T14" fmla="*/ 132 w 274"/>
                    <a:gd name="T15" fmla="*/ 414 h 414"/>
                    <a:gd name="T16" fmla="*/ 35 w 274"/>
                    <a:gd name="T17" fmla="*/ 363 h 414"/>
                    <a:gd name="T18" fmla="*/ 0 w 274"/>
                    <a:gd name="T19" fmla="*/ 215 h 414"/>
                    <a:gd name="T20" fmla="*/ 36 w 274"/>
                    <a:gd name="T21" fmla="*/ 55 h 414"/>
                    <a:gd name="T22" fmla="*/ 142 w 274"/>
                    <a:gd name="T23" fmla="*/ 0 h 414"/>
                    <a:gd name="T24" fmla="*/ 274 w 274"/>
                    <a:gd name="T25" fmla="*/ 205 h 414"/>
                    <a:gd name="T26" fmla="*/ 237 w 274"/>
                    <a:gd name="T27" fmla="*/ 361 h 414"/>
                    <a:gd name="T28" fmla="*/ 132 w 274"/>
                    <a:gd name="T29"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4" h="414">
                      <a:moveTo>
                        <a:pt x="139" y="52"/>
                      </a:moveTo>
                      <a:cubicBezTo>
                        <a:pt x="139" y="52"/>
                        <a:pt x="139" y="52"/>
                        <a:pt x="139" y="52"/>
                      </a:cubicBezTo>
                      <a:cubicBezTo>
                        <a:pt x="90" y="52"/>
                        <a:pt x="66" y="105"/>
                        <a:pt x="66" y="212"/>
                      </a:cubicBezTo>
                      <a:cubicBezTo>
                        <a:pt x="66" y="313"/>
                        <a:pt x="90" y="363"/>
                        <a:pt x="137" y="363"/>
                      </a:cubicBezTo>
                      <a:cubicBezTo>
                        <a:pt x="184" y="363"/>
                        <a:pt x="208" y="312"/>
                        <a:pt x="208" y="210"/>
                      </a:cubicBezTo>
                      <a:cubicBezTo>
                        <a:pt x="208" y="104"/>
                        <a:pt x="185" y="52"/>
                        <a:pt x="139" y="52"/>
                      </a:cubicBezTo>
                      <a:close/>
                      <a:moveTo>
                        <a:pt x="132" y="414"/>
                      </a:moveTo>
                      <a:cubicBezTo>
                        <a:pt x="132" y="414"/>
                        <a:pt x="132" y="414"/>
                        <a:pt x="132" y="414"/>
                      </a:cubicBezTo>
                      <a:cubicBezTo>
                        <a:pt x="91" y="414"/>
                        <a:pt x="58" y="397"/>
                        <a:pt x="35" y="363"/>
                      </a:cubicBezTo>
                      <a:cubicBezTo>
                        <a:pt x="11" y="329"/>
                        <a:pt x="0" y="280"/>
                        <a:pt x="0" y="215"/>
                      </a:cubicBezTo>
                      <a:cubicBezTo>
                        <a:pt x="0" y="144"/>
                        <a:pt x="12" y="91"/>
                        <a:pt x="36" y="55"/>
                      </a:cubicBezTo>
                      <a:cubicBezTo>
                        <a:pt x="61" y="18"/>
                        <a:pt x="96" y="0"/>
                        <a:pt x="142" y="0"/>
                      </a:cubicBezTo>
                      <a:cubicBezTo>
                        <a:pt x="230" y="0"/>
                        <a:pt x="274" y="68"/>
                        <a:pt x="274" y="205"/>
                      </a:cubicBezTo>
                      <a:cubicBezTo>
                        <a:pt x="274" y="273"/>
                        <a:pt x="262" y="325"/>
                        <a:pt x="237" y="361"/>
                      </a:cubicBezTo>
                      <a:cubicBezTo>
                        <a:pt x="212" y="396"/>
                        <a:pt x="177" y="414"/>
                        <a:pt x="132" y="414"/>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4" name="Freeform 19"/>
                <p:cNvSpPr>
                  <a:spLocks/>
                </p:cNvSpPr>
                <p:nvPr/>
              </p:nvSpPr>
              <p:spPr bwMode="auto">
                <a:xfrm>
                  <a:off x="10529564" y="5119601"/>
                  <a:ext cx="1660593" cy="486343"/>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5" name="Freeform 20"/>
                <p:cNvSpPr>
                  <a:spLocks/>
                </p:cNvSpPr>
                <p:nvPr/>
              </p:nvSpPr>
              <p:spPr bwMode="auto">
                <a:xfrm>
                  <a:off x="11013563" y="5252027"/>
                  <a:ext cx="213287" cy="260164"/>
                </a:xfrm>
                <a:custGeom>
                  <a:avLst/>
                  <a:gdLst>
                    <a:gd name="T0" fmla="*/ 43 w 130"/>
                    <a:gd name="T1" fmla="*/ 159 h 159"/>
                    <a:gd name="T2" fmla="*/ 43 w 130"/>
                    <a:gd name="T3" fmla="*/ 159 h 159"/>
                    <a:gd name="T4" fmla="*/ 130 w 130"/>
                    <a:gd name="T5" fmla="*/ 0 h 159"/>
                    <a:gd name="T6" fmla="*/ 77 w 130"/>
                    <a:gd name="T7" fmla="*/ 10 h 159"/>
                    <a:gd name="T8" fmla="*/ 0 w 130"/>
                    <a:gd name="T9" fmla="*/ 159 h 159"/>
                    <a:gd name="T10" fmla="*/ 43 w 130"/>
                    <a:gd name="T11" fmla="*/ 159 h 159"/>
                    <a:gd name="T12" fmla="*/ 43 w 1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130" h="159">
                      <a:moveTo>
                        <a:pt x="43" y="159"/>
                      </a:moveTo>
                      <a:cubicBezTo>
                        <a:pt x="43" y="159"/>
                        <a:pt x="43" y="159"/>
                        <a:pt x="43" y="159"/>
                      </a:cubicBezTo>
                      <a:cubicBezTo>
                        <a:pt x="48" y="109"/>
                        <a:pt x="77" y="51"/>
                        <a:pt x="130" y="0"/>
                      </a:cubicBezTo>
                      <a:cubicBezTo>
                        <a:pt x="112" y="3"/>
                        <a:pt x="95" y="6"/>
                        <a:pt x="77" y="10"/>
                      </a:cubicBezTo>
                      <a:cubicBezTo>
                        <a:pt x="31" y="59"/>
                        <a:pt x="5" y="113"/>
                        <a:pt x="0" y="159"/>
                      </a:cubicBezTo>
                      <a:cubicBezTo>
                        <a:pt x="43" y="159"/>
                        <a:pt x="43" y="159"/>
                        <a:pt x="43" y="159"/>
                      </a:cubicBezTo>
                      <a:cubicBezTo>
                        <a:pt x="43" y="159"/>
                        <a:pt x="43" y="159"/>
                        <a:pt x="43" y="15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6" name="Freeform 21"/>
                <p:cNvSpPr>
                  <a:spLocks/>
                </p:cNvSpPr>
                <p:nvPr/>
              </p:nvSpPr>
              <p:spPr bwMode="auto">
                <a:xfrm>
                  <a:off x="11700301" y="5261403"/>
                  <a:ext cx="64456" cy="24610"/>
                </a:xfrm>
                <a:custGeom>
                  <a:avLst/>
                  <a:gdLst>
                    <a:gd name="T0" fmla="*/ 39 w 39"/>
                    <a:gd name="T1" fmla="*/ 10 h 15"/>
                    <a:gd name="T2" fmla="*/ 39 w 39"/>
                    <a:gd name="T3" fmla="*/ 10 h 15"/>
                    <a:gd name="T4" fmla="*/ 6 w 39"/>
                    <a:gd name="T5" fmla="*/ 0 h 15"/>
                    <a:gd name="T6" fmla="*/ 0 w 39"/>
                    <a:gd name="T7" fmla="*/ 6 h 15"/>
                    <a:gd name="T8" fmla="*/ 35 w 39"/>
                    <a:gd name="T9" fmla="*/ 15 h 15"/>
                    <a:gd name="T10" fmla="*/ 39 w 39"/>
                    <a:gd name="T11" fmla="*/ 10 h 15"/>
                  </a:gdLst>
                  <a:ahLst/>
                  <a:cxnLst>
                    <a:cxn ang="0">
                      <a:pos x="T0" y="T1"/>
                    </a:cxn>
                    <a:cxn ang="0">
                      <a:pos x="T2" y="T3"/>
                    </a:cxn>
                    <a:cxn ang="0">
                      <a:pos x="T4" y="T5"/>
                    </a:cxn>
                    <a:cxn ang="0">
                      <a:pos x="T6" y="T7"/>
                    </a:cxn>
                    <a:cxn ang="0">
                      <a:pos x="T8" y="T9"/>
                    </a:cxn>
                    <a:cxn ang="0">
                      <a:pos x="T10" y="T11"/>
                    </a:cxn>
                  </a:cxnLst>
                  <a:rect l="0" t="0" r="r" b="b"/>
                  <a:pathLst>
                    <a:path w="39" h="15">
                      <a:moveTo>
                        <a:pt x="39" y="10"/>
                      </a:moveTo>
                      <a:cubicBezTo>
                        <a:pt x="39" y="10"/>
                        <a:pt x="39" y="10"/>
                        <a:pt x="39" y="10"/>
                      </a:cubicBezTo>
                      <a:cubicBezTo>
                        <a:pt x="28" y="6"/>
                        <a:pt x="17" y="3"/>
                        <a:pt x="6" y="0"/>
                      </a:cubicBezTo>
                      <a:cubicBezTo>
                        <a:pt x="4" y="2"/>
                        <a:pt x="2" y="4"/>
                        <a:pt x="0" y="6"/>
                      </a:cubicBezTo>
                      <a:cubicBezTo>
                        <a:pt x="11" y="9"/>
                        <a:pt x="23" y="12"/>
                        <a:pt x="35" y="15"/>
                      </a:cubicBezTo>
                      <a:cubicBezTo>
                        <a:pt x="36" y="13"/>
                        <a:pt x="38" y="12"/>
                        <a:pt x="39" y="1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7" name="Freeform 22"/>
                <p:cNvSpPr>
                  <a:spLocks/>
                </p:cNvSpPr>
                <p:nvPr/>
              </p:nvSpPr>
              <p:spPr bwMode="auto">
                <a:xfrm>
                  <a:off x="11576079" y="5271948"/>
                  <a:ext cx="181645" cy="240243"/>
                </a:xfrm>
                <a:custGeom>
                  <a:avLst/>
                  <a:gdLst>
                    <a:gd name="T0" fmla="*/ 43 w 111"/>
                    <a:gd name="T1" fmla="*/ 147 h 147"/>
                    <a:gd name="T2" fmla="*/ 43 w 111"/>
                    <a:gd name="T3" fmla="*/ 147 h 147"/>
                    <a:gd name="T4" fmla="*/ 111 w 111"/>
                    <a:gd name="T5" fmla="*/ 9 h 147"/>
                    <a:gd name="T6" fmla="*/ 76 w 111"/>
                    <a:gd name="T7" fmla="*/ 0 h 147"/>
                    <a:gd name="T8" fmla="*/ 0 w 111"/>
                    <a:gd name="T9" fmla="*/ 147 h 147"/>
                    <a:gd name="T10" fmla="*/ 43 w 111"/>
                    <a:gd name="T11" fmla="*/ 147 h 147"/>
                    <a:gd name="T12" fmla="*/ 43 w 111"/>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1" h="147">
                      <a:moveTo>
                        <a:pt x="43" y="147"/>
                      </a:moveTo>
                      <a:cubicBezTo>
                        <a:pt x="43" y="147"/>
                        <a:pt x="43" y="147"/>
                        <a:pt x="43" y="147"/>
                      </a:cubicBezTo>
                      <a:cubicBezTo>
                        <a:pt x="48" y="104"/>
                        <a:pt x="70" y="55"/>
                        <a:pt x="111" y="9"/>
                      </a:cubicBezTo>
                      <a:cubicBezTo>
                        <a:pt x="99" y="6"/>
                        <a:pt x="87" y="3"/>
                        <a:pt x="76" y="0"/>
                      </a:cubicBezTo>
                      <a:cubicBezTo>
                        <a:pt x="31" y="48"/>
                        <a:pt x="5" y="101"/>
                        <a:pt x="0" y="147"/>
                      </a:cubicBezTo>
                      <a:cubicBezTo>
                        <a:pt x="43" y="147"/>
                        <a:pt x="43" y="147"/>
                        <a:pt x="43" y="147"/>
                      </a:cubicBezTo>
                      <a:cubicBezTo>
                        <a:pt x="43" y="147"/>
                        <a:pt x="43" y="147"/>
                        <a:pt x="43" y="14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8" name="Freeform 23"/>
                <p:cNvSpPr>
                  <a:spLocks/>
                </p:cNvSpPr>
                <p:nvPr/>
              </p:nvSpPr>
              <p:spPr bwMode="auto">
                <a:xfrm>
                  <a:off x="11182317" y="5239137"/>
                  <a:ext cx="414856" cy="283603"/>
                </a:xfrm>
                <a:custGeom>
                  <a:avLst/>
                  <a:gdLst>
                    <a:gd name="T0" fmla="*/ 40 w 253"/>
                    <a:gd name="T1" fmla="*/ 38 h 173"/>
                    <a:gd name="T2" fmla="*/ 40 w 253"/>
                    <a:gd name="T3" fmla="*/ 38 h 173"/>
                    <a:gd name="T4" fmla="*/ 9 w 253"/>
                    <a:gd name="T5" fmla="*/ 140 h 173"/>
                    <a:gd name="T6" fmla="*/ 70 w 253"/>
                    <a:gd name="T7" fmla="*/ 173 h 173"/>
                    <a:gd name="T8" fmla="*/ 146 w 253"/>
                    <a:gd name="T9" fmla="*/ 138 h 173"/>
                    <a:gd name="T10" fmla="*/ 232 w 253"/>
                    <a:gd name="T11" fmla="*/ 31 h 173"/>
                    <a:gd name="T12" fmla="*/ 253 w 253"/>
                    <a:gd name="T13" fmla="*/ 8 h 173"/>
                    <a:gd name="T14" fmla="*/ 213 w 253"/>
                    <a:gd name="T15" fmla="*/ 3 h 173"/>
                    <a:gd name="T16" fmla="*/ 184 w 253"/>
                    <a:gd name="T17" fmla="*/ 34 h 173"/>
                    <a:gd name="T18" fmla="*/ 79 w 253"/>
                    <a:gd name="T19" fmla="*/ 140 h 173"/>
                    <a:gd name="T20" fmla="*/ 87 w 253"/>
                    <a:gd name="T21" fmla="*/ 36 h 173"/>
                    <a:gd name="T22" fmla="*/ 123 w 253"/>
                    <a:gd name="T23" fmla="*/ 0 h 173"/>
                    <a:gd name="T24" fmla="*/ 76 w 253"/>
                    <a:gd name="T25" fmla="*/ 3 h 173"/>
                    <a:gd name="T26" fmla="*/ 40 w 253"/>
                    <a:gd name="T27" fmla="*/ 3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3">
                      <a:moveTo>
                        <a:pt x="40" y="38"/>
                      </a:moveTo>
                      <a:cubicBezTo>
                        <a:pt x="40" y="38"/>
                        <a:pt x="40" y="38"/>
                        <a:pt x="40" y="38"/>
                      </a:cubicBezTo>
                      <a:cubicBezTo>
                        <a:pt x="4" y="82"/>
                        <a:pt x="0" y="117"/>
                        <a:pt x="9" y="140"/>
                      </a:cubicBezTo>
                      <a:cubicBezTo>
                        <a:pt x="19" y="163"/>
                        <a:pt x="42" y="173"/>
                        <a:pt x="70" y="173"/>
                      </a:cubicBezTo>
                      <a:cubicBezTo>
                        <a:pt x="100" y="173"/>
                        <a:pt x="123" y="162"/>
                        <a:pt x="146" y="138"/>
                      </a:cubicBezTo>
                      <a:cubicBezTo>
                        <a:pt x="170" y="115"/>
                        <a:pt x="192" y="77"/>
                        <a:pt x="232" y="31"/>
                      </a:cubicBezTo>
                      <a:cubicBezTo>
                        <a:pt x="239" y="23"/>
                        <a:pt x="246" y="15"/>
                        <a:pt x="253" y="8"/>
                      </a:cubicBezTo>
                      <a:cubicBezTo>
                        <a:pt x="240" y="6"/>
                        <a:pt x="226" y="5"/>
                        <a:pt x="213" y="3"/>
                      </a:cubicBezTo>
                      <a:cubicBezTo>
                        <a:pt x="204" y="12"/>
                        <a:pt x="194" y="23"/>
                        <a:pt x="184" y="34"/>
                      </a:cubicBezTo>
                      <a:cubicBezTo>
                        <a:pt x="127" y="105"/>
                        <a:pt x="113" y="140"/>
                        <a:pt x="79" y="140"/>
                      </a:cubicBezTo>
                      <a:cubicBezTo>
                        <a:pt x="49" y="140"/>
                        <a:pt x="32" y="105"/>
                        <a:pt x="87" y="36"/>
                      </a:cubicBezTo>
                      <a:cubicBezTo>
                        <a:pt x="98" y="22"/>
                        <a:pt x="110" y="11"/>
                        <a:pt x="123" y="0"/>
                      </a:cubicBezTo>
                      <a:cubicBezTo>
                        <a:pt x="107" y="1"/>
                        <a:pt x="91" y="1"/>
                        <a:pt x="76" y="3"/>
                      </a:cubicBezTo>
                      <a:cubicBezTo>
                        <a:pt x="63" y="13"/>
                        <a:pt x="51" y="25"/>
                        <a:pt x="40" y="3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29" name="Freeform 24"/>
                <p:cNvSpPr>
                  <a:spLocks/>
                </p:cNvSpPr>
                <p:nvPr/>
              </p:nvSpPr>
              <p:spPr bwMode="auto">
                <a:xfrm>
                  <a:off x="11749521" y="5304762"/>
                  <a:ext cx="288289" cy="217975"/>
                </a:xfrm>
                <a:custGeom>
                  <a:avLst/>
                  <a:gdLst>
                    <a:gd name="T0" fmla="*/ 9 w 176"/>
                    <a:gd name="T1" fmla="*/ 100 h 133"/>
                    <a:gd name="T2" fmla="*/ 9 w 176"/>
                    <a:gd name="T3" fmla="*/ 100 h 133"/>
                    <a:gd name="T4" fmla="*/ 70 w 176"/>
                    <a:gd name="T5" fmla="*/ 133 h 133"/>
                    <a:gd name="T6" fmla="*/ 146 w 176"/>
                    <a:gd name="T7" fmla="*/ 98 h 133"/>
                    <a:gd name="T8" fmla="*/ 176 w 176"/>
                    <a:gd name="T9" fmla="*/ 62 h 133"/>
                    <a:gd name="T10" fmla="*/ 145 w 176"/>
                    <a:gd name="T11" fmla="*/ 45 h 133"/>
                    <a:gd name="T12" fmla="*/ 79 w 176"/>
                    <a:gd name="T13" fmla="*/ 100 h 133"/>
                    <a:gd name="T14" fmla="*/ 74 w 176"/>
                    <a:gd name="T15" fmla="*/ 13 h 133"/>
                    <a:gd name="T16" fmla="*/ 39 w 176"/>
                    <a:gd name="T17" fmla="*/ 0 h 133"/>
                    <a:gd name="T18" fmla="*/ 9 w 176"/>
                    <a:gd name="T19" fmla="*/ 10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133">
                      <a:moveTo>
                        <a:pt x="9" y="100"/>
                      </a:moveTo>
                      <a:cubicBezTo>
                        <a:pt x="9" y="100"/>
                        <a:pt x="9" y="100"/>
                        <a:pt x="9" y="100"/>
                      </a:cubicBezTo>
                      <a:cubicBezTo>
                        <a:pt x="19" y="123"/>
                        <a:pt x="42" y="133"/>
                        <a:pt x="70" y="133"/>
                      </a:cubicBezTo>
                      <a:cubicBezTo>
                        <a:pt x="100" y="133"/>
                        <a:pt x="123" y="122"/>
                        <a:pt x="146" y="98"/>
                      </a:cubicBezTo>
                      <a:cubicBezTo>
                        <a:pt x="156" y="88"/>
                        <a:pt x="166" y="76"/>
                        <a:pt x="176" y="62"/>
                      </a:cubicBezTo>
                      <a:cubicBezTo>
                        <a:pt x="166" y="56"/>
                        <a:pt x="156" y="50"/>
                        <a:pt x="145" y="45"/>
                      </a:cubicBezTo>
                      <a:cubicBezTo>
                        <a:pt x="119" y="82"/>
                        <a:pt x="102" y="100"/>
                        <a:pt x="79" y="100"/>
                      </a:cubicBezTo>
                      <a:cubicBezTo>
                        <a:pt x="51" y="100"/>
                        <a:pt x="35" y="71"/>
                        <a:pt x="74" y="13"/>
                      </a:cubicBezTo>
                      <a:cubicBezTo>
                        <a:pt x="62" y="8"/>
                        <a:pt x="51" y="4"/>
                        <a:pt x="39" y="0"/>
                      </a:cubicBezTo>
                      <a:cubicBezTo>
                        <a:pt x="4" y="43"/>
                        <a:pt x="0" y="78"/>
                        <a:pt x="9" y="10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0" name="Freeform 25"/>
                <p:cNvSpPr>
                  <a:spLocks/>
                </p:cNvSpPr>
                <p:nvPr/>
              </p:nvSpPr>
              <p:spPr bwMode="auto">
                <a:xfrm>
                  <a:off x="12123359" y="5460626"/>
                  <a:ext cx="66798" cy="62111"/>
                </a:xfrm>
                <a:custGeom>
                  <a:avLst/>
                  <a:gdLst>
                    <a:gd name="T0" fmla="*/ 0 w 41"/>
                    <a:gd name="T1" fmla="*/ 0 h 38"/>
                    <a:gd name="T2" fmla="*/ 0 w 41"/>
                    <a:gd name="T3" fmla="*/ 0 h 38"/>
                    <a:gd name="T4" fmla="*/ 0 w 41"/>
                    <a:gd name="T5" fmla="*/ 5 h 38"/>
                    <a:gd name="T6" fmla="*/ 38 w 41"/>
                    <a:gd name="T7" fmla="*/ 38 h 38"/>
                    <a:gd name="T8" fmla="*/ 41 w 41"/>
                    <a:gd name="T9" fmla="*/ 32 h 38"/>
                    <a:gd name="T10" fmla="*/ 41 w 41"/>
                    <a:gd name="T11" fmla="*/ 31 h 38"/>
                    <a:gd name="T12" fmla="*/ 0 w 41"/>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41" h="38">
                      <a:moveTo>
                        <a:pt x="0" y="0"/>
                      </a:moveTo>
                      <a:cubicBezTo>
                        <a:pt x="0" y="0"/>
                        <a:pt x="0" y="0"/>
                        <a:pt x="0" y="0"/>
                      </a:cubicBezTo>
                      <a:cubicBezTo>
                        <a:pt x="0" y="2"/>
                        <a:pt x="0" y="3"/>
                        <a:pt x="0" y="5"/>
                      </a:cubicBezTo>
                      <a:cubicBezTo>
                        <a:pt x="3" y="25"/>
                        <a:pt x="15" y="36"/>
                        <a:pt x="38" y="38"/>
                      </a:cubicBezTo>
                      <a:cubicBezTo>
                        <a:pt x="41" y="32"/>
                        <a:pt x="41" y="32"/>
                        <a:pt x="41" y="32"/>
                      </a:cubicBezTo>
                      <a:cubicBezTo>
                        <a:pt x="41" y="31"/>
                        <a:pt x="41" y="31"/>
                        <a:pt x="41" y="31"/>
                      </a:cubicBezTo>
                      <a:cubicBezTo>
                        <a:pt x="28" y="20"/>
                        <a:pt x="14" y="10"/>
                        <a:pt x="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1" name="Freeform 26"/>
                <p:cNvSpPr>
                  <a:spLocks/>
                </p:cNvSpPr>
                <p:nvPr/>
              </p:nvSpPr>
              <p:spPr bwMode="auto">
                <a:xfrm>
                  <a:off x="10926835" y="5083271"/>
                  <a:ext cx="155864" cy="428918"/>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30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30" y="65"/>
                      </a:cubicBezTo>
                      <a:cubicBezTo>
                        <a:pt x="21" y="68"/>
                        <a:pt x="11" y="72"/>
                        <a:pt x="0" y="74"/>
                      </a:cubicBezTo>
                      <a:cubicBezTo>
                        <a:pt x="0" y="39"/>
                        <a:pt x="0" y="39"/>
                        <a:pt x="0" y="39"/>
                      </a:cubicBezTo>
                      <a:cubicBezTo>
                        <a:pt x="7" y="37"/>
                        <a:pt x="14" y="34"/>
                        <a:pt x="20" y="32"/>
                      </a:cubicBezTo>
                      <a:cubicBezTo>
                        <a:pt x="26" y="30"/>
                        <a:pt x="33" y="27"/>
                        <a:pt x="39" y="24"/>
                      </a:cubicBezTo>
                      <a:cubicBezTo>
                        <a:pt x="45" y="20"/>
                        <a:pt x="52"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2" name="Freeform 27"/>
                <p:cNvSpPr>
                  <a:spLocks/>
                </p:cNvSpPr>
                <p:nvPr/>
              </p:nvSpPr>
              <p:spPr bwMode="auto">
                <a:xfrm>
                  <a:off x="11472947" y="5083271"/>
                  <a:ext cx="155864" cy="428918"/>
                </a:xfrm>
                <a:custGeom>
                  <a:avLst/>
                  <a:gdLst>
                    <a:gd name="T0" fmla="*/ 95 w 95"/>
                    <a:gd name="T1" fmla="*/ 0 h 262"/>
                    <a:gd name="T2" fmla="*/ 95 w 95"/>
                    <a:gd name="T3" fmla="*/ 0 h 262"/>
                    <a:gd name="T4" fmla="*/ 95 w 95"/>
                    <a:gd name="T5" fmla="*/ 262 h 262"/>
                    <a:gd name="T6" fmla="*/ 54 w 95"/>
                    <a:gd name="T7" fmla="*/ 262 h 262"/>
                    <a:gd name="T8" fmla="*/ 54 w 95"/>
                    <a:gd name="T9" fmla="*/ 51 h 262"/>
                    <a:gd name="T10" fmla="*/ 29 w 95"/>
                    <a:gd name="T11" fmla="*/ 65 h 262"/>
                    <a:gd name="T12" fmla="*/ 0 w 95"/>
                    <a:gd name="T13" fmla="*/ 74 h 262"/>
                    <a:gd name="T14" fmla="*/ 0 w 95"/>
                    <a:gd name="T15" fmla="*/ 39 h 262"/>
                    <a:gd name="T16" fmla="*/ 20 w 95"/>
                    <a:gd name="T17" fmla="*/ 32 h 262"/>
                    <a:gd name="T18" fmla="*/ 39 w 95"/>
                    <a:gd name="T19" fmla="*/ 24 h 262"/>
                    <a:gd name="T20" fmla="*/ 58 w 95"/>
                    <a:gd name="T21" fmla="*/ 13 h 262"/>
                    <a:gd name="T22" fmla="*/ 78 w 95"/>
                    <a:gd name="T23" fmla="*/ 0 h 262"/>
                    <a:gd name="T24" fmla="*/ 95 w 95"/>
                    <a:gd name="T25" fmla="*/ 0 h 262"/>
                    <a:gd name="T26" fmla="*/ 95 w 95"/>
                    <a:gd name="T2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262">
                      <a:moveTo>
                        <a:pt x="95" y="0"/>
                      </a:moveTo>
                      <a:cubicBezTo>
                        <a:pt x="95" y="0"/>
                        <a:pt x="95" y="0"/>
                        <a:pt x="95" y="0"/>
                      </a:cubicBezTo>
                      <a:cubicBezTo>
                        <a:pt x="95" y="262"/>
                        <a:pt x="95" y="262"/>
                        <a:pt x="95" y="262"/>
                      </a:cubicBezTo>
                      <a:cubicBezTo>
                        <a:pt x="54" y="262"/>
                        <a:pt x="54" y="262"/>
                        <a:pt x="54" y="262"/>
                      </a:cubicBezTo>
                      <a:cubicBezTo>
                        <a:pt x="54" y="51"/>
                        <a:pt x="54" y="51"/>
                        <a:pt x="54" y="51"/>
                      </a:cubicBezTo>
                      <a:cubicBezTo>
                        <a:pt x="46" y="56"/>
                        <a:pt x="38" y="61"/>
                        <a:pt x="29" y="65"/>
                      </a:cubicBezTo>
                      <a:cubicBezTo>
                        <a:pt x="21" y="68"/>
                        <a:pt x="11" y="72"/>
                        <a:pt x="0" y="74"/>
                      </a:cubicBezTo>
                      <a:cubicBezTo>
                        <a:pt x="0" y="39"/>
                        <a:pt x="0" y="39"/>
                        <a:pt x="0" y="39"/>
                      </a:cubicBezTo>
                      <a:cubicBezTo>
                        <a:pt x="7" y="37"/>
                        <a:pt x="13" y="34"/>
                        <a:pt x="20" y="32"/>
                      </a:cubicBezTo>
                      <a:cubicBezTo>
                        <a:pt x="26" y="30"/>
                        <a:pt x="33" y="27"/>
                        <a:pt x="39" y="24"/>
                      </a:cubicBezTo>
                      <a:cubicBezTo>
                        <a:pt x="45" y="20"/>
                        <a:pt x="51" y="17"/>
                        <a:pt x="58" y="13"/>
                      </a:cubicBezTo>
                      <a:cubicBezTo>
                        <a:pt x="64" y="9"/>
                        <a:pt x="71" y="5"/>
                        <a:pt x="78" y="0"/>
                      </a:cubicBezTo>
                      <a:cubicBezTo>
                        <a:pt x="95" y="0"/>
                        <a:pt x="95" y="0"/>
                        <a:pt x="95" y="0"/>
                      </a:cubicBezTo>
                      <a:cubicBezTo>
                        <a:pt x="95" y="0"/>
                        <a:pt x="95" y="0"/>
                        <a:pt x="9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3" name="Freeform 28"/>
                <p:cNvSpPr>
                  <a:spLocks noEditPoints="1"/>
                </p:cNvSpPr>
                <p:nvPr/>
              </p:nvSpPr>
              <p:spPr bwMode="auto">
                <a:xfrm>
                  <a:off x="11148333" y="5078584"/>
                  <a:ext cx="294148" cy="444155"/>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59" y="271"/>
                        <a:pt x="38" y="260"/>
                        <a:pt x="23" y="238"/>
                      </a:cubicBezTo>
                      <a:cubicBezTo>
                        <a:pt x="7"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4" name="Freeform 29"/>
                <p:cNvSpPr>
                  <a:spLocks noEditPoints="1"/>
                </p:cNvSpPr>
                <p:nvPr/>
              </p:nvSpPr>
              <p:spPr bwMode="auto">
                <a:xfrm>
                  <a:off x="11696785" y="5078584"/>
                  <a:ext cx="295321" cy="444155"/>
                </a:xfrm>
                <a:custGeom>
                  <a:avLst/>
                  <a:gdLst>
                    <a:gd name="T0" fmla="*/ 91 w 180"/>
                    <a:gd name="T1" fmla="*/ 34 h 271"/>
                    <a:gd name="T2" fmla="*/ 91 w 180"/>
                    <a:gd name="T3" fmla="*/ 34 h 271"/>
                    <a:gd name="T4" fmla="*/ 43 w 180"/>
                    <a:gd name="T5" fmla="*/ 139 h 271"/>
                    <a:gd name="T6" fmla="*/ 90 w 180"/>
                    <a:gd name="T7" fmla="*/ 238 h 271"/>
                    <a:gd name="T8" fmla="*/ 136 w 180"/>
                    <a:gd name="T9" fmla="*/ 137 h 271"/>
                    <a:gd name="T10" fmla="*/ 91 w 180"/>
                    <a:gd name="T11" fmla="*/ 34 h 271"/>
                    <a:gd name="T12" fmla="*/ 87 w 180"/>
                    <a:gd name="T13" fmla="*/ 271 h 271"/>
                    <a:gd name="T14" fmla="*/ 87 w 180"/>
                    <a:gd name="T15" fmla="*/ 271 h 271"/>
                    <a:gd name="T16" fmla="*/ 23 w 180"/>
                    <a:gd name="T17" fmla="*/ 238 h 271"/>
                    <a:gd name="T18" fmla="*/ 0 w 180"/>
                    <a:gd name="T19" fmla="*/ 141 h 271"/>
                    <a:gd name="T20" fmla="*/ 24 w 180"/>
                    <a:gd name="T21" fmla="*/ 36 h 271"/>
                    <a:gd name="T22" fmla="*/ 93 w 180"/>
                    <a:gd name="T23" fmla="*/ 0 h 271"/>
                    <a:gd name="T24" fmla="*/ 180 w 180"/>
                    <a:gd name="T25" fmla="*/ 135 h 271"/>
                    <a:gd name="T26" fmla="*/ 155 w 180"/>
                    <a:gd name="T27" fmla="*/ 236 h 271"/>
                    <a:gd name="T28" fmla="*/ 87 w 180"/>
                    <a:gd name="T2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271">
                      <a:moveTo>
                        <a:pt x="91" y="34"/>
                      </a:moveTo>
                      <a:cubicBezTo>
                        <a:pt x="91" y="34"/>
                        <a:pt x="91" y="34"/>
                        <a:pt x="91" y="34"/>
                      </a:cubicBezTo>
                      <a:cubicBezTo>
                        <a:pt x="59" y="34"/>
                        <a:pt x="43" y="69"/>
                        <a:pt x="43" y="139"/>
                      </a:cubicBezTo>
                      <a:cubicBezTo>
                        <a:pt x="43" y="205"/>
                        <a:pt x="59" y="238"/>
                        <a:pt x="90" y="238"/>
                      </a:cubicBezTo>
                      <a:cubicBezTo>
                        <a:pt x="121" y="238"/>
                        <a:pt x="136" y="204"/>
                        <a:pt x="136" y="137"/>
                      </a:cubicBezTo>
                      <a:cubicBezTo>
                        <a:pt x="136" y="69"/>
                        <a:pt x="121" y="34"/>
                        <a:pt x="91" y="34"/>
                      </a:cubicBezTo>
                      <a:close/>
                      <a:moveTo>
                        <a:pt x="87" y="271"/>
                      </a:moveTo>
                      <a:cubicBezTo>
                        <a:pt x="87" y="271"/>
                        <a:pt x="87" y="271"/>
                        <a:pt x="87" y="271"/>
                      </a:cubicBezTo>
                      <a:cubicBezTo>
                        <a:pt x="60" y="271"/>
                        <a:pt x="38" y="260"/>
                        <a:pt x="23" y="238"/>
                      </a:cubicBezTo>
                      <a:cubicBezTo>
                        <a:pt x="8" y="216"/>
                        <a:pt x="0" y="183"/>
                        <a:pt x="0" y="141"/>
                      </a:cubicBezTo>
                      <a:cubicBezTo>
                        <a:pt x="0" y="95"/>
                        <a:pt x="8" y="60"/>
                        <a:pt x="24" y="36"/>
                      </a:cubicBezTo>
                      <a:cubicBezTo>
                        <a:pt x="40" y="12"/>
                        <a:pt x="63" y="0"/>
                        <a:pt x="93" y="0"/>
                      </a:cubicBezTo>
                      <a:cubicBezTo>
                        <a:pt x="151" y="0"/>
                        <a:pt x="180" y="45"/>
                        <a:pt x="180" y="135"/>
                      </a:cubicBezTo>
                      <a:cubicBezTo>
                        <a:pt x="180" y="179"/>
                        <a:pt x="171" y="213"/>
                        <a:pt x="155" y="236"/>
                      </a:cubicBezTo>
                      <a:cubicBezTo>
                        <a:pt x="139" y="260"/>
                        <a:pt x="116" y="271"/>
                        <a:pt x="87" y="271"/>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5" name="Freeform 30"/>
                <p:cNvSpPr>
                  <a:spLocks/>
                </p:cNvSpPr>
                <p:nvPr/>
              </p:nvSpPr>
              <p:spPr bwMode="auto">
                <a:xfrm>
                  <a:off x="11162390" y="5391484"/>
                  <a:ext cx="910571" cy="214460"/>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6" name="Freeform 31"/>
                <p:cNvSpPr>
                  <a:spLocks/>
                </p:cNvSpPr>
                <p:nvPr/>
              </p:nvSpPr>
              <p:spPr bwMode="auto">
                <a:xfrm>
                  <a:off x="12097571" y="4787948"/>
                  <a:ext cx="92582" cy="587127"/>
                </a:xfrm>
                <a:custGeom>
                  <a:avLst/>
                  <a:gdLst>
                    <a:gd name="T0" fmla="*/ 36 w 57"/>
                    <a:gd name="T1" fmla="*/ 25 h 358"/>
                    <a:gd name="T2" fmla="*/ 36 w 57"/>
                    <a:gd name="T3" fmla="*/ 25 h 358"/>
                    <a:gd name="T4" fmla="*/ 0 w 57"/>
                    <a:gd name="T5" fmla="*/ 185 h 358"/>
                    <a:gd name="T6" fmla="*/ 35 w 57"/>
                    <a:gd name="T7" fmla="*/ 333 h 358"/>
                    <a:gd name="T8" fmla="*/ 57 w 57"/>
                    <a:gd name="T9" fmla="*/ 358 h 358"/>
                    <a:gd name="T10" fmla="*/ 57 w 57"/>
                    <a:gd name="T11" fmla="*/ 0 h 358"/>
                    <a:gd name="T12" fmla="*/ 36 w 57"/>
                    <a:gd name="T13" fmla="*/ 25 h 358"/>
                  </a:gdLst>
                  <a:ahLst/>
                  <a:cxnLst>
                    <a:cxn ang="0">
                      <a:pos x="T0" y="T1"/>
                    </a:cxn>
                    <a:cxn ang="0">
                      <a:pos x="T2" y="T3"/>
                    </a:cxn>
                    <a:cxn ang="0">
                      <a:pos x="T4" y="T5"/>
                    </a:cxn>
                    <a:cxn ang="0">
                      <a:pos x="T6" y="T7"/>
                    </a:cxn>
                    <a:cxn ang="0">
                      <a:pos x="T8" y="T9"/>
                    </a:cxn>
                    <a:cxn ang="0">
                      <a:pos x="T10" y="T11"/>
                    </a:cxn>
                    <a:cxn ang="0">
                      <a:pos x="T12" y="T13"/>
                    </a:cxn>
                  </a:cxnLst>
                  <a:rect l="0" t="0" r="r" b="b"/>
                  <a:pathLst>
                    <a:path w="57" h="358">
                      <a:moveTo>
                        <a:pt x="36" y="25"/>
                      </a:moveTo>
                      <a:cubicBezTo>
                        <a:pt x="36" y="25"/>
                        <a:pt x="36" y="25"/>
                        <a:pt x="36" y="25"/>
                      </a:cubicBezTo>
                      <a:cubicBezTo>
                        <a:pt x="12" y="61"/>
                        <a:pt x="0" y="114"/>
                        <a:pt x="0" y="185"/>
                      </a:cubicBezTo>
                      <a:cubicBezTo>
                        <a:pt x="0" y="250"/>
                        <a:pt x="11" y="299"/>
                        <a:pt x="35" y="333"/>
                      </a:cubicBezTo>
                      <a:cubicBezTo>
                        <a:pt x="42" y="343"/>
                        <a:pt x="49" y="351"/>
                        <a:pt x="57" y="358"/>
                      </a:cubicBezTo>
                      <a:cubicBezTo>
                        <a:pt x="57" y="0"/>
                        <a:pt x="57" y="0"/>
                        <a:pt x="57" y="0"/>
                      </a:cubicBezTo>
                      <a:cubicBezTo>
                        <a:pt x="50" y="7"/>
                        <a:pt x="43" y="15"/>
                        <a:pt x="36" y="2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37" name="Freeform 32"/>
                <p:cNvSpPr>
                  <a:spLocks/>
                </p:cNvSpPr>
                <p:nvPr/>
              </p:nvSpPr>
              <p:spPr bwMode="auto">
                <a:xfrm>
                  <a:off x="12061278" y="5079752"/>
                  <a:ext cx="128909" cy="442983"/>
                </a:xfrm>
                <a:custGeom>
                  <a:avLst/>
                  <a:gdLst>
                    <a:gd name="T0" fmla="*/ 43 w 79"/>
                    <a:gd name="T1" fmla="*/ 138 h 270"/>
                    <a:gd name="T2" fmla="*/ 43 w 79"/>
                    <a:gd name="T3" fmla="*/ 138 h 270"/>
                    <a:gd name="T4" fmla="*/ 79 w 79"/>
                    <a:gd name="T5" fmla="*/ 35 h 270"/>
                    <a:gd name="T6" fmla="*/ 79 w 79"/>
                    <a:gd name="T7" fmla="*/ 0 h 270"/>
                    <a:gd name="T8" fmla="*/ 24 w 79"/>
                    <a:gd name="T9" fmla="*/ 35 h 270"/>
                    <a:gd name="T10" fmla="*/ 0 w 79"/>
                    <a:gd name="T11" fmla="*/ 140 h 270"/>
                    <a:gd name="T12" fmla="*/ 23 w 79"/>
                    <a:gd name="T13" fmla="*/ 237 h 270"/>
                    <a:gd name="T14" fmla="*/ 79 w 79"/>
                    <a:gd name="T15" fmla="*/ 270 h 270"/>
                    <a:gd name="T16" fmla="*/ 79 w 79"/>
                    <a:gd name="T17" fmla="*/ 235 h 270"/>
                    <a:gd name="T18" fmla="*/ 43 w 79"/>
                    <a:gd name="T19" fmla="*/ 13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270">
                      <a:moveTo>
                        <a:pt x="43" y="138"/>
                      </a:moveTo>
                      <a:cubicBezTo>
                        <a:pt x="43" y="138"/>
                        <a:pt x="43" y="138"/>
                        <a:pt x="43" y="138"/>
                      </a:cubicBezTo>
                      <a:cubicBezTo>
                        <a:pt x="43" y="77"/>
                        <a:pt x="55" y="43"/>
                        <a:pt x="79" y="35"/>
                      </a:cubicBezTo>
                      <a:cubicBezTo>
                        <a:pt x="79" y="0"/>
                        <a:pt x="79" y="0"/>
                        <a:pt x="79" y="0"/>
                      </a:cubicBezTo>
                      <a:cubicBezTo>
                        <a:pt x="56" y="3"/>
                        <a:pt x="37" y="15"/>
                        <a:pt x="24" y="35"/>
                      </a:cubicBezTo>
                      <a:cubicBezTo>
                        <a:pt x="8" y="59"/>
                        <a:pt x="0" y="94"/>
                        <a:pt x="0" y="140"/>
                      </a:cubicBezTo>
                      <a:cubicBezTo>
                        <a:pt x="0" y="182"/>
                        <a:pt x="7" y="215"/>
                        <a:pt x="23" y="237"/>
                      </a:cubicBezTo>
                      <a:cubicBezTo>
                        <a:pt x="37" y="257"/>
                        <a:pt x="55" y="268"/>
                        <a:pt x="79" y="270"/>
                      </a:cubicBezTo>
                      <a:cubicBezTo>
                        <a:pt x="79" y="235"/>
                        <a:pt x="79" y="235"/>
                        <a:pt x="79" y="235"/>
                      </a:cubicBezTo>
                      <a:cubicBezTo>
                        <a:pt x="55" y="228"/>
                        <a:pt x="43" y="196"/>
                        <a:pt x="43" y="13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grpSp>
          <p:nvGrpSpPr>
            <p:cNvPr id="383" name="Group 382"/>
            <p:cNvGrpSpPr/>
            <p:nvPr/>
          </p:nvGrpSpPr>
          <p:grpSpPr>
            <a:xfrm>
              <a:off x="11104464" y="5832277"/>
              <a:ext cx="792956" cy="454737"/>
              <a:chOff x="11268654" y="5874852"/>
              <a:chExt cx="475079" cy="272443"/>
            </a:xfrm>
          </p:grpSpPr>
          <p:grpSp>
            <p:nvGrpSpPr>
              <p:cNvPr id="384" name="Group 383"/>
              <p:cNvGrpSpPr/>
              <p:nvPr/>
            </p:nvGrpSpPr>
            <p:grpSpPr>
              <a:xfrm>
                <a:off x="11527880" y="5875025"/>
                <a:ext cx="215853" cy="265975"/>
                <a:chOff x="11191876" y="6141629"/>
                <a:chExt cx="215853" cy="265975"/>
              </a:xfrm>
            </p:grpSpPr>
            <p:sp>
              <p:nvSpPr>
                <p:cNvPr id="399" name="Freeform 380"/>
                <p:cNvSpPr>
                  <a:spLocks noEditPoints="1"/>
                </p:cNvSpPr>
                <p:nvPr/>
              </p:nvSpPr>
              <p:spPr bwMode="auto">
                <a:xfrm>
                  <a:off x="11191876" y="6141629"/>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4"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0" name="Freeform 381"/>
                <p:cNvSpPr>
                  <a:spLocks/>
                </p:cNvSpPr>
                <p:nvPr/>
              </p:nvSpPr>
              <p:spPr bwMode="auto">
                <a:xfrm>
                  <a:off x="11260593" y="6141629"/>
                  <a:ext cx="30721" cy="71142"/>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3"/>
                        <a:pt x="3" y="14"/>
                      </a:cubicBezTo>
                      <a:cubicBezTo>
                        <a:pt x="2" y="14"/>
                        <a:pt x="1" y="14"/>
                        <a:pt x="0" y="14"/>
                      </a:cubicBezTo>
                      <a:cubicBezTo>
                        <a:pt x="0" y="6"/>
                        <a:pt x="0" y="6"/>
                        <a:pt x="0" y="6"/>
                      </a:cubicBezTo>
                      <a:cubicBezTo>
                        <a:pt x="2" y="5"/>
                        <a:pt x="5" y="4"/>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1" name="Freeform 382"/>
                <p:cNvSpPr>
                  <a:spLocks noEditPoints="1"/>
                </p:cNvSpPr>
                <p:nvPr/>
              </p:nvSpPr>
              <p:spPr bwMode="auto">
                <a:xfrm>
                  <a:off x="11310716" y="614162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7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5"/>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7"/>
                        <a:pt x="16" y="37"/>
                      </a:cubicBezTo>
                      <a:cubicBezTo>
                        <a:pt x="20" y="37"/>
                        <a:pt x="22" y="32"/>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2" name="Freeform 394"/>
                <p:cNvSpPr>
                  <a:spLocks/>
                </p:cNvSpPr>
                <p:nvPr/>
              </p:nvSpPr>
              <p:spPr bwMode="auto">
                <a:xfrm>
                  <a:off x="11377008" y="6141629"/>
                  <a:ext cx="30721" cy="71142"/>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3"/>
                        <a:pt x="3" y="14"/>
                      </a:cubicBezTo>
                      <a:cubicBezTo>
                        <a:pt x="2" y="14"/>
                        <a:pt x="1" y="14"/>
                        <a:pt x="0" y="14"/>
                      </a:cubicBezTo>
                      <a:cubicBezTo>
                        <a:pt x="0" y="6"/>
                        <a:pt x="0" y="6"/>
                        <a:pt x="0" y="6"/>
                      </a:cubicBezTo>
                      <a:cubicBezTo>
                        <a:pt x="3" y="5"/>
                        <a:pt x="5" y="4"/>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3" name="Freeform 396"/>
                <p:cNvSpPr>
                  <a:spLocks noEditPoints="1"/>
                </p:cNvSpPr>
                <p:nvPr/>
              </p:nvSpPr>
              <p:spPr bwMode="auto">
                <a:xfrm>
                  <a:off x="11191876" y="6234599"/>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4" name="Freeform 397"/>
                <p:cNvSpPr>
                  <a:spLocks/>
                </p:cNvSpPr>
                <p:nvPr/>
              </p:nvSpPr>
              <p:spPr bwMode="auto">
                <a:xfrm>
                  <a:off x="11260593" y="62345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5 h 44"/>
                    <a:gd name="T16" fmla="*/ 0 w 19"/>
                    <a:gd name="T17" fmla="*/ 7 h 44"/>
                    <a:gd name="T18" fmla="*/ 7 w 19"/>
                    <a:gd name="T19" fmla="*/ 4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2"/>
                        <a:pt x="7" y="12"/>
                      </a:cubicBezTo>
                      <a:cubicBezTo>
                        <a:pt x="7" y="13"/>
                        <a:pt x="6" y="13"/>
                        <a:pt x="5" y="13"/>
                      </a:cubicBezTo>
                      <a:cubicBezTo>
                        <a:pt x="4" y="14"/>
                        <a:pt x="3" y="14"/>
                        <a:pt x="3" y="14"/>
                      </a:cubicBezTo>
                      <a:cubicBezTo>
                        <a:pt x="2" y="14"/>
                        <a:pt x="1" y="15"/>
                        <a:pt x="0" y="15"/>
                      </a:cubicBezTo>
                      <a:cubicBezTo>
                        <a:pt x="0" y="7"/>
                        <a:pt x="0" y="7"/>
                        <a:pt x="0" y="7"/>
                      </a:cubicBezTo>
                      <a:cubicBezTo>
                        <a:pt x="2" y="6"/>
                        <a:pt x="5" y="5"/>
                        <a:pt x="7" y="4"/>
                      </a:cubicBezTo>
                      <a:cubicBezTo>
                        <a:pt x="9" y="3"/>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5" name="Freeform 398"/>
                <p:cNvSpPr>
                  <a:spLocks noEditPoints="1"/>
                </p:cNvSpPr>
                <p:nvPr/>
              </p:nvSpPr>
              <p:spPr bwMode="auto">
                <a:xfrm>
                  <a:off x="11310716" y="623459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6" name="Freeform 399"/>
                <p:cNvSpPr>
                  <a:spLocks noEditPoints="1"/>
                </p:cNvSpPr>
                <p:nvPr/>
              </p:nvSpPr>
              <p:spPr bwMode="auto">
                <a:xfrm>
                  <a:off x="11191876" y="6334845"/>
                  <a:ext cx="50932" cy="72759"/>
                </a:xfrm>
                <a:custGeom>
                  <a:avLst/>
                  <a:gdLst>
                    <a:gd name="T0" fmla="*/ 16 w 32"/>
                    <a:gd name="T1" fmla="*/ 45 h 45"/>
                    <a:gd name="T2" fmla="*/ 0 w 32"/>
                    <a:gd name="T3" fmla="*/ 23 h 45"/>
                    <a:gd name="T4" fmla="*/ 4 w 32"/>
                    <a:gd name="T5" fmla="*/ 6 h 45"/>
                    <a:gd name="T6" fmla="*/ 17 w 32"/>
                    <a:gd name="T7" fmla="*/ 0 h 45"/>
                    <a:gd name="T8" fmla="*/ 32 w 32"/>
                    <a:gd name="T9" fmla="*/ 22 h 45"/>
                    <a:gd name="T10" fmla="*/ 28 w 32"/>
                    <a:gd name="T11" fmla="*/ 39 h 45"/>
                    <a:gd name="T12" fmla="*/ 16 w 32"/>
                    <a:gd name="T13" fmla="*/ 45 h 45"/>
                    <a:gd name="T14" fmla="*/ 16 w 32"/>
                    <a:gd name="T15" fmla="*/ 8 h 45"/>
                    <a:gd name="T16" fmla="*/ 10 w 32"/>
                    <a:gd name="T17" fmla="*/ 23 h 45"/>
                    <a:gd name="T18" fmla="*/ 16 w 32"/>
                    <a:gd name="T19" fmla="*/ 38 h 45"/>
                    <a:gd name="T20" fmla="*/ 22 w 32"/>
                    <a:gd name="T21" fmla="*/ 23 h 45"/>
                    <a:gd name="T22" fmla="*/ 16 w 32"/>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7" y="0"/>
                      </a:cubicBezTo>
                      <a:cubicBezTo>
                        <a:pt x="27" y="0"/>
                        <a:pt x="32" y="8"/>
                        <a:pt x="32" y="22"/>
                      </a:cubicBezTo>
                      <a:cubicBezTo>
                        <a:pt x="32" y="30"/>
                        <a:pt x="30" y="35"/>
                        <a:pt x="28" y="39"/>
                      </a:cubicBezTo>
                      <a:cubicBezTo>
                        <a:pt x="25" y="43"/>
                        <a:pt x="21" y="45"/>
                        <a:pt x="16" y="45"/>
                      </a:cubicBezTo>
                      <a:close/>
                      <a:moveTo>
                        <a:pt x="16" y="8"/>
                      </a:moveTo>
                      <a:cubicBezTo>
                        <a:pt x="12" y="8"/>
                        <a:pt x="10" y="13"/>
                        <a:pt x="10" y="23"/>
                      </a:cubicBezTo>
                      <a:cubicBezTo>
                        <a:pt x="10" y="33"/>
                        <a:pt x="12" y="38"/>
                        <a:pt x="16" y="38"/>
                      </a:cubicBezTo>
                      <a:cubicBezTo>
                        <a:pt x="20" y="38"/>
                        <a:pt x="22" y="33"/>
                        <a:pt x="22" y="23"/>
                      </a:cubicBezTo>
                      <a:cubicBezTo>
                        <a:pt x="22" y="13"/>
                        <a:pt x="20"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407" name="Freeform 400"/>
                <p:cNvSpPr>
                  <a:spLocks noEditPoints="1"/>
                </p:cNvSpPr>
                <p:nvPr/>
              </p:nvSpPr>
              <p:spPr bwMode="auto">
                <a:xfrm>
                  <a:off x="11254126" y="6334845"/>
                  <a:ext cx="50123" cy="72759"/>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8 h 45"/>
                    <a:gd name="T16" fmla="*/ 9 w 31"/>
                    <a:gd name="T17" fmla="*/ 23 h 45"/>
                    <a:gd name="T18" fmla="*/ 15 w 31"/>
                    <a:gd name="T19" fmla="*/ 38 h 45"/>
                    <a:gd name="T20" fmla="*/ 21 w 31"/>
                    <a:gd name="T21" fmla="*/ 23 h 45"/>
                    <a:gd name="T22" fmla="*/ 16 w 31"/>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8"/>
                        <a:pt x="31" y="22"/>
                      </a:cubicBezTo>
                      <a:cubicBezTo>
                        <a:pt x="31" y="30"/>
                        <a:pt x="30" y="35"/>
                        <a:pt x="27" y="39"/>
                      </a:cubicBezTo>
                      <a:cubicBezTo>
                        <a:pt x="24" y="43"/>
                        <a:pt x="20" y="45"/>
                        <a:pt x="15" y="45"/>
                      </a:cubicBezTo>
                      <a:close/>
                      <a:moveTo>
                        <a:pt x="16" y="8"/>
                      </a:moveTo>
                      <a:cubicBezTo>
                        <a:pt x="11" y="8"/>
                        <a:pt x="9" y="13"/>
                        <a:pt x="9" y="23"/>
                      </a:cubicBezTo>
                      <a:cubicBezTo>
                        <a:pt x="9" y="33"/>
                        <a:pt x="11" y="38"/>
                        <a:pt x="15" y="38"/>
                      </a:cubicBezTo>
                      <a:cubicBezTo>
                        <a:pt x="19" y="38"/>
                        <a:pt x="21" y="33"/>
                        <a:pt x="21" y="23"/>
                      </a:cubicBezTo>
                      <a:cubicBezTo>
                        <a:pt x="21" y="13"/>
                        <a:pt x="19" y="8"/>
                        <a:pt x="16" y="8"/>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nvGrpSpPr>
              <p:cNvPr id="385" name="Group 384"/>
              <p:cNvGrpSpPr/>
              <p:nvPr/>
            </p:nvGrpSpPr>
            <p:grpSpPr>
              <a:xfrm>
                <a:off x="11268654" y="5874852"/>
                <a:ext cx="469471" cy="272443"/>
                <a:chOff x="11254126" y="5843315"/>
                <a:chExt cx="469471" cy="272443"/>
              </a:xfrm>
            </p:grpSpPr>
            <p:sp>
              <p:nvSpPr>
                <p:cNvPr id="386" name="Freeform 378"/>
                <p:cNvSpPr>
                  <a:spLocks/>
                </p:cNvSpPr>
                <p:nvPr/>
              </p:nvSpPr>
              <p:spPr bwMode="auto">
                <a:xfrm>
                  <a:off x="11260593" y="5843315"/>
                  <a:ext cx="30721" cy="70334"/>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87" name="Freeform 379"/>
                <p:cNvSpPr>
                  <a:spLocks noEditPoints="1"/>
                </p:cNvSpPr>
                <p:nvPr/>
              </p:nvSpPr>
              <p:spPr bwMode="auto">
                <a:xfrm>
                  <a:off x="11310716" y="5843315"/>
                  <a:ext cx="51740" cy="71951"/>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88" name="Freeform 384"/>
                <p:cNvSpPr>
                  <a:spLocks noEditPoints="1"/>
                </p:cNvSpPr>
                <p:nvPr/>
              </p:nvSpPr>
              <p:spPr bwMode="auto">
                <a:xfrm>
                  <a:off x="11254126" y="5942753"/>
                  <a:ext cx="50123" cy="72759"/>
                </a:xfrm>
                <a:custGeom>
                  <a:avLst/>
                  <a:gdLst>
                    <a:gd name="T0" fmla="*/ 15 w 31"/>
                    <a:gd name="T1" fmla="*/ 45 h 45"/>
                    <a:gd name="T2" fmla="*/ 0 w 31"/>
                    <a:gd name="T3" fmla="*/ 23 h 45"/>
                    <a:gd name="T4" fmla="*/ 4 w 31"/>
                    <a:gd name="T5" fmla="*/ 6 h 45"/>
                    <a:gd name="T6" fmla="*/ 16 w 31"/>
                    <a:gd name="T7" fmla="*/ 0 h 45"/>
                    <a:gd name="T8" fmla="*/ 31 w 31"/>
                    <a:gd name="T9" fmla="*/ 22 h 45"/>
                    <a:gd name="T10" fmla="*/ 27 w 31"/>
                    <a:gd name="T11" fmla="*/ 39 h 45"/>
                    <a:gd name="T12" fmla="*/ 15 w 31"/>
                    <a:gd name="T13" fmla="*/ 45 h 45"/>
                    <a:gd name="T14" fmla="*/ 16 w 31"/>
                    <a:gd name="T15" fmla="*/ 7 h 45"/>
                    <a:gd name="T16" fmla="*/ 9 w 31"/>
                    <a:gd name="T17" fmla="*/ 23 h 45"/>
                    <a:gd name="T18" fmla="*/ 15 w 31"/>
                    <a:gd name="T19" fmla="*/ 38 h 45"/>
                    <a:gd name="T20" fmla="*/ 21 w 31"/>
                    <a:gd name="T21" fmla="*/ 22 h 45"/>
                    <a:gd name="T22" fmla="*/ 16 w 31"/>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5">
                      <a:moveTo>
                        <a:pt x="15" y="45"/>
                      </a:moveTo>
                      <a:cubicBezTo>
                        <a:pt x="5" y="45"/>
                        <a:pt x="0" y="38"/>
                        <a:pt x="0" y="23"/>
                      </a:cubicBezTo>
                      <a:cubicBezTo>
                        <a:pt x="0" y="16"/>
                        <a:pt x="1" y="10"/>
                        <a:pt x="4" y="6"/>
                      </a:cubicBezTo>
                      <a:cubicBezTo>
                        <a:pt x="7" y="2"/>
                        <a:pt x="11" y="0"/>
                        <a:pt x="16" y="0"/>
                      </a:cubicBezTo>
                      <a:cubicBezTo>
                        <a:pt x="26" y="0"/>
                        <a:pt x="31" y="7"/>
                        <a:pt x="31" y="22"/>
                      </a:cubicBezTo>
                      <a:cubicBezTo>
                        <a:pt x="31" y="29"/>
                        <a:pt x="30" y="35"/>
                        <a:pt x="27" y="39"/>
                      </a:cubicBezTo>
                      <a:cubicBezTo>
                        <a:pt x="24" y="43"/>
                        <a:pt x="20" y="45"/>
                        <a:pt x="15" y="45"/>
                      </a:cubicBezTo>
                      <a:close/>
                      <a:moveTo>
                        <a:pt x="16" y="7"/>
                      </a:moveTo>
                      <a:cubicBezTo>
                        <a:pt x="11" y="7"/>
                        <a:pt x="9" y="12"/>
                        <a:pt x="9" y="23"/>
                      </a:cubicBezTo>
                      <a:cubicBezTo>
                        <a:pt x="9" y="33"/>
                        <a:pt x="11" y="38"/>
                        <a:pt x="15" y="38"/>
                      </a:cubicBezTo>
                      <a:cubicBezTo>
                        <a:pt x="19" y="38"/>
                        <a:pt x="21" y="33"/>
                        <a:pt x="21" y="22"/>
                      </a:cubicBezTo>
                      <a:cubicBezTo>
                        <a:pt x="21" y="12"/>
                        <a:pt x="19" y="7"/>
                        <a:pt x="16" y="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89" name="Freeform 385"/>
                <p:cNvSpPr>
                  <a:spLocks/>
                </p:cNvSpPr>
                <p:nvPr/>
              </p:nvSpPr>
              <p:spPr bwMode="auto">
                <a:xfrm>
                  <a:off x="11318801" y="5942753"/>
                  <a:ext cx="29104" cy="71142"/>
                </a:xfrm>
                <a:custGeom>
                  <a:avLst/>
                  <a:gdLst>
                    <a:gd name="T0" fmla="*/ 18 w 18"/>
                    <a:gd name="T1" fmla="*/ 0 h 44"/>
                    <a:gd name="T2" fmla="*/ 18 w 18"/>
                    <a:gd name="T3" fmla="*/ 44 h 44"/>
                    <a:gd name="T4" fmla="*/ 9 w 18"/>
                    <a:gd name="T5" fmla="*/ 44 h 44"/>
                    <a:gd name="T6" fmla="*/ 9 w 18"/>
                    <a:gd name="T7" fmla="*/ 11 h 44"/>
                    <a:gd name="T8" fmla="*/ 7 w 18"/>
                    <a:gd name="T9" fmla="*/ 12 h 44"/>
                    <a:gd name="T10" fmla="*/ 5 w 18"/>
                    <a:gd name="T11" fmla="*/ 13 h 44"/>
                    <a:gd name="T12" fmla="*/ 2 w 18"/>
                    <a:gd name="T13" fmla="*/ 14 h 44"/>
                    <a:gd name="T14" fmla="*/ 0 w 18"/>
                    <a:gd name="T15" fmla="*/ 14 h 44"/>
                    <a:gd name="T16" fmla="*/ 0 w 18"/>
                    <a:gd name="T17" fmla="*/ 6 h 44"/>
                    <a:gd name="T18" fmla="*/ 7 w 18"/>
                    <a:gd name="T19" fmla="*/ 3 h 44"/>
                    <a:gd name="T20" fmla="*/ 13 w 18"/>
                    <a:gd name="T21" fmla="*/ 0 h 44"/>
                    <a:gd name="T22" fmla="*/ 18 w 18"/>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4">
                      <a:moveTo>
                        <a:pt x="18" y="0"/>
                      </a:moveTo>
                      <a:cubicBezTo>
                        <a:pt x="18" y="44"/>
                        <a:pt x="18" y="44"/>
                        <a:pt x="18" y="44"/>
                      </a:cubicBezTo>
                      <a:cubicBezTo>
                        <a:pt x="9" y="44"/>
                        <a:pt x="9" y="44"/>
                        <a:pt x="9" y="44"/>
                      </a:cubicBezTo>
                      <a:cubicBezTo>
                        <a:pt x="9" y="11"/>
                        <a:pt x="9" y="11"/>
                        <a:pt x="9" y="11"/>
                      </a:cubicBezTo>
                      <a:cubicBezTo>
                        <a:pt x="8" y="11"/>
                        <a:pt x="8" y="11"/>
                        <a:pt x="7" y="12"/>
                      </a:cubicBezTo>
                      <a:cubicBezTo>
                        <a:pt x="6" y="12"/>
                        <a:pt x="6" y="13"/>
                        <a:pt x="5" y="13"/>
                      </a:cubicBezTo>
                      <a:cubicBezTo>
                        <a:pt x="4" y="13"/>
                        <a:pt x="3" y="14"/>
                        <a:pt x="2" y="14"/>
                      </a:cubicBezTo>
                      <a:cubicBezTo>
                        <a:pt x="1" y="14"/>
                        <a:pt x="0" y="14"/>
                        <a:pt x="0" y="14"/>
                      </a:cubicBezTo>
                      <a:cubicBezTo>
                        <a:pt x="0" y="6"/>
                        <a:pt x="0" y="6"/>
                        <a:pt x="0" y="6"/>
                      </a:cubicBezTo>
                      <a:cubicBezTo>
                        <a:pt x="2" y="6"/>
                        <a:pt x="4" y="5"/>
                        <a:pt x="7" y="3"/>
                      </a:cubicBezTo>
                      <a:cubicBezTo>
                        <a:pt x="9" y="2"/>
                        <a:pt x="11" y="1"/>
                        <a:pt x="13" y="0"/>
                      </a:cubicBezTo>
                      <a:lnTo>
                        <a:pt x="18"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0" name="Freeform 387"/>
                <p:cNvSpPr>
                  <a:spLocks/>
                </p:cNvSpPr>
                <p:nvPr/>
              </p:nvSpPr>
              <p:spPr bwMode="auto">
                <a:xfrm>
                  <a:off x="11692876" y="5931309"/>
                  <a:ext cx="30721" cy="71142"/>
                </a:xfrm>
                <a:custGeom>
                  <a:avLst/>
                  <a:gdLst>
                    <a:gd name="T0" fmla="*/ 19 w 19"/>
                    <a:gd name="T1" fmla="*/ 0 h 44"/>
                    <a:gd name="T2" fmla="*/ 19 w 19"/>
                    <a:gd name="T3" fmla="*/ 44 h 44"/>
                    <a:gd name="T4" fmla="*/ 9 w 19"/>
                    <a:gd name="T5" fmla="*/ 44 h 44"/>
                    <a:gd name="T6" fmla="*/ 9 w 19"/>
                    <a:gd name="T7" fmla="*/ 10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0"/>
                        <a:pt x="9" y="10"/>
                        <a:pt x="9" y="10"/>
                      </a:cubicBezTo>
                      <a:cubicBezTo>
                        <a:pt x="9" y="11"/>
                        <a:pt x="8" y="11"/>
                        <a:pt x="7" y="12"/>
                      </a:cubicBezTo>
                      <a:cubicBezTo>
                        <a:pt x="6" y="12"/>
                        <a:pt x="6" y="13"/>
                        <a:pt x="5" y="13"/>
                      </a:cubicBezTo>
                      <a:cubicBezTo>
                        <a:pt x="4" y="13"/>
                        <a:pt x="3" y="13"/>
                        <a:pt x="2" y="14"/>
                      </a:cubicBezTo>
                      <a:cubicBezTo>
                        <a:pt x="2" y="14"/>
                        <a:pt x="1" y="14"/>
                        <a:pt x="0" y="14"/>
                      </a:cubicBezTo>
                      <a:cubicBezTo>
                        <a:pt x="0" y="6"/>
                        <a:pt x="0" y="6"/>
                        <a:pt x="0" y="6"/>
                      </a:cubicBezTo>
                      <a:cubicBezTo>
                        <a:pt x="2" y="5"/>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1" name="Freeform 388"/>
                <p:cNvSpPr>
                  <a:spLocks noEditPoints="1"/>
                </p:cNvSpPr>
                <p:nvPr/>
              </p:nvSpPr>
              <p:spPr bwMode="auto">
                <a:xfrm>
                  <a:off x="11431982" y="5843315"/>
                  <a:ext cx="51740" cy="71951"/>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2"/>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2" name="Freeform 389"/>
                <p:cNvSpPr>
                  <a:spLocks noEditPoints="1"/>
                </p:cNvSpPr>
                <p:nvPr/>
              </p:nvSpPr>
              <p:spPr bwMode="auto">
                <a:xfrm>
                  <a:off x="11431982" y="5942753"/>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6" y="45"/>
                        <a:pt x="0" y="38"/>
                        <a:pt x="0" y="23"/>
                      </a:cubicBezTo>
                      <a:cubicBezTo>
                        <a:pt x="0" y="16"/>
                        <a:pt x="2" y="10"/>
                        <a:pt x="5" y="6"/>
                      </a:cubicBezTo>
                      <a:cubicBezTo>
                        <a:pt x="7" y="2"/>
                        <a:pt x="12" y="0"/>
                        <a:pt x="17" y="0"/>
                      </a:cubicBezTo>
                      <a:cubicBezTo>
                        <a:pt x="27" y="0"/>
                        <a:pt x="32" y="7"/>
                        <a:pt x="32" y="22"/>
                      </a:cubicBezTo>
                      <a:cubicBezTo>
                        <a:pt x="32" y="29"/>
                        <a:pt x="31"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3" name="Freeform 390"/>
                <p:cNvSpPr>
                  <a:spLocks/>
                </p:cNvSpPr>
                <p:nvPr/>
              </p:nvSpPr>
              <p:spPr bwMode="auto">
                <a:xfrm>
                  <a:off x="11440066" y="60429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2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6" y="12"/>
                        <a:pt x="6" y="13"/>
                        <a:pt x="5" y="13"/>
                      </a:cubicBezTo>
                      <a:cubicBezTo>
                        <a:pt x="4" y="13"/>
                        <a:pt x="3" y="14"/>
                        <a:pt x="2"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4" name="Freeform 391"/>
                <p:cNvSpPr>
                  <a:spLocks/>
                </p:cNvSpPr>
                <p:nvPr/>
              </p:nvSpPr>
              <p:spPr bwMode="auto">
                <a:xfrm>
                  <a:off x="11260593" y="6042999"/>
                  <a:ext cx="30721" cy="71142"/>
                </a:xfrm>
                <a:custGeom>
                  <a:avLst/>
                  <a:gdLst>
                    <a:gd name="T0" fmla="*/ 19 w 19"/>
                    <a:gd name="T1" fmla="*/ 0 h 44"/>
                    <a:gd name="T2" fmla="*/ 19 w 19"/>
                    <a:gd name="T3" fmla="*/ 44 h 44"/>
                    <a:gd name="T4" fmla="*/ 9 w 19"/>
                    <a:gd name="T5" fmla="*/ 44 h 44"/>
                    <a:gd name="T6" fmla="*/ 9 w 19"/>
                    <a:gd name="T7" fmla="*/ 11 h 44"/>
                    <a:gd name="T8" fmla="*/ 7 w 19"/>
                    <a:gd name="T9" fmla="*/ 12 h 44"/>
                    <a:gd name="T10" fmla="*/ 5 w 19"/>
                    <a:gd name="T11" fmla="*/ 13 h 44"/>
                    <a:gd name="T12" fmla="*/ 3 w 19"/>
                    <a:gd name="T13" fmla="*/ 14 h 44"/>
                    <a:gd name="T14" fmla="*/ 0 w 19"/>
                    <a:gd name="T15" fmla="*/ 14 h 44"/>
                    <a:gd name="T16" fmla="*/ 0 w 19"/>
                    <a:gd name="T17" fmla="*/ 6 h 44"/>
                    <a:gd name="T18" fmla="*/ 7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9" y="44"/>
                        <a:pt x="9" y="44"/>
                        <a:pt x="9" y="44"/>
                      </a:cubicBezTo>
                      <a:cubicBezTo>
                        <a:pt x="9" y="11"/>
                        <a:pt x="9" y="11"/>
                        <a:pt x="9" y="11"/>
                      </a:cubicBezTo>
                      <a:cubicBezTo>
                        <a:pt x="9" y="11"/>
                        <a:pt x="8" y="11"/>
                        <a:pt x="7" y="12"/>
                      </a:cubicBezTo>
                      <a:cubicBezTo>
                        <a:pt x="7" y="12"/>
                        <a:pt x="6" y="13"/>
                        <a:pt x="5" y="13"/>
                      </a:cubicBezTo>
                      <a:cubicBezTo>
                        <a:pt x="4" y="13"/>
                        <a:pt x="3" y="14"/>
                        <a:pt x="3" y="14"/>
                      </a:cubicBezTo>
                      <a:cubicBezTo>
                        <a:pt x="2" y="14"/>
                        <a:pt x="1" y="14"/>
                        <a:pt x="0" y="14"/>
                      </a:cubicBezTo>
                      <a:cubicBezTo>
                        <a:pt x="0" y="6"/>
                        <a:pt x="0" y="6"/>
                        <a:pt x="0" y="6"/>
                      </a:cubicBezTo>
                      <a:cubicBezTo>
                        <a:pt x="2" y="6"/>
                        <a:pt x="5" y="5"/>
                        <a:pt x="7" y="3"/>
                      </a:cubicBezTo>
                      <a:cubicBezTo>
                        <a:pt x="9" y="2"/>
                        <a:pt x="11"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5" name="Freeform 393"/>
                <p:cNvSpPr>
                  <a:spLocks/>
                </p:cNvSpPr>
                <p:nvPr/>
              </p:nvSpPr>
              <p:spPr bwMode="auto">
                <a:xfrm>
                  <a:off x="11377008" y="5843315"/>
                  <a:ext cx="30721" cy="70334"/>
                </a:xfrm>
                <a:custGeom>
                  <a:avLst/>
                  <a:gdLst>
                    <a:gd name="T0" fmla="*/ 19 w 19"/>
                    <a:gd name="T1" fmla="*/ 0 h 44"/>
                    <a:gd name="T2" fmla="*/ 19 w 19"/>
                    <a:gd name="T3" fmla="*/ 44 h 44"/>
                    <a:gd name="T4" fmla="*/ 10 w 19"/>
                    <a:gd name="T5" fmla="*/ 44 h 44"/>
                    <a:gd name="T6" fmla="*/ 10 w 19"/>
                    <a:gd name="T7" fmla="*/ 10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0"/>
                        <a:pt x="10" y="10"/>
                        <a:pt x="10" y="10"/>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5"/>
                        <a:pt x="5" y="5"/>
                        <a:pt x="8" y="3"/>
                      </a:cubicBezTo>
                      <a:cubicBezTo>
                        <a:pt x="10" y="2"/>
                        <a:pt x="12" y="1"/>
                        <a:pt x="13" y="0"/>
                      </a:cubicBezTo>
                      <a:lnTo>
                        <a:pt x="19"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6" name="Freeform 395"/>
                <p:cNvSpPr>
                  <a:spLocks noEditPoints="1"/>
                </p:cNvSpPr>
                <p:nvPr/>
              </p:nvSpPr>
              <p:spPr bwMode="auto">
                <a:xfrm>
                  <a:off x="11370541" y="5942753"/>
                  <a:ext cx="51740" cy="72759"/>
                </a:xfrm>
                <a:custGeom>
                  <a:avLst/>
                  <a:gdLst>
                    <a:gd name="T0" fmla="*/ 16 w 32"/>
                    <a:gd name="T1" fmla="*/ 45 h 45"/>
                    <a:gd name="T2" fmla="*/ 0 w 32"/>
                    <a:gd name="T3" fmla="*/ 23 h 45"/>
                    <a:gd name="T4" fmla="*/ 4 w 32"/>
                    <a:gd name="T5" fmla="*/ 6 h 45"/>
                    <a:gd name="T6" fmla="*/ 16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4" y="6"/>
                      </a:cubicBezTo>
                      <a:cubicBezTo>
                        <a:pt x="7" y="2"/>
                        <a:pt x="11" y="0"/>
                        <a:pt x="16" y="0"/>
                      </a:cubicBezTo>
                      <a:cubicBezTo>
                        <a:pt x="27" y="0"/>
                        <a:pt x="32" y="7"/>
                        <a:pt x="32" y="22"/>
                      </a:cubicBezTo>
                      <a:cubicBezTo>
                        <a:pt x="32" y="29"/>
                        <a:pt x="30" y="35"/>
                        <a:pt x="28" y="39"/>
                      </a:cubicBezTo>
                      <a:cubicBezTo>
                        <a:pt x="25" y="43"/>
                        <a:pt x="21" y="45"/>
                        <a:pt x="16" y="45"/>
                      </a:cubicBezTo>
                      <a:close/>
                      <a:moveTo>
                        <a:pt x="16" y="7"/>
                      </a:moveTo>
                      <a:cubicBezTo>
                        <a:pt x="12" y="7"/>
                        <a:pt x="10" y="12"/>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7" name="Freeform 401"/>
                <p:cNvSpPr>
                  <a:spLocks/>
                </p:cNvSpPr>
                <p:nvPr/>
              </p:nvSpPr>
              <p:spPr bwMode="auto">
                <a:xfrm>
                  <a:off x="11377008" y="6042999"/>
                  <a:ext cx="30721" cy="71142"/>
                </a:xfrm>
                <a:custGeom>
                  <a:avLst/>
                  <a:gdLst>
                    <a:gd name="T0" fmla="*/ 19 w 19"/>
                    <a:gd name="T1" fmla="*/ 0 h 44"/>
                    <a:gd name="T2" fmla="*/ 19 w 19"/>
                    <a:gd name="T3" fmla="*/ 44 h 44"/>
                    <a:gd name="T4" fmla="*/ 10 w 19"/>
                    <a:gd name="T5" fmla="*/ 44 h 44"/>
                    <a:gd name="T6" fmla="*/ 10 w 19"/>
                    <a:gd name="T7" fmla="*/ 11 h 44"/>
                    <a:gd name="T8" fmla="*/ 8 w 19"/>
                    <a:gd name="T9" fmla="*/ 12 h 44"/>
                    <a:gd name="T10" fmla="*/ 6 w 19"/>
                    <a:gd name="T11" fmla="*/ 13 h 44"/>
                    <a:gd name="T12" fmla="*/ 3 w 19"/>
                    <a:gd name="T13" fmla="*/ 14 h 44"/>
                    <a:gd name="T14" fmla="*/ 0 w 19"/>
                    <a:gd name="T15" fmla="*/ 14 h 44"/>
                    <a:gd name="T16" fmla="*/ 0 w 19"/>
                    <a:gd name="T17" fmla="*/ 6 h 44"/>
                    <a:gd name="T18" fmla="*/ 8 w 19"/>
                    <a:gd name="T19" fmla="*/ 3 h 44"/>
                    <a:gd name="T20" fmla="*/ 13 w 19"/>
                    <a:gd name="T21" fmla="*/ 0 h 44"/>
                    <a:gd name="T22" fmla="*/ 19 w 19"/>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4">
                      <a:moveTo>
                        <a:pt x="19" y="0"/>
                      </a:moveTo>
                      <a:cubicBezTo>
                        <a:pt x="19" y="44"/>
                        <a:pt x="19" y="44"/>
                        <a:pt x="19" y="44"/>
                      </a:cubicBezTo>
                      <a:cubicBezTo>
                        <a:pt x="10" y="44"/>
                        <a:pt x="10" y="44"/>
                        <a:pt x="10" y="44"/>
                      </a:cubicBezTo>
                      <a:cubicBezTo>
                        <a:pt x="10" y="11"/>
                        <a:pt x="10" y="11"/>
                        <a:pt x="10" y="11"/>
                      </a:cubicBezTo>
                      <a:cubicBezTo>
                        <a:pt x="9" y="11"/>
                        <a:pt x="9" y="11"/>
                        <a:pt x="8" y="12"/>
                      </a:cubicBezTo>
                      <a:cubicBezTo>
                        <a:pt x="7" y="12"/>
                        <a:pt x="6" y="13"/>
                        <a:pt x="6" y="13"/>
                      </a:cubicBezTo>
                      <a:cubicBezTo>
                        <a:pt x="5" y="13"/>
                        <a:pt x="4" y="14"/>
                        <a:pt x="3" y="14"/>
                      </a:cubicBezTo>
                      <a:cubicBezTo>
                        <a:pt x="2" y="14"/>
                        <a:pt x="1" y="14"/>
                        <a:pt x="0" y="14"/>
                      </a:cubicBezTo>
                      <a:cubicBezTo>
                        <a:pt x="0" y="6"/>
                        <a:pt x="0" y="6"/>
                        <a:pt x="0" y="6"/>
                      </a:cubicBezTo>
                      <a:cubicBezTo>
                        <a:pt x="3" y="6"/>
                        <a:pt x="5" y="5"/>
                        <a:pt x="8" y="3"/>
                      </a:cubicBezTo>
                      <a:cubicBezTo>
                        <a:pt x="10" y="2"/>
                        <a:pt x="12" y="1"/>
                        <a:pt x="13" y="0"/>
                      </a:cubicBezTo>
                      <a:lnTo>
                        <a:pt x="19"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sp>
              <p:nvSpPr>
                <p:cNvPr id="398" name="Freeform 402"/>
                <p:cNvSpPr>
                  <a:spLocks noEditPoints="1"/>
                </p:cNvSpPr>
                <p:nvPr/>
              </p:nvSpPr>
              <p:spPr bwMode="auto">
                <a:xfrm>
                  <a:off x="11310716" y="6042999"/>
                  <a:ext cx="51740" cy="72759"/>
                </a:xfrm>
                <a:custGeom>
                  <a:avLst/>
                  <a:gdLst>
                    <a:gd name="T0" fmla="*/ 16 w 32"/>
                    <a:gd name="T1" fmla="*/ 45 h 45"/>
                    <a:gd name="T2" fmla="*/ 0 w 32"/>
                    <a:gd name="T3" fmla="*/ 23 h 45"/>
                    <a:gd name="T4" fmla="*/ 5 w 32"/>
                    <a:gd name="T5" fmla="*/ 6 h 45"/>
                    <a:gd name="T6" fmla="*/ 17 w 32"/>
                    <a:gd name="T7" fmla="*/ 0 h 45"/>
                    <a:gd name="T8" fmla="*/ 32 w 32"/>
                    <a:gd name="T9" fmla="*/ 22 h 45"/>
                    <a:gd name="T10" fmla="*/ 28 w 32"/>
                    <a:gd name="T11" fmla="*/ 39 h 45"/>
                    <a:gd name="T12" fmla="*/ 16 w 32"/>
                    <a:gd name="T13" fmla="*/ 45 h 45"/>
                    <a:gd name="T14" fmla="*/ 16 w 32"/>
                    <a:gd name="T15" fmla="*/ 7 h 45"/>
                    <a:gd name="T16" fmla="*/ 10 w 32"/>
                    <a:gd name="T17" fmla="*/ 23 h 45"/>
                    <a:gd name="T18" fmla="*/ 16 w 32"/>
                    <a:gd name="T19" fmla="*/ 38 h 45"/>
                    <a:gd name="T20" fmla="*/ 22 w 32"/>
                    <a:gd name="T21" fmla="*/ 22 h 45"/>
                    <a:gd name="T22" fmla="*/ 16 w 32"/>
                    <a:gd name="T23"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5">
                      <a:moveTo>
                        <a:pt x="16" y="45"/>
                      </a:moveTo>
                      <a:cubicBezTo>
                        <a:pt x="5" y="45"/>
                        <a:pt x="0" y="38"/>
                        <a:pt x="0" y="23"/>
                      </a:cubicBezTo>
                      <a:cubicBezTo>
                        <a:pt x="0" y="16"/>
                        <a:pt x="2" y="10"/>
                        <a:pt x="5" y="6"/>
                      </a:cubicBezTo>
                      <a:cubicBezTo>
                        <a:pt x="7" y="2"/>
                        <a:pt x="11" y="0"/>
                        <a:pt x="17" y="0"/>
                      </a:cubicBezTo>
                      <a:cubicBezTo>
                        <a:pt x="27" y="0"/>
                        <a:pt x="32" y="7"/>
                        <a:pt x="32" y="22"/>
                      </a:cubicBezTo>
                      <a:cubicBezTo>
                        <a:pt x="32" y="29"/>
                        <a:pt x="30" y="35"/>
                        <a:pt x="28" y="39"/>
                      </a:cubicBezTo>
                      <a:cubicBezTo>
                        <a:pt x="25" y="43"/>
                        <a:pt x="21" y="45"/>
                        <a:pt x="16" y="45"/>
                      </a:cubicBezTo>
                      <a:close/>
                      <a:moveTo>
                        <a:pt x="16" y="7"/>
                      </a:moveTo>
                      <a:cubicBezTo>
                        <a:pt x="12" y="7"/>
                        <a:pt x="10" y="13"/>
                        <a:pt x="10" y="23"/>
                      </a:cubicBezTo>
                      <a:cubicBezTo>
                        <a:pt x="10" y="33"/>
                        <a:pt x="12" y="38"/>
                        <a:pt x="16" y="38"/>
                      </a:cubicBezTo>
                      <a:cubicBezTo>
                        <a:pt x="20" y="38"/>
                        <a:pt x="22" y="33"/>
                        <a:pt x="22" y="22"/>
                      </a:cubicBezTo>
                      <a:cubicBezTo>
                        <a:pt x="22" y="12"/>
                        <a:pt x="20" y="7"/>
                        <a:pt x="16" y="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8105"/>
                  <a:endParaRPr lang="en-US" sz="2200" dirty="0">
                    <a:solidFill>
                      <a:srgbClr val="505050"/>
                    </a:solidFill>
                  </a:endParaRPr>
                </a:p>
              </p:txBody>
            </p:sp>
          </p:grpSp>
        </p:grpSp>
      </p:grpSp>
    </p:spTree>
    <p:extLst>
      <p:ext uri="{BB962C8B-B14F-4D97-AF65-F5344CB8AC3E}">
        <p14:creationId xmlns:p14="http://schemas.microsoft.com/office/powerpoint/2010/main" val="4230127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gitally Transforming City Services – Better Governance</a:t>
            </a:r>
          </a:p>
        </p:txBody>
      </p:sp>
      <p:sp>
        <p:nvSpPr>
          <p:cNvPr id="2" name="Slide Number Placeholder 1"/>
          <p:cNvSpPr>
            <a:spLocks noGrp="1"/>
          </p:cNvSpPr>
          <p:nvPr>
            <p:ph type="sldNum" sz="quarter" idx="15"/>
          </p:nvPr>
        </p:nvSpPr>
        <p:spPr/>
        <p:txBody>
          <a:bodyPr/>
          <a:lstStyle/>
          <a:p>
            <a:pPr marL="0" marR="0" lvl="0" indent="0" defTabSz="1087779" eaLnBrk="1" fontAlgn="auto" latinLnBrk="0" hangingPunct="1">
              <a:lnSpc>
                <a:spcPct val="100000"/>
              </a:lnSpc>
              <a:spcBef>
                <a:spcPts val="0"/>
              </a:spcBef>
              <a:spcAft>
                <a:spcPts val="0"/>
              </a:spcAft>
              <a:buClrTx/>
              <a:buSzTx/>
              <a:buFontTx/>
              <a:buNone/>
              <a:tabLst/>
              <a:defRPr/>
            </a:pPr>
            <a:fld id="{FAADACFB-7C71-4E89-89D2-7BBA40B7BFA9}" type="slidenum">
              <a:rPr kumimoji="0" lang="en-US" sz="1799" b="0" i="0" u="none" strike="noStrike" kern="0" cap="none" spc="0" normalizeH="0" baseline="0" noProof="0">
                <a:ln>
                  <a:noFill/>
                </a:ln>
                <a:solidFill>
                  <a:srgbClr val="505050"/>
                </a:solidFill>
                <a:effectLst/>
                <a:uLnTx/>
                <a:uFillTx/>
              </a:rPr>
              <a:pPr marL="0" marR="0" lvl="0" indent="0" defTabSz="1087779" eaLnBrk="1" fontAlgn="auto" latinLnBrk="0" hangingPunct="1">
                <a:lnSpc>
                  <a:spcPct val="100000"/>
                </a:lnSpc>
                <a:spcBef>
                  <a:spcPts val="0"/>
                </a:spcBef>
                <a:spcAft>
                  <a:spcPts val="0"/>
                </a:spcAft>
                <a:buClrTx/>
                <a:buSzTx/>
                <a:buFontTx/>
                <a:buNone/>
                <a:tabLst/>
                <a:defRPr/>
              </a:pPr>
              <a:t>2</a:t>
            </a:fld>
            <a:endParaRPr kumimoji="0" lang="en-US" sz="1799" b="0" i="0" u="none" strike="noStrike" kern="0" cap="none" spc="0" normalizeH="0" baseline="0" noProof="0" dirty="0">
              <a:ln>
                <a:noFill/>
              </a:ln>
              <a:solidFill>
                <a:srgbClr val="505050"/>
              </a:solidFill>
              <a:effectLst/>
              <a:uLnTx/>
              <a:uFillTx/>
            </a:endParaRPr>
          </a:p>
        </p:txBody>
      </p:sp>
      <p:sp>
        <p:nvSpPr>
          <p:cNvPr id="14" name="Rectangle 25"/>
          <p:cNvSpPr/>
          <p:nvPr/>
        </p:nvSpPr>
        <p:spPr bwMode="auto">
          <a:xfrm>
            <a:off x="2968604" y="2370960"/>
            <a:ext cx="8676080" cy="92836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defTabSz="913852"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dirty="0">
                <a:ln>
                  <a:noFill/>
                </a:ln>
                <a:solidFill>
                  <a:srgbClr val="000000"/>
                </a:solidFill>
                <a:effectLst/>
                <a:uLnTx/>
                <a:uFillTx/>
              </a:rPr>
              <a:t>Enable your employees to </a:t>
            </a:r>
            <a:r>
              <a:rPr lang="en-US" sz="1600" kern="0" dirty="0">
                <a:solidFill>
                  <a:srgbClr val="000000"/>
                </a:solidFill>
              </a:rPr>
              <a:t>share insights about city operations, </a:t>
            </a:r>
            <a:r>
              <a:rPr kumimoji="0" lang="en-US" sz="1600" b="0" i="0" u="none" strike="noStrike" kern="0" cap="none" spc="0" normalizeH="0" baseline="0" noProof="0" dirty="0">
                <a:ln>
                  <a:noFill/>
                </a:ln>
                <a:solidFill>
                  <a:srgbClr val="000000"/>
                </a:solidFill>
                <a:effectLst/>
                <a:uLnTx/>
                <a:uFillTx/>
              </a:rPr>
              <a:t>provide responsive services, efficiently collaborating to quickly meet citizen needs with agility.</a:t>
            </a:r>
          </a:p>
        </p:txBody>
      </p:sp>
      <p:sp>
        <p:nvSpPr>
          <p:cNvPr id="15" name="Rectangle 25"/>
          <p:cNvSpPr/>
          <p:nvPr/>
        </p:nvSpPr>
        <p:spPr bwMode="auto">
          <a:xfrm>
            <a:off x="2968605" y="3381813"/>
            <a:ext cx="8676080" cy="10871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defTabSz="913852"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dirty="0">
                <a:ln>
                  <a:noFill/>
                </a:ln>
                <a:solidFill>
                  <a:prstClr val="white"/>
                </a:solidFill>
                <a:effectLst/>
                <a:uLnTx/>
                <a:uFillTx/>
              </a:rPr>
              <a:t>Increase the flow of information across all operations, keep your processes synchronized, and improve your interaction with city partners, suppliers, and service providers.</a:t>
            </a:r>
          </a:p>
        </p:txBody>
      </p:sp>
      <p:sp>
        <p:nvSpPr>
          <p:cNvPr id="16" name="Rectangle 25"/>
          <p:cNvSpPr/>
          <p:nvPr/>
        </p:nvSpPr>
        <p:spPr bwMode="auto">
          <a:xfrm>
            <a:off x="2968606" y="4560058"/>
            <a:ext cx="8676080" cy="147503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defTabSz="913852"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dirty="0">
                <a:ln>
                  <a:noFill/>
                </a:ln>
                <a:solidFill>
                  <a:prstClr val="white"/>
                </a:solidFill>
                <a:effectLst/>
                <a:uLnTx/>
                <a:uFillTx/>
              </a:rPr>
              <a:t>Create a platform for promoting and developing economic opportunities, attract citizens, and support current and future workforces in obtaining education and building skills.</a:t>
            </a:r>
          </a:p>
        </p:txBody>
      </p:sp>
      <p:sp>
        <p:nvSpPr>
          <p:cNvPr id="23" name="Rectangle 24"/>
          <p:cNvSpPr/>
          <p:nvPr/>
        </p:nvSpPr>
        <p:spPr bwMode="auto">
          <a:xfrm>
            <a:off x="2968600" y="1360108"/>
            <a:ext cx="8676080" cy="92836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defTabSz="913852"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dirty="0">
                <a:ln>
                  <a:noFill/>
                </a:ln>
                <a:solidFill>
                  <a:prstClr val="white"/>
                </a:solidFill>
                <a:effectLst/>
                <a:uLnTx/>
                <a:uFillTx/>
              </a:rPr>
              <a:t>Deliver personalized, connected experiences to your citizens.</a:t>
            </a:r>
          </a:p>
        </p:txBody>
      </p:sp>
      <p:sp>
        <p:nvSpPr>
          <p:cNvPr id="26" name="Rectangle 24"/>
          <p:cNvSpPr/>
          <p:nvPr/>
        </p:nvSpPr>
        <p:spPr bwMode="auto">
          <a:xfrm>
            <a:off x="386498" y="1360108"/>
            <a:ext cx="2453804" cy="92836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defTabSz="913852"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dirty="0">
                <a:ln>
                  <a:noFill/>
                </a:ln>
                <a:solidFill>
                  <a:prstClr val="white"/>
                </a:solidFill>
                <a:effectLst/>
                <a:uLnTx/>
                <a:uFillTx/>
              </a:rPr>
              <a:t>&lt;&gt;</a:t>
            </a:r>
          </a:p>
        </p:txBody>
      </p:sp>
      <p:sp>
        <p:nvSpPr>
          <p:cNvPr id="27" name="Rectangle 24"/>
          <p:cNvSpPr/>
          <p:nvPr/>
        </p:nvSpPr>
        <p:spPr bwMode="auto">
          <a:xfrm>
            <a:off x="450647" y="1360107"/>
            <a:ext cx="2453804" cy="92836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defTabSz="913852" eaLnBrk="1" fontAlgn="auto" latinLnBrk="0" hangingPunct="1">
              <a:lnSpc>
                <a:spcPct val="100000"/>
              </a:lnSpc>
              <a:spcBef>
                <a:spcPts val="0"/>
              </a:spcBef>
              <a:spcAft>
                <a:spcPts val="588"/>
              </a:spcAft>
              <a:buClrTx/>
              <a:buSzTx/>
              <a:buFontTx/>
              <a:buNone/>
              <a:tabLst/>
              <a:defRPr/>
            </a:pPr>
            <a:r>
              <a:rPr kumimoji="0" lang="en-US" sz="1999" b="0" i="0" u="none" strike="noStrike" kern="0" cap="none" spc="0" normalizeH="0" baseline="0" noProof="0" dirty="0">
                <a:ln>
                  <a:noFill/>
                </a:ln>
                <a:solidFill>
                  <a:prstClr val="white"/>
                </a:solidFill>
                <a:effectLst/>
                <a:uLnTx/>
                <a:uFillTx/>
              </a:rPr>
              <a:t>Engage with Citizens</a:t>
            </a:r>
          </a:p>
        </p:txBody>
      </p:sp>
      <p:sp>
        <p:nvSpPr>
          <p:cNvPr id="36" name="Rectangle 25"/>
          <p:cNvSpPr/>
          <p:nvPr/>
        </p:nvSpPr>
        <p:spPr bwMode="auto">
          <a:xfrm>
            <a:off x="386499" y="2370960"/>
            <a:ext cx="2517953" cy="92836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defTabSz="913852" eaLnBrk="1" fontAlgn="auto" latinLnBrk="0" hangingPunct="1">
              <a:lnSpc>
                <a:spcPct val="100000"/>
              </a:lnSpc>
              <a:spcBef>
                <a:spcPts val="0"/>
              </a:spcBef>
              <a:spcAft>
                <a:spcPts val="588"/>
              </a:spcAft>
              <a:buClrTx/>
              <a:buSzTx/>
              <a:buFontTx/>
              <a:buNone/>
              <a:tabLst/>
              <a:defRPr/>
            </a:pPr>
            <a:r>
              <a:rPr kumimoji="0" lang="en-US" sz="1999" b="0" i="0" u="none" strike="noStrike" kern="0" cap="none" spc="0" normalizeH="0" baseline="0" noProof="0" dirty="0">
                <a:ln>
                  <a:noFill/>
                </a:ln>
                <a:solidFill>
                  <a:srgbClr val="000000"/>
                </a:solidFill>
                <a:effectLst/>
                <a:uLnTx/>
                <a:uFillTx/>
              </a:rPr>
              <a:t>Empower City Employees</a:t>
            </a:r>
          </a:p>
        </p:txBody>
      </p:sp>
      <p:sp>
        <p:nvSpPr>
          <p:cNvPr id="37" name="Rectangle 25"/>
          <p:cNvSpPr/>
          <p:nvPr/>
        </p:nvSpPr>
        <p:spPr bwMode="auto">
          <a:xfrm>
            <a:off x="386500" y="3381813"/>
            <a:ext cx="2517953" cy="10871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defTabSz="913852" eaLnBrk="1" fontAlgn="auto" latinLnBrk="0" hangingPunct="1">
              <a:lnSpc>
                <a:spcPct val="100000"/>
              </a:lnSpc>
              <a:spcBef>
                <a:spcPts val="0"/>
              </a:spcBef>
              <a:spcAft>
                <a:spcPts val="588"/>
              </a:spcAft>
              <a:buClrTx/>
              <a:buSzTx/>
              <a:buFontTx/>
              <a:buNone/>
              <a:tabLst/>
              <a:defRPr/>
            </a:pPr>
            <a:r>
              <a:rPr kumimoji="0" lang="en-US" sz="1999" b="0" i="0" u="none" strike="noStrike" kern="0" cap="none" spc="0" normalizeH="0" baseline="0" noProof="0" dirty="0">
                <a:ln>
                  <a:noFill/>
                </a:ln>
                <a:solidFill>
                  <a:prstClr val="white"/>
                </a:solidFill>
                <a:effectLst/>
                <a:uLnTx/>
                <a:uFillTx/>
              </a:rPr>
              <a:t>Optimize City Operations and Infrastructure</a:t>
            </a:r>
          </a:p>
        </p:txBody>
      </p:sp>
      <p:sp>
        <p:nvSpPr>
          <p:cNvPr id="38" name="Rectangle 25"/>
          <p:cNvSpPr/>
          <p:nvPr/>
        </p:nvSpPr>
        <p:spPr bwMode="auto">
          <a:xfrm>
            <a:off x="386501" y="4560058"/>
            <a:ext cx="2517953" cy="147503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defTabSz="913852" eaLnBrk="1" fontAlgn="auto" latinLnBrk="0" hangingPunct="1">
              <a:lnSpc>
                <a:spcPct val="100000"/>
              </a:lnSpc>
              <a:spcBef>
                <a:spcPts val="0"/>
              </a:spcBef>
              <a:spcAft>
                <a:spcPts val="588"/>
              </a:spcAft>
              <a:buClrTx/>
              <a:buSzTx/>
              <a:buFontTx/>
              <a:buNone/>
              <a:tabLst/>
              <a:defRPr/>
            </a:pPr>
            <a:r>
              <a:rPr kumimoji="0" lang="en-US" sz="1999" b="0" i="0" u="none" strike="noStrike" kern="0" cap="none" spc="0" normalizeH="0" baseline="0" noProof="0" dirty="0">
                <a:ln>
                  <a:noFill/>
                </a:ln>
                <a:solidFill>
                  <a:prstClr val="white"/>
                </a:solidFill>
                <a:effectLst/>
                <a:uLnTx/>
                <a:uFillTx/>
              </a:rPr>
              <a:t>Transform and Accelerate Innovation and Opportunity</a:t>
            </a:r>
          </a:p>
        </p:txBody>
      </p:sp>
    </p:spTree>
    <p:extLst>
      <p:ext uri="{BB962C8B-B14F-4D97-AF65-F5344CB8AC3E}">
        <p14:creationId xmlns:p14="http://schemas.microsoft.com/office/powerpoint/2010/main" val="1895283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r="1043" b="1734"/>
          <a:stretch/>
        </p:blipFill>
        <p:spPr>
          <a:xfrm>
            <a:off x="1589" y="0"/>
            <a:ext cx="12188825" cy="6858000"/>
          </a:xfrm>
          <a:prstGeom prst="rect">
            <a:avLst/>
          </a:prstGeom>
          <a:noFill/>
          <a:ln>
            <a:noFill/>
          </a:ln>
        </p:spPr>
      </p:pic>
      <p:sp>
        <p:nvSpPr>
          <p:cNvPr id="2" name="Title 1"/>
          <p:cNvSpPr>
            <a:spLocks noGrp="1"/>
          </p:cNvSpPr>
          <p:nvPr>
            <p:ph type="title"/>
          </p:nvPr>
        </p:nvSpPr>
        <p:spPr/>
        <p:txBody>
          <a:bodyPr/>
          <a:lstStyle/>
          <a:p>
            <a:r>
              <a:rPr lang="en-US" dirty="0"/>
              <a:t>Imagine if…( from Cyber)</a:t>
            </a:r>
            <a:endParaRPr lang="en-IN" dirty="0"/>
          </a:p>
        </p:txBody>
      </p:sp>
      <p:sp>
        <p:nvSpPr>
          <p:cNvPr id="3" name="Slide Number Placeholder 2"/>
          <p:cNvSpPr>
            <a:spLocks noGrp="1"/>
          </p:cNvSpPr>
          <p:nvPr>
            <p:ph type="sldNum" sz="quarter" idx="12"/>
          </p:nvPr>
        </p:nvSpPr>
        <p:spPr/>
        <p:txBody>
          <a:bodyPr/>
          <a:lstStyle/>
          <a:p>
            <a:fld id="{FAADACFB-7C71-4E89-89D2-7BBA40B7BFA9}" type="slidenum">
              <a:rPr lang="en-US" smtClean="0">
                <a:solidFill>
                  <a:prstClr val="white"/>
                </a:solidFill>
              </a:rPr>
              <a:pPr/>
              <a:t>3</a:t>
            </a:fld>
            <a:endParaRPr lang="en-US" dirty="0">
              <a:solidFill>
                <a:prstClr val="white"/>
              </a:solidFill>
            </a:endParaRPr>
          </a:p>
        </p:txBody>
      </p:sp>
      <p:sp>
        <p:nvSpPr>
          <p:cNvPr id="8" name="Rectangle 7"/>
          <p:cNvSpPr/>
          <p:nvPr/>
        </p:nvSpPr>
        <p:spPr>
          <a:xfrm>
            <a:off x="228602" y="1604836"/>
            <a:ext cx="5460998" cy="5113054"/>
          </a:xfrm>
          <a:prstGeom prst="rect">
            <a:avLst/>
          </a:prstGeom>
          <a:solidFill>
            <a:schemeClr val="tx2">
              <a:alpha val="85000"/>
            </a:schemeClr>
          </a:solidFill>
        </p:spPr>
        <p:txBody>
          <a:bodyPr wrap="square" lIns="91440" tIns="45720" rIns="91440" bIns="45720">
            <a:noAutofit/>
          </a:bodyPr>
          <a:lstStyle/>
          <a:p>
            <a:pPr marL="292100" indent="-292100" defTabSz="1088105">
              <a:spcBef>
                <a:spcPts val="600"/>
              </a:spcBef>
              <a:spcAft>
                <a:spcPts val="600"/>
              </a:spcAft>
              <a:buFont typeface="Arial" panose="020B0604020202020204" pitchFamily="34" charset="0"/>
              <a:buChar char="•"/>
            </a:pPr>
            <a:r>
              <a:rPr lang="en-IN" sz="2000" dirty="0">
                <a:solidFill>
                  <a:prstClr val="white"/>
                </a:solidFill>
                <a:latin typeface="Segoe UI Light"/>
              </a:rPr>
              <a:t>Imagine if citizens and businesses received responsive and personalized services from city leaders and departments which is not correct ( like hanuman passport).</a:t>
            </a:r>
          </a:p>
          <a:p>
            <a:pPr marL="292100" indent="-292100" defTabSz="1088105">
              <a:spcBef>
                <a:spcPts val="600"/>
              </a:spcBef>
              <a:spcAft>
                <a:spcPts val="600"/>
              </a:spcAft>
              <a:buFont typeface="Arial" panose="020B0604020202020204" pitchFamily="34" charset="0"/>
              <a:buChar char="•"/>
            </a:pPr>
            <a:r>
              <a:rPr lang="en-IN" sz="2000" dirty="0">
                <a:solidFill>
                  <a:prstClr val="white"/>
                </a:solidFill>
                <a:latin typeface="Segoe UI Light"/>
              </a:rPr>
              <a:t>If traffic directions go wrong ?</a:t>
            </a:r>
          </a:p>
          <a:p>
            <a:pPr marL="292100" indent="-292100" defTabSz="1088105">
              <a:spcBef>
                <a:spcPts val="600"/>
              </a:spcBef>
              <a:spcAft>
                <a:spcPts val="600"/>
              </a:spcAft>
              <a:buFont typeface="Arial" panose="020B0604020202020204" pitchFamily="34" charset="0"/>
              <a:buChar char="•"/>
            </a:pPr>
            <a:r>
              <a:rPr lang="en-IN" sz="2000" dirty="0">
                <a:solidFill>
                  <a:prstClr val="white"/>
                </a:solidFill>
                <a:latin typeface="Segoe UI Light"/>
              </a:rPr>
              <a:t>If you Aadhar verification is misused ?</a:t>
            </a:r>
          </a:p>
          <a:p>
            <a:pPr marL="292100" indent="-292100" defTabSz="1088105">
              <a:spcBef>
                <a:spcPts val="600"/>
              </a:spcBef>
              <a:spcAft>
                <a:spcPts val="600"/>
              </a:spcAft>
              <a:buFont typeface="Arial" panose="020B0604020202020204" pitchFamily="34" charset="0"/>
              <a:buChar char="•"/>
            </a:pPr>
            <a:r>
              <a:rPr lang="en-IN" sz="2000" dirty="0">
                <a:solidFill>
                  <a:prstClr val="white"/>
                </a:solidFill>
                <a:latin typeface="Segoe UI Light"/>
              </a:rPr>
              <a:t>What matters to us is </a:t>
            </a:r>
          </a:p>
          <a:p>
            <a:pPr marL="749219" lvl="1" indent="-292100" defTabSz="1088105">
              <a:spcBef>
                <a:spcPts val="600"/>
              </a:spcBef>
              <a:spcAft>
                <a:spcPts val="600"/>
              </a:spcAft>
              <a:buFont typeface="Arial" panose="020B0604020202020204" pitchFamily="34" charset="0"/>
              <a:buChar char="•"/>
            </a:pPr>
            <a:r>
              <a:rPr lang="en-IN" sz="2000" dirty="0">
                <a:solidFill>
                  <a:prstClr val="white"/>
                </a:solidFill>
                <a:latin typeface="Segoe UI Light"/>
              </a:rPr>
              <a:t>Our money/collateral/security(FD/stocks).</a:t>
            </a:r>
          </a:p>
          <a:p>
            <a:pPr marL="749219" lvl="1" indent="-292100" defTabSz="1088105">
              <a:spcBef>
                <a:spcPts val="600"/>
              </a:spcBef>
              <a:spcAft>
                <a:spcPts val="600"/>
              </a:spcAft>
              <a:buFont typeface="Arial" panose="020B0604020202020204" pitchFamily="34" charset="0"/>
              <a:buChar char="•"/>
            </a:pPr>
            <a:r>
              <a:rPr lang="en-IN" sz="2000" dirty="0">
                <a:solidFill>
                  <a:prstClr val="white"/>
                </a:solidFill>
                <a:latin typeface="Segoe UI Light"/>
              </a:rPr>
              <a:t>Our relationship ( parents/family)</a:t>
            </a:r>
          </a:p>
          <a:p>
            <a:pPr marL="749219" lvl="1" indent="-292100" defTabSz="1088105">
              <a:spcBef>
                <a:spcPts val="600"/>
              </a:spcBef>
              <a:spcAft>
                <a:spcPts val="600"/>
              </a:spcAft>
              <a:buFont typeface="Arial" panose="020B0604020202020204" pitchFamily="34" charset="0"/>
              <a:buChar char="•"/>
            </a:pPr>
            <a:r>
              <a:rPr lang="en-IN" sz="2000" dirty="0">
                <a:solidFill>
                  <a:prstClr val="white"/>
                </a:solidFill>
                <a:latin typeface="Segoe UI Light"/>
              </a:rPr>
              <a:t>Our work ( employee/business)</a:t>
            </a:r>
          </a:p>
          <a:p>
            <a:pPr marL="749219" lvl="1" indent="-292100" defTabSz="1088105">
              <a:spcBef>
                <a:spcPts val="600"/>
              </a:spcBef>
              <a:spcAft>
                <a:spcPts val="600"/>
              </a:spcAft>
              <a:buFont typeface="Arial" panose="020B0604020202020204" pitchFamily="34" charset="0"/>
              <a:buChar char="•"/>
            </a:pPr>
            <a:r>
              <a:rPr lang="en-IN" sz="2000" dirty="0">
                <a:solidFill>
                  <a:prstClr val="white"/>
                </a:solidFill>
                <a:latin typeface="Segoe UI Light"/>
              </a:rPr>
              <a:t>Our freedom ( travel/work/leisure)</a:t>
            </a:r>
          </a:p>
          <a:p>
            <a:pPr marL="749219" lvl="1" indent="-292100" defTabSz="1088105">
              <a:spcBef>
                <a:spcPts val="600"/>
              </a:spcBef>
              <a:spcAft>
                <a:spcPts val="600"/>
              </a:spcAft>
              <a:buFont typeface="Arial" panose="020B0604020202020204" pitchFamily="34" charset="0"/>
              <a:buChar char="•"/>
            </a:pPr>
            <a:r>
              <a:rPr lang="en-IN" sz="2000" dirty="0">
                <a:solidFill>
                  <a:prstClr val="white"/>
                </a:solidFill>
                <a:latin typeface="Segoe UI Light"/>
              </a:rPr>
              <a:t>Our Convenience ( license/passport )</a:t>
            </a:r>
          </a:p>
        </p:txBody>
      </p:sp>
    </p:spTree>
    <p:extLst>
      <p:ext uri="{BB962C8B-B14F-4D97-AF65-F5344CB8AC3E}">
        <p14:creationId xmlns:p14="http://schemas.microsoft.com/office/powerpoint/2010/main" val="1384067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a:t>Constituent experience journey map</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4</a:t>
            </a:fld>
            <a:endParaRPr lang="en-US" dirty="0">
              <a:solidFill>
                <a:srgbClr val="505050"/>
              </a:solidFill>
            </a:endParaRPr>
          </a:p>
        </p:txBody>
      </p:sp>
      <p:grpSp>
        <p:nvGrpSpPr>
          <p:cNvPr id="59" name="Group 58"/>
          <p:cNvGrpSpPr/>
          <p:nvPr/>
        </p:nvGrpSpPr>
        <p:grpSpPr>
          <a:xfrm>
            <a:off x="1588" y="4725498"/>
            <a:ext cx="12188826" cy="2132503"/>
            <a:chOff x="-1" y="4725497"/>
            <a:chExt cx="12188826" cy="2132503"/>
          </a:xfrm>
        </p:grpSpPr>
        <p:sp>
          <p:nvSpPr>
            <p:cNvPr id="62" name="Rectangle 61"/>
            <p:cNvSpPr/>
            <p:nvPr/>
          </p:nvSpPr>
          <p:spPr bwMode="auto">
            <a:xfrm>
              <a:off x="-1" y="4725497"/>
              <a:ext cx="12188823" cy="535531"/>
            </a:xfrm>
            <a:prstGeom prst="rect">
              <a:avLst/>
            </a:prstGeom>
            <a:solidFill>
              <a:schemeClr val="tx2"/>
            </a:solidFill>
            <a:ln w="6350"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1227077" fontAlgn="base">
                <a:lnSpc>
                  <a:spcPct val="120000"/>
                </a:lnSpc>
                <a:spcBef>
                  <a:spcPts val="200"/>
                </a:spcBef>
                <a:spcAft>
                  <a:spcPts val="200"/>
                </a:spcAft>
                <a:defRPr/>
              </a:pPr>
              <a:r>
                <a:rPr lang="en-US" sz="2400" kern="0" dirty="0">
                  <a:solidFill>
                    <a:srgbClr val="FFFFFF"/>
                  </a:solidFill>
                  <a:latin typeface="Segoe UI Light"/>
                  <a:ea typeface="Segoe UI" pitchFamily="34" charset="0"/>
                  <a:cs typeface="Segoe UI" pitchFamily="34" charset="0"/>
                </a:rPr>
                <a:t>Digital Hotspots</a:t>
              </a:r>
            </a:p>
          </p:txBody>
        </p:sp>
        <p:sp>
          <p:nvSpPr>
            <p:cNvPr id="63" name="Rectangle 62"/>
            <p:cNvSpPr/>
            <p:nvPr/>
          </p:nvSpPr>
          <p:spPr>
            <a:xfrm>
              <a:off x="0" y="5260810"/>
              <a:ext cx="4069080" cy="1597190"/>
            </a:xfrm>
            <a:prstGeom prst="rect">
              <a:avLst/>
            </a:prstGeom>
            <a:solidFill>
              <a:schemeClr val="bg1">
                <a:lumMod val="95000"/>
              </a:schemeClr>
            </a:solidFill>
          </p:spPr>
          <p:txBody>
            <a:bodyPr wrap="square" lIns="91440" tIns="45720" rIns="91440" bIns="45720">
              <a:noAutofit/>
            </a:bodyPr>
            <a:lstStyle/>
            <a:p>
              <a:pPr marL="228600" indent="-228600" defTabSz="913916" fontAlgn="base">
                <a:spcBef>
                  <a:spcPts val="400"/>
                </a:spcBef>
                <a:buFont typeface="Arial" panose="020B0604020202020204" pitchFamily="34" charset="0"/>
                <a:buChar char="•"/>
              </a:pPr>
              <a:r>
                <a:rPr lang="en-US" sz="1600" dirty="0">
                  <a:solidFill>
                    <a:srgbClr val="505050"/>
                  </a:solidFill>
                  <a:ea typeface="Segoe UI" pitchFamily="34" charset="0"/>
                  <a:cs typeface="Segoe UI" pitchFamily="34" charset="0"/>
                </a:rPr>
                <a:t>Sensor Networks and City Dashboards</a:t>
              </a:r>
            </a:p>
            <a:p>
              <a:pPr marL="228600" indent="-228600" defTabSz="913916" fontAlgn="base">
                <a:spcBef>
                  <a:spcPts val="400"/>
                </a:spcBef>
                <a:buFont typeface="Arial" panose="020B0604020202020204" pitchFamily="34" charset="0"/>
                <a:buChar char="•"/>
              </a:pPr>
              <a:r>
                <a:rPr lang="en-US" sz="1600" dirty="0">
                  <a:solidFill>
                    <a:srgbClr val="505050"/>
                  </a:solidFill>
                  <a:ea typeface="Segoe UI" pitchFamily="34" charset="0"/>
                  <a:cs typeface="Segoe UI" pitchFamily="34" charset="0"/>
                </a:rPr>
                <a:t>Open Data Portals</a:t>
              </a:r>
            </a:p>
            <a:p>
              <a:pPr marL="228600" indent="-228600" defTabSz="913916" fontAlgn="base">
                <a:spcBef>
                  <a:spcPts val="400"/>
                </a:spcBef>
                <a:buFont typeface="Arial" panose="020B0604020202020204" pitchFamily="34" charset="0"/>
                <a:buChar char="•"/>
              </a:pPr>
              <a:r>
                <a:rPr lang="en-US" sz="1600" dirty="0">
                  <a:solidFill>
                    <a:srgbClr val="505050"/>
                  </a:solidFill>
                  <a:ea typeface="Segoe UI" pitchFamily="34" charset="0"/>
                  <a:cs typeface="Segoe UI" pitchFamily="34" charset="0"/>
                </a:rPr>
                <a:t>Intelligent Parking Systems</a:t>
              </a:r>
            </a:p>
          </p:txBody>
        </p:sp>
        <p:sp>
          <p:nvSpPr>
            <p:cNvPr id="64" name="Rectangle 63"/>
            <p:cNvSpPr/>
            <p:nvPr/>
          </p:nvSpPr>
          <p:spPr>
            <a:xfrm>
              <a:off x="4059873" y="5260810"/>
              <a:ext cx="4069080" cy="1597190"/>
            </a:xfrm>
            <a:prstGeom prst="rect">
              <a:avLst/>
            </a:prstGeom>
            <a:solidFill>
              <a:schemeClr val="bg1">
                <a:lumMod val="95000"/>
              </a:schemeClr>
            </a:solidFill>
          </p:spPr>
          <p:txBody>
            <a:bodyPr wrap="square" lIns="91440" tIns="45720" rIns="91440" bIns="45720">
              <a:noAutofit/>
            </a:bodyPr>
            <a:lstStyle/>
            <a:p>
              <a:pPr marL="228600" indent="-228600" defTabSz="913916" fontAlgn="base">
                <a:spcBef>
                  <a:spcPts val="400"/>
                </a:spcBef>
                <a:buFont typeface="Arial" panose="020B0604020202020204" pitchFamily="34" charset="0"/>
                <a:buChar char="•"/>
              </a:pPr>
              <a:r>
                <a:rPr lang="en-US" sz="1600" dirty="0">
                  <a:solidFill>
                    <a:srgbClr val="505050"/>
                  </a:solidFill>
                  <a:ea typeface="Segoe UI" pitchFamily="34" charset="0"/>
                  <a:cs typeface="Segoe UI" pitchFamily="34" charset="0"/>
                </a:rPr>
                <a:t>Intelligent Building Systems</a:t>
              </a:r>
            </a:p>
            <a:p>
              <a:pPr marL="228600" indent="-228600" defTabSz="913916" fontAlgn="base">
                <a:spcBef>
                  <a:spcPts val="400"/>
                </a:spcBef>
                <a:buFont typeface="Arial" panose="020B0604020202020204" pitchFamily="34" charset="0"/>
                <a:buChar char="•"/>
              </a:pPr>
              <a:r>
                <a:rPr lang="en-US" sz="1600" dirty="0">
                  <a:solidFill>
                    <a:srgbClr val="505050"/>
                  </a:solidFill>
                  <a:ea typeface="Segoe UI" pitchFamily="34" charset="0"/>
                  <a:cs typeface="Segoe UI" pitchFamily="34" charset="0"/>
                </a:rPr>
                <a:t>Smart Street Lighting</a:t>
              </a:r>
            </a:p>
            <a:p>
              <a:pPr marL="228600" indent="-228600" defTabSz="913916" fontAlgn="base">
                <a:spcBef>
                  <a:spcPts val="400"/>
                </a:spcBef>
                <a:buFont typeface="Arial" panose="020B0604020202020204" pitchFamily="34" charset="0"/>
                <a:buChar char="•"/>
              </a:pPr>
              <a:r>
                <a:rPr lang="en-US" sz="1600" dirty="0">
                  <a:solidFill>
                    <a:srgbClr val="505050"/>
                  </a:solidFill>
                  <a:ea typeface="Segoe UI" pitchFamily="34" charset="0"/>
                  <a:cs typeface="Segoe UI" pitchFamily="34" charset="0"/>
                </a:rPr>
                <a:t>Social Listening and Sentiment Analysis Systems</a:t>
              </a:r>
            </a:p>
          </p:txBody>
        </p:sp>
        <p:sp>
          <p:nvSpPr>
            <p:cNvPr id="65" name="Rectangle 64"/>
            <p:cNvSpPr/>
            <p:nvPr/>
          </p:nvSpPr>
          <p:spPr>
            <a:xfrm>
              <a:off x="8125583" y="5260810"/>
              <a:ext cx="4063242" cy="1597190"/>
            </a:xfrm>
            <a:prstGeom prst="rect">
              <a:avLst/>
            </a:prstGeom>
            <a:solidFill>
              <a:schemeClr val="bg1">
                <a:lumMod val="95000"/>
              </a:schemeClr>
            </a:solidFill>
          </p:spPr>
          <p:txBody>
            <a:bodyPr wrap="square" lIns="91440" tIns="45720" rIns="91440" bIns="45720">
              <a:noAutofit/>
            </a:bodyPr>
            <a:lstStyle/>
            <a:p>
              <a:pPr marL="228600" indent="-228600" defTabSz="913916" fontAlgn="base">
                <a:spcBef>
                  <a:spcPts val="400"/>
                </a:spcBef>
                <a:buFont typeface="Arial" panose="020B0604020202020204" pitchFamily="34" charset="0"/>
                <a:buChar char="•"/>
              </a:pPr>
              <a:r>
                <a:rPr lang="en-US" sz="1600" dirty="0">
                  <a:solidFill>
                    <a:srgbClr val="505050"/>
                  </a:solidFill>
                  <a:ea typeface="Segoe UI" pitchFamily="34" charset="0"/>
                  <a:cs typeface="Segoe UI" pitchFamily="34" charset="0"/>
                </a:rPr>
                <a:t>Integrated CRM Based Services</a:t>
              </a:r>
            </a:p>
            <a:p>
              <a:pPr marL="228600" indent="-228600" defTabSz="913916" fontAlgn="base">
                <a:spcBef>
                  <a:spcPts val="400"/>
                </a:spcBef>
                <a:buFont typeface="Arial" panose="020B0604020202020204" pitchFamily="34" charset="0"/>
                <a:buChar char="•"/>
              </a:pPr>
              <a:r>
                <a:rPr lang="en-US" sz="1600" dirty="0">
                  <a:solidFill>
                    <a:srgbClr val="505050"/>
                  </a:solidFill>
                  <a:ea typeface="Segoe UI" pitchFamily="34" charset="0"/>
                  <a:cs typeface="Segoe UI" pitchFamily="34" charset="0"/>
                </a:rPr>
                <a:t>Student Information Systems and Student Analytics</a:t>
              </a:r>
            </a:p>
            <a:p>
              <a:pPr marL="228600" indent="-228600" defTabSz="913916" fontAlgn="base">
                <a:spcBef>
                  <a:spcPts val="400"/>
                </a:spcBef>
                <a:buFont typeface="Arial" panose="020B0604020202020204" pitchFamily="34" charset="0"/>
                <a:buChar char="•"/>
              </a:pPr>
              <a:r>
                <a:rPr lang="en-US" sz="1600" dirty="0">
                  <a:solidFill>
                    <a:srgbClr val="505050"/>
                  </a:solidFill>
                  <a:ea typeface="Segoe UI" pitchFamily="34" charset="0"/>
                  <a:cs typeface="Segoe UI" pitchFamily="34" charset="0"/>
                </a:rPr>
                <a:t>Population Health </a:t>
              </a:r>
              <a:r>
                <a:rPr lang="en-US" sz="1600" dirty="0" err="1">
                  <a:solidFill>
                    <a:srgbClr val="505050"/>
                  </a:solidFill>
                  <a:ea typeface="Segoe UI" pitchFamily="34" charset="0"/>
                  <a:cs typeface="Segoe UI" pitchFamily="34" charset="0"/>
                </a:rPr>
                <a:t>Mgmt</a:t>
              </a:r>
              <a:r>
                <a:rPr lang="en-US" sz="1600" dirty="0">
                  <a:solidFill>
                    <a:srgbClr val="505050"/>
                  </a:solidFill>
                  <a:ea typeface="Segoe UI" pitchFamily="34" charset="0"/>
                  <a:cs typeface="Segoe UI" pitchFamily="34" charset="0"/>
                </a:rPr>
                <a:t> Solutions</a:t>
              </a:r>
            </a:p>
            <a:p>
              <a:pPr marL="228600" indent="-228600" defTabSz="913916" fontAlgn="base">
                <a:spcBef>
                  <a:spcPts val="400"/>
                </a:spcBef>
                <a:buFont typeface="Arial" panose="020B0604020202020204" pitchFamily="34" charset="0"/>
                <a:buChar char="•"/>
              </a:pPr>
              <a:r>
                <a:rPr lang="en-US" sz="1600" dirty="0">
                  <a:solidFill>
                    <a:srgbClr val="505050"/>
                  </a:solidFill>
                  <a:ea typeface="Segoe UI" pitchFamily="34" charset="0"/>
                  <a:cs typeface="Segoe UI" pitchFamily="34" charset="0"/>
                </a:rPr>
                <a:t>Augmented Reality Solutions</a:t>
              </a:r>
            </a:p>
            <a:p>
              <a:pPr marL="228600" indent="-228600" defTabSz="913916" fontAlgn="base">
                <a:spcBef>
                  <a:spcPts val="400"/>
                </a:spcBef>
                <a:buFont typeface="Arial" panose="020B0604020202020204" pitchFamily="34" charset="0"/>
                <a:buChar char="•"/>
              </a:pPr>
              <a:endParaRPr lang="en-US" sz="1600" dirty="0">
                <a:solidFill>
                  <a:srgbClr val="505050"/>
                </a:solidFill>
                <a:ea typeface="Segoe UI" pitchFamily="34" charset="0"/>
                <a:cs typeface="Segoe UI" pitchFamily="34" charset="0"/>
              </a:endParaRPr>
            </a:p>
          </p:txBody>
        </p:sp>
      </p:grpSp>
      <p:cxnSp>
        <p:nvCxnSpPr>
          <p:cNvPr id="66" name="Straight Connector 65"/>
          <p:cNvCxnSpPr/>
          <p:nvPr/>
        </p:nvCxnSpPr>
        <p:spPr>
          <a:xfrm>
            <a:off x="4066064" y="5260810"/>
            <a:ext cx="0" cy="16002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8128856" y="5260810"/>
            <a:ext cx="0" cy="16002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4" name="Freeform 53"/>
          <p:cNvSpPr/>
          <p:nvPr/>
        </p:nvSpPr>
        <p:spPr bwMode="auto">
          <a:xfrm>
            <a:off x="-10445" y="626196"/>
            <a:ext cx="12200857" cy="3490879"/>
          </a:xfrm>
          <a:custGeom>
            <a:avLst/>
            <a:gdLst>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1108674 h 3873799"/>
              <a:gd name="connsiteX1" fmla="*/ 1383632 w 12119714"/>
              <a:gd name="connsiteY1" fmla="*/ 206306 h 3873799"/>
              <a:gd name="connsiteX2" fmla="*/ 2442411 w 12119714"/>
              <a:gd name="connsiteY2" fmla="*/ 1601969 h 3873799"/>
              <a:gd name="connsiteX3" fmla="*/ 1130969 w 12119714"/>
              <a:gd name="connsiteY3" fmla="*/ 2624653 h 3873799"/>
              <a:gd name="connsiteX4" fmla="*/ 1143000 w 12119714"/>
              <a:gd name="connsiteY4" fmla="*/ 3611242 h 3873799"/>
              <a:gd name="connsiteX5" fmla="*/ 3164306 w 12119714"/>
              <a:gd name="connsiteY5" fmla="*/ 3418737 h 3873799"/>
              <a:gd name="connsiteX6" fmla="*/ 4030579 w 12119714"/>
              <a:gd name="connsiteY6" fmla="*/ 1301179 h 3873799"/>
              <a:gd name="connsiteX7" fmla="*/ 4896853 w 12119714"/>
              <a:gd name="connsiteY7" fmla="*/ 158179 h 3873799"/>
              <a:gd name="connsiteX8" fmla="*/ 7279106 w 12119714"/>
              <a:gd name="connsiteY8" fmla="*/ 1192895 h 3873799"/>
              <a:gd name="connsiteX9" fmla="*/ 10323095 w 12119714"/>
              <a:gd name="connsiteY9" fmla="*/ 49894 h 3873799"/>
              <a:gd name="connsiteX10" fmla="*/ 11694695 w 12119714"/>
              <a:gd name="connsiteY10" fmla="*/ 2191516 h 3873799"/>
              <a:gd name="connsiteX11" fmla="*/ 9745579 w 12119714"/>
              <a:gd name="connsiteY11" fmla="*/ 1914790 h 3873799"/>
              <a:gd name="connsiteX12" fmla="*/ 6605337 w 12119714"/>
              <a:gd name="connsiteY12" fmla="*/ 1866663 h 3873799"/>
              <a:gd name="connsiteX13" fmla="*/ 4632158 w 12119714"/>
              <a:gd name="connsiteY13" fmla="*/ 2155421 h 3873799"/>
              <a:gd name="connsiteX14" fmla="*/ 4307306 w 12119714"/>
              <a:gd name="connsiteY14" fmla="*/ 3659369 h 3873799"/>
              <a:gd name="connsiteX15" fmla="*/ 5305927 w 12119714"/>
              <a:gd name="connsiteY15" fmla="*/ 3731558 h 3873799"/>
              <a:gd name="connsiteX16" fmla="*/ 6424863 w 12119714"/>
              <a:gd name="connsiteY16" fmla="*/ 2408084 h 3873799"/>
              <a:gd name="connsiteX17" fmla="*/ 8698832 w 12119714"/>
              <a:gd name="connsiteY17" fmla="*/ 3418737 h 3873799"/>
              <a:gd name="connsiteX18" fmla="*/ 11670632 w 12119714"/>
              <a:gd name="connsiteY18" fmla="*/ 3262327 h 3873799"/>
              <a:gd name="connsiteX19" fmla="*/ 12055642 w 12119714"/>
              <a:gd name="connsiteY19" fmla="*/ 3262327 h 3873799"/>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745579 w 12119714"/>
              <a:gd name="connsiteY11" fmla="*/ 1930401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023684 w 12119714"/>
              <a:gd name="connsiteY11" fmla="*/ 1413043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030579 w 12119714"/>
              <a:gd name="connsiteY6" fmla="*/ 1279425 h 3852045"/>
              <a:gd name="connsiteX7" fmla="*/ 4896853 w 12119714"/>
              <a:gd name="connsiteY7" fmla="*/ 136425 h 3852045"/>
              <a:gd name="connsiteX8" fmla="*/ 7279106 w 12119714"/>
              <a:gd name="connsiteY8" fmla="*/ 894415 h 3852045"/>
              <a:gd name="connsiteX9" fmla="*/ 10323095 w 12119714"/>
              <a:gd name="connsiteY9" fmla="*/ 28140 h 3852045"/>
              <a:gd name="connsiteX10" fmla="*/ 11694695 w 12119714"/>
              <a:gd name="connsiteY10" fmla="*/ 2169762 h 3852045"/>
              <a:gd name="connsiteX11" fmla="*/ 9023684 w 12119714"/>
              <a:gd name="connsiteY11" fmla="*/ 1375678 h 3852045"/>
              <a:gd name="connsiteX12" fmla="*/ 6605337 w 12119714"/>
              <a:gd name="connsiteY12" fmla="*/ 1844909 h 3852045"/>
              <a:gd name="connsiteX13" fmla="*/ 4632158 w 12119714"/>
              <a:gd name="connsiteY13" fmla="*/ 2133667 h 3852045"/>
              <a:gd name="connsiteX14" fmla="*/ 4307306 w 12119714"/>
              <a:gd name="connsiteY14" fmla="*/ 3637615 h 3852045"/>
              <a:gd name="connsiteX15" fmla="*/ 5305927 w 12119714"/>
              <a:gd name="connsiteY15" fmla="*/ 3709804 h 3852045"/>
              <a:gd name="connsiteX16" fmla="*/ 6424863 w 12119714"/>
              <a:gd name="connsiteY16" fmla="*/ 2386330 h 3852045"/>
              <a:gd name="connsiteX17" fmla="*/ 8698832 w 12119714"/>
              <a:gd name="connsiteY17" fmla="*/ 3396983 h 3852045"/>
              <a:gd name="connsiteX18" fmla="*/ 11670632 w 12119714"/>
              <a:gd name="connsiteY18" fmla="*/ 3240573 h 3852045"/>
              <a:gd name="connsiteX19" fmla="*/ 12055642 w 12119714"/>
              <a:gd name="connsiteY19"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896853 w 12119714"/>
              <a:gd name="connsiteY6" fmla="*/ 136425 h 3852045"/>
              <a:gd name="connsiteX7" fmla="*/ 7279106 w 12119714"/>
              <a:gd name="connsiteY7" fmla="*/ 894415 h 3852045"/>
              <a:gd name="connsiteX8" fmla="*/ 10323095 w 12119714"/>
              <a:gd name="connsiteY8" fmla="*/ 28140 h 3852045"/>
              <a:gd name="connsiteX9" fmla="*/ 11694695 w 12119714"/>
              <a:gd name="connsiteY9" fmla="*/ 2169762 h 3852045"/>
              <a:gd name="connsiteX10" fmla="*/ 9023684 w 12119714"/>
              <a:gd name="connsiteY10" fmla="*/ 1375678 h 3852045"/>
              <a:gd name="connsiteX11" fmla="*/ 6605337 w 12119714"/>
              <a:gd name="connsiteY11" fmla="*/ 1844909 h 3852045"/>
              <a:gd name="connsiteX12" fmla="*/ 4632158 w 12119714"/>
              <a:gd name="connsiteY12" fmla="*/ 2133667 h 3852045"/>
              <a:gd name="connsiteX13" fmla="*/ 4307306 w 12119714"/>
              <a:gd name="connsiteY13" fmla="*/ 3637615 h 3852045"/>
              <a:gd name="connsiteX14" fmla="*/ 5305927 w 12119714"/>
              <a:gd name="connsiteY14" fmla="*/ 3709804 h 3852045"/>
              <a:gd name="connsiteX15" fmla="*/ 6424863 w 12119714"/>
              <a:gd name="connsiteY15" fmla="*/ 2386330 h 3852045"/>
              <a:gd name="connsiteX16" fmla="*/ 8698832 w 12119714"/>
              <a:gd name="connsiteY16" fmla="*/ 3396983 h 3852045"/>
              <a:gd name="connsiteX17" fmla="*/ 11670632 w 12119714"/>
              <a:gd name="connsiteY17" fmla="*/ 3240573 h 3852045"/>
              <a:gd name="connsiteX18" fmla="*/ 12055642 w 12119714"/>
              <a:gd name="connsiteY18"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43000 w 12119714"/>
              <a:gd name="connsiteY3" fmla="*/ 358948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4157199"/>
              <a:gd name="connsiteX1" fmla="*/ 1383632 w 12119714"/>
              <a:gd name="connsiteY1" fmla="*/ 184552 h 4157199"/>
              <a:gd name="connsiteX2" fmla="*/ 2442411 w 12119714"/>
              <a:gd name="connsiteY2" fmla="*/ 1580215 h 4157199"/>
              <a:gd name="connsiteX3" fmla="*/ 1143000 w 12119714"/>
              <a:gd name="connsiteY3" fmla="*/ 3589488 h 4157199"/>
              <a:gd name="connsiteX4" fmla="*/ 3164306 w 12119714"/>
              <a:gd name="connsiteY4" fmla="*/ 3396983 h 4157199"/>
              <a:gd name="connsiteX5" fmla="*/ 4896853 w 12119714"/>
              <a:gd name="connsiteY5" fmla="*/ 136425 h 4157199"/>
              <a:gd name="connsiteX6" fmla="*/ 7279106 w 12119714"/>
              <a:gd name="connsiteY6" fmla="*/ 894415 h 4157199"/>
              <a:gd name="connsiteX7" fmla="*/ 10323095 w 12119714"/>
              <a:gd name="connsiteY7" fmla="*/ 28140 h 4157199"/>
              <a:gd name="connsiteX8" fmla="*/ 11694695 w 12119714"/>
              <a:gd name="connsiteY8" fmla="*/ 2169762 h 4157199"/>
              <a:gd name="connsiteX9" fmla="*/ 9023684 w 12119714"/>
              <a:gd name="connsiteY9" fmla="*/ 1375678 h 4157199"/>
              <a:gd name="connsiteX10" fmla="*/ 6605337 w 12119714"/>
              <a:gd name="connsiteY10" fmla="*/ 1844909 h 4157199"/>
              <a:gd name="connsiteX11" fmla="*/ 4632158 w 12119714"/>
              <a:gd name="connsiteY11" fmla="*/ 2133667 h 4157199"/>
              <a:gd name="connsiteX12" fmla="*/ 4307306 w 12119714"/>
              <a:gd name="connsiteY12" fmla="*/ 3637615 h 4157199"/>
              <a:gd name="connsiteX13" fmla="*/ 5305927 w 12119714"/>
              <a:gd name="connsiteY13" fmla="*/ 3709804 h 4157199"/>
              <a:gd name="connsiteX14" fmla="*/ 6424863 w 12119714"/>
              <a:gd name="connsiteY14" fmla="*/ 2386330 h 4157199"/>
              <a:gd name="connsiteX15" fmla="*/ 8698832 w 12119714"/>
              <a:gd name="connsiteY15" fmla="*/ 3396983 h 4157199"/>
              <a:gd name="connsiteX16" fmla="*/ 11670632 w 12119714"/>
              <a:gd name="connsiteY16" fmla="*/ 3240573 h 4157199"/>
              <a:gd name="connsiteX17" fmla="*/ 12055642 w 12119714"/>
              <a:gd name="connsiteY17" fmla="*/ 3240573 h 4157199"/>
              <a:gd name="connsiteX0" fmla="*/ 0 w 12119714"/>
              <a:gd name="connsiteY0" fmla="*/ 1086920 h 3852045"/>
              <a:gd name="connsiteX1" fmla="*/ 1383632 w 12119714"/>
              <a:gd name="connsiteY1" fmla="*/ 184552 h 3852045"/>
              <a:gd name="connsiteX2" fmla="*/ 2442411 w 12119714"/>
              <a:gd name="connsiteY2" fmla="*/ 15802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605337 w 12119714"/>
              <a:gd name="connsiteY10" fmla="*/ 1844864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545179 w 12119714"/>
              <a:gd name="connsiteY10" fmla="*/ 1808769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76767"/>
              <a:gd name="connsiteX1" fmla="*/ 1479885 w 12119714"/>
              <a:gd name="connsiteY1" fmla="*/ 148412 h 3876767"/>
              <a:gd name="connsiteX2" fmla="*/ 2538664 w 12119714"/>
              <a:gd name="connsiteY2" fmla="*/ 1351570 h 3876767"/>
              <a:gd name="connsiteX3" fmla="*/ 589548 w 12119714"/>
              <a:gd name="connsiteY3" fmla="*/ 2975833 h 3876767"/>
              <a:gd name="connsiteX4" fmla="*/ 3164306 w 12119714"/>
              <a:gd name="connsiteY4" fmla="*/ 3396938 h 3876767"/>
              <a:gd name="connsiteX5" fmla="*/ 4547937 w 12119714"/>
              <a:gd name="connsiteY5" fmla="*/ 124348 h 3876767"/>
              <a:gd name="connsiteX6" fmla="*/ 7279106 w 12119714"/>
              <a:gd name="connsiteY6" fmla="*/ 894370 h 3876767"/>
              <a:gd name="connsiteX7" fmla="*/ 10323095 w 12119714"/>
              <a:gd name="connsiteY7" fmla="*/ 28095 h 3876767"/>
              <a:gd name="connsiteX8" fmla="*/ 11694695 w 12119714"/>
              <a:gd name="connsiteY8" fmla="*/ 2169717 h 3876767"/>
              <a:gd name="connsiteX9" fmla="*/ 9023684 w 12119714"/>
              <a:gd name="connsiteY9" fmla="*/ 1375633 h 3876767"/>
              <a:gd name="connsiteX10" fmla="*/ 6545179 w 12119714"/>
              <a:gd name="connsiteY10" fmla="*/ 1808769 h 3876767"/>
              <a:gd name="connsiteX11" fmla="*/ 4511843 w 12119714"/>
              <a:gd name="connsiteY11" fmla="*/ 1712517 h 3876767"/>
              <a:gd name="connsiteX12" fmla="*/ 4307306 w 12119714"/>
              <a:gd name="connsiteY12" fmla="*/ 3637570 h 3876767"/>
              <a:gd name="connsiteX13" fmla="*/ 5305927 w 12119714"/>
              <a:gd name="connsiteY13" fmla="*/ 3709759 h 3876767"/>
              <a:gd name="connsiteX14" fmla="*/ 6424863 w 12119714"/>
              <a:gd name="connsiteY14" fmla="*/ 2386285 h 3876767"/>
              <a:gd name="connsiteX15" fmla="*/ 8698832 w 12119714"/>
              <a:gd name="connsiteY15" fmla="*/ 3396938 h 3876767"/>
              <a:gd name="connsiteX16" fmla="*/ 11670632 w 12119714"/>
              <a:gd name="connsiteY16" fmla="*/ 3240528 h 3876767"/>
              <a:gd name="connsiteX17" fmla="*/ 12055642 w 12119714"/>
              <a:gd name="connsiteY17" fmla="*/ 3240528 h 3876767"/>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8915400 w 12119714"/>
              <a:gd name="connsiteY13" fmla="*/ 2518633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073168"/>
              <a:gd name="connsiteY0" fmla="*/ 1086875 h 3763216"/>
              <a:gd name="connsiteX1" fmla="*/ 1479885 w 12073168"/>
              <a:gd name="connsiteY1" fmla="*/ 148412 h 3763216"/>
              <a:gd name="connsiteX2" fmla="*/ 2538664 w 12073168"/>
              <a:gd name="connsiteY2" fmla="*/ 1351570 h 3763216"/>
              <a:gd name="connsiteX3" fmla="*/ 589548 w 12073168"/>
              <a:gd name="connsiteY3" fmla="*/ 2975833 h 3763216"/>
              <a:gd name="connsiteX4" fmla="*/ 3164306 w 12073168"/>
              <a:gd name="connsiteY4" fmla="*/ 3396938 h 3763216"/>
              <a:gd name="connsiteX5" fmla="*/ 4547937 w 12073168"/>
              <a:gd name="connsiteY5" fmla="*/ 124348 h 3763216"/>
              <a:gd name="connsiteX6" fmla="*/ 7279106 w 12073168"/>
              <a:gd name="connsiteY6" fmla="*/ 894370 h 3763216"/>
              <a:gd name="connsiteX7" fmla="*/ 10323095 w 12073168"/>
              <a:gd name="connsiteY7" fmla="*/ 28095 h 3763216"/>
              <a:gd name="connsiteX8" fmla="*/ 11694695 w 12073168"/>
              <a:gd name="connsiteY8" fmla="*/ 2169717 h 3763216"/>
              <a:gd name="connsiteX9" fmla="*/ 9023684 w 12073168"/>
              <a:gd name="connsiteY9" fmla="*/ 1375633 h 3763216"/>
              <a:gd name="connsiteX10" fmla="*/ 6918158 w 12073168"/>
              <a:gd name="connsiteY10" fmla="*/ 1652358 h 3763216"/>
              <a:gd name="connsiteX11" fmla="*/ 6304548 w 12073168"/>
              <a:gd name="connsiteY11" fmla="*/ 1868928 h 3763216"/>
              <a:gd name="connsiteX12" fmla="*/ 6641433 w 12073168"/>
              <a:gd name="connsiteY12" fmla="*/ 3264592 h 3763216"/>
              <a:gd name="connsiteX13" fmla="*/ 8915400 w 12073168"/>
              <a:gd name="connsiteY13" fmla="*/ 2518633 h 3763216"/>
              <a:gd name="connsiteX14" fmla="*/ 10756232 w 12073168"/>
              <a:gd name="connsiteY14" fmla="*/ 3745854 h 3763216"/>
              <a:gd name="connsiteX15" fmla="*/ 11670632 w 12073168"/>
              <a:gd name="connsiteY15" fmla="*/ 3240528 h 3763216"/>
              <a:gd name="connsiteX16" fmla="*/ 12055642 w 12073168"/>
              <a:gd name="connsiteY16" fmla="*/ 3240528 h 3763216"/>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918158 w 12073168"/>
              <a:gd name="connsiteY10" fmla="*/ 1652358 h 3750732"/>
              <a:gd name="connsiteX11" fmla="*/ 6304548 w 12073168"/>
              <a:gd name="connsiteY11" fmla="*/ 1868928 h 3750732"/>
              <a:gd name="connsiteX12" fmla="*/ 6641433 w 12073168"/>
              <a:gd name="connsiteY12" fmla="*/ 3264592 h 3750732"/>
              <a:gd name="connsiteX13" fmla="*/ 9059779 w 12073168"/>
              <a:gd name="connsiteY13" fmla="*/ 2891612 h 3750732"/>
              <a:gd name="connsiteX14" fmla="*/ 10756232 w 12073168"/>
              <a:gd name="connsiteY14" fmla="*/ 3745854 h 3750732"/>
              <a:gd name="connsiteX15" fmla="*/ 11670632 w 12073168"/>
              <a:gd name="connsiteY15" fmla="*/ 3240528 h 3750732"/>
              <a:gd name="connsiteX16" fmla="*/ 12055642 w 12073168"/>
              <a:gd name="connsiteY16"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04548 w 12073168"/>
              <a:gd name="connsiteY10" fmla="*/ 1868928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40643 w 12073168"/>
              <a:gd name="connsiteY10" fmla="*/ 2133622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482242"/>
              <a:gd name="connsiteY0" fmla="*/ 1447823 h 3750732"/>
              <a:gd name="connsiteX1" fmla="*/ 1888959 w 12482242"/>
              <a:gd name="connsiteY1" fmla="*/ 148412 h 3750732"/>
              <a:gd name="connsiteX2" fmla="*/ 2947738 w 12482242"/>
              <a:gd name="connsiteY2" fmla="*/ 1351570 h 3750732"/>
              <a:gd name="connsiteX3" fmla="*/ 998622 w 12482242"/>
              <a:gd name="connsiteY3" fmla="*/ 2975833 h 3750732"/>
              <a:gd name="connsiteX4" fmla="*/ 3573380 w 12482242"/>
              <a:gd name="connsiteY4" fmla="*/ 3396938 h 3750732"/>
              <a:gd name="connsiteX5" fmla="*/ 4957011 w 12482242"/>
              <a:gd name="connsiteY5" fmla="*/ 124348 h 3750732"/>
              <a:gd name="connsiteX6" fmla="*/ 7688180 w 12482242"/>
              <a:gd name="connsiteY6" fmla="*/ 894370 h 3750732"/>
              <a:gd name="connsiteX7" fmla="*/ 10732169 w 12482242"/>
              <a:gd name="connsiteY7" fmla="*/ 28095 h 3750732"/>
              <a:gd name="connsiteX8" fmla="*/ 12103769 w 12482242"/>
              <a:gd name="connsiteY8" fmla="*/ 2169717 h 3750732"/>
              <a:gd name="connsiteX9" fmla="*/ 9432758 w 12482242"/>
              <a:gd name="connsiteY9" fmla="*/ 1375633 h 3750732"/>
              <a:gd name="connsiteX10" fmla="*/ 6749717 w 12482242"/>
              <a:gd name="connsiteY10" fmla="*/ 2133622 h 3750732"/>
              <a:gd name="connsiteX11" fmla="*/ 7050507 w 12482242"/>
              <a:gd name="connsiteY11" fmla="*/ 3264592 h 3750732"/>
              <a:gd name="connsiteX12" fmla="*/ 9468853 w 12482242"/>
              <a:gd name="connsiteY12" fmla="*/ 2891612 h 3750732"/>
              <a:gd name="connsiteX13" fmla="*/ 11165306 w 12482242"/>
              <a:gd name="connsiteY13" fmla="*/ 3745854 h 3750732"/>
              <a:gd name="connsiteX14" fmla="*/ 12079706 w 12482242"/>
              <a:gd name="connsiteY14" fmla="*/ 3240528 h 3750732"/>
              <a:gd name="connsiteX15" fmla="*/ 12464716 w 12482242"/>
              <a:gd name="connsiteY15" fmla="*/ 3240528 h 3750732"/>
              <a:gd name="connsiteX0" fmla="*/ 0 w 12482242"/>
              <a:gd name="connsiteY0" fmla="*/ 1426339 h 3729248"/>
              <a:gd name="connsiteX1" fmla="*/ 1888959 w 12482242"/>
              <a:gd name="connsiteY1" fmla="*/ 126928 h 3729248"/>
              <a:gd name="connsiteX2" fmla="*/ 2947738 w 12482242"/>
              <a:gd name="connsiteY2" fmla="*/ 1330086 h 3729248"/>
              <a:gd name="connsiteX3" fmla="*/ 998622 w 12482242"/>
              <a:gd name="connsiteY3" fmla="*/ 2954349 h 3729248"/>
              <a:gd name="connsiteX4" fmla="*/ 3573380 w 12482242"/>
              <a:gd name="connsiteY4" fmla="*/ 3375454 h 3729248"/>
              <a:gd name="connsiteX5" fmla="*/ 4957011 w 12482242"/>
              <a:gd name="connsiteY5" fmla="*/ 102864 h 3729248"/>
              <a:gd name="connsiteX6" fmla="*/ 7688180 w 12482242"/>
              <a:gd name="connsiteY6" fmla="*/ 872886 h 3729248"/>
              <a:gd name="connsiteX7" fmla="*/ 10732169 w 12482242"/>
              <a:gd name="connsiteY7" fmla="*/ 6611 h 3729248"/>
              <a:gd name="connsiteX8" fmla="*/ 11542181 w 12482242"/>
              <a:gd name="connsiteY8" fmla="*/ 1438370 h 3729248"/>
              <a:gd name="connsiteX9" fmla="*/ 9432758 w 12482242"/>
              <a:gd name="connsiteY9" fmla="*/ 1354149 h 3729248"/>
              <a:gd name="connsiteX10" fmla="*/ 6749717 w 12482242"/>
              <a:gd name="connsiteY10" fmla="*/ 2112138 h 3729248"/>
              <a:gd name="connsiteX11" fmla="*/ 7050507 w 12482242"/>
              <a:gd name="connsiteY11" fmla="*/ 3243108 h 3729248"/>
              <a:gd name="connsiteX12" fmla="*/ 9468853 w 12482242"/>
              <a:gd name="connsiteY12" fmla="*/ 2870128 h 3729248"/>
              <a:gd name="connsiteX13" fmla="*/ 11165306 w 12482242"/>
              <a:gd name="connsiteY13" fmla="*/ 3724370 h 3729248"/>
              <a:gd name="connsiteX14" fmla="*/ 12079706 w 12482242"/>
              <a:gd name="connsiteY14" fmla="*/ 3219044 h 3729248"/>
              <a:gd name="connsiteX15" fmla="*/ 12464716 w 12482242"/>
              <a:gd name="connsiteY15" fmla="*/ 3219044 h 3729248"/>
              <a:gd name="connsiteX0" fmla="*/ 0 w 13485251"/>
              <a:gd name="connsiteY0" fmla="*/ 1426339 h 3729400"/>
              <a:gd name="connsiteX1" fmla="*/ 1888959 w 13485251"/>
              <a:gd name="connsiteY1" fmla="*/ 126928 h 3729400"/>
              <a:gd name="connsiteX2" fmla="*/ 2947738 w 13485251"/>
              <a:gd name="connsiteY2" fmla="*/ 1330086 h 3729400"/>
              <a:gd name="connsiteX3" fmla="*/ 998622 w 13485251"/>
              <a:gd name="connsiteY3" fmla="*/ 2954349 h 3729400"/>
              <a:gd name="connsiteX4" fmla="*/ 3573380 w 13485251"/>
              <a:gd name="connsiteY4" fmla="*/ 3375454 h 3729400"/>
              <a:gd name="connsiteX5" fmla="*/ 4957011 w 13485251"/>
              <a:gd name="connsiteY5" fmla="*/ 102864 h 3729400"/>
              <a:gd name="connsiteX6" fmla="*/ 7688180 w 13485251"/>
              <a:gd name="connsiteY6" fmla="*/ 872886 h 3729400"/>
              <a:gd name="connsiteX7" fmla="*/ 10732169 w 13485251"/>
              <a:gd name="connsiteY7" fmla="*/ 6611 h 3729400"/>
              <a:gd name="connsiteX8" fmla="*/ 11542181 w 13485251"/>
              <a:gd name="connsiteY8" fmla="*/ 1438370 h 3729400"/>
              <a:gd name="connsiteX9" fmla="*/ 9432758 w 13485251"/>
              <a:gd name="connsiteY9" fmla="*/ 1354149 h 3729400"/>
              <a:gd name="connsiteX10" fmla="*/ 6749717 w 13485251"/>
              <a:gd name="connsiteY10" fmla="*/ 2112138 h 3729400"/>
              <a:gd name="connsiteX11" fmla="*/ 7050507 w 13485251"/>
              <a:gd name="connsiteY11" fmla="*/ 3243108 h 3729400"/>
              <a:gd name="connsiteX12" fmla="*/ 9468853 w 13485251"/>
              <a:gd name="connsiteY12" fmla="*/ 2870128 h 3729400"/>
              <a:gd name="connsiteX13" fmla="*/ 11165306 w 13485251"/>
              <a:gd name="connsiteY13" fmla="*/ 3724370 h 3729400"/>
              <a:gd name="connsiteX14" fmla="*/ 12079706 w 13485251"/>
              <a:gd name="connsiteY14" fmla="*/ 3219044 h 3729400"/>
              <a:gd name="connsiteX15" fmla="*/ 13480355 w 13485251"/>
              <a:gd name="connsiteY15" fmla="*/ 3122791 h 3729400"/>
              <a:gd name="connsiteX0" fmla="*/ 0 w 13486837"/>
              <a:gd name="connsiteY0" fmla="*/ 1426339 h 3724673"/>
              <a:gd name="connsiteX1" fmla="*/ 1888959 w 13486837"/>
              <a:gd name="connsiteY1" fmla="*/ 126928 h 3724673"/>
              <a:gd name="connsiteX2" fmla="*/ 2947738 w 13486837"/>
              <a:gd name="connsiteY2" fmla="*/ 1330086 h 3724673"/>
              <a:gd name="connsiteX3" fmla="*/ 998622 w 13486837"/>
              <a:gd name="connsiteY3" fmla="*/ 2954349 h 3724673"/>
              <a:gd name="connsiteX4" fmla="*/ 3573380 w 13486837"/>
              <a:gd name="connsiteY4" fmla="*/ 3375454 h 3724673"/>
              <a:gd name="connsiteX5" fmla="*/ 4957011 w 13486837"/>
              <a:gd name="connsiteY5" fmla="*/ 102864 h 3724673"/>
              <a:gd name="connsiteX6" fmla="*/ 7688180 w 13486837"/>
              <a:gd name="connsiteY6" fmla="*/ 872886 h 3724673"/>
              <a:gd name="connsiteX7" fmla="*/ 10732169 w 13486837"/>
              <a:gd name="connsiteY7" fmla="*/ 6611 h 3724673"/>
              <a:gd name="connsiteX8" fmla="*/ 11542181 w 13486837"/>
              <a:gd name="connsiteY8" fmla="*/ 1438370 h 3724673"/>
              <a:gd name="connsiteX9" fmla="*/ 9432758 w 13486837"/>
              <a:gd name="connsiteY9" fmla="*/ 1354149 h 3724673"/>
              <a:gd name="connsiteX10" fmla="*/ 6749717 w 13486837"/>
              <a:gd name="connsiteY10" fmla="*/ 2112138 h 3724673"/>
              <a:gd name="connsiteX11" fmla="*/ 7050507 w 13486837"/>
              <a:gd name="connsiteY11" fmla="*/ 3243108 h 3724673"/>
              <a:gd name="connsiteX12" fmla="*/ 9468853 w 13486837"/>
              <a:gd name="connsiteY12" fmla="*/ 2870128 h 3724673"/>
              <a:gd name="connsiteX13" fmla="*/ 11165306 w 13486837"/>
              <a:gd name="connsiteY13" fmla="*/ 3724370 h 3724673"/>
              <a:gd name="connsiteX14" fmla="*/ 12366474 w 13486837"/>
              <a:gd name="connsiteY14" fmla="*/ 2761844 h 3724673"/>
              <a:gd name="connsiteX15" fmla="*/ 13480355 w 13486837"/>
              <a:gd name="connsiteY15" fmla="*/ 3122791 h 3724673"/>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6749717 w 13485059"/>
              <a:gd name="connsiteY10" fmla="*/ 2112138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8506177 w 13485059"/>
              <a:gd name="connsiteY10" fmla="*/ 2256517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7050507 w 13485059"/>
              <a:gd name="connsiteY10" fmla="*/ 3243108 h 3724555"/>
              <a:gd name="connsiteX11" fmla="*/ 9468853 w 13485059"/>
              <a:gd name="connsiteY11" fmla="*/ 2870128 h 3724555"/>
              <a:gd name="connsiteX12" fmla="*/ 11165306 w 13485059"/>
              <a:gd name="connsiteY12" fmla="*/ 3724370 h 3724555"/>
              <a:gd name="connsiteX13" fmla="*/ 12031911 w 13485059"/>
              <a:gd name="connsiteY13" fmla="*/ 2785907 h 3724555"/>
              <a:gd name="connsiteX14" fmla="*/ 13480355 w 13485059"/>
              <a:gd name="connsiteY14" fmla="*/ 3122791 h 3724555"/>
              <a:gd name="connsiteX0" fmla="*/ 0 w 13485059"/>
              <a:gd name="connsiteY0" fmla="*/ 1426339 h 3724587"/>
              <a:gd name="connsiteX1" fmla="*/ 1888959 w 13485059"/>
              <a:gd name="connsiteY1" fmla="*/ 126928 h 3724587"/>
              <a:gd name="connsiteX2" fmla="*/ 2947738 w 13485059"/>
              <a:gd name="connsiteY2" fmla="*/ 1330086 h 3724587"/>
              <a:gd name="connsiteX3" fmla="*/ 998622 w 13485059"/>
              <a:gd name="connsiteY3" fmla="*/ 2954349 h 3724587"/>
              <a:gd name="connsiteX4" fmla="*/ 3573380 w 13485059"/>
              <a:gd name="connsiteY4" fmla="*/ 3375454 h 3724587"/>
              <a:gd name="connsiteX5" fmla="*/ 4957011 w 13485059"/>
              <a:gd name="connsiteY5" fmla="*/ 102864 h 3724587"/>
              <a:gd name="connsiteX6" fmla="*/ 7688180 w 13485059"/>
              <a:gd name="connsiteY6" fmla="*/ 872886 h 3724587"/>
              <a:gd name="connsiteX7" fmla="*/ 10732169 w 13485059"/>
              <a:gd name="connsiteY7" fmla="*/ 6611 h 3724587"/>
              <a:gd name="connsiteX8" fmla="*/ 11542181 w 13485059"/>
              <a:gd name="connsiteY8" fmla="*/ 1438370 h 3724587"/>
              <a:gd name="connsiteX9" fmla="*/ 9432758 w 13485059"/>
              <a:gd name="connsiteY9" fmla="*/ 1354149 h 3724587"/>
              <a:gd name="connsiteX10" fmla="*/ 8579941 w 13485059"/>
              <a:gd name="connsiteY10" fmla="*/ 2533245 h 3724587"/>
              <a:gd name="connsiteX11" fmla="*/ 9468853 w 13485059"/>
              <a:gd name="connsiteY11" fmla="*/ 2870128 h 3724587"/>
              <a:gd name="connsiteX12" fmla="*/ 11165306 w 13485059"/>
              <a:gd name="connsiteY12" fmla="*/ 3724370 h 3724587"/>
              <a:gd name="connsiteX13" fmla="*/ 12031911 w 13485059"/>
              <a:gd name="connsiteY13" fmla="*/ 2785907 h 3724587"/>
              <a:gd name="connsiteX14" fmla="*/ 13480355 w 13485059"/>
              <a:gd name="connsiteY14" fmla="*/ 3122791 h 3724587"/>
              <a:gd name="connsiteX0" fmla="*/ 0 w 13485059"/>
              <a:gd name="connsiteY0" fmla="*/ 1426339 h 3735599"/>
              <a:gd name="connsiteX1" fmla="*/ 1888959 w 13485059"/>
              <a:gd name="connsiteY1" fmla="*/ 126928 h 3735599"/>
              <a:gd name="connsiteX2" fmla="*/ 2947738 w 13485059"/>
              <a:gd name="connsiteY2" fmla="*/ 1330086 h 3735599"/>
              <a:gd name="connsiteX3" fmla="*/ 998622 w 13485059"/>
              <a:gd name="connsiteY3" fmla="*/ 2954349 h 3735599"/>
              <a:gd name="connsiteX4" fmla="*/ 3573380 w 13485059"/>
              <a:gd name="connsiteY4" fmla="*/ 3375454 h 3735599"/>
              <a:gd name="connsiteX5" fmla="*/ 4957011 w 13485059"/>
              <a:gd name="connsiteY5" fmla="*/ 102864 h 3735599"/>
              <a:gd name="connsiteX6" fmla="*/ 7688180 w 13485059"/>
              <a:gd name="connsiteY6" fmla="*/ 872886 h 3735599"/>
              <a:gd name="connsiteX7" fmla="*/ 10732169 w 13485059"/>
              <a:gd name="connsiteY7" fmla="*/ 6611 h 3735599"/>
              <a:gd name="connsiteX8" fmla="*/ 11542181 w 13485059"/>
              <a:gd name="connsiteY8" fmla="*/ 1438370 h 3735599"/>
              <a:gd name="connsiteX9" fmla="*/ 9432758 w 13485059"/>
              <a:gd name="connsiteY9" fmla="*/ 1354149 h 3735599"/>
              <a:gd name="connsiteX10" fmla="*/ 8579941 w 13485059"/>
              <a:gd name="connsiteY10" fmla="*/ 2533245 h 3735599"/>
              <a:gd name="connsiteX11" fmla="*/ 9755622 w 13485059"/>
              <a:gd name="connsiteY11" fmla="*/ 3255138 h 3735599"/>
              <a:gd name="connsiteX12" fmla="*/ 11165306 w 13485059"/>
              <a:gd name="connsiteY12" fmla="*/ 3724370 h 3735599"/>
              <a:gd name="connsiteX13" fmla="*/ 12031911 w 13485059"/>
              <a:gd name="connsiteY13" fmla="*/ 2785907 h 3735599"/>
              <a:gd name="connsiteX14" fmla="*/ 13480355 w 13485059"/>
              <a:gd name="connsiteY14" fmla="*/ 3122791 h 3735599"/>
              <a:gd name="connsiteX0" fmla="*/ 0 w 13485059"/>
              <a:gd name="connsiteY0" fmla="*/ 1426339 h 3724370"/>
              <a:gd name="connsiteX1" fmla="*/ 1888959 w 13485059"/>
              <a:gd name="connsiteY1" fmla="*/ 126928 h 3724370"/>
              <a:gd name="connsiteX2" fmla="*/ 2947738 w 13485059"/>
              <a:gd name="connsiteY2" fmla="*/ 1330086 h 3724370"/>
              <a:gd name="connsiteX3" fmla="*/ 998622 w 13485059"/>
              <a:gd name="connsiteY3" fmla="*/ 2954349 h 3724370"/>
              <a:gd name="connsiteX4" fmla="*/ 3573380 w 13485059"/>
              <a:gd name="connsiteY4" fmla="*/ 3375454 h 3724370"/>
              <a:gd name="connsiteX5" fmla="*/ 4957011 w 13485059"/>
              <a:gd name="connsiteY5" fmla="*/ 102864 h 3724370"/>
              <a:gd name="connsiteX6" fmla="*/ 7688180 w 13485059"/>
              <a:gd name="connsiteY6" fmla="*/ 872886 h 3724370"/>
              <a:gd name="connsiteX7" fmla="*/ 10732169 w 13485059"/>
              <a:gd name="connsiteY7" fmla="*/ 6611 h 3724370"/>
              <a:gd name="connsiteX8" fmla="*/ 11542181 w 13485059"/>
              <a:gd name="connsiteY8" fmla="*/ 1438370 h 3724370"/>
              <a:gd name="connsiteX9" fmla="*/ 9432758 w 13485059"/>
              <a:gd name="connsiteY9" fmla="*/ 1354149 h 3724370"/>
              <a:gd name="connsiteX10" fmla="*/ 8579941 w 13485059"/>
              <a:gd name="connsiteY10" fmla="*/ 2533245 h 3724370"/>
              <a:gd name="connsiteX11" fmla="*/ 11165306 w 13485059"/>
              <a:gd name="connsiteY11" fmla="*/ 3724370 h 3724370"/>
              <a:gd name="connsiteX12" fmla="*/ 12031911 w 13485059"/>
              <a:gd name="connsiteY12" fmla="*/ 2785907 h 3724370"/>
              <a:gd name="connsiteX13" fmla="*/ 13480355 w 13485059"/>
              <a:gd name="connsiteY13" fmla="*/ 3122791 h 372437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579941 w 13485152"/>
              <a:gd name="connsiteY10" fmla="*/ 2533245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305122 w 13485152"/>
              <a:gd name="connsiteY10" fmla="*/ 2834034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19976 h 3692057"/>
              <a:gd name="connsiteX1" fmla="*/ 1888959 w 13485152"/>
              <a:gd name="connsiteY1" fmla="*/ 120565 h 3692057"/>
              <a:gd name="connsiteX2" fmla="*/ 2947738 w 13485152"/>
              <a:gd name="connsiteY2" fmla="*/ 1323723 h 3692057"/>
              <a:gd name="connsiteX3" fmla="*/ 998622 w 13485152"/>
              <a:gd name="connsiteY3" fmla="*/ 2947986 h 3692057"/>
              <a:gd name="connsiteX4" fmla="*/ 3573380 w 13485152"/>
              <a:gd name="connsiteY4" fmla="*/ 3369091 h 3692057"/>
              <a:gd name="connsiteX5" fmla="*/ 4957011 w 13485152"/>
              <a:gd name="connsiteY5" fmla="*/ 96501 h 3692057"/>
              <a:gd name="connsiteX6" fmla="*/ 7544797 w 13485152"/>
              <a:gd name="connsiteY6" fmla="*/ 1540292 h 3692057"/>
              <a:gd name="connsiteX7" fmla="*/ 10732169 w 13485152"/>
              <a:gd name="connsiteY7" fmla="*/ 248 h 3692057"/>
              <a:gd name="connsiteX8" fmla="*/ 11542181 w 13485152"/>
              <a:gd name="connsiteY8" fmla="*/ 1432007 h 3692057"/>
              <a:gd name="connsiteX9" fmla="*/ 9432758 w 13485152"/>
              <a:gd name="connsiteY9" fmla="*/ 1347786 h 3692057"/>
              <a:gd name="connsiteX10" fmla="*/ 8305122 w 13485152"/>
              <a:gd name="connsiteY10" fmla="*/ 2827671 h 3692057"/>
              <a:gd name="connsiteX11" fmla="*/ 11021921 w 13485152"/>
              <a:gd name="connsiteY11" fmla="*/ 2851734 h 3692057"/>
              <a:gd name="connsiteX12" fmla="*/ 12031911 w 13485152"/>
              <a:gd name="connsiteY12" fmla="*/ 2779544 h 3692057"/>
              <a:gd name="connsiteX13" fmla="*/ 13480355 w 13485152"/>
              <a:gd name="connsiteY13" fmla="*/ 3116428 h 3692057"/>
              <a:gd name="connsiteX0" fmla="*/ 0 w 13485152"/>
              <a:gd name="connsiteY0" fmla="*/ 1419976 h 3604285"/>
              <a:gd name="connsiteX1" fmla="*/ 1888959 w 13485152"/>
              <a:gd name="connsiteY1" fmla="*/ 120565 h 3604285"/>
              <a:gd name="connsiteX2" fmla="*/ 2947738 w 13485152"/>
              <a:gd name="connsiteY2" fmla="*/ 1323723 h 3604285"/>
              <a:gd name="connsiteX3" fmla="*/ 998622 w 13485152"/>
              <a:gd name="connsiteY3" fmla="*/ 2947986 h 3604285"/>
              <a:gd name="connsiteX4" fmla="*/ 3573380 w 13485152"/>
              <a:gd name="connsiteY4" fmla="*/ 3369091 h 3604285"/>
              <a:gd name="connsiteX5" fmla="*/ 5255729 w 13485152"/>
              <a:gd name="connsiteY5" fmla="*/ 1371849 h 3604285"/>
              <a:gd name="connsiteX6" fmla="*/ 7544797 w 13485152"/>
              <a:gd name="connsiteY6" fmla="*/ 1540292 h 3604285"/>
              <a:gd name="connsiteX7" fmla="*/ 10732169 w 13485152"/>
              <a:gd name="connsiteY7" fmla="*/ 248 h 3604285"/>
              <a:gd name="connsiteX8" fmla="*/ 11542181 w 13485152"/>
              <a:gd name="connsiteY8" fmla="*/ 1432007 h 3604285"/>
              <a:gd name="connsiteX9" fmla="*/ 9432758 w 13485152"/>
              <a:gd name="connsiteY9" fmla="*/ 1347786 h 3604285"/>
              <a:gd name="connsiteX10" fmla="*/ 8305122 w 13485152"/>
              <a:gd name="connsiteY10" fmla="*/ 2827671 h 3604285"/>
              <a:gd name="connsiteX11" fmla="*/ 11021921 w 13485152"/>
              <a:gd name="connsiteY11" fmla="*/ 2851734 h 3604285"/>
              <a:gd name="connsiteX12" fmla="*/ 12031911 w 13485152"/>
              <a:gd name="connsiteY12" fmla="*/ 2779544 h 3604285"/>
              <a:gd name="connsiteX13" fmla="*/ 13480355 w 13485152"/>
              <a:gd name="connsiteY13" fmla="*/ 3116428 h 3604285"/>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9432758 w 13485152"/>
              <a:gd name="connsiteY9" fmla="*/ 1227609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9153481 w 13485152"/>
              <a:gd name="connsiteY10" fmla="*/ 3309073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567994 w 13485152"/>
              <a:gd name="connsiteY10" fmla="*/ 31646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68"/>
              <a:gd name="connsiteY0" fmla="*/ 1299799 h 3484108"/>
              <a:gd name="connsiteX1" fmla="*/ 1888959 w 13485168"/>
              <a:gd name="connsiteY1" fmla="*/ 388 h 3484108"/>
              <a:gd name="connsiteX2" fmla="*/ 2947738 w 13485168"/>
              <a:gd name="connsiteY2" fmla="*/ 1203546 h 3484108"/>
              <a:gd name="connsiteX3" fmla="*/ 998622 w 13485168"/>
              <a:gd name="connsiteY3" fmla="*/ 2827809 h 3484108"/>
              <a:gd name="connsiteX4" fmla="*/ 3573380 w 13485168"/>
              <a:gd name="connsiteY4" fmla="*/ 3248914 h 3484108"/>
              <a:gd name="connsiteX5" fmla="*/ 5255729 w 13485168"/>
              <a:gd name="connsiteY5" fmla="*/ 1251672 h 3484108"/>
              <a:gd name="connsiteX6" fmla="*/ 7544797 w 13485168"/>
              <a:gd name="connsiteY6" fmla="*/ 1420115 h 3484108"/>
              <a:gd name="connsiteX7" fmla="*/ 10325913 w 13485168"/>
              <a:gd name="connsiteY7" fmla="*/ 806503 h 3484108"/>
              <a:gd name="connsiteX8" fmla="*/ 11542181 w 13485168"/>
              <a:gd name="connsiteY8" fmla="*/ 1311830 h 3484108"/>
              <a:gd name="connsiteX9" fmla="*/ 8918964 w 13485168"/>
              <a:gd name="connsiteY9" fmla="*/ 2009662 h 3484108"/>
              <a:gd name="connsiteX10" fmla="*/ 8567994 w 13485168"/>
              <a:gd name="connsiteY10" fmla="*/ 3164694 h 3484108"/>
              <a:gd name="connsiteX11" fmla="*/ 10998024 w 13485168"/>
              <a:gd name="connsiteY11" fmla="*/ 2960157 h 3484108"/>
              <a:gd name="connsiteX12" fmla="*/ 12031911 w 13485168"/>
              <a:gd name="connsiteY12" fmla="*/ 2659367 h 3484108"/>
              <a:gd name="connsiteX13" fmla="*/ 13480355 w 13485168"/>
              <a:gd name="connsiteY13" fmla="*/ 2996251 h 3484108"/>
              <a:gd name="connsiteX0" fmla="*/ 0 w 13480355"/>
              <a:gd name="connsiteY0" fmla="*/ 1299799 h 3484108"/>
              <a:gd name="connsiteX1" fmla="*/ 1888959 w 13480355"/>
              <a:gd name="connsiteY1" fmla="*/ 388 h 3484108"/>
              <a:gd name="connsiteX2" fmla="*/ 2947738 w 13480355"/>
              <a:gd name="connsiteY2" fmla="*/ 1203546 h 3484108"/>
              <a:gd name="connsiteX3" fmla="*/ 998622 w 13480355"/>
              <a:gd name="connsiteY3" fmla="*/ 2827809 h 3484108"/>
              <a:gd name="connsiteX4" fmla="*/ 3573380 w 13480355"/>
              <a:gd name="connsiteY4" fmla="*/ 3248914 h 3484108"/>
              <a:gd name="connsiteX5" fmla="*/ 5255729 w 13480355"/>
              <a:gd name="connsiteY5" fmla="*/ 1251672 h 3484108"/>
              <a:gd name="connsiteX6" fmla="*/ 7544797 w 13480355"/>
              <a:gd name="connsiteY6" fmla="*/ 1420115 h 3484108"/>
              <a:gd name="connsiteX7" fmla="*/ 10325913 w 13480355"/>
              <a:gd name="connsiteY7" fmla="*/ 806503 h 3484108"/>
              <a:gd name="connsiteX8" fmla="*/ 11542181 w 13480355"/>
              <a:gd name="connsiteY8" fmla="*/ 1311830 h 3484108"/>
              <a:gd name="connsiteX9" fmla="*/ 8918964 w 13480355"/>
              <a:gd name="connsiteY9" fmla="*/ 2009662 h 3484108"/>
              <a:gd name="connsiteX10" fmla="*/ 8567994 w 13480355"/>
              <a:gd name="connsiteY10" fmla="*/ 3164694 h 3484108"/>
              <a:gd name="connsiteX11" fmla="*/ 10998024 w 13480355"/>
              <a:gd name="connsiteY11" fmla="*/ 2960157 h 3484108"/>
              <a:gd name="connsiteX12" fmla="*/ 13480355 w 13480355"/>
              <a:gd name="connsiteY12" fmla="*/ 2996251 h 3484108"/>
              <a:gd name="connsiteX0" fmla="*/ 0 w 11584575"/>
              <a:gd name="connsiteY0" fmla="*/ 1299799 h 3484108"/>
              <a:gd name="connsiteX1" fmla="*/ 1888959 w 11584575"/>
              <a:gd name="connsiteY1" fmla="*/ 388 h 3484108"/>
              <a:gd name="connsiteX2" fmla="*/ 2947738 w 11584575"/>
              <a:gd name="connsiteY2" fmla="*/ 1203546 h 3484108"/>
              <a:gd name="connsiteX3" fmla="*/ 998622 w 11584575"/>
              <a:gd name="connsiteY3" fmla="*/ 2827809 h 3484108"/>
              <a:gd name="connsiteX4" fmla="*/ 3573380 w 11584575"/>
              <a:gd name="connsiteY4" fmla="*/ 3248914 h 3484108"/>
              <a:gd name="connsiteX5" fmla="*/ 5255729 w 11584575"/>
              <a:gd name="connsiteY5" fmla="*/ 1251672 h 3484108"/>
              <a:gd name="connsiteX6" fmla="*/ 7544797 w 11584575"/>
              <a:gd name="connsiteY6" fmla="*/ 1420115 h 3484108"/>
              <a:gd name="connsiteX7" fmla="*/ 10325913 w 11584575"/>
              <a:gd name="connsiteY7" fmla="*/ 806503 h 3484108"/>
              <a:gd name="connsiteX8" fmla="*/ 11542181 w 11584575"/>
              <a:gd name="connsiteY8" fmla="*/ 1311830 h 3484108"/>
              <a:gd name="connsiteX9" fmla="*/ 8918964 w 11584575"/>
              <a:gd name="connsiteY9" fmla="*/ 2009662 h 3484108"/>
              <a:gd name="connsiteX10" fmla="*/ 8567994 w 11584575"/>
              <a:gd name="connsiteY10" fmla="*/ 3164694 h 3484108"/>
              <a:gd name="connsiteX11" fmla="*/ 10998024 w 11584575"/>
              <a:gd name="connsiteY11" fmla="*/ 2960157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10325913 w 13053199"/>
              <a:gd name="connsiteY7" fmla="*/ 806503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7867478 w 13053199"/>
              <a:gd name="connsiteY9" fmla="*/ 2767651 h 3484108"/>
              <a:gd name="connsiteX10" fmla="*/ 8567994 w 13053199"/>
              <a:gd name="connsiteY10" fmla="*/ 3164694 h 3484108"/>
              <a:gd name="connsiteX11" fmla="*/ 13053199 w 13053199"/>
              <a:gd name="connsiteY11" fmla="*/ 2129978 h 3484108"/>
              <a:gd name="connsiteX0" fmla="*/ 0 w 13053199"/>
              <a:gd name="connsiteY0" fmla="*/ 1299799 h 3522829"/>
              <a:gd name="connsiteX1" fmla="*/ 1888959 w 13053199"/>
              <a:gd name="connsiteY1" fmla="*/ 388 h 3522829"/>
              <a:gd name="connsiteX2" fmla="*/ 2947738 w 13053199"/>
              <a:gd name="connsiteY2" fmla="*/ 1203546 h 3522829"/>
              <a:gd name="connsiteX3" fmla="*/ 998622 w 13053199"/>
              <a:gd name="connsiteY3" fmla="*/ 2827809 h 3522829"/>
              <a:gd name="connsiteX4" fmla="*/ 3573380 w 13053199"/>
              <a:gd name="connsiteY4" fmla="*/ 3248914 h 3522829"/>
              <a:gd name="connsiteX5" fmla="*/ 5255729 w 13053199"/>
              <a:gd name="connsiteY5" fmla="*/ 1251672 h 3522829"/>
              <a:gd name="connsiteX6" fmla="*/ 7544797 w 13053199"/>
              <a:gd name="connsiteY6" fmla="*/ 1420115 h 3522829"/>
              <a:gd name="connsiteX7" fmla="*/ 9298324 w 13053199"/>
              <a:gd name="connsiteY7" fmla="*/ 589935 h 3522829"/>
              <a:gd name="connsiteX8" fmla="*/ 9905210 w 13053199"/>
              <a:gd name="connsiteY8" fmla="*/ 1648714 h 3522829"/>
              <a:gd name="connsiteX9" fmla="*/ 7867478 w 13053199"/>
              <a:gd name="connsiteY9" fmla="*/ 2767651 h 3522829"/>
              <a:gd name="connsiteX10" fmla="*/ 8567994 w 13053199"/>
              <a:gd name="connsiteY10" fmla="*/ 3164694 h 3522829"/>
              <a:gd name="connsiteX11" fmla="*/ 9523113 w 13053199"/>
              <a:gd name="connsiteY11" fmla="*/ 3477513 h 3522829"/>
              <a:gd name="connsiteX12" fmla="*/ 13053199 w 13053199"/>
              <a:gd name="connsiteY12" fmla="*/ 2129978 h 3522829"/>
              <a:gd name="connsiteX0" fmla="*/ 0 w 13053199"/>
              <a:gd name="connsiteY0" fmla="*/ 1299799 h 3491805"/>
              <a:gd name="connsiteX1" fmla="*/ 1888959 w 13053199"/>
              <a:gd name="connsiteY1" fmla="*/ 388 h 3491805"/>
              <a:gd name="connsiteX2" fmla="*/ 2947738 w 13053199"/>
              <a:gd name="connsiteY2" fmla="*/ 1203546 h 3491805"/>
              <a:gd name="connsiteX3" fmla="*/ 998622 w 13053199"/>
              <a:gd name="connsiteY3" fmla="*/ 2827809 h 3491805"/>
              <a:gd name="connsiteX4" fmla="*/ 3573380 w 13053199"/>
              <a:gd name="connsiteY4" fmla="*/ 3248914 h 3491805"/>
              <a:gd name="connsiteX5" fmla="*/ 5255729 w 13053199"/>
              <a:gd name="connsiteY5" fmla="*/ 1251672 h 3491805"/>
              <a:gd name="connsiteX6" fmla="*/ 7544797 w 13053199"/>
              <a:gd name="connsiteY6" fmla="*/ 1420115 h 3491805"/>
              <a:gd name="connsiteX7" fmla="*/ 9298324 w 13053199"/>
              <a:gd name="connsiteY7" fmla="*/ 589935 h 3491805"/>
              <a:gd name="connsiteX8" fmla="*/ 9905210 w 13053199"/>
              <a:gd name="connsiteY8" fmla="*/ 1648714 h 3491805"/>
              <a:gd name="connsiteX9" fmla="*/ 7867478 w 13053199"/>
              <a:gd name="connsiteY9" fmla="*/ 2767651 h 3491805"/>
              <a:gd name="connsiteX10" fmla="*/ 9523113 w 13053199"/>
              <a:gd name="connsiteY10" fmla="*/ 3477513 h 3491805"/>
              <a:gd name="connsiteX11" fmla="*/ 13053199 w 13053199"/>
              <a:gd name="connsiteY11" fmla="*/ 2129978 h 3491805"/>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9298324 w 13053199"/>
              <a:gd name="connsiteY7" fmla="*/ 589935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975709 w 13053199"/>
              <a:gd name="connsiteY7" fmla="*/ 601966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4063276 w 13053199"/>
              <a:gd name="connsiteY4" fmla="*/ 3188756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676 h 3507048"/>
              <a:gd name="connsiteX1" fmla="*/ 1888959 w 13053199"/>
              <a:gd name="connsiteY1" fmla="*/ 265 h 3507048"/>
              <a:gd name="connsiteX2" fmla="*/ 2947738 w 13053199"/>
              <a:gd name="connsiteY2" fmla="*/ 1203423 h 3507048"/>
              <a:gd name="connsiteX3" fmla="*/ 1679698 w 13053199"/>
              <a:gd name="connsiteY3" fmla="*/ 3020191 h 3507048"/>
              <a:gd name="connsiteX4" fmla="*/ 4063276 w 13053199"/>
              <a:gd name="connsiteY4" fmla="*/ 3188633 h 3507048"/>
              <a:gd name="connsiteX5" fmla="*/ 5255729 w 13053199"/>
              <a:gd name="connsiteY5" fmla="*/ 1251549 h 3507048"/>
              <a:gd name="connsiteX6" fmla="*/ 7269978 w 13053199"/>
              <a:gd name="connsiteY6" fmla="*/ 1456087 h 3507048"/>
              <a:gd name="connsiteX7" fmla="*/ 9095196 w 13053199"/>
              <a:gd name="connsiteY7" fmla="*/ 734191 h 3507048"/>
              <a:gd name="connsiteX8" fmla="*/ 9510902 w 13053199"/>
              <a:gd name="connsiteY8" fmla="*/ 1744843 h 3507048"/>
              <a:gd name="connsiteX9" fmla="*/ 7867478 w 13053199"/>
              <a:gd name="connsiteY9" fmla="*/ 2767528 h 3507048"/>
              <a:gd name="connsiteX10" fmla="*/ 9523113 w 13053199"/>
              <a:gd name="connsiteY10" fmla="*/ 3477390 h 3507048"/>
              <a:gd name="connsiteX11" fmla="*/ 13053199 w 13053199"/>
              <a:gd name="connsiteY11" fmla="*/ 2129855 h 3507048"/>
              <a:gd name="connsiteX0" fmla="*/ 0 w 13053199"/>
              <a:gd name="connsiteY0" fmla="*/ 1299676 h 3556370"/>
              <a:gd name="connsiteX1" fmla="*/ 1888959 w 13053199"/>
              <a:gd name="connsiteY1" fmla="*/ 265 h 3556370"/>
              <a:gd name="connsiteX2" fmla="*/ 2947738 w 13053199"/>
              <a:gd name="connsiteY2" fmla="*/ 1203423 h 3556370"/>
              <a:gd name="connsiteX3" fmla="*/ 1679698 w 13053199"/>
              <a:gd name="connsiteY3" fmla="*/ 3020191 h 3556370"/>
              <a:gd name="connsiteX4" fmla="*/ 4063276 w 13053199"/>
              <a:gd name="connsiteY4" fmla="*/ 3188633 h 3556370"/>
              <a:gd name="connsiteX5" fmla="*/ 5255729 w 13053199"/>
              <a:gd name="connsiteY5" fmla="*/ 1251549 h 3556370"/>
              <a:gd name="connsiteX6" fmla="*/ 7269978 w 13053199"/>
              <a:gd name="connsiteY6" fmla="*/ 1456087 h 3556370"/>
              <a:gd name="connsiteX7" fmla="*/ 9095196 w 13053199"/>
              <a:gd name="connsiteY7" fmla="*/ 734191 h 3556370"/>
              <a:gd name="connsiteX8" fmla="*/ 9510902 w 13053199"/>
              <a:gd name="connsiteY8" fmla="*/ 1744843 h 3556370"/>
              <a:gd name="connsiteX9" fmla="*/ 7867478 w 13053199"/>
              <a:gd name="connsiteY9" fmla="*/ 2767528 h 3556370"/>
              <a:gd name="connsiteX10" fmla="*/ 9523113 w 13053199"/>
              <a:gd name="connsiteY10" fmla="*/ 3477390 h 3556370"/>
              <a:gd name="connsiteX11" fmla="*/ 13053199 w 13053199"/>
              <a:gd name="connsiteY11" fmla="*/ 2129855 h 3556370"/>
              <a:gd name="connsiteX0" fmla="*/ 0 w 13782069"/>
              <a:gd name="connsiteY0" fmla="*/ 1653292 h 3561070"/>
              <a:gd name="connsiteX1" fmla="*/ 2617829 w 13782069"/>
              <a:gd name="connsiteY1" fmla="*/ 4965 h 3561070"/>
              <a:gd name="connsiteX2" fmla="*/ 3676608 w 13782069"/>
              <a:gd name="connsiteY2" fmla="*/ 1208123 h 3561070"/>
              <a:gd name="connsiteX3" fmla="*/ 2408568 w 13782069"/>
              <a:gd name="connsiteY3" fmla="*/ 3024891 h 3561070"/>
              <a:gd name="connsiteX4" fmla="*/ 4792146 w 13782069"/>
              <a:gd name="connsiteY4" fmla="*/ 3193333 h 3561070"/>
              <a:gd name="connsiteX5" fmla="*/ 5984599 w 13782069"/>
              <a:gd name="connsiteY5" fmla="*/ 1256249 h 3561070"/>
              <a:gd name="connsiteX6" fmla="*/ 7998848 w 13782069"/>
              <a:gd name="connsiteY6" fmla="*/ 1460787 h 3561070"/>
              <a:gd name="connsiteX7" fmla="*/ 9824066 w 13782069"/>
              <a:gd name="connsiteY7" fmla="*/ 738891 h 3561070"/>
              <a:gd name="connsiteX8" fmla="*/ 10239772 w 13782069"/>
              <a:gd name="connsiteY8" fmla="*/ 1749543 h 3561070"/>
              <a:gd name="connsiteX9" fmla="*/ 8596348 w 13782069"/>
              <a:gd name="connsiteY9" fmla="*/ 2772228 h 3561070"/>
              <a:gd name="connsiteX10" fmla="*/ 10251983 w 13782069"/>
              <a:gd name="connsiteY10" fmla="*/ 3482090 h 3561070"/>
              <a:gd name="connsiteX11" fmla="*/ 13782069 w 13782069"/>
              <a:gd name="connsiteY11" fmla="*/ 2134555 h 3561070"/>
              <a:gd name="connsiteX0" fmla="*/ 0 w 13782069"/>
              <a:gd name="connsiteY0" fmla="*/ 1651904 h 3559682"/>
              <a:gd name="connsiteX1" fmla="*/ 2617829 w 13782069"/>
              <a:gd name="connsiteY1" fmla="*/ 3577 h 3559682"/>
              <a:gd name="connsiteX2" fmla="*/ 3676608 w 13782069"/>
              <a:gd name="connsiteY2" fmla="*/ 1206735 h 3559682"/>
              <a:gd name="connsiteX3" fmla="*/ 2408568 w 13782069"/>
              <a:gd name="connsiteY3" fmla="*/ 3023503 h 3559682"/>
              <a:gd name="connsiteX4" fmla="*/ 4792146 w 13782069"/>
              <a:gd name="connsiteY4" fmla="*/ 3191945 h 3559682"/>
              <a:gd name="connsiteX5" fmla="*/ 5984599 w 13782069"/>
              <a:gd name="connsiteY5" fmla="*/ 1254861 h 3559682"/>
              <a:gd name="connsiteX6" fmla="*/ 7998848 w 13782069"/>
              <a:gd name="connsiteY6" fmla="*/ 1459399 h 3559682"/>
              <a:gd name="connsiteX7" fmla="*/ 9824066 w 13782069"/>
              <a:gd name="connsiteY7" fmla="*/ 737503 h 3559682"/>
              <a:gd name="connsiteX8" fmla="*/ 10239772 w 13782069"/>
              <a:gd name="connsiteY8" fmla="*/ 1748155 h 3559682"/>
              <a:gd name="connsiteX9" fmla="*/ 8596348 w 13782069"/>
              <a:gd name="connsiteY9" fmla="*/ 2770840 h 3559682"/>
              <a:gd name="connsiteX10" fmla="*/ 10251983 w 13782069"/>
              <a:gd name="connsiteY10" fmla="*/ 3480702 h 3559682"/>
              <a:gd name="connsiteX11" fmla="*/ 13782069 w 13782069"/>
              <a:gd name="connsiteY11" fmla="*/ 2133167 h 3559682"/>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98848 w 13782069"/>
              <a:gd name="connsiteY6" fmla="*/ 1460004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27156 w 13782069"/>
              <a:gd name="connsiteY6" fmla="*/ 978741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719857 w 13782069"/>
              <a:gd name="connsiteY7" fmla="*/ 903000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239772 w 13782069"/>
              <a:gd name="connsiteY7" fmla="*/ 1748760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549600"/>
              <a:gd name="connsiteX1" fmla="*/ 2617829 w 13782069"/>
              <a:gd name="connsiteY1" fmla="*/ 4182 h 3549600"/>
              <a:gd name="connsiteX2" fmla="*/ 3676608 w 13782069"/>
              <a:gd name="connsiteY2" fmla="*/ 1207340 h 3549600"/>
              <a:gd name="connsiteX3" fmla="*/ 2408568 w 13782069"/>
              <a:gd name="connsiteY3" fmla="*/ 3024108 h 3549600"/>
              <a:gd name="connsiteX4" fmla="*/ 4792146 w 13782069"/>
              <a:gd name="connsiteY4" fmla="*/ 3192550 h 3549600"/>
              <a:gd name="connsiteX5" fmla="*/ 5865504 w 13782069"/>
              <a:gd name="connsiteY5" fmla="*/ 1450338 h 3549600"/>
              <a:gd name="connsiteX6" fmla="*/ 8449091 w 13782069"/>
              <a:gd name="connsiteY6" fmla="*/ 670244 h 3549600"/>
              <a:gd name="connsiteX7" fmla="*/ 9822938 w 13782069"/>
              <a:gd name="connsiteY7" fmla="*/ 1508918 h 3549600"/>
              <a:gd name="connsiteX8" fmla="*/ 8596348 w 13782069"/>
              <a:gd name="connsiteY8" fmla="*/ 2771445 h 3549600"/>
              <a:gd name="connsiteX9" fmla="*/ 10251983 w 13782069"/>
              <a:gd name="connsiteY9" fmla="*/ 3481307 h 3549600"/>
              <a:gd name="connsiteX10" fmla="*/ 13782069 w 13782069"/>
              <a:gd name="connsiteY10" fmla="*/ 2133772 h 3549600"/>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70183"/>
              <a:gd name="connsiteX1" fmla="*/ 2617829 w 13782069"/>
              <a:gd name="connsiteY1" fmla="*/ 4182 h 3770183"/>
              <a:gd name="connsiteX2" fmla="*/ 3676608 w 13782069"/>
              <a:gd name="connsiteY2" fmla="*/ 1207340 h 3770183"/>
              <a:gd name="connsiteX3" fmla="*/ 2408568 w 13782069"/>
              <a:gd name="connsiteY3" fmla="*/ 3024108 h 3770183"/>
              <a:gd name="connsiteX4" fmla="*/ 3898932 w 13782069"/>
              <a:gd name="connsiteY4" fmla="*/ 3687226 h 3770183"/>
              <a:gd name="connsiteX5" fmla="*/ 5865504 w 13782069"/>
              <a:gd name="connsiteY5" fmla="*/ 1450338 h 3770183"/>
              <a:gd name="connsiteX6" fmla="*/ 8449091 w 13782069"/>
              <a:gd name="connsiteY6" fmla="*/ 670244 h 3770183"/>
              <a:gd name="connsiteX7" fmla="*/ 9822938 w 13782069"/>
              <a:gd name="connsiteY7" fmla="*/ 1508918 h 3770183"/>
              <a:gd name="connsiteX8" fmla="*/ 8596348 w 13782069"/>
              <a:gd name="connsiteY8" fmla="*/ 2771445 h 3770183"/>
              <a:gd name="connsiteX9" fmla="*/ 10251983 w 13782069"/>
              <a:gd name="connsiteY9" fmla="*/ 3481307 h 3770183"/>
              <a:gd name="connsiteX10" fmla="*/ 13782069 w 13782069"/>
              <a:gd name="connsiteY10" fmla="*/ 2133772 h 3770183"/>
              <a:gd name="connsiteX0" fmla="*/ 0 w 13782069"/>
              <a:gd name="connsiteY0" fmla="*/ 1652509 h 3794117"/>
              <a:gd name="connsiteX1" fmla="*/ 2617829 w 13782069"/>
              <a:gd name="connsiteY1" fmla="*/ 4182 h 3794117"/>
              <a:gd name="connsiteX2" fmla="*/ 3676608 w 13782069"/>
              <a:gd name="connsiteY2" fmla="*/ 1207340 h 3794117"/>
              <a:gd name="connsiteX3" fmla="*/ 2408568 w 13782069"/>
              <a:gd name="connsiteY3" fmla="*/ 3024108 h 3794117"/>
              <a:gd name="connsiteX4" fmla="*/ 3898932 w 13782069"/>
              <a:gd name="connsiteY4" fmla="*/ 3687226 h 3794117"/>
              <a:gd name="connsiteX5" fmla="*/ 3770942 w 13782069"/>
              <a:gd name="connsiteY5" fmla="*/ 3554894 h 3794117"/>
              <a:gd name="connsiteX6" fmla="*/ 5865504 w 13782069"/>
              <a:gd name="connsiteY6" fmla="*/ 1450338 h 3794117"/>
              <a:gd name="connsiteX7" fmla="*/ 8449091 w 13782069"/>
              <a:gd name="connsiteY7" fmla="*/ 670244 h 3794117"/>
              <a:gd name="connsiteX8" fmla="*/ 9822938 w 13782069"/>
              <a:gd name="connsiteY8" fmla="*/ 1508918 h 3794117"/>
              <a:gd name="connsiteX9" fmla="*/ 8596348 w 13782069"/>
              <a:gd name="connsiteY9" fmla="*/ 2771445 h 3794117"/>
              <a:gd name="connsiteX10" fmla="*/ 10251983 w 13782069"/>
              <a:gd name="connsiteY10" fmla="*/ 3481307 h 3794117"/>
              <a:gd name="connsiteX11" fmla="*/ 13782069 w 13782069"/>
              <a:gd name="connsiteY11" fmla="*/ 2133772 h 3794117"/>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17648"/>
              <a:gd name="connsiteX1" fmla="*/ 2617829 w 13782069"/>
              <a:gd name="connsiteY1" fmla="*/ 4182 h 3717648"/>
              <a:gd name="connsiteX2" fmla="*/ 3676608 w 13782069"/>
              <a:gd name="connsiteY2" fmla="*/ 1207340 h 3717648"/>
              <a:gd name="connsiteX3" fmla="*/ 2408568 w 13782069"/>
              <a:gd name="connsiteY3" fmla="*/ 3024108 h 3717648"/>
              <a:gd name="connsiteX4" fmla="*/ 3794724 w 13782069"/>
              <a:gd name="connsiteY4" fmla="*/ 3642256 h 3717648"/>
              <a:gd name="connsiteX5" fmla="*/ 5865504 w 13782069"/>
              <a:gd name="connsiteY5" fmla="*/ 1450338 h 3717648"/>
              <a:gd name="connsiteX6" fmla="*/ 8449091 w 13782069"/>
              <a:gd name="connsiteY6" fmla="*/ 670244 h 3717648"/>
              <a:gd name="connsiteX7" fmla="*/ 9822938 w 13782069"/>
              <a:gd name="connsiteY7" fmla="*/ 1508918 h 3717648"/>
              <a:gd name="connsiteX8" fmla="*/ 8596348 w 13782069"/>
              <a:gd name="connsiteY8" fmla="*/ 2771445 h 3717648"/>
              <a:gd name="connsiteX9" fmla="*/ 10251983 w 13782069"/>
              <a:gd name="connsiteY9" fmla="*/ 3481307 h 3717648"/>
              <a:gd name="connsiteX10" fmla="*/ 13782069 w 13782069"/>
              <a:gd name="connsiteY10" fmla="*/ 2133772 h 3717648"/>
              <a:gd name="connsiteX0" fmla="*/ 0 w 13782069"/>
              <a:gd name="connsiteY0" fmla="*/ 1652509 h 3674295"/>
              <a:gd name="connsiteX1" fmla="*/ 2617829 w 13782069"/>
              <a:gd name="connsiteY1" fmla="*/ 4182 h 3674295"/>
              <a:gd name="connsiteX2" fmla="*/ 3676608 w 13782069"/>
              <a:gd name="connsiteY2" fmla="*/ 1207340 h 3674295"/>
              <a:gd name="connsiteX3" fmla="*/ 2408568 w 13782069"/>
              <a:gd name="connsiteY3" fmla="*/ 3024108 h 3674295"/>
              <a:gd name="connsiteX4" fmla="*/ 3794724 w 13782069"/>
              <a:gd name="connsiteY4" fmla="*/ 3642256 h 3674295"/>
              <a:gd name="connsiteX5" fmla="*/ 5865504 w 13782069"/>
              <a:gd name="connsiteY5" fmla="*/ 1450338 h 3674295"/>
              <a:gd name="connsiteX6" fmla="*/ 8449091 w 13782069"/>
              <a:gd name="connsiteY6" fmla="*/ 670244 h 3674295"/>
              <a:gd name="connsiteX7" fmla="*/ 9822938 w 13782069"/>
              <a:gd name="connsiteY7" fmla="*/ 1508918 h 3674295"/>
              <a:gd name="connsiteX8" fmla="*/ 8596348 w 13782069"/>
              <a:gd name="connsiteY8" fmla="*/ 2771445 h 3674295"/>
              <a:gd name="connsiteX9" fmla="*/ 10251983 w 13782069"/>
              <a:gd name="connsiteY9" fmla="*/ 3481307 h 3674295"/>
              <a:gd name="connsiteX10" fmla="*/ 13782069 w 13782069"/>
              <a:gd name="connsiteY10" fmla="*/ 2133772 h 3674295"/>
              <a:gd name="connsiteX0" fmla="*/ 0 w 13782069"/>
              <a:gd name="connsiteY0" fmla="*/ 1649325 h 3668858"/>
              <a:gd name="connsiteX1" fmla="*/ 2617829 w 13782069"/>
              <a:gd name="connsiteY1" fmla="*/ 998 h 3668858"/>
              <a:gd name="connsiteX2" fmla="*/ 3512852 w 13782069"/>
              <a:gd name="connsiteY2" fmla="*/ 1443998 h 3668858"/>
              <a:gd name="connsiteX3" fmla="*/ 2408568 w 13782069"/>
              <a:gd name="connsiteY3" fmla="*/ 3020924 h 3668858"/>
              <a:gd name="connsiteX4" fmla="*/ 3794724 w 13782069"/>
              <a:gd name="connsiteY4" fmla="*/ 3639072 h 3668858"/>
              <a:gd name="connsiteX5" fmla="*/ 5865504 w 13782069"/>
              <a:gd name="connsiteY5" fmla="*/ 1447154 h 3668858"/>
              <a:gd name="connsiteX6" fmla="*/ 8449091 w 13782069"/>
              <a:gd name="connsiteY6" fmla="*/ 667060 h 3668858"/>
              <a:gd name="connsiteX7" fmla="*/ 9822938 w 13782069"/>
              <a:gd name="connsiteY7" fmla="*/ 1505734 h 3668858"/>
              <a:gd name="connsiteX8" fmla="*/ 8596348 w 13782069"/>
              <a:gd name="connsiteY8" fmla="*/ 2768261 h 3668858"/>
              <a:gd name="connsiteX9" fmla="*/ 10251983 w 13782069"/>
              <a:gd name="connsiteY9" fmla="*/ 3478123 h 3668858"/>
              <a:gd name="connsiteX10" fmla="*/ 13782069 w 13782069"/>
              <a:gd name="connsiteY10" fmla="*/ 2130588 h 3668858"/>
              <a:gd name="connsiteX0" fmla="*/ 0 w 13782069"/>
              <a:gd name="connsiteY0" fmla="*/ 1649754 h 3669287"/>
              <a:gd name="connsiteX1" fmla="*/ 2617829 w 13782069"/>
              <a:gd name="connsiteY1" fmla="*/ 1427 h 3669287"/>
              <a:gd name="connsiteX2" fmla="*/ 3512852 w 13782069"/>
              <a:gd name="connsiteY2" fmla="*/ 1444427 h 3669287"/>
              <a:gd name="connsiteX3" fmla="*/ 2408568 w 13782069"/>
              <a:gd name="connsiteY3" fmla="*/ 3021353 h 3669287"/>
              <a:gd name="connsiteX4" fmla="*/ 3794724 w 13782069"/>
              <a:gd name="connsiteY4" fmla="*/ 3639501 h 3669287"/>
              <a:gd name="connsiteX5" fmla="*/ 5865504 w 13782069"/>
              <a:gd name="connsiteY5" fmla="*/ 1447583 h 3669287"/>
              <a:gd name="connsiteX6" fmla="*/ 8449091 w 13782069"/>
              <a:gd name="connsiteY6" fmla="*/ 667489 h 3669287"/>
              <a:gd name="connsiteX7" fmla="*/ 9822938 w 13782069"/>
              <a:gd name="connsiteY7" fmla="*/ 1506163 h 3669287"/>
              <a:gd name="connsiteX8" fmla="*/ 8596348 w 13782069"/>
              <a:gd name="connsiteY8" fmla="*/ 2768690 h 3669287"/>
              <a:gd name="connsiteX9" fmla="*/ 10251983 w 13782069"/>
              <a:gd name="connsiteY9" fmla="*/ 3478552 h 3669287"/>
              <a:gd name="connsiteX10" fmla="*/ 13782069 w 13782069"/>
              <a:gd name="connsiteY10" fmla="*/ 2131017 h 3669287"/>
              <a:gd name="connsiteX0" fmla="*/ 0 w 13782069"/>
              <a:gd name="connsiteY0" fmla="*/ 1652002 h 3672485"/>
              <a:gd name="connsiteX1" fmla="*/ 2617829 w 13782069"/>
              <a:gd name="connsiteY1" fmla="*/ 3675 h 3672485"/>
              <a:gd name="connsiteX2" fmla="*/ 3483079 w 13782069"/>
              <a:gd name="connsiteY2" fmla="*/ 1341744 h 3672485"/>
              <a:gd name="connsiteX3" fmla="*/ 2408568 w 13782069"/>
              <a:gd name="connsiteY3" fmla="*/ 3023601 h 3672485"/>
              <a:gd name="connsiteX4" fmla="*/ 3794724 w 13782069"/>
              <a:gd name="connsiteY4" fmla="*/ 3641749 h 3672485"/>
              <a:gd name="connsiteX5" fmla="*/ 5865504 w 13782069"/>
              <a:gd name="connsiteY5" fmla="*/ 1449831 h 3672485"/>
              <a:gd name="connsiteX6" fmla="*/ 8449091 w 13782069"/>
              <a:gd name="connsiteY6" fmla="*/ 669737 h 3672485"/>
              <a:gd name="connsiteX7" fmla="*/ 9822938 w 13782069"/>
              <a:gd name="connsiteY7" fmla="*/ 1508411 h 3672485"/>
              <a:gd name="connsiteX8" fmla="*/ 8596348 w 13782069"/>
              <a:gd name="connsiteY8" fmla="*/ 2770938 h 3672485"/>
              <a:gd name="connsiteX9" fmla="*/ 10251983 w 13782069"/>
              <a:gd name="connsiteY9" fmla="*/ 3480800 h 3672485"/>
              <a:gd name="connsiteX10" fmla="*/ 13782069 w 13782069"/>
              <a:gd name="connsiteY10" fmla="*/ 2133265 h 3672485"/>
              <a:gd name="connsiteX0" fmla="*/ 0 w 13782069"/>
              <a:gd name="connsiteY0" fmla="*/ 1654795 h 3675278"/>
              <a:gd name="connsiteX1" fmla="*/ 2617829 w 13782069"/>
              <a:gd name="connsiteY1" fmla="*/ 6468 h 3675278"/>
              <a:gd name="connsiteX2" fmla="*/ 3483079 w 13782069"/>
              <a:gd name="connsiteY2" fmla="*/ 1344537 h 3675278"/>
              <a:gd name="connsiteX3" fmla="*/ 2408568 w 13782069"/>
              <a:gd name="connsiteY3" fmla="*/ 3026394 h 3675278"/>
              <a:gd name="connsiteX4" fmla="*/ 3794724 w 13782069"/>
              <a:gd name="connsiteY4" fmla="*/ 3644542 h 3675278"/>
              <a:gd name="connsiteX5" fmla="*/ 5865504 w 13782069"/>
              <a:gd name="connsiteY5" fmla="*/ 1452624 h 3675278"/>
              <a:gd name="connsiteX6" fmla="*/ 8449091 w 13782069"/>
              <a:gd name="connsiteY6" fmla="*/ 672530 h 3675278"/>
              <a:gd name="connsiteX7" fmla="*/ 9822938 w 13782069"/>
              <a:gd name="connsiteY7" fmla="*/ 1511204 h 3675278"/>
              <a:gd name="connsiteX8" fmla="*/ 8596348 w 13782069"/>
              <a:gd name="connsiteY8" fmla="*/ 2773731 h 3675278"/>
              <a:gd name="connsiteX9" fmla="*/ 10251983 w 13782069"/>
              <a:gd name="connsiteY9" fmla="*/ 3483593 h 3675278"/>
              <a:gd name="connsiteX10" fmla="*/ 13782069 w 13782069"/>
              <a:gd name="connsiteY10" fmla="*/ 2136058 h 3675278"/>
              <a:gd name="connsiteX0" fmla="*/ 0 w 13782069"/>
              <a:gd name="connsiteY0" fmla="*/ 1650571 h 3752861"/>
              <a:gd name="connsiteX1" fmla="*/ 2617829 w 13782069"/>
              <a:gd name="connsiteY1" fmla="*/ 2244 h 3752861"/>
              <a:gd name="connsiteX2" fmla="*/ 3483079 w 13782069"/>
              <a:gd name="connsiteY2" fmla="*/ 1340313 h 3752861"/>
              <a:gd name="connsiteX3" fmla="*/ 2244812 w 13782069"/>
              <a:gd name="connsiteY3" fmla="*/ 3217043 h 3752861"/>
              <a:gd name="connsiteX4" fmla="*/ 3794724 w 13782069"/>
              <a:gd name="connsiteY4" fmla="*/ 3640318 h 3752861"/>
              <a:gd name="connsiteX5" fmla="*/ 5865504 w 13782069"/>
              <a:gd name="connsiteY5" fmla="*/ 1448400 h 3752861"/>
              <a:gd name="connsiteX6" fmla="*/ 8449091 w 13782069"/>
              <a:gd name="connsiteY6" fmla="*/ 668306 h 3752861"/>
              <a:gd name="connsiteX7" fmla="*/ 9822938 w 13782069"/>
              <a:gd name="connsiteY7" fmla="*/ 1506980 h 3752861"/>
              <a:gd name="connsiteX8" fmla="*/ 8596348 w 13782069"/>
              <a:gd name="connsiteY8" fmla="*/ 2769507 h 3752861"/>
              <a:gd name="connsiteX9" fmla="*/ 10251983 w 13782069"/>
              <a:gd name="connsiteY9" fmla="*/ 3479369 h 3752861"/>
              <a:gd name="connsiteX10" fmla="*/ 13782069 w 13782069"/>
              <a:gd name="connsiteY10" fmla="*/ 2131834 h 3752861"/>
              <a:gd name="connsiteX0" fmla="*/ 0 w 13782069"/>
              <a:gd name="connsiteY0" fmla="*/ 1650571 h 3855092"/>
              <a:gd name="connsiteX1" fmla="*/ 2617829 w 13782069"/>
              <a:gd name="connsiteY1" fmla="*/ 2244 h 3855092"/>
              <a:gd name="connsiteX2" fmla="*/ 3483079 w 13782069"/>
              <a:gd name="connsiteY2" fmla="*/ 1340313 h 3855092"/>
              <a:gd name="connsiteX3" fmla="*/ 2244812 w 13782069"/>
              <a:gd name="connsiteY3" fmla="*/ 3217043 h 3855092"/>
              <a:gd name="connsiteX4" fmla="*/ 3794724 w 13782069"/>
              <a:gd name="connsiteY4" fmla="*/ 3640318 h 3855092"/>
              <a:gd name="connsiteX5" fmla="*/ 5865504 w 13782069"/>
              <a:gd name="connsiteY5" fmla="*/ 1448400 h 3855092"/>
              <a:gd name="connsiteX6" fmla="*/ 8449091 w 13782069"/>
              <a:gd name="connsiteY6" fmla="*/ 668306 h 3855092"/>
              <a:gd name="connsiteX7" fmla="*/ 9822938 w 13782069"/>
              <a:gd name="connsiteY7" fmla="*/ 1506980 h 3855092"/>
              <a:gd name="connsiteX8" fmla="*/ 8596348 w 13782069"/>
              <a:gd name="connsiteY8" fmla="*/ 2769507 h 3855092"/>
              <a:gd name="connsiteX9" fmla="*/ 10251983 w 13782069"/>
              <a:gd name="connsiteY9" fmla="*/ 3479369 h 3855092"/>
              <a:gd name="connsiteX10" fmla="*/ 13782069 w 13782069"/>
              <a:gd name="connsiteY10" fmla="*/ 2131834 h 3855092"/>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748503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7316075 w 13782069"/>
              <a:gd name="connsiteY8" fmla="*/ 3520460 h 3856536"/>
              <a:gd name="connsiteX9" fmla="*/ 11055876 w 13782069"/>
              <a:gd name="connsiteY9" fmla="*/ 3315922 h 3856536"/>
              <a:gd name="connsiteX10" fmla="*/ 13782069 w 13782069"/>
              <a:gd name="connsiteY10" fmla="*/ 2133278 h 3856536"/>
              <a:gd name="connsiteX0" fmla="*/ 0 w 13782069"/>
              <a:gd name="connsiteY0" fmla="*/ 1652015 h 3983361"/>
              <a:gd name="connsiteX1" fmla="*/ 2617829 w 13782069"/>
              <a:gd name="connsiteY1" fmla="*/ 3688 h 3983361"/>
              <a:gd name="connsiteX2" fmla="*/ 3483079 w 13782069"/>
              <a:gd name="connsiteY2" fmla="*/ 1341757 h 3983361"/>
              <a:gd name="connsiteX3" fmla="*/ 2244812 w 13782069"/>
              <a:gd name="connsiteY3" fmla="*/ 3218487 h 3983361"/>
              <a:gd name="connsiteX4" fmla="*/ 3794724 w 13782069"/>
              <a:gd name="connsiteY4" fmla="*/ 3641762 h 3983361"/>
              <a:gd name="connsiteX5" fmla="*/ 5865504 w 13782069"/>
              <a:gd name="connsiteY5" fmla="*/ 1449844 h 3983361"/>
              <a:gd name="connsiteX6" fmla="*/ 8449091 w 13782069"/>
              <a:gd name="connsiteY6" fmla="*/ 669750 h 3983361"/>
              <a:gd name="connsiteX7" fmla="*/ 8840402 w 13782069"/>
              <a:gd name="connsiteY7" fmla="*/ 2257932 h 3983361"/>
              <a:gd name="connsiteX8" fmla="*/ 7316075 w 13782069"/>
              <a:gd name="connsiteY8" fmla="*/ 3520460 h 3983361"/>
              <a:gd name="connsiteX9" fmla="*/ 11055876 w 13782069"/>
              <a:gd name="connsiteY9" fmla="*/ 3315922 h 3983361"/>
              <a:gd name="connsiteX10" fmla="*/ 13782069 w 13782069"/>
              <a:gd name="connsiteY10" fmla="*/ 2133278 h 3983361"/>
              <a:gd name="connsiteX0" fmla="*/ 0 w 13782069"/>
              <a:gd name="connsiteY0" fmla="*/ 1652015 h 3948460"/>
              <a:gd name="connsiteX1" fmla="*/ 2617829 w 13782069"/>
              <a:gd name="connsiteY1" fmla="*/ 3688 h 3948460"/>
              <a:gd name="connsiteX2" fmla="*/ 3483079 w 13782069"/>
              <a:gd name="connsiteY2" fmla="*/ 1341757 h 3948460"/>
              <a:gd name="connsiteX3" fmla="*/ 2244812 w 13782069"/>
              <a:gd name="connsiteY3" fmla="*/ 3218487 h 3948460"/>
              <a:gd name="connsiteX4" fmla="*/ 3794724 w 13782069"/>
              <a:gd name="connsiteY4" fmla="*/ 3641762 h 3948460"/>
              <a:gd name="connsiteX5" fmla="*/ 5865504 w 13782069"/>
              <a:gd name="connsiteY5" fmla="*/ 1449844 h 3948460"/>
              <a:gd name="connsiteX6" fmla="*/ 8449091 w 13782069"/>
              <a:gd name="connsiteY6" fmla="*/ 669750 h 3948460"/>
              <a:gd name="connsiteX7" fmla="*/ 8840402 w 13782069"/>
              <a:gd name="connsiteY7" fmla="*/ 2257932 h 3948460"/>
              <a:gd name="connsiteX8" fmla="*/ 7524492 w 13782069"/>
              <a:gd name="connsiteY8" fmla="*/ 3460499 h 3948460"/>
              <a:gd name="connsiteX9" fmla="*/ 11055876 w 13782069"/>
              <a:gd name="connsiteY9" fmla="*/ 3315922 h 3948460"/>
              <a:gd name="connsiteX10" fmla="*/ 13782069 w 13782069"/>
              <a:gd name="connsiteY10" fmla="*/ 2133278 h 3948460"/>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995536"/>
              <a:gd name="connsiteX1" fmla="*/ 2617829 w 13782069"/>
              <a:gd name="connsiteY1" fmla="*/ 3688 h 3995536"/>
              <a:gd name="connsiteX2" fmla="*/ 3483079 w 13782069"/>
              <a:gd name="connsiteY2" fmla="*/ 1341757 h 3995536"/>
              <a:gd name="connsiteX3" fmla="*/ 2244812 w 13782069"/>
              <a:gd name="connsiteY3" fmla="*/ 3218487 h 3995536"/>
              <a:gd name="connsiteX4" fmla="*/ 3794724 w 13782069"/>
              <a:gd name="connsiteY4" fmla="*/ 3641762 h 3995536"/>
              <a:gd name="connsiteX5" fmla="*/ 5865504 w 13782069"/>
              <a:gd name="connsiteY5" fmla="*/ 1449844 h 3995536"/>
              <a:gd name="connsiteX6" fmla="*/ 8225787 w 13782069"/>
              <a:gd name="connsiteY6" fmla="*/ 699730 h 3995536"/>
              <a:gd name="connsiteX7" fmla="*/ 8974385 w 13782069"/>
              <a:gd name="connsiteY7" fmla="*/ 1928149 h 3995536"/>
              <a:gd name="connsiteX8" fmla="*/ 7524492 w 13782069"/>
              <a:gd name="connsiteY8" fmla="*/ 3460499 h 3995536"/>
              <a:gd name="connsiteX9" fmla="*/ 11055876 w 13782069"/>
              <a:gd name="connsiteY9" fmla="*/ 3315922 h 3995536"/>
              <a:gd name="connsiteX10" fmla="*/ 13782069 w 13782069"/>
              <a:gd name="connsiteY10" fmla="*/ 2133278 h 3995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9123254 w 13782069"/>
              <a:gd name="connsiteY7" fmla="*/ 1673316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75946"/>
              <a:gd name="connsiteX1" fmla="*/ 2617829 w 13782069"/>
              <a:gd name="connsiteY1" fmla="*/ 3688 h 3875946"/>
              <a:gd name="connsiteX2" fmla="*/ 3483079 w 13782069"/>
              <a:gd name="connsiteY2" fmla="*/ 1341757 h 3875946"/>
              <a:gd name="connsiteX3" fmla="*/ 2244812 w 13782069"/>
              <a:gd name="connsiteY3" fmla="*/ 3218487 h 3875946"/>
              <a:gd name="connsiteX4" fmla="*/ 3794724 w 13782069"/>
              <a:gd name="connsiteY4" fmla="*/ 3641762 h 3875946"/>
              <a:gd name="connsiteX5" fmla="*/ 5865504 w 13782069"/>
              <a:gd name="connsiteY5" fmla="*/ 1449844 h 3875946"/>
              <a:gd name="connsiteX6" fmla="*/ 8821264 w 13782069"/>
              <a:gd name="connsiteY6" fmla="*/ 864621 h 3875946"/>
              <a:gd name="connsiteX7" fmla="*/ 7643587 w 13782069"/>
              <a:gd name="connsiteY7" fmla="*/ 3010794 h 3875946"/>
              <a:gd name="connsiteX8" fmla="*/ 11055876 w 13782069"/>
              <a:gd name="connsiteY8" fmla="*/ 3315922 h 3875946"/>
              <a:gd name="connsiteX9" fmla="*/ 13782069 w 13782069"/>
              <a:gd name="connsiteY9" fmla="*/ 2133278 h 387594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11734"/>
              <a:gd name="connsiteX1" fmla="*/ 2617829 w 13782069"/>
              <a:gd name="connsiteY1" fmla="*/ 3688 h 3811734"/>
              <a:gd name="connsiteX2" fmla="*/ 3483079 w 13782069"/>
              <a:gd name="connsiteY2" fmla="*/ 1341757 h 3811734"/>
              <a:gd name="connsiteX3" fmla="*/ 2244812 w 13782069"/>
              <a:gd name="connsiteY3" fmla="*/ 3218487 h 3811734"/>
              <a:gd name="connsiteX4" fmla="*/ 3794724 w 13782069"/>
              <a:gd name="connsiteY4" fmla="*/ 3641762 h 3811734"/>
              <a:gd name="connsiteX5" fmla="*/ 5344464 w 13782069"/>
              <a:gd name="connsiteY5" fmla="*/ 2093455 h 3811734"/>
              <a:gd name="connsiteX6" fmla="*/ 7347461 w 13782069"/>
              <a:gd name="connsiteY6" fmla="*/ 1036251 h 3811734"/>
              <a:gd name="connsiteX7" fmla="*/ 7643587 w 13782069"/>
              <a:gd name="connsiteY7" fmla="*/ 3010794 h 3811734"/>
              <a:gd name="connsiteX8" fmla="*/ 11055876 w 13782069"/>
              <a:gd name="connsiteY8" fmla="*/ 3315922 h 3811734"/>
              <a:gd name="connsiteX9" fmla="*/ 13782069 w 13782069"/>
              <a:gd name="connsiteY9" fmla="*/ 2133278 h 3811734"/>
              <a:gd name="connsiteX0" fmla="*/ 0 w 13782069"/>
              <a:gd name="connsiteY0" fmla="*/ 1652015 h 3885798"/>
              <a:gd name="connsiteX1" fmla="*/ 2617829 w 13782069"/>
              <a:gd name="connsiteY1" fmla="*/ 3688 h 3885798"/>
              <a:gd name="connsiteX2" fmla="*/ 3483079 w 13782069"/>
              <a:gd name="connsiteY2" fmla="*/ 1341757 h 3885798"/>
              <a:gd name="connsiteX3" fmla="*/ 2244812 w 13782069"/>
              <a:gd name="connsiteY3" fmla="*/ 3218487 h 3885798"/>
              <a:gd name="connsiteX4" fmla="*/ 3794724 w 13782069"/>
              <a:gd name="connsiteY4" fmla="*/ 3641762 h 3885798"/>
              <a:gd name="connsiteX5" fmla="*/ 7347461 w 13782069"/>
              <a:gd name="connsiteY5" fmla="*/ 1036251 h 3885798"/>
              <a:gd name="connsiteX6" fmla="*/ 7643587 w 13782069"/>
              <a:gd name="connsiteY6" fmla="*/ 3010794 h 3885798"/>
              <a:gd name="connsiteX7" fmla="*/ 11055876 w 13782069"/>
              <a:gd name="connsiteY7" fmla="*/ 3315922 h 3885798"/>
              <a:gd name="connsiteX8" fmla="*/ 13782069 w 13782069"/>
              <a:gd name="connsiteY8" fmla="*/ 2133278 h 388579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562031 w 13782069"/>
              <a:gd name="connsiteY7" fmla="*/ 1971493 h 3903128"/>
              <a:gd name="connsiteX8" fmla="*/ 13782069 w 13782069"/>
              <a:gd name="connsiteY8" fmla="*/ 2133278 h 3903128"/>
              <a:gd name="connsiteX0" fmla="*/ 0 w 11562031"/>
              <a:gd name="connsiteY0" fmla="*/ 1652015 h 3903128"/>
              <a:gd name="connsiteX1" fmla="*/ 2617829 w 11562031"/>
              <a:gd name="connsiteY1" fmla="*/ 3688 h 3903128"/>
              <a:gd name="connsiteX2" fmla="*/ 3483079 w 11562031"/>
              <a:gd name="connsiteY2" fmla="*/ 1341757 h 3903128"/>
              <a:gd name="connsiteX3" fmla="*/ 2244812 w 11562031"/>
              <a:gd name="connsiteY3" fmla="*/ 3218487 h 3903128"/>
              <a:gd name="connsiteX4" fmla="*/ 3794724 w 11562031"/>
              <a:gd name="connsiteY4" fmla="*/ 3641762 h 3903128"/>
              <a:gd name="connsiteX5" fmla="*/ 6409587 w 11562031"/>
              <a:gd name="connsiteY5" fmla="*/ 793109 h 3903128"/>
              <a:gd name="connsiteX6" fmla="*/ 8134855 w 11562031"/>
              <a:gd name="connsiteY6" fmla="*/ 3168121 h 3903128"/>
              <a:gd name="connsiteX7" fmla="*/ 11562031 w 11562031"/>
              <a:gd name="connsiteY7" fmla="*/ 1971493 h 3903128"/>
              <a:gd name="connsiteX0" fmla="*/ 0 w 12678548"/>
              <a:gd name="connsiteY0" fmla="*/ 1652015 h 3903128"/>
              <a:gd name="connsiteX1" fmla="*/ 2617829 w 12678548"/>
              <a:gd name="connsiteY1" fmla="*/ 3688 h 3903128"/>
              <a:gd name="connsiteX2" fmla="*/ 3483079 w 12678548"/>
              <a:gd name="connsiteY2" fmla="*/ 1341757 h 3903128"/>
              <a:gd name="connsiteX3" fmla="*/ 2244812 w 12678548"/>
              <a:gd name="connsiteY3" fmla="*/ 3218487 h 3903128"/>
              <a:gd name="connsiteX4" fmla="*/ 3794724 w 12678548"/>
              <a:gd name="connsiteY4" fmla="*/ 3641762 h 3903128"/>
              <a:gd name="connsiteX5" fmla="*/ 6409587 w 12678548"/>
              <a:gd name="connsiteY5" fmla="*/ 793109 h 3903128"/>
              <a:gd name="connsiteX6" fmla="*/ 8134855 w 12678548"/>
              <a:gd name="connsiteY6" fmla="*/ 3168121 h 3903128"/>
              <a:gd name="connsiteX7" fmla="*/ 12678548 w 12678548"/>
              <a:gd name="connsiteY7" fmla="*/ 1385093 h 3903128"/>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8134855 w 12678548"/>
              <a:gd name="connsiteY6" fmla="*/ 3168121 h 3873618"/>
              <a:gd name="connsiteX7" fmla="*/ 12678548 w 12678548"/>
              <a:gd name="connsiteY7" fmla="*/ 1385093 h 3873618"/>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9296034 w 12678548"/>
              <a:gd name="connsiteY6" fmla="*/ 2939282 h 3873618"/>
              <a:gd name="connsiteX7" fmla="*/ 12678548 w 12678548"/>
              <a:gd name="connsiteY7" fmla="*/ 1385093 h 3873618"/>
              <a:gd name="connsiteX0" fmla="*/ 0 w 12678548"/>
              <a:gd name="connsiteY0" fmla="*/ 1166123 h 3387726"/>
              <a:gd name="connsiteX1" fmla="*/ 2111674 w 12678548"/>
              <a:gd name="connsiteY1" fmla="*/ 4079 h 3387726"/>
              <a:gd name="connsiteX2" fmla="*/ 3483079 w 12678548"/>
              <a:gd name="connsiteY2" fmla="*/ 855865 h 3387726"/>
              <a:gd name="connsiteX3" fmla="*/ 2244812 w 12678548"/>
              <a:gd name="connsiteY3" fmla="*/ 2732595 h 3387726"/>
              <a:gd name="connsiteX4" fmla="*/ 3794724 w 12678548"/>
              <a:gd name="connsiteY4" fmla="*/ 3155870 h 3387726"/>
              <a:gd name="connsiteX5" fmla="*/ 6811533 w 12678548"/>
              <a:gd name="connsiteY5" fmla="*/ 721988 h 3387726"/>
              <a:gd name="connsiteX6" fmla="*/ 9296034 w 12678548"/>
              <a:gd name="connsiteY6" fmla="*/ 2453390 h 3387726"/>
              <a:gd name="connsiteX7" fmla="*/ 12678548 w 12678548"/>
              <a:gd name="connsiteY7" fmla="*/ 899201 h 3387726"/>
              <a:gd name="connsiteX0" fmla="*/ 0 w 13497328"/>
              <a:gd name="connsiteY0" fmla="*/ 1431291 h 3395450"/>
              <a:gd name="connsiteX1" fmla="*/ 2930454 w 13497328"/>
              <a:gd name="connsiteY1" fmla="*/ 11803 h 3395450"/>
              <a:gd name="connsiteX2" fmla="*/ 4301859 w 13497328"/>
              <a:gd name="connsiteY2" fmla="*/ 863589 h 3395450"/>
              <a:gd name="connsiteX3" fmla="*/ 3063592 w 13497328"/>
              <a:gd name="connsiteY3" fmla="*/ 2740319 h 3395450"/>
              <a:gd name="connsiteX4" fmla="*/ 4613504 w 13497328"/>
              <a:gd name="connsiteY4" fmla="*/ 3163594 h 3395450"/>
              <a:gd name="connsiteX5" fmla="*/ 7630313 w 13497328"/>
              <a:gd name="connsiteY5" fmla="*/ 729712 h 3395450"/>
              <a:gd name="connsiteX6" fmla="*/ 10114814 w 13497328"/>
              <a:gd name="connsiteY6" fmla="*/ 2461114 h 3395450"/>
              <a:gd name="connsiteX7" fmla="*/ 13497328 w 13497328"/>
              <a:gd name="connsiteY7" fmla="*/ 906925 h 3395450"/>
              <a:gd name="connsiteX0" fmla="*/ 0 w 13497328"/>
              <a:gd name="connsiteY0" fmla="*/ 1403191 h 3367350"/>
              <a:gd name="connsiteX1" fmla="*/ 2707150 w 13497328"/>
              <a:gd name="connsiteY1" fmla="*/ 12308 h 3367350"/>
              <a:gd name="connsiteX2" fmla="*/ 4301859 w 13497328"/>
              <a:gd name="connsiteY2" fmla="*/ 835489 h 3367350"/>
              <a:gd name="connsiteX3" fmla="*/ 3063592 w 13497328"/>
              <a:gd name="connsiteY3" fmla="*/ 2712219 h 3367350"/>
              <a:gd name="connsiteX4" fmla="*/ 4613504 w 13497328"/>
              <a:gd name="connsiteY4" fmla="*/ 3135494 h 3367350"/>
              <a:gd name="connsiteX5" fmla="*/ 7630313 w 13497328"/>
              <a:gd name="connsiteY5" fmla="*/ 701612 h 3367350"/>
              <a:gd name="connsiteX6" fmla="*/ 10114814 w 13497328"/>
              <a:gd name="connsiteY6" fmla="*/ 2433014 h 3367350"/>
              <a:gd name="connsiteX7" fmla="*/ 13497328 w 13497328"/>
              <a:gd name="connsiteY7" fmla="*/ 878825 h 3367350"/>
              <a:gd name="connsiteX0" fmla="*/ 0 w 13497328"/>
              <a:gd name="connsiteY0" fmla="*/ 1434721 h 3398880"/>
              <a:gd name="connsiteX1" fmla="*/ 2707150 w 13497328"/>
              <a:gd name="connsiteY1" fmla="*/ 43838 h 3398880"/>
              <a:gd name="connsiteX2" fmla="*/ 4301859 w 13497328"/>
              <a:gd name="connsiteY2" fmla="*/ 867019 h 3398880"/>
              <a:gd name="connsiteX3" fmla="*/ 3063592 w 13497328"/>
              <a:gd name="connsiteY3" fmla="*/ 2743749 h 3398880"/>
              <a:gd name="connsiteX4" fmla="*/ 4613504 w 13497328"/>
              <a:gd name="connsiteY4" fmla="*/ 3167024 h 3398880"/>
              <a:gd name="connsiteX5" fmla="*/ 7630313 w 13497328"/>
              <a:gd name="connsiteY5" fmla="*/ 733142 h 3398880"/>
              <a:gd name="connsiteX6" fmla="*/ 10114814 w 13497328"/>
              <a:gd name="connsiteY6" fmla="*/ 2464544 h 3398880"/>
              <a:gd name="connsiteX7" fmla="*/ 13497328 w 13497328"/>
              <a:gd name="connsiteY7" fmla="*/ 910355 h 3398880"/>
              <a:gd name="connsiteX0" fmla="*/ 0 w 13497328"/>
              <a:gd name="connsiteY0" fmla="*/ 1442689 h 3406848"/>
              <a:gd name="connsiteX1" fmla="*/ 2707150 w 13497328"/>
              <a:gd name="connsiteY1" fmla="*/ 51806 h 3406848"/>
              <a:gd name="connsiteX2" fmla="*/ 4301859 w 13497328"/>
              <a:gd name="connsiteY2" fmla="*/ 874987 h 3406848"/>
              <a:gd name="connsiteX3" fmla="*/ 3063592 w 13497328"/>
              <a:gd name="connsiteY3" fmla="*/ 2751717 h 3406848"/>
              <a:gd name="connsiteX4" fmla="*/ 4613504 w 13497328"/>
              <a:gd name="connsiteY4" fmla="*/ 3174992 h 3406848"/>
              <a:gd name="connsiteX5" fmla="*/ 7630313 w 13497328"/>
              <a:gd name="connsiteY5" fmla="*/ 741110 h 3406848"/>
              <a:gd name="connsiteX6" fmla="*/ 10114814 w 13497328"/>
              <a:gd name="connsiteY6" fmla="*/ 2472512 h 3406848"/>
              <a:gd name="connsiteX7" fmla="*/ 13497328 w 13497328"/>
              <a:gd name="connsiteY7" fmla="*/ 918323 h 3406848"/>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46197" h="3775745">
                <a:moveTo>
                  <a:pt x="0" y="1811586"/>
                </a:moveTo>
                <a:cubicBezTo>
                  <a:pt x="488282" y="1319294"/>
                  <a:pt x="1439359" y="629740"/>
                  <a:pt x="2707150" y="420703"/>
                </a:cubicBezTo>
                <a:cubicBezTo>
                  <a:pt x="3974941" y="211666"/>
                  <a:pt x="4406208" y="665177"/>
                  <a:pt x="4301859" y="1243884"/>
                </a:cubicBezTo>
                <a:cubicBezTo>
                  <a:pt x="4197510" y="1822591"/>
                  <a:pt x="3041426" y="2302565"/>
                  <a:pt x="3063592" y="3120614"/>
                </a:cubicBezTo>
                <a:cubicBezTo>
                  <a:pt x="3085758" y="3938663"/>
                  <a:pt x="3852384" y="3878990"/>
                  <a:pt x="4613504" y="3543889"/>
                </a:cubicBezTo>
                <a:cubicBezTo>
                  <a:pt x="5374624" y="3208788"/>
                  <a:pt x="6713428" y="1227087"/>
                  <a:pt x="7630313" y="1110007"/>
                </a:cubicBezTo>
                <a:cubicBezTo>
                  <a:pt x="8547198" y="992927"/>
                  <a:pt x="9112167" y="3026410"/>
                  <a:pt x="10114814" y="2841409"/>
                </a:cubicBezTo>
                <a:cubicBezTo>
                  <a:pt x="11117461" y="2656408"/>
                  <a:pt x="11233672" y="750856"/>
                  <a:pt x="13646197" y="0"/>
                </a:cubicBezTo>
              </a:path>
            </a:pathLst>
          </a:custGeom>
          <a:noFill/>
          <a:ln w="38100" cap="flat" cmpd="sng" algn="ctr">
            <a:solidFill>
              <a:srgbClr val="EAEAEA">
                <a:lumMod val="90000"/>
              </a:srgbClr>
            </a:solidFill>
            <a:prstDash val="solid"/>
            <a:headEnd type="none" w="med" len="med"/>
            <a:tailEnd type="none" w="med" len="med"/>
          </a:ln>
          <a:effectLst/>
        </p:spPr>
        <p:txBody>
          <a:bodyPr rtlCol="0" anchor="ctr"/>
          <a:lstStyle/>
          <a:p>
            <a:pPr algn="ctr" defTabSz="914180">
              <a:defRPr/>
            </a:pPr>
            <a:endParaRPr lang="en-US" sz="1764" kern="0" dirty="0">
              <a:solidFill>
                <a:srgbClr val="FFFFFF"/>
              </a:solidFill>
            </a:endParaRPr>
          </a:p>
        </p:txBody>
      </p:sp>
      <p:sp>
        <p:nvSpPr>
          <p:cNvPr id="71" name="Oval 70"/>
          <p:cNvSpPr/>
          <p:nvPr/>
        </p:nvSpPr>
        <p:spPr bwMode="auto">
          <a:xfrm>
            <a:off x="3813344" y="3879621"/>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a:xfrm>
            <a:off x="183370" y="4214285"/>
            <a:ext cx="3333962" cy="369332"/>
          </a:xfrm>
          <a:prstGeom prst="rect">
            <a:avLst/>
          </a:prstGeom>
        </p:spPr>
        <p:txBody>
          <a:bodyPr wrap="square">
            <a:spAutoFit/>
          </a:bodyPr>
          <a:lstStyle/>
          <a:p>
            <a:pPr algn="ctr" defTabSz="913916" fontAlgn="base">
              <a:lnSpc>
                <a:spcPct val="90000"/>
              </a:lnSpc>
              <a:spcBef>
                <a:spcPct val="0"/>
              </a:spcBef>
              <a:spcAft>
                <a:spcPct val="0"/>
              </a:spcAft>
            </a:pPr>
            <a:r>
              <a:rPr lang="en-US" sz="2000" b="1" dirty="0">
                <a:solidFill>
                  <a:srgbClr val="0072C6"/>
                </a:solidFill>
                <a:ea typeface="Segoe UI" pitchFamily="34" charset="0"/>
                <a:cs typeface="Segoe UI" pitchFamily="34" charset="0"/>
              </a:rPr>
              <a:t>Using city services</a:t>
            </a:r>
          </a:p>
        </p:txBody>
      </p:sp>
      <p:sp>
        <p:nvSpPr>
          <p:cNvPr id="73" name="Oval 72"/>
          <p:cNvSpPr/>
          <p:nvPr/>
        </p:nvSpPr>
        <p:spPr bwMode="auto">
          <a:xfrm>
            <a:off x="268600" y="1899772"/>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a:xfrm>
            <a:off x="3858433" y="4194324"/>
            <a:ext cx="4642010" cy="369332"/>
          </a:xfrm>
          <a:prstGeom prst="rect">
            <a:avLst/>
          </a:prstGeom>
        </p:spPr>
        <p:txBody>
          <a:bodyPr wrap="square">
            <a:spAutoFit/>
          </a:bodyPr>
          <a:lstStyle/>
          <a:p>
            <a:pPr algn="ctr" defTabSz="913916" fontAlgn="base">
              <a:lnSpc>
                <a:spcPct val="90000"/>
              </a:lnSpc>
              <a:spcBef>
                <a:spcPct val="0"/>
              </a:spcBef>
              <a:spcAft>
                <a:spcPct val="0"/>
              </a:spcAft>
            </a:pPr>
            <a:r>
              <a:rPr lang="en-US" sz="2000" b="1" dirty="0">
                <a:solidFill>
                  <a:srgbClr val="0072C6"/>
                </a:solidFill>
                <a:ea typeface="Segoe UI" pitchFamily="34" charset="0"/>
                <a:cs typeface="Segoe UI" pitchFamily="34" charset="0"/>
              </a:rPr>
              <a:t>Using city buildings</a:t>
            </a:r>
          </a:p>
        </p:txBody>
      </p:sp>
      <p:sp>
        <p:nvSpPr>
          <p:cNvPr id="75" name="Oval 74"/>
          <p:cNvSpPr/>
          <p:nvPr/>
        </p:nvSpPr>
        <p:spPr bwMode="auto">
          <a:xfrm>
            <a:off x="10903825" y="1133437"/>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76" name="Rectangle 75"/>
          <p:cNvSpPr/>
          <p:nvPr/>
        </p:nvSpPr>
        <p:spPr>
          <a:xfrm>
            <a:off x="8668166" y="4186143"/>
            <a:ext cx="3354523" cy="369332"/>
          </a:xfrm>
          <a:prstGeom prst="rect">
            <a:avLst/>
          </a:prstGeom>
        </p:spPr>
        <p:txBody>
          <a:bodyPr wrap="square">
            <a:spAutoFit/>
          </a:bodyPr>
          <a:lstStyle/>
          <a:p>
            <a:pPr algn="ctr" defTabSz="913916" fontAlgn="base">
              <a:lnSpc>
                <a:spcPct val="90000"/>
              </a:lnSpc>
              <a:spcBef>
                <a:spcPct val="0"/>
              </a:spcBef>
              <a:spcAft>
                <a:spcPct val="0"/>
              </a:spcAft>
            </a:pPr>
            <a:r>
              <a:rPr lang="en-US" sz="2000" b="1" dirty="0">
                <a:solidFill>
                  <a:srgbClr val="0072C6"/>
                </a:solidFill>
                <a:ea typeface="Segoe UI" pitchFamily="34" charset="0"/>
                <a:cs typeface="Segoe UI" pitchFamily="34" charset="0"/>
              </a:rPr>
              <a:t>Participating in city life</a:t>
            </a:r>
          </a:p>
        </p:txBody>
      </p:sp>
      <p:sp>
        <p:nvSpPr>
          <p:cNvPr id="77" name="Rectangle 76"/>
          <p:cNvSpPr/>
          <p:nvPr/>
        </p:nvSpPr>
        <p:spPr>
          <a:xfrm>
            <a:off x="92054" y="2145160"/>
            <a:ext cx="1846651"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Need help, services, information</a:t>
            </a:r>
          </a:p>
        </p:txBody>
      </p:sp>
      <p:sp>
        <p:nvSpPr>
          <p:cNvPr id="78" name="Oval 77"/>
          <p:cNvSpPr/>
          <p:nvPr/>
        </p:nvSpPr>
        <p:spPr bwMode="auto">
          <a:xfrm>
            <a:off x="1357862" y="1233543"/>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p:cNvSpPr/>
          <p:nvPr/>
        </p:nvSpPr>
        <p:spPr>
          <a:xfrm>
            <a:off x="946133" y="1420995"/>
            <a:ext cx="1809344"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Submit and track requests</a:t>
            </a:r>
          </a:p>
        </p:txBody>
      </p:sp>
      <p:sp>
        <p:nvSpPr>
          <p:cNvPr id="82" name="Oval 81"/>
          <p:cNvSpPr/>
          <p:nvPr/>
        </p:nvSpPr>
        <p:spPr bwMode="auto">
          <a:xfrm>
            <a:off x="2896382" y="869595"/>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a:xfrm>
            <a:off x="2582359" y="1053230"/>
            <a:ext cx="2125565"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Obtain help, services, </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information</a:t>
            </a:r>
          </a:p>
        </p:txBody>
      </p:sp>
      <p:sp>
        <p:nvSpPr>
          <p:cNvPr id="84" name="Oval 83"/>
          <p:cNvSpPr/>
          <p:nvPr/>
        </p:nvSpPr>
        <p:spPr bwMode="auto">
          <a:xfrm>
            <a:off x="3705304" y="1837109"/>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86" name="Oval 85"/>
          <p:cNvSpPr/>
          <p:nvPr/>
        </p:nvSpPr>
        <p:spPr bwMode="auto">
          <a:xfrm>
            <a:off x="3045415" y="2657983"/>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a:xfrm>
            <a:off x="2312275" y="1769658"/>
            <a:ext cx="1809344"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Submit </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ideas</a:t>
            </a:r>
          </a:p>
        </p:txBody>
      </p:sp>
      <p:sp>
        <p:nvSpPr>
          <p:cNvPr id="90" name="Rectangle 89"/>
          <p:cNvSpPr/>
          <p:nvPr/>
        </p:nvSpPr>
        <p:spPr>
          <a:xfrm>
            <a:off x="3781868" y="3867509"/>
            <a:ext cx="1609137"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Need to visit building</a:t>
            </a:r>
          </a:p>
        </p:txBody>
      </p:sp>
      <p:sp>
        <p:nvSpPr>
          <p:cNvPr id="91" name="Oval 90"/>
          <p:cNvSpPr/>
          <p:nvPr/>
        </p:nvSpPr>
        <p:spPr bwMode="auto">
          <a:xfrm>
            <a:off x="5471257" y="2481747"/>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p:cNvSpPr/>
          <p:nvPr/>
        </p:nvSpPr>
        <p:spPr>
          <a:xfrm>
            <a:off x="5035973" y="2499451"/>
            <a:ext cx="1809344"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Park at</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building</a:t>
            </a:r>
          </a:p>
        </p:txBody>
      </p:sp>
      <p:sp>
        <p:nvSpPr>
          <p:cNvPr id="93" name="Oval 92"/>
          <p:cNvSpPr/>
          <p:nvPr/>
        </p:nvSpPr>
        <p:spPr bwMode="auto">
          <a:xfrm>
            <a:off x="6095150" y="1948125"/>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a:xfrm>
            <a:off x="5624385" y="1928585"/>
            <a:ext cx="1809344"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Find </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workspace</a:t>
            </a:r>
          </a:p>
        </p:txBody>
      </p:sp>
      <p:sp>
        <p:nvSpPr>
          <p:cNvPr id="95" name="Oval 94"/>
          <p:cNvSpPr/>
          <p:nvPr/>
        </p:nvSpPr>
        <p:spPr bwMode="auto">
          <a:xfrm>
            <a:off x="7298462" y="1799648"/>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a:xfrm>
            <a:off x="6308934" y="1218376"/>
            <a:ext cx="1809344"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Find </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people</a:t>
            </a:r>
          </a:p>
        </p:txBody>
      </p:sp>
      <p:sp>
        <p:nvSpPr>
          <p:cNvPr id="97" name="Oval 96"/>
          <p:cNvSpPr/>
          <p:nvPr/>
        </p:nvSpPr>
        <p:spPr bwMode="auto">
          <a:xfrm>
            <a:off x="7836540" y="2384345"/>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98" name="Rectangle 97"/>
          <p:cNvSpPr/>
          <p:nvPr/>
        </p:nvSpPr>
        <p:spPr>
          <a:xfrm>
            <a:off x="6341424" y="2453439"/>
            <a:ext cx="1809344"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Conduct work </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and business</a:t>
            </a:r>
          </a:p>
        </p:txBody>
      </p:sp>
      <p:sp>
        <p:nvSpPr>
          <p:cNvPr id="99" name="Rectangle 98"/>
          <p:cNvSpPr/>
          <p:nvPr/>
        </p:nvSpPr>
        <p:spPr>
          <a:xfrm>
            <a:off x="10709310" y="1182713"/>
            <a:ext cx="1173958"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Shop </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at retailers</a:t>
            </a:r>
          </a:p>
        </p:txBody>
      </p:sp>
      <p:sp>
        <p:nvSpPr>
          <p:cNvPr id="100" name="Oval 99"/>
          <p:cNvSpPr/>
          <p:nvPr/>
        </p:nvSpPr>
        <p:spPr bwMode="auto">
          <a:xfrm>
            <a:off x="9495306" y="2806439"/>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a:xfrm>
            <a:off x="8315869" y="2610393"/>
            <a:ext cx="1809344"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Plan </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travel</a:t>
            </a:r>
          </a:p>
        </p:txBody>
      </p:sp>
      <p:sp>
        <p:nvSpPr>
          <p:cNvPr id="102" name="Oval 101"/>
          <p:cNvSpPr/>
          <p:nvPr/>
        </p:nvSpPr>
        <p:spPr bwMode="auto">
          <a:xfrm>
            <a:off x="9970044" y="2116380"/>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a:xfrm>
            <a:off x="9970044" y="2305614"/>
            <a:ext cx="1809344" cy="674031"/>
          </a:xfrm>
          <a:prstGeom prst="rect">
            <a:avLst/>
          </a:prstGeom>
        </p:spPr>
        <p:txBody>
          <a:bodyPr wrap="square" anchor="t">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Receive traffic, Health, and safety notices</a:t>
            </a:r>
          </a:p>
        </p:txBody>
      </p:sp>
      <p:sp>
        <p:nvSpPr>
          <p:cNvPr id="106" name="Oval 105"/>
          <p:cNvSpPr/>
          <p:nvPr/>
        </p:nvSpPr>
        <p:spPr bwMode="auto">
          <a:xfrm>
            <a:off x="11841986" y="654161"/>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a:xfrm>
            <a:off x="11529748" y="805600"/>
            <a:ext cx="812656"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Enjoy </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city</a:t>
            </a:r>
          </a:p>
        </p:txBody>
      </p:sp>
      <p:sp>
        <p:nvSpPr>
          <p:cNvPr id="109" name="Rectangle 108"/>
          <p:cNvSpPr/>
          <p:nvPr/>
        </p:nvSpPr>
        <p:spPr>
          <a:xfrm>
            <a:off x="1556723" y="2511165"/>
            <a:ext cx="1809344"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Participate in </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city decisions</a:t>
            </a:r>
          </a:p>
        </p:txBody>
      </p:sp>
      <p:sp>
        <p:nvSpPr>
          <p:cNvPr id="111" name="Oval 110"/>
          <p:cNvSpPr/>
          <p:nvPr/>
        </p:nvSpPr>
        <p:spPr bwMode="auto">
          <a:xfrm>
            <a:off x="2720619" y="3819191"/>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p:cNvSpPr/>
          <p:nvPr/>
        </p:nvSpPr>
        <p:spPr>
          <a:xfrm>
            <a:off x="1219582" y="3448139"/>
            <a:ext cx="1809344" cy="6740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Connect with authorities and leaders</a:t>
            </a:r>
          </a:p>
        </p:txBody>
      </p:sp>
      <p:sp>
        <p:nvSpPr>
          <p:cNvPr id="115" name="Oval 114"/>
          <p:cNvSpPr/>
          <p:nvPr/>
        </p:nvSpPr>
        <p:spPr bwMode="auto">
          <a:xfrm>
            <a:off x="4825149" y="3162780"/>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p:cNvSpPr/>
          <p:nvPr/>
        </p:nvSpPr>
        <p:spPr>
          <a:xfrm>
            <a:off x="4678281" y="3213965"/>
            <a:ext cx="1809344"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Schedule tasks </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and meetings</a:t>
            </a:r>
          </a:p>
        </p:txBody>
      </p:sp>
      <p:sp>
        <p:nvSpPr>
          <p:cNvPr id="117" name="Oval 116"/>
          <p:cNvSpPr/>
          <p:nvPr/>
        </p:nvSpPr>
        <p:spPr bwMode="auto">
          <a:xfrm>
            <a:off x="8668166" y="3174135"/>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a:xfrm>
            <a:off x="7332670" y="3110941"/>
            <a:ext cx="1809344" cy="480131"/>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Learn of </a:t>
            </a:r>
            <a:br>
              <a:rPr lang="en-US" sz="1400" dirty="0">
                <a:solidFill>
                  <a:srgbClr val="0072C6"/>
                </a:solidFill>
                <a:ea typeface="Segoe UI" pitchFamily="34" charset="0"/>
                <a:cs typeface="Segoe UI" pitchFamily="34" charset="0"/>
              </a:rPr>
            </a:br>
            <a:r>
              <a:rPr lang="en-US" sz="1400" dirty="0">
                <a:solidFill>
                  <a:srgbClr val="0072C6"/>
                </a:solidFill>
                <a:ea typeface="Segoe UI" pitchFamily="34" charset="0"/>
                <a:cs typeface="Segoe UI" pitchFamily="34" charset="0"/>
              </a:rPr>
              <a:t>city </a:t>
            </a:r>
            <a:r>
              <a:rPr lang="en-US" sz="1400" dirty="0" err="1">
                <a:solidFill>
                  <a:srgbClr val="0072C6"/>
                </a:solidFill>
                <a:ea typeface="Segoe UI" pitchFamily="34" charset="0"/>
                <a:cs typeface="Segoe UI" pitchFamily="34" charset="0"/>
              </a:rPr>
              <a:t>activites</a:t>
            </a:r>
            <a:endParaRPr lang="en-US" sz="1400" dirty="0">
              <a:solidFill>
                <a:srgbClr val="0072C6"/>
              </a:solidFill>
              <a:ea typeface="Segoe UI" pitchFamily="34" charset="0"/>
              <a:cs typeface="Segoe UI" pitchFamily="34" charset="0"/>
            </a:endParaRPr>
          </a:p>
        </p:txBody>
      </p:sp>
      <p:sp>
        <p:nvSpPr>
          <p:cNvPr id="121" name="Oval 120"/>
          <p:cNvSpPr/>
          <p:nvPr/>
        </p:nvSpPr>
        <p:spPr bwMode="auto">
          <a:xfrm>
            <a:off x="10391184" y="1610833"/>
            <a:ext cx="153128" cy="153128"/>
          </a:xfrm>
          <a:prstGeom prst="ellipse">
            <a:avLst/>
          </a:prstGeom>
          <a:solidFill>
            <a:srgbClr val="FFFFFF"/>
          </a:solidFill>
          <a:ln w="19050" cap="flat" cmpd="sng" algn="ctr">
            <a:solidFill>
              <a:schemeClr val="tx2"/>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p:cNvSpPr/>
          <p:nvPr/>
        </p:nvSpPr>
        <p:spPr>
          <a:xfrm>
            <a:off x="10268992" y="1755364"/>
            <a:ext cx="1542009" cy="286232"/>
          </a:xfrm>
          <a:prstGeom prst="rect">
            <a:avLst/>
          </a:prstGeom>
        </p:spPr>
        <p:txBody>
          <a:bodyPr wrap="square">
            <a:spAutoFit/>
          </a:bodyPr>
          <a:lstStyle/>
          <a:p>
            <a:pPr algn="ctr" defTabSz="913916" fontAlgn="base">
              <a:lnSpc>
                <a:spcPct val="90000"/>
              </a:lnSpc>
              <a:spcBef>
                <a:spcPct val="0"/>
              </a:spcBef>
              <a:spcAft>
                <a:spcPct val="0"/>
              </a:spcAft>
            </a:pPr>
            <a:r>
              <a:rPr lang="en-US" sz="1400" dirty="0">
                <a:solidFill>
                  <a:srgbClr val="0072C6"/>
                </a:solidFill>
                <a:ea typeface="Segoe UI" pitchFamily="34" charset="0"/>
                <a:cs typeface="Segoe UI" pitchFamily="34" charset="0"/>
              </a:rPr>
              <a:t>Attend events</a:t>
            </a:r>
          </a:p>
        </p:txBody>
      </p:sp>
      <p:cxnSp>
        <p:nvCxnSpPr>
          <p:cNvPr id="6" name="Straight Connector 5"/>
          <p:cNvCxnSpPr/>
          <p:nvPr/>
        </p:nvCxnSpPr>
        <p:spPr>
          <a:xfrm>
            <a:off x="315387" y="4630766"/>
            <a:ext cx="32236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3781868" y="4630766"/>
            <a:ext cx="47185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8669988" y="4630766"/>
            <a:ext cx="3325126" cy="0"/>
          </a:xfrm>
          <a:prstGeom prst="line">
            <a:avLst/>
          </a:prstGeom>
        </p:spPr>
        <p:style>
          <a:lnRef idx="1">
            <a:schemeClr val="accent1"/>
          </a:lnRef>
          <a:fillRef idx="0">
            <a:schemeClr val="accent1"/>
          </a:fillRef>
          <a:effectRef idx="0">
            <a:schemeClr val="accent1"/>
          </a:effectRef>
          <a:fontRef idx="minor">
            <a:schemeClr val="tx1"/>
          </a:fontRef>
        </p:style>
      </p:cxnSp>
      <p:sp>
        <p:nvSpPr>
          <p:cNvPr id="131" name="Freeform 90"/>
          <p:cNvSpPr>
            <a:spLocks noEditPoints="1"/>
          </p:cNvSpPr>
          <p:nvPr/>
        </p:nvSpPr>
        <p:spPr bwMode="black">
          <a:xfrm>
            <a:off x="10863385" y="757158"/>
            <a:ext cx="328625" cy="360544"/>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bg1">
              <a:lumMod val="50000"/>
            </a:schemeClr>
          </a:solidFill>
          <a:ln>
            <a:noFill/>
          </a:ln>
          <a:extLst/>
        </p:spPr>
        <p:txBody>
          <a:bodyPr vert="horz" wrap="square" lIns="82305" tIns="41153" rIns="82305" bIns="41153" numCol="1" anchor="t" anchorCtr="0" compatLnSpc="1">
            <a:prstTxWarp prst="textNoShape">
              <a:avLst/>
            </a:prstTxWarp>
          </a:bodyPr>
          <a:lstStyle/>
          <a:p>
            <a:pPr defTabSz="914400"/>
            <a:endParaRPr lang="en-US" sz="1600">
              <a:solidFill>
                <a:srgbClr val="505050"/>
              </a:solidFill>
            </a:endParaRPr>
          </a:p>
        </p:txBody>
      </p:sp>
      <p:grpSp>
        <p:nvGrpSpPr>
          <p:cNvPr id="132" name="Group 131"/>
          <p:cNvGrpSpPr>
            <a:grpSpLocks noChangeAspect="1"/>
          </p:cNvGrpSpPr>
          <p:nvPr/>
        </p:nvGrpSpPr>
        <p:grpSpPr bwMode="black">
          <a:xfrm>
            <a:off x="11660581" y="114245"/>
            <a:ext cx="300839" cy="580404"/>
            <a:chOff x="3360738" y="989012"/>
            <a:chExt cx="746125" cy="1439864"/>
          </a:xfrm>
          <a:solidFill>
            <a:schemeClr val="bg1">
              <a:lumMod val="50000"/>
            </a:schemeClr>
          </a:solidFill>
        </p:grpSpPr>
        <p:sp>
          <p:nvSpPr>
            <p:cNvPr id="133"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4"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5" name="Oval 38"/>
            <p:cNvSpPr>
              <a:spLocks noChangeArrowheads="1"/>
            </p:cNvSpPr>
            <p:nvPr/>
          </p:nvSpPr>
          <p:spPr bwMode="black">
            <a:xfrm>
              <a:off x="3525838" y="989012"/>
              <a:ext cx="234950" cy="238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6"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85441" y="1334316"/>
            <a:ext cx="352429" cy="360888"/>
          </a:xfrm>
          <a:prstGeom prst="rect">
            <a:avLst/>
          </a:prstGeom>
        </p:spPr>
      </p:pic>
      <p:pic>
        <p:nvPicPr>
          <p:cNvPr id="137" name="Picture 47" descr="C:\Users\sakuu\Documents\Ballmer MGX 2011\Tile Icons\Calendar.png"/>
          <p:cNvPicPr>
            <a:picLocks noChangeAspect="1" noChangeArrowheads="1"/>
          </p:cNvPicPr>
          <p:nvPr/>
        </p:nvPicPr>
        <p:blipFill>
          <a:blip r:embed="rId4" cstate="print">
            <a:grayscl/>
            <a:extLst>
              <a:ext uri="{BEBA8EAE-BF5A-486C-A8C5-ECC9F3942E4B}">
                <a14:imgProps xmlns:a14="http://schemas.microsoft.com/office/drawing/2010/main">
                  <a14:imgLayer r:embed="rId5">
                    <a14:imgEffect>
                      <a14:brightnessContrast bright="-82000" contrast="-40000"/>
                    </a14:imgEffect>
                  </a14:imgLayer>
                </a14:imgProps>
              </a:ext>
              <a:ext uri="{28A0092B-C50C-407E-A947-70E740481C1C}">
                <a14:useLocalDpi xmlns:a14="http://schemas.microsoft.com/office/drawing/2010/main"/>
              </a:ext>
            </a:extLst>
          </a:blip>
          <a:srcRect/>
          <a:stretch>
            <a:fillRect/>
          </a:stretch>
        </p:blipFill>
        <p:spPr bwMode="black">
          <a:xfrm>
            <a:off x="4381659" y="2992539"/>
            <a:ext cx="365760" cy="334724"/>
          </a:xfrm>
          <a:prstGeom prst="rect">
            <a:avLst/>
          </a:prstGeom>
          <a:noFill/>
          <a:extLst/>
        </p:spPr>
      </p:pic>
      <p:sp>
        <p:nvSpPr>
          <p:cNvPr id="138" name="Trapezoid 3"/>
          <p:cNvSpPr>
            <a:spLocks noChangeAspect="1"/>
          </p:cNvSpPr>
          <p:nvPr/>
        </p:nvSpPr>
        <p:spPr>
          <a:xfrm>
            <a:off x="4883981" y="2233776"/>
            <a:ext cx="516114" cy="365796"/>
          </a:xfrm>
          <a:custGeom>
            <a:avLst/>
            <a:gdLst/>
            <a:ahLst/>
            <a:cxnLst/>
            <a:rect l="l" t="t" r="r" b="b"/>
            <a:pathLst>
              <a:path w="4936448" h="3498714">
                <a:moveTo>
                  <a:pt x="2052754" y="2902312"/>
                </a:moveTo>
                <a:lnTo>
                  <a:pt x="4707054" y="2902312"/>
                </a:lnTo>
                <a:cubicBezTo>
                  <a:pt x="4768427" y="2902312"/>
                  <a:pt x="4818179" y="2952064"/>
                  <a:pt x="4818179" y="3013437"/>
                </a:cubicBezTo>
                <a:cubicBezTo>
                  <a:pt x="4818179" y="3074810"/>
                  <a:pt x="4768427" y="3124562"/>
                  <a:pt x="4707054" y="3124562"/>
                </a:cubicBezTo>
                <a:lnTo>
                  <a:pt x="4545125" y="3124562"/>
                </a:lnTo>
                <a:lnTo>
                  <a:pt x="4545125" y="3361625"/>
                </a:lnTo>
                <a:cubicBezTo>
                  <a:pt x="4545125" y="3421831"/>
                  <a:pt x="4496319" y="3470637"/>
                  <a:pt x="4436113" y="3470637"/>
                </a:cubicBezTo>
                <a:lnTo>
                  <a:pt x="4235039" y="3470637"/>
                </a:lnTo>
                <a:cubicBezTo>
                  <a:pt x="4174833" y="3470637"/>
                  <a:pt x="4126027" y="3421831"/>
                  <a:pt x="4126027" y="3361625"/>
                </a:cubicBezTo>
                <a:lnTo>
                  <a:pt x="4126027" y="3124562"/>
                </a:lnTo>
                <a:lnTo>
                  <a:pt x="2589325" y="3124562"/>
                </a:lnTo>
                <a:lnTo>
                  <a:pt x="2589325" y="3361625"/>
                </a:lnTo>
                <a:cubicBezTo>
                  <a:pt x="2589325" y="3421831"/>
                  <a:pt x="2540519" y="3470637"/>
                  <a:pt x="2480313" y="3470637"/>
                </a:cubicBezTo>
                <a:lnTo>
                  <a:pt x="2279239" y="3470637"/>
                </a:lnTo>
                <a:cubicBezTo>
                  <a:pt x="2219033" y="3470637"/>
                  <a:pt x="2170227" y="3421831"/>
                  <a:pt x="2170227" y="3361625"/>
                </a:cubicBezTo>
                <a:lnTo>
                  <a:pt x="2170227" y="3124562"/>
                </a:lnTo>
                <a:lnTo>
                  <a:pt x="2052754" y="3124562"/>
                </a:lnTo>
                <a:cubicBezTo>
                  <a:pt x="1991381" y="3124562"/>
                  <a:pt x="1941629" y="3074810"/>
                  <a:pt x="1941629" y="3013437"/>
                </a:cubicBezTo>
                <a:cubicBezTo>
                  <a:pt x="1941629" y="2952064"/>
                  <a:pt x="1991381" y="2902312"/>
                  <a:pt x="2052754" y="2902312"/>
                </a:cubicBezTo>
                <a:close/>
                <a:moveTo>
                  <a:pt x="4492583" y="2089512"/>
                </a:moveTo>
                <a:cubicBezTo>
                  <a:pt x="4392633" y="2089512"/>
                  <a:pt x="4311608" y="2170537"/>
                  <a:pt x="4311608" y="2270487"/>
                </a:cubicBezTo>
                <a:cubicBezTo>
                  <a:pt x="4311608" y="2370437"/>
                  <a:pt x="4392633" y="2451462"/>
                  <a:pt x="4492583" y="2451462"/>
                </a:cubicBezTo>
                <a:cubicBezTo>
                  <a:pt x="4592533" y="2451462"/>
                  <a:pt x="4673558" y="2370437"/>
                  <a:pt x="4673558" y="2270487"/>
                </a:cubicBezTo>
                <a:cubicBezTo>
                  <a:pt x="4673558" y="2170537"/>
                  <a:pt x="4592533" y="2089512"/>
                  <a:pt x="4492583" y="2089512"/>
                </a:cubicBezTo>
                <a:close/>
                <a:moveTo>
                  <a:pt x="2979061" y="2089512"/>
                </a:moveTo>
                <a:cubicBezTo>
                  <a:pt x="2808971" y="2089512"/>
                  <a:pt x="2671086" y="2227397"/>
                  <a:pt x="2671086" y="2397487"/>
                </a:cubicBezTo>
                <a:lnTo>
                  <a:pt x="2671086" y="2584811"/>
                </a:lnTo>
                <a:lnTo>
                  <a:pt x="4083961" y="2584811"/>
                </a:lnTo>
                <a:lnTo>
                  <a:pt x="4083961" y="2397487"/>
                </a:lnTo>
                <a:cubicBezTo>
                  <a:pt x="4083961" y="2227397"/>
                  <a:pt x="3946076" y="2089512"/>
                  <a:pt x="3775986" y="2089512"/>
                </a:cubicBezTo>
                <a:close/>
                <a:moveTo>
                  <a:pt x="2251033" y="2089512"/>
                </a:moveTo>
                <a:cubicBezTo>
                  <a:pt x="2151083" y="2089512"/>
                  <a:pt x="2070058" y="2170537"/>
                  <a:pt x="2070058" y="2270487"/>
                </a:cubicBezTo>
                <a:cubicBezTo>
                  <a:pt x="2070058" y="2370437"/>
                  <a:pt x="2151083" y="2451462"/>
                  <a:pt x="2251033" y="2451462"/>
                </a:cubicBezTo>
                <a:cubicBezTo>
                  <a:pt x="2350983" y="2451462"/>
                  <a:pt x="2432008" y="2370437"/>
                  <a:pt x="2432008" y="2270487"/>
                </a:cubicBezTo>
                <a:cubicBezTo>
                  <a:pt x="2432008" y="2170537"/>
                  <a:pt x="2350983" y="2089512"/>
                  <a:pt x="2251033" y="2089512"/>
                </a:cubicBezTo>
                <a:close/>
                <a:moveTo>
                  <a:pt x="2651061" y="1167548"/>
                </a:moveTo>
                <a:lnTo>
                  <a:pt x="2392797" y="1878907"/>
                </a:lnTo>
                <a:cubicBezTo>
                  <a:pt x="2423495" y="1888931"/>
                  <a:pt x="2452199" y="1903353"/>
                  <a:pt x="2478781" y="1920808"/>
                </a:cubicBezTo>
                <a:cubicBezTo>
                  <a:pt x="2564818" y="1815418"/>
                  <a:pt x="2696070" y="1749356"/>
                  <a:pt x="2842751" y="1749356"/>
                </a:cubicBezTo>
                <a:lnTo>
                  <a:pt x="3912296" y="1749356"/>
                </a:lnTo>
                <a:cubicBezTo>
                  <a:pt x="4059812" y="1749356"/>
                  <a:pt x="4191724" y="1816172"/>
                  <a:pt x="4277738" y="1922593"/>
                </a:cubicBezTo>
                <a:cubicBezTo>
                  <a:pt x="4306317" y="1903622"/>
                  <a:pt x="4337356" y="1888113"/>
                  <a:pt x="4370569" y="1877441"/>
                </a:cubicBezTo>
                <a:lnTo>
                  <a:pt x="4112835" y="1167548"/>
                </a:lnTo>
                <a:close/>
                <a:moveTo>
                  <a:pt x="2534724" y="982297"/>
                </a:moveTo>
                <a:lnTo>
                  <a:pt x="4229172" y="982297"/>
                </a:lnTo>
                <a:lnTo>
                  <a:pt x="4546612" y="1856643"/>
                </a:lnTo>
                <a:cubicBezTo>
                  <a:pt x="4765072" y="1873078"/>
                  <a:pt x="4936448" y="2056134"/>
                  <a:pt x="4936448" y="2279217"/>
                </a:cubicBezTo>
                <a:cubicBezTo>
                  <a:pt x="4936448" y="2401342"/>
                  <a:pt x="4885088" y="2511471"/>
                  <a:pt x="4802103" y="2588456"/>
                </a:cubicBezTo>
                <a:cubicBezTo>
                  <a:pt x="4860348" y="2595065"/>
                  <a:pt x="4904699" y="2645084"/>
                  <a:pt x="4904699" y="2705462"/>
                </a:cubicBezTo>
                <a:lnTo>
                  <a:pt x="4904698" y="2705462"/>
                </a:lnTo>
                <a:cubicBezTo>
                  <a:pt x="4904698" y="2772096"/>
                  <a:pt x="4850681" y="2826113"/>
                  <a:pt x="4784047" y="2826113"/>
                </a:cubicBezTo>
                <a:lnTo>
                  <a:pt x="1970999" y="2826112"/>
                </a:lnTo>
                <a:cubicBezTo>
                  <a:pt x="1904365" y="2826112"/>
                  <a:pt x="1850349" y="2772096"/>
                  <a:pt x="1850348" y="2705462"/>
                </a:cubicBezTo>
                <a:cubicBezTo>
                  <a:pt x="1850348" y="2643725"/>
                  <a:pt x="1896717" y="2592819"/>
                  <a:pt x="1956769" y="2587684"/>
                </a:cubicBezTo>
                <a:cubicBezTo>
                  <a:pt x="1874354" y="2510684"/>
                  <a:pt x="1823360" y="2400906"/>
                  <a:pt x="1823360" y="2279217"/>
                </a:cubicBezTo>
                <a:cubicBezTo>
                  <a:pt x="1823360" y="2054681"/>
                  <a:pt x="1996975" y="1870696"/>
                  <a:pt x="2217440" y="1856216"/>
                </a:cubicBezTo>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lnTo>
                  <a:pt x="649574" y="3337652"/>
                </a:ln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839708" y="0"/>
                  <a:pt x="966919" y="127213"/>
                  <a:pt x="966919" y="284138"/>
                </a:cubicBezTo>
                <a:cubicBezTo>
                  <a:pt x="966919" y="441063"/>
                  <a:pt x="839708" y="568275"/>
                  <a:pt x="682782" y="568275"/>
                </a:cubicBezTo>
                <a:cubicBezTo>
                  <a:pt x="525858" y="568275"/>
                  <a:pt x="398645" y="441063"/>
                  <a:pt x="398645" y="284138"/>
                </a:cubicBezTo>
                <a:cubicBezTo>
                  <a:pt x="398645" y="127213"/>
                  <a:pt x="525858" y="0"/>
                  <a:pt x="682782" y="0"/>
                </a:cubicBez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39" name="Freeform 30"/>
          <p:cNvSpPr>
            <a:spLocks noChangeAspect="1" noEditPoints="1"/>
          </p:cNvSpPr>
          <p:nvPr/>
        </p:nvSpPr>
        <p:spPr bwMode="black">
          <a:xfrm>
            <a:off x="5472764" y="1517307"/>
            <a:ext cx="365855" cy="365760"/>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grpSp>
        <p:nvGrpSpPr>
          <p:cNvPr id="9" name="Group 8"/>
          <p:cNvGrpSpPr/>
          <p:nvPr/>
        </p:nvGrpSpPr>
        <p:grpSpPr>
          <a:xfrm>
            <a:off x="9138545" y="1703146"/>
            <a:ext cx="790135" cy="928056"/>
            <a:chOff x="9262088" y="1515513"/>
            <a:chExt cx="790135" cy="928056"/>
          </a:xfrm>
        </p:grpSpPr>
        <p:pic>
          <p:nvPicPr>
            <p:cNvPr id="61" name="Picture 5" descr="\\MAGNUM\Projects\Microsoft\Cloud Power FY12\Design\Icons\PNGs\Truck.png"/>
            <p:cNvPicPr>
              <a:picLocks noChangeAspect="1" noChangeArrowheads="1"/>
            </p:cNvPicPr>
            <p:nvPr/>
          </p:nvPicPr>
          <p:blipFill>
            <a:blip r:embed="rId6" cstate="print">
              <a:grayscl/>
              <a:extLst>
                <a:ext uri="{BEBA8EAE-BF5A-486C-A8C5-ECC9F3942E4B}">
                  <a14:imgProps xmlns:a14="http://schemas.microsoft.com/office/drawing/2010/main">
                    <a14:imgLayer r:embed="rId7">
                      <a14:imgEffect>
                        <a14:brightnessContrast bright="-31000" contrast="-40000"/>
                      </a14:imgEffect>
                    </a14:imgLayer>
                  </a14:imgProps>
                </a:ext>
                <a:ext uri="{28A0092B-C50C-407E-A947-70E740481C1C}">
                  <a14:useLocalDpi xmlns:a14="http://schemas.microsoft.com/office/drawing/2010/main"/>
                </a:ext>
              </a:extLst>
            </a:blip>
            <a:stretch>
              <a:fillRect/>
            </a:stretch>
          </p:blipFill>
          <p:spPr bwMode="auto">
            <a:xfrm>
              <a:off x="9262088" y="1515513"/>
              <a:ext cx="457200" cy="457200"/>
            </a:xfrm>
            <a:prstGeom prst="rect">
              <a:avLst/>
            </a:prstGeom>
            <a:noFill/>
          </p:spPr>
        </p:pic>
        <p:pic>
          <p:nvPicPr>
            <p:cNvPr id="68" name="Picture 7" descr="\\MAGNUM\Projects\Microsoft\Cloud Power FY12\Design\ICONS_PNG\Secure.png"/>
            <p:cNvPicPr>
              <a:picLocks noChangeAspect="1" noChangeArrowheads="1"/>
            </p:cNvPicPr>
            <p:nvPr/>
          </p:nvPicPr>
          <p:blipFill>
            <a:blip r:embed="rId8" cstate="print">
              <a:grayscl/>
              <a:extLst>
                <a:ext uri="{BEBA8EAE-BF5A-486C-A8C5-ECC9F3942E4B}">
                  <a14:imgProps xmlns:a14="http://schemas.microsoft.com/office/drawing/2010/main">
                    <a14:imgLayer r:embed="rId9">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9595023" y="1986369"/>
              <a:ext cx="457200" cy="457200"/>
            </a:xfrm>
            <a:prstGeom prst="rect">
              <a:avLst/>
            </a:prstGeom>
            <a:noFill/>
          </p:spPr>
        </p:pic>
        <p:sp>
          <p:nvSpPr>
            <p:cNvPr id="145" name="Freeform 144"/>
            <p:cNvSpPr/>
            <p:nvPr/>
          </p:nvSpPr>
          <p:spPr bwMode="auto">
            <a:xfrm>
              <a:off x="9737029" y="1654110"/>
              <a:ext cx="307134" cy="285896"/>
            </a:xfrm>
            <a:custGeom>
              <a:avLst/>
              <a:gdLst>
                <a:gd name="connsiteX0" fmla="*/ 396062 w 942035"/>
                <a:gd name="connsiteY0" fmla="*/ 301954 h 876895"/>
                <a:gd name="connsiteX1" fmla="*/ 396062 w 942035"/>
                <a:gd name="connsiteY1" fmla="*/ 461202 h 876895"/>
                <a:gd name="connsiteX2" fmla="*/ 236814 w 942035"/>
                <a:gd name="connsiteY2" fmla="*/ 461202 h 876895"/>
                <a:gd name="connsiteX3" fmla="*/ 236814 w 942035"/>
                <a:gd name="connsiteY3" fmla="*/ 611114 h 876895"/>
                <a:gd name="connsiteX4" fmla="*/ 396062 w 942035"/>
                <a:gd name="connsiteY4" fmla="*/ 611114 h 876895"/>
                <a:gd name="connsiteX5" fmla="*/ 396062 w 942035"/>
                <a:gd name="connsiteY5" fmla="*/ 770362 h 876895"/>
                <a:gd name="connsiteX6" fmla="*/ 545973 w 942035"/>
                <a:gd name="connsiteY6" fmla="*/ 770362 h 876895"/>
                <a:gd name="connsiteX7" fmla="*/ 545973 w 942035"/>
                <a:gd name="connsiteY7" fmla="*/ 611114 h 876895"/>
                <a:gd name="connsiteX8" fmla="*/ 705221 w 942035"/>
                <a:gd name="connsiteY8" fmla="*/ 611114 h 876895"/>
                <a:gd name="connsiteX9" fmla="*/ 705221 w 942035"/>
                <a:gd name="connsiteY9" fmla="*/ 461202 h 876895"/>
                <a:gd name="connsiteX10" fmla="*/ 545973 w 942035"/>
                <a:gd name="connsiteY10" fmla="*/ 461202 h 876895"/>
                <a:gd name="connsiteX11" fmla="*/ 545973 w 942035"/>
                <a:gd name="connsiteY11" fmla="*/ 301954 h 876895"/>
                <a:gd name="connsiteX12" fmla="*/ 634519 w 942035"/>
                <a:gd name="connsiteY12" fmla="*/ 175948 h 876895"/>
                <a:gd name="connsiteX13" fmla="*/ 611659 w 942035"/>
                <a:gd name="connsiteY13" fmla="*/ 198808 h 876895"/>
                <a:gd name="connsiteX14" fmla="*/ 634519 w 942035"/>
                <a:gd name="connsiteY14" fmla="*/ 221668 h 876895"/>
                <a:gd name="connsiteX15" fmla="*/ 657379 w 942035"/>
                <a:gd name="connsiteY15" fmla="*/ 198808 h 876895"/>
                <a:gd name="connsiteX16" fmla="*/ 634519 w 942035"/>
                <a:gd name="connsiteY16" fmla="*/ 175948 h 876895"/>
                <a:gd name="connsiteX17" fmla="*/ 307258 w 942035"/>
                <a:gd name="connsiteY17" fmla="*/ 175948 h 876895"/>
                <a:gd name="connsiteX18" fmla="*/ 284398 w 942035"/>
                <a:gd name="connsiteY18" fmla="*/ 198808 h 876895"/>
                <a:gd name="connsiteX19" fmla="*/ 307258 w 942035"/>
                <a:gd name="connsiteY19" fmla="*/ 221668 h 876895"/>
                <a:gd name="connsiteX20" fmla="*/ 330118 w 942035"/>
                <a:gd name="connsiteY20" fmla="*/ 198808 h 876895"/>
                <a:gd name="connsiteX21" fmla="*/ 307258 w 942035"/>
                <a:gd name="connsiteY21" fmla="*/ 175948 h 876895"/>
                <a:gd name="connsiteX22" fmla="*/ 376581 w 942035"/>
                <a:gd name="connsiteY22" fmla="*/ 39406 h 876895"/>
                <a:gd name="connsiteX23" fmla="*/ 329031 w 942035"/>
                <a:gd name="connsiteY23" fmla="*/ 86956 h 876895"/>
                <a:gd name="connsiteX24" fmla="*/ 329031 w 942035"/>
                <a:gd name="connsiteY24" fmla="*/ 149323 h 876895"/>
                <a:gd name="connsiteX25" fmla="*/ 353764 w 942035"/>
                <a:gd name="connsiteY25" fmla="*/ 183397 h 876895"/>
                <a:gd name="connsiteX26" fmla="*/ 588271 w 942035"/>
                <a:gd name="connsiteY26" fmla="*/ 183397 h 876895"/>
                <a:gd name="connsiteX27" fmla="*/ 614326 w 942035"/>
                <a:gd name="connsiteY27" fmla="*/ 149323 h 876895"/>
                <a:gd name="connsiteX28" fmla="*/ 614326 w 942035"/>
                <a:gd name="connsiteY28" fmla="*/ 86956 h 876895"/>
                <a:gd name="connsiteX29" fmla="*/ 566776 w 942035"/>
                <a:gd name="connsiteY29" fmla="*/ 39406 h 876895"/>
                <a:gd name="connsiteX30" fmla="*/ 350311 w 942035"/>
                <a:gd name="connsiteY30" fmla="*/ 0 h 876895"/>
                <a:gd name="connsiteX31" fmla="*/ 593047 w 942035"/>
                <a:gd name="connsiteY31" fmla="*/ 0 h 876895"/>
                <a:gd name="connsiteX32" fmla="*/ 653733 w 942035"/>
                <a:gd name="connsiteY32" fmla="*/ 60686 h 876895"/>
                <a:gd name="connsiteX33" fmla="*/ 653733 w 942035"/>
                <a:gd name="connsiteY33" fmla="*/ 149323 h 876895"/>
                <a:gd name="connsiteX34" fmla="*/ 678465 w 942035"/>
                <a:gd name="connsiteY34" fmla="*/ 183397 h 876895"/>
                <a:gd name="connsiteX35" fmla="*/ 826450 w 942035"/>
                <a:gd name="connsiteY35" fmla="*/ 183397 h 876895"/>
                <a:gd name="connsiteX36" fmla="*/ 942035 w 942035"/>
                <a:gd name="connsiteY36" fmla="*/ 298982 h 876895"/>
                <a:gd name="connsiteX37" fmla="*/ 942035 w 942035"/>
                <a:gd name="connsiteY37" fmla="*/ 761310 h 876895"/>
                <a:gd name="connsiteX38" fmla="*/ 826450 w 942035"/>
                <a:gd name="connsiteY38" fmla="*/ 876895 h 876895"/>
                <a:gd name="connsiteX39" fmla="*/ 115586 w 942035"/>
                <a:gd name="connsiteY39" fmla="*/ 876895 h 876895"/>
                <a:gd name="connsiteX40" fmla="*/ 0 w 942035"/>
                <a:gd name="connsiteY40" fmla="*/ 761310 h 876895"/>
                <a:gd name="connsiteX41" fmla="*/ 0 w 942035"/>
                <a:gd name="connsiteY41" fmla="*/ 298982 h 876895"/>
                <a:gd name="connsiteX42" fmla="*/ 115586 w 942035"/>
                <a:gd name="connsiteY42" fmla="*/ 183397 h 876895"/>
                <a:gd name="connsiteX43" fmla="*/ 263570 w 942035"/>
                <a:gd name="connsiteY43" fmla="*/ 183397 h 876895"/>
                <a:gd name="connsiteX44" fmla="*/ 289625 w 942035"/>
                <a:gd name="connsiteY44" fmla="*/ 149323 h 876895"/>
                <a:gd name="connsiteX45" fmla="*/ 289625 w 942035"/>
                <a:gd name="connsiteY45" fmla="*/ 60686 h 876895"/>
                <a:gd name="connsiteX46" fmla="*/ 350311 w 942035"/>
                <a:gd name="connsiteY46" fmla="*/ 0 h 87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42035" h="876895">
                  <a:moveTo>
                    <a:pt x="396062" y="301954"/>
                  </a:moveTo>
                  <a:lnTo>
                    <a:pt x="396062" y="461202"/>
                  </a:lnTo>
                  <a:lnTo>
                    <a:pt x="236814" y="461202"/>
                  </a:lnTo>
                  <a:lnTo>
                    <a:pt x="236814" y="611114"/>
                  </a:lnTo>
                  <a:lnTo>
                    <a:pt x="396062" y="611114"/>
                  </a:lnTo>
                  <a:lnTo>
                    <a:pt x="396062" y="770362"/>
                  </a:lnTo>
                  <a:lnTo>
                    <a:pt x="545973" y="770362"/>
                  </a:lnTo>
                  <a:lnTo>
                    <a:pt x="545973" y="611114"/>
                  </a:lnTo>
                  <a:lnTo>
                    <a:pt x="705221" y="611114"/>
                  </a:lnTo>
                  <a:lnTo>
                    <a:pt x="705221" y="461202"/>
                  </a:lnTo>
                  <a:lnTo>
                    <a:pt x="545973" y="461202"/>
                  </a:lnTo>
                  <a:lnTo>
                    <a:pt x="545973" y="301954"/>
                  </a:lnTo>
                  <a:close/>
                  <a:moveTo>
                    <a:pt x="634519" y="175948"/>
                  </a:moveTo>
                  <a:cubicBezTo>
                    <a:pt x="621894" y="175948"/>
                    <a:pt x="611659" y="186183"/>
                    <a:pt x="611659" y="198808"/>
                  </a:cubicBezTo>
                  <a:cubicBezTo>
                    <a:pt x="611659" y="211433"/>
                    <a:pt x="621894" y="221668"/>
                    <a:pt x="634519" y="221668"/>
                  </a:cubicBezTo>
                  <a:cubicBezTo>
                    <a:pt x="647144" y="221668"/>
                    <a:pt x="657379" y="211433"/>
                    <a:pt x="657379" y="198808"/>
                  </a:cubicBezTo>
                  <a:cubicBezTo>
                    <a:pt x="657379" y="186183"/>
                    <a:pt x="647144" y="175948"/>
                    <a:pt x="634519" y="175948"/>
                  </a:cubicBezTo>
                  <a:close/>
                  <a:moveTo>
                    <a:pt x="307258" y="175948"/>
                  </a:moveTo>
                  <a:cubicBezTo>
                    <a:pt x="294633" y="175948"/>
                    <a:pt x="284398" y="186183"/>
                    <a:pt x="284398" y="198808"/>
                  </a:cubicBezTo>
                  <a:cubicBezTo>
                    <a:pt x="284398" y="211433"/>
                    <a:pt x="294633" y="221668"/>
                    <a:pt x="307258" y="221668"/>
                  </a:cubicBezTo>
                  <a:cubicBezTo>
                    <a:pt x="319883" y="221668"/>
                    <a:pt x="330118" y="211433"/>
                    <a:pt x="330118" y="198808"/>
                  </a:cubicBezTo>
                  <a:cubicBezTo>
                    <a:pt x="330118" y="186183"/>
                    <a:pt x="319883" y="175948"/>
                    <a:pt x="307258" y="175948"/>
                  </a:cubicBezTo>
                  <a:close/>
                  <a:moveTo>
                    <a:pt x="376581" y="39406"/>
                  </a:moveTo>
                  <a:cubicBezTo>
                    <a:pt x="350320" y="39406"/>
                    <a:pt x="329031" y="60695"/>
                    <a:pt x="329031" y="86956"/>
                  </a:cubicBezTo>
                  <a:lnTo>
                    <a:pt x="329031" y="149323"/>
                  </a:lnTo>
                  <a:lnTo>
                    <a:pt x="353764" y="183397"/>
                  </a:lnTo>
                  <a:lnTo>
                    <a:pt x="588271" y="183397"/>
                  </a:lnTo>
                  <a:lnTo>
                    <a:pt x="614326" y="149323"/>
                  </a:lnTo>
                  <a:lnTo>
                    <a:pt x="614326" y="86956"/>
                  </a:lnTo>
                  <a:cubicBezTo>
                    <a:pt x="614326" y="60695"/>
                    <a:pt x="593037" y="39406"/>
                    <a:pt x="566776" y="39406"/>
                  </a:cubicBezTo>
                  <a:close/>
                  <a:moveTo>
                    <a:pt x="350311" y="0"/>
                  </a:moveTo>
                  <a:lnTo>
                    <a:pt x="593047" y="0"/>
                  </a:lnTo>
                  <a:cubicBezTo>
                    <a:pt x="626563" y="0"/>
                    <a:pt x="653733" y="27170"/>
                    <a:pt x="653733" y="60686"/>
                  </a:cubicBezTo>
                  <a:lnTo>
                    <a:pt x="653733" y="149323"/>
                  </a:lnTo>
                  <a:lnTo>
                    <a:pt x="678465" y="183397"/>
                  </a:lnTo>
                  <a:lnTo>
                    <a:pt x="826450" y="183397"/>
                  </a:lnTo>
                  <a:cubicBezTo>
                    <a:pt x="890286" y="183397"/>
                    <a:pt x="942035" y="235146"/>
                    <a:pt x="942035" y="298982"/>
                  </a:cubicBezTo>
                  <a:lnTo>
                    <a:pt x="942035" y="761310"/>
                  </a:lnTo>
                  <a:cubicBezTo>
                    <a:pt x="942035" y="825146"/>
                    <a:pt x="890286" y="876895"/>
                    <a:pt x="826450" y="876895"/>
                  </a:cubicBezTo>
                  <a:lnTo>
                    <a:pt x="115586" y="876895"/>
                  </a:lnTo>
                  <a:cubicBezTo>
                    <a:pt x="51749" y="876895"/>
                    <a:pt x="0" y="825146"/>
                    <a:pt x="0" y="761310"/>
                  </a:cubicBezTo>
                  <a:lnTo>
                    <a:pt x="0" y="298982"/>
                  </a:lnTo>
                  <a:cubicBezTo>
                    <a:pt x="0" y="235146"/>
                    <a:pt x="51749" y="183397"/>
                    <a:pt x="115586" y="183397"/>
                  </a:cubicBezTo>
                  <a:lnTo>
                    <a:pt x="263570" y="183397"/>
                  </a:lnTo>
                  <a:lnTo>
                    <a:pt x="289625" y="149323"/>
                  </a:lnTo>
                  <a:lnTo>
                    <a:pt x="289625" y="60686"/>
                  </a:lnTo>
                  <a:cubicBezTo>
                    <a:pt x="289625" y="27170"/>
                    <a:pt x="316795" y="0"/>
                    <a:pt x="350311" y="0"/>
                  </a:cubicBezTo>
                  <a:close/>
                </a:path>
              </a:pathLst>
            </a:cu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4400" eaLnBrk="0" fontAlgn="base" hangingPunct="0">
                <a:spcBef>
                  <a:spcPct val="0"/>
                </a:spcBef>
                <a:spcAft>
                  <a:spcPct val="0"/>
                </a:spcAft>
              </a:pPr>
              <a:endParaRPr lang="en-US" sz="1800">
                <a:solidFill>
                  <a:srgbClr val="505050"/>
                </a:solidFill>
                <a:latin typeface="Arial" charset="0"/>
              </a:endParaRPr>
            </a:p>
          </p:txBody>
        </p:sp>
        <p:pic>
          <p:nvPicPr>
            <p:cNvPr id="146" name="Picture 2" descr="\\MAGNUM\Projects\Microsoft\Cloud Power FY12\Design\Icons\PNGs\Electricity.png"/>
            <p:cNvPicPr>
              <a:picLocks noChangeAspect="1" noChangeArrowheads="1"/>
            </p:cNvPicPr>
            <p:nvPr/>
          </p:nvPicPr>
          <p:blipFill>
            <a:blip r:embed="rId10" cstate="print">
              <a:grayscl/>
              <a:extLst>
                <a:ext uri="{BEBA8EAE-BF5A-486C-A8C5-ECC9F3942E4B}">
                  <a14:imgProps xmlns:a14="http://schemas.microsoft.com/office/drawing/2010/main">
                    <a14:imgLayer r:embed="rId11">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9276981" y="1859297"/>
              <a:ext cx="457200" cy="457200"/>
            </a:xfrm>
            <a:prstGeom prst="rect">
              <a:avLst/>
            </a:prstGeom>
            <a:noFill/>
          </p:spPr>
        </p:pic>
      </p:grpSp>
      <p:sp>
        <p:nvSpPr>
          <p:cNvPr id="148" name="Rectangle 147"/>
          <p:cNvSpPr/>
          <p:nvPr/>
        </p:nvSpPr>
        <p:spPr>
          <a:xfrm>
            <a:off x="70115" y="1422779"/>
            <a:ext cx="396970" cy="480131"/>
          </a:xfrm>
          <a:prstGeom prst="rect">
            <a:avLst/>
          </a:prstGeom>
        </p:spPr>
        <p:txBody>
          <a:bodyPr wrap="square">
            <a:spAutoFit/>
          </a:bodyPr>
          <a:lstStyle/>
          <a:p>
            <a:pPr algn="ctr" defTabSz="913916" fontAlgn="base">
              <a:lnSpc>
                <a:spcPct val="90000"/>
              </a:lnSpc>
              <a:spcBef>
                <a:spcPct val="0"/>
              </a:spcBef>
              <a:spcAft>
                <a:spcPct val="0"/>
              </a:spcAft>
            </a:pPr>
            <a:r>
              <a:rPr lang="en-US" sz="2800" b="1" dirty="0">
                <a:solidFill>
                  <a:schemeClr val="bg1">
                    <a:lumMod val="50000"/>
                  </a:schemeClr>
                </a:solidFill>
                <a:ea typeface="Segoe UI" pitchFamily="34" charset="0"/>
                <a:cs typeface="Segoe UI" pitchFamily="34" charset="0"/>
              </a:rPr>
              <a:t>?</a:t>
            </a:r>
          </a:p>
        </p:txBody>
      </p:sp>
      <p:grpSp>
        <p:nvGrpSpPr>
          <p:cNvPr id="7" name="Group 6"/>
          <p:cNvGrpSpPr/>
          <p:nvPr/>
        </p:nvGrpSpPr>
        <p:grpSpPr>
          <a:xfrm>
            <a:off x="1367055" y="749758"/>
            <a:ext cx="255691" cy="415136"/>
            <a:chOff x="1230620" y="706402"/>
            <a:chExt cx="271598" cy="514334"/>
          </a:xfrm>
          <a:solidFill>
            <a:schemeClr val="bg1">
              <a:lumMod val="50000"/>
            </a:schemeClr>
          </a:solidFill>
        </p:grpSpPr>
        <p:sp>
          <p:nvSpPr>
            <p:cNvPr id="150" name="Round Same Side Corner Rectangle 2"/>
            <p:cNvSpPr>
              <a:spLocks noChangeAspect="1"/>
            </p:cNvSpPr>
            <p:nvPr/>
          </p:nvSpPr>
          <p:spPr>
            <a:xfrm>
              <a:off x="1230620" y="706402"/>
              <a:ext cx="253692" cy="514334"/>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1" name="Freeform 18"/>
            <p:cNvSpPr>
              <a:spLocks noChangeAspect="1" noEditPoints="1"/>
            </p:cNvSpPr>
            <p:nvPr/>
          </p:nvSpPr>
          <p:spPr bwMode="black">
            <a:xfrm>
              <a:off x="1241170" y="806602"/>
              <a:ext cx="261048" cy="31847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grp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grpSp>
      <p:pic>
        <p:nvPicPr>
          <p:cNvPr id="152" name="Picture 47" descr="C:\Users\sakuu\Documents\Ballmer MGX 2011\Tile Icons\Calendar.png"/>
          <p:cNvPicPr>
            <a:picLocks noChangeAspect="1" noChangeArrowheads="1"/>
          </p:cNvPicPr>
          <p:nvPr/>
        </p:nvPicPr>
        <p:blipFill>
          <a:blip r:embed="rId4" cstate="print">
            <a:grayscl/>
            <a:extLst>
              <a:ext uri="{BEBA8EAE-BF5A-486C-A8C5-ECC9F3942E4B}">
                <a14:imgProps xmlns:a14="http://schemas.microsoft.com/office/drawing/2010/main">
                  <a14:imgLayer r:embed="rId5">
                    <a14:imgEffect>
                      <a14:brightnessContrast bright="-82000" contrast="-40000"/>
                    </a14:imgEffect>
                  </a14:imgLayer>
                </a14:imgProps>
              </a:ext>
              <a:ext uri="{28A0092B-C50C-407E-A947-70E740481C1C}">
                <a14:useLocalDpi xmlns:a14="http://schemas.microsoft.com/office/drawing/2010/main"/>
              </a:ext>
            </a:extLst>
          </a:blip>
          <a:srcRect/>
          <a:stretch>
            <a:fillRect/>
          </a:stretch>
        </p:blipFill>
        <p:spPr bwMode="black">
          <a:xfrm>
            <a:off x="1700019" y="823266"/>
            <a:ext cx="309612" cy="283340"/>
          </a:xfrm>
          <a:prstGeom prst="rect">
            <a:avLst/>
          </a:prstGeom>
          <a:noFill/>
          <a:extLst/>
        </p:spPr>
      </p:pic>
      <p:sp>
        <p:nvSpPr>
          <p:cNvPr id="153" name="Freeform 7"/>
          <p:cNvSpPr>
            <a:spLocks noChangeAspect="1" noEditPoints="1"/>
          </p:cNvSpPr>
          <p:nvPr/>
        </p:nvSpPr>
        <p:spPr bwMode="black">
          <a:xfrm>
            <a:off x="3260156" y="2533921"/>
            <a:ext cx="445148" cy="445661"/>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grpSp>
        <p:nvGrpSpPr>
          <p:cNvPr id="154" name="Group 153"/>
          <p:cNvGrpSpPr/>
          <p:nvPr/>
        </p:nvGrpSpPr>
        <p:grpSpPr>
          <a:xfrm>
            <a:off x="2921056" y="3328509"/>
            <a:ext cx="353776" cy="440828"/>
            <a:chOff x="9753600" y="378783"/>
            <a:chExt cx="1448804" cy="1805307"/>
          </a:xfrm>
        </p:grpSpPr>
        <p:sp>
          <p:nvSpPr>
            <p:cNvPr id="155" name="Freeform 154"/>
            <p:cNvSpPr/>
            <p:nvPr/>
          </p:nvSpPr>
          <p:spPr>
            <a:xfrm>
              <a:off x="9896022" y="378783"/>
              <a:ext cx="1163960" cy="1805307"/>
            </a:xfrm>
            <a:custGeom>
              <a:avLst/>
              <a:gdLst>
                <a:gd name="connsiteX0" fmla="*/ 990541 w 1163960"/>
                <a:gd name="connsiteY0" fmla="*/ 1274832 h 1805307"/>
                <a:gd name="connsiteX1" fmla="*/ 990541 w 1163960"/>
                <a:gd name="connsiteY1" fmla="*/ 1562630 h 1805307"/>
                <a:gd name="connsiteX2" fmla="*/ 1091271 w 1163960"/>
                <a:gd name="connsiteY2" fmla="*/ 1562630 h 1805307"/>
                <a:gd name="connsiteX3" fmla="*/ 1091271 w 1163960"/>
                <a:gd name="connsiteY3" fmla="*/ 1274832 h 1805307"/>
                <a:gd name="connsiteX4" fmla="*/ 806970 w 1163960"/>
                <a:gd name="connsiteY4" fmla="*/ 1274832 h 1805307"/>
                <a:gd name="connsiteX5" fmla="*/ 806970 w 1163960"/>
                <a:gd name="connsiteY5" fmla="*/ 1562630 h 1805307"/>
                <a:gd name="connsiteX6" fmla="*/ 907700 w 1163960"/>
                <a:gd name="connsiteY6" fmla="*/ 1562630 h 1805307"/>
                <a:gd name="connsiteX7" fmla="*/ 907700 w 1163960"/>
                <a:gd name="connsiteY7" fmla="*/ 1274832 h 1805307"/>
                <a:gd name="connsiteX8" fmla="*/ 623400 w 1163960"/>
                <a:gd name="connsiteY8" fmla="*/ 1274832 h 1805307"/>
                <a:gd name="connsiteX9" fmla="*/ 623400 w 1163960"/>
                <a:gd name="connsiteY9" fmla="*/ 1562630 h 1805307"/>
                <a:gd name="connsiteX10" fmla="*/ 724130 w 1163960"/>
                <a:gd name="connsiteY10" fmla="*/ 1562630 h 1805307"/>
                <a:gd name="connsiteX11" fmla="*/ 724130 w 1163960"/>
                <a:gd name="connsiteY11" fmla="*/ 1274832 h 1805307"/>
                <a:gd name="connsiteX12" fmla="*/ 439830 w 1163960"/>
                <a:gd name="connsiteY12" fmla="*/ 1274832 h 1805307"/>
                <a:gd name="connsiteX13" fmla="*/ 439830 w 1163960"/>
                <a:gd name="connsiteY13" fmla="*/ 1562630 h 1805307"/>
                <a:gd name="connsiteX14" fmla="*/ 540560 w 1163960"/>
                <a:gd name="connsiteY14" fmla="*/ 1562630 h 1805307"/>
                <a:gd name="connsiteX15" fmla="*/ 540560 w 1163960"/>
                <a:gd name="connsiteY15" fmla="*/ 1274832 h 1805307"/>
                <a:gd name="connsiteX16" fmla="*/ 256260 w 1163960"/>
                <a:gd name="connsiteY16" fmla="*/ 1274832 h 1805307"/>
                <a:gd name="connsiteX17" fmla="*/ 256260 w 1163960"/>
                <a:gd name="connsiteY17" fmla="*/ 1562630 h 1805307"/>
                <a:gd name="connsiteX18" fmla="*/ 356990 w 1163960"/>
                <a:gd name="connsiteY18" fmla="*/ 1562630 h 1805307"/>
                <a:gd name="connsiteX19" fmla="*/ 356990 w 1163960"/>
                <a:gd name="connsiteY19" fmla="*/ 1274832 h 1805307"/>
                <a:gd name="connsiteX20" fmla="*/ 72690 w 1163960"/>
                <a:gd name="connsiteY20" fmla="*/ 1274832 h 1805307"/>
                <a:gd name="connsiteX21" fmla="*/ 72690 w 1163960"/>
                <a:gd name="connsiteY21" fmla="*/ 1562630 h 1805307"/>
                <a:gd name="connsiteX22" fmla="*/ 173420 w 1163960"/>
                <a:gd name="connsiteY22" fmla="*/ 1562630 h 1805307"/>
                <a:gd name="connsiteX23" fmla="*/ 173420 w 1163960"/>
                <a:gd name="connsiteY23" fmla="*/ 1274832 h 1805307"/>
                <a:gd name="connsiteX24" fmla="*/ 579059 w 1163960"/>
                <a:gd name="connsiteY24" fmla="*/ 937467 h 1805307"/>
                <a:gd name="connsiteX25" fmla="*/ 1062364 w 1163960"/>
                <a:gd name="connsiteY25" fmla="*/ 1232336 h 1805307"/>
                <a:gd name="connsiteX26" fmla="*/ 1163960 w 1163960"/>
                <a:gd name="connsiteY26" fmla="*/ 1232336 h 1805307"/>
                <a:gd name="connsiteX27" fmla="*/ 1163960 w 1163960"/>
                <a:gd name="connsiteY27" fmla="*/ 1805307 h 1805307"/>
                <a:gd name="connsiteX28" fmla="*/ 0 w 1163960"/>
                <a:gd name="connsiteY28" fmla="*/ 1805307 h 1805307"/>
                <a:gd name="connsiteX29" fmla="*/ 0 w 1163960"/>
                <a:gd name="connsiteY29" fmla="*/ 1232336 h 1805307"/>
                <a:gd name="connsiteX30" fmla="*/ 101596 w 1163960"/>
                <a:gd name="connsiteY30" fmla="*/ 1232336 h 1805307"/>
                <a:gd name="connsiteX31" fmla="*/ 563905 w 1163960"/>
                <a:gd name="connsiteY31" fmla="*/ 0 h 1805307"/>
                <a:gd name="connsiteX32" fmla="*/ 600055 w 1163960"/>
                <a:gd name="connsiteY32" fmla="*/ 0 h 1805307"/>
                <a:gd name="connsiteX33" fmla="*/ 619818 w 1163960"/>
                <a:gd name="connsiteY33" fmla="*/ 19763 h 1805307"/>
                <a:gd name="connsiteX34" fmla="*/ 619818 w 1163960"/>
                <a:gd name="connsiteY34" fmla="*/ 115221 h 1805307"/>
                <a:gd name="connsiteX35" fmla="*/ 663060 w 1163960"/>
                <a:gd name="connsiteY35" fmla="*/ 115221 h 1805307"/>
                <a:gd name="connsiteX36" fmla="*/ 663060 w 1163960"/>
                <a:gd name="connsiteY36" fmla="*/ 264772 h 1805307"/>
                <a:gd name="connsiteX37" fmla="*/ 891526 w 1163960"/>
                <a:gd name="connsiteY37" fmla="*/ 538643 h 1805307"/>
                <a:gd name="connsiteX38" fmla="*/ 911709 w 1163960"/>
                <a:gd name="connsiteY38" fmla="*/ 538643 h 1805307"/>
                <a:gd name="connsiteX39" fmla="*/ 911709 w 1163960"/>
                <a:gd name="connsiteY39" fmla="*/ 681887 h 1805307"/>
                <a:gd name="connsiteX40" fmla="*/ 947745 w 1163960"/>
                <a:gd name="connsiteY40" fmla="*/ 681887 h 1805307"/>
                <a:gd name="connsiteX41" fmla="*/ 947745 w 1163960"/>
                <a:gd name="connsiteY41" fmla="*/ 908914 h 1805307"/>
                <a:gd name="connsiteX42" fmla="*/ 998195 w 1163960"/>
                <a:gd name="connsiteY42" fmla="*/ 908914 h 1805307"/>
                <a:gd name="connsiteX43" fmla="*/ 998195 w 1163960"/>
                <a:gd name="connsiteY43" fmla="*/ 1098778 h 1805307"/>
                <a:gd name="connsiteX44" fmla="*/ 883240 w 1163960"/>
                <a:gd name="connsiteY44" fmla="*/ 1028484 h 1805307"/>
                <a:gd name="connsiteX45" fmla="*/ 883240 w 1163960"/>
                <a:gd name="connsiteY45" fmla="*/ 774062 h 1805307"/>
                <a:gd name="connsiteX46" fmla="*/ 782510 w 1163960"/>
                <a:gd name="connsiteY46" fmla="*/ 774062 h 1805307"/>
                <a:gd name="connsiteX47" fmla="*/ 782510 w 1163960"/>
                <a:gd name="connsiteY47" fmla="*/ 966888 h 1805307"/>
                <a:gd name="connsiteX48" fmla="*/ 715978 w 1163960"/>
                <a:gd name="connsiteY48" fmla="*/ 926204 h 1805307"/>
                <a:gd name="connsiteX49" fmla="*/ 715978 w 1163960"/>
                <a:gd name="connsiteY49" fmla="*/ 774064 h 1805307"/>
                <a:gd name="connsiteX50" fmla="*/ 615248 w 1163960"/>
                <a:gd name="connsiteY50" fmla="*/ 774064 h 1805307"/>
                <a:gd name="connsiteX51" fmla="*/ 615248 w 1163960"/>
                <a:gd name="connsiteY51" fmla="*/ 864607 h 1805307"/>
                <a:gd name="connsiteX52" fmla="*/ 579059 w 1163960"/>
                <a:gd name="connsiteY52" fmla="*/ 842478 h 1805307"/>
                <a:gd name="connsiteX53" fmla="*/ 548714 w 1163960"/>
                <a:gd name="connsiteY53" fmla="*/ 861034 h 1805307"/>
                <a:gd name="connsiteX54" fmla="*/ 548714 w 1163960"/>
                <a:gd name="connsiteY54" fmla="*/ 774064 h 1805307"/>
                <a:gd name="connsiteX55" fmla="*/ 447985 w 1163960"/>
                <a:gd name="connsiteY55" fmla="*/ 774064 h 1805307"/>
                <a:gd name="connsiteX56" fmla="*/ 447985 w 1163960"/>
                <a:gd name="connsiteY56" fmla="*/ 922629 h 1805307"/>
                <a:gd name="connsiteX57" fmla="*/ 381451 w 1163960"/>
                <a:gd name="connsiteY57" fmla="*/ 963314 h 1805307"/>
                <a:gd name="connsiteX58" fmla="*/ 381451 w 1163960"/>
                <a:gd name="connsiteY58" fmla="*/ 774064 h 1805307"/>
                <a:gd name="connsiteX59" fmla="*/ 280721 w 1163960"/>
                <a:gd name="connsiteY59" fmla="*/ 774064 h 1805307"/>
                <a:gd name="connsiteX60" fmla="*/ 280721 w 1163960"/>
                <a:gd name="connsiteY60" fmla="*/ 1024911 h 1805307"/>
                <a:gd name="connsiteX61" fmla="*/ 165766 w 1163960"/>
                <a:gd name="connsiteY61" fmla="*/ 1095204 h 1805307"/>
                <a:gd name="connsiteX62" fmla="*/ 165766 w 1163960"/>
                <a:gd name="connsiteY62" fmla="*/ 908914 h 1805307"/>
                <a:gd name="connsiteX63" fmla="*/ 216215 w 1163960"/>
                <a:gd name="connsiteY63" fmla="*/ 908914 h 1805307"/>
                <a:gd name="connsiteX64" fmla="*/ 216215 w 1163960"/>
                <a:gd name="connsiteY64" fmla="*/ 681887 h 1805307"/>
                <a:gd name="connsiteX65" fmla="*/ 252251 w 1163960"/>
                <a:gd name="connsiteY65" fmla="*/ 681887 h 1805307"/>
                <a:gd name="connsiteX66" fmla="*/ 252251 w 1163960"/>
                <a:gd name="connsiteY66" fmla="*/ 538643 h 1805307"/>
                <a:gd name="connsiteX67" fmla="*/ 272434 w 1163960"/>
                <a:gd name="connsiteY67" fmla="*/ 538643 h 1805307"/>
                <a:gd name="connsiteX68" fmla="*/ 500900 w 1163960"/>
                <a:gd name="connsiteY68" fmla="*/ 264772 h 1805307"/>
                <a:gd name="connsiteX69" fmla="*/ 500900 w 1163960"/>
                <a:gd name="connsiteY69" fmla="*/ 115221 h 1805307"/>
                <a:gd name="connsiteX70" fmla="*/ 544142 w 1163960"/>
                <a:gd name="connsiteY70" fmla="*/ 115221 h 1805307"/>
                <a:gd name="connsiteX71" fmla="*/ 544142 w 1163960"/>
                <a:gd name="connsiteY71" fmla="*/ 19763 h 1805307"/>
                <a:gd name="connsiteX72" fmla="*/ 563905 w 1163960"/>
                <a:gd name="connsiteY72" fmla="*/ 0 h 180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63960" h="1805307">
                  <a:moveTo>
                    <a:pt x="990541" y="1274832"/>
                  </a:moveTo>
                  <a:lnTo>
                    <a:pt x="990541" y="1562630"/>
                  </a:lnTo>
                  <a:lnTo>
                    <a:pt x="1091271" y="1562630"/>
                  </a:lnTo>
                  <a:lnTo>
                    <a:pt x="1091271" y="1274832"/>
                  </a:lnTo>
                  <a:close/>
                  <a:moveTo>
                    <a:pt x="806970" y="1274832"/>
                  </a:moveTo>
                  <a:lnTo>
                    <a:pt x="806970" y="1562630"/>
                  </a:lnTo>
                  <a:lnTo>
                    <a:pt x="907700" y="1562630"/>
                  </a:lnTo>
                  <a:lnTo>
                    <a:pt x="907700" y="1274832"/>
                  </a:lnTo>
                  <a:close/>
                  <a:moveTo>
                    <a:pt x="623400" y="1274832"/>
                  </a:moveTo>
                  <a:lnTo>
                    <a:pt x="623400" y="1562630"/>
                  </a:lnTo>
                  <a:lnTo>
                    <a:pt x="724130" y="1562630"/>
                  </a:lnTo>
                  <a:lnTo>
                    <a:pt x="724130" y="1274832"/>
                  </a:lnTo>
                  <a:close/>
                  <a:moveTo>
                    <a:pt x="439830" y="1274832"/>
                  </a:moveTo>
                  <a:lnTo>
                    <a:pt x="439830" y="1562630"/>
                  </a:lnTo>
                  <a:lnTo>
                    <a:pt x="540560" y="1562630"/>
                  </a:lnTo>
                  <a:lnTo>
                    <a:pt x="540560" y="1274832"/>
                  </a:lnTo>
                  <a:close/>
                  <a:moveTo>
                    <a:pt x="256260" y="1274832"/>
                  </a:moveTo>
                  <a:lnTo>
                    <a:pt x="256260" y="1562630"/>
                  </a:lnTo>
                  <a:lnTo>
                    <a:pt x="356990" y="1562630"/>
                  </a:lnTo>
                  <a:lnTo>
                    <a:pt x="356990" y="1274832"/>
                  </a:lnTo>
                  <a:close/>
                  <a:moveTo>
                    <a:pt x="72690" y="1274832"/>
                  </a:moveTo>
                  <a:lnTo>
                    <a:pt x="72690" y="1562630"/>
                  </a:lnTo>
                  <a:lnTo>
                    <a:pt x="173420" y="1562630"/>
                  </a:lnTo>
                  <a:lnTo>
                    <a:pt x="173420" y="1274832"/>
                  </a:lnTo>
                  <a:close/>
                  <a:moveTo>
                    <a:pt x="579059" y="937467"/>
                  </a:moveTo>
                  <a:lnTo>
                    <a:pt x="1062364" y="1232336"/>
                  </a:lnTo>
                  <a:lnTo>
                    <a:pt x="1163960" y="1232336"/>
                  </a:lnTo>
                  <a:lnTo>
                    <a:pt x="1163960" y="1805307"/>
                  </a:lnTo>
                  <a:lnTo>
                    <a:pt x="0" y="1805307"/>
                  </a:lnTo>
                  <a:lnTo>
                    <a:pt x="0" y="1232336"/>
                  </a:lnTo>
                  <a:lnTo>
                    <a:pt x="101596" y="1232336"/>
                  </a:lnTo>
                  <a:close/>
                  <a:moveTo>
                    <a:pt x="563905" y="0"/>
                  </a:moveTo>
                  <a:lnTo>
                    <a:pt x="600055" y="0"/>
                  </a:lnTo>
                  <a:cubicBezTo>
                    <a:pt x="610970" y="0"/>
                    <a:pt x="619818" y="8848"/>
                    <a:pt x="619818" y="19763"/>
                  </a:cubicBezTo>
                  <a:lnTo>
                    <a:pt x="619818" y="115221"/>
                  </a:lnTo>
                  <a:lnTo>
                    <a:pt x="663060" y="115221"/>
                  </a:lnTo>
                  <a:lnTo>
                    <a:pt x="663060" y="264772"/>
                  </a:lnTo>
                  <a:cubicBezTo>
                    <a:pt x="792316" y="289557"/>
                    <a:pt x="890126" y="402518"/>
                    <a:pt x="891526" y="538643"/>
                  </a:cubicBezTo>
                  <a:lnTo>
                    <a:pt x="911709" y="538643"/>
                  </a:lnTo>
                  <a:lnTo>
                    <a:pt x="911709" y="681887"/>
                  </a:lnTo>
                  <a:lnTo>
                    <a:pt x="947745" y="681887"/>
                  </a:lnTo>
                  <a:lnTo>
                    <a:pt x="947745" y="908914"/>
                  </a:lnTo>
                  <a:lnTo>
                    <a:pt x="998195" y="908914"/>
                  </a:lnTo>
                  <a:lnTo>
                    <a:pt x="998195" y="1098778"/>
                  </a:lnTo>
                  <a:lnTo>
                    <a:pt x="883240" y="1028484"/>
                  </a:lnTo>
                  <a:lnTo>
                    <a:pt x="883240" y="774062"/>
                  </a:lnTo>
                  <a:lnTo>
                    <a:pt x="782510" y="774062"/>
                  </a:lnTo>
                  <a:lnTo>
                    <a:pt x="782510" y="966888"/>
                  </a:lnTo>
                  <a:lnTo>
                    <a:pt x="715978" y="926204"/>
                  </a:lnTo>
                  <a:lnTo>
                    <a:pt x="715978" y="774064"/>
                  </a:lnTo>
                  <a:lnTo>
                    <a:pt x="615248" y="774064"/>
                  </a:lnTo>
                  <a:lnTo>
                    <a:pt x="615248" y="864607"/>
                  </a:lnTo>
                  <a:lnTo>
                    <a:pt x="579059" y="842478"/>
                  </a:lnTo>
                  <a:lnTo>
                    <a:pt x="548714" y="861034"/>
                  </a:lnTo>
                  <a:lnTo>
                    <a:pt x="548714" y="774064"/>
                  </a:lnTo>
                  <a:lnTo>
                    <a:pt x="447985" y="774064"/>
                  </a:lnTo>
                  <a:lnTo>
                    <a:pt x="447985" y="922629"/>
                  </a:lnTo>
                  <a:lnTo>
                    <a:pt x="381451" y="963314"/>
                  </a:lnTo>
                  <a:lnTo>
                    <a:pt x="381451" y="774064"/>
                  </a:lnTo>
                  <a:lnTo>
                    <a:pt x="280721" y="774064"/>
                  </a:lnTo>
                  <a:lnTo>
                    <a:pt x="280721" y="1024911"/>
                  </a:lnTo>
                  <a:lnTo>
                    <a:pt x="165766" y="1095204"/>
                  </a:lnTo>
                  <a:lnTo>
                    <a:pt x="165766" y="908914"/>
                  </a:lnTo>
                  <a:lnTo>
                    <a:pt x="216215" y="908914"/>
                  </a:lnTo>
                  <a:lnTo>
                    <a:pt x="216215" y="681887"/>
                  </a:lnTo>
                  <a:lnTo>
                    <a:pt x="252251" y="681887"/>
                  </a:lnTo>
                  <a:lnTo>
                    <a:pt x="252251" y="538643"/>
                  </a:lnTo>
                  <a:lnTo>
                    <a:pt x="272434" y="538643"/>
                  </a:lnTo>
                  <a:cubicBezTo>
                    <a:pt x="273834" y="402518"/>
                    <a:pt x="371644" y="289557"/>
                    <a:pt x="500900" y="264772"/>
                  </a:cubicBezTo>
                  <a:lnTo>
                    <a:pt x="500900" y="115221"/>
                  </a:lnTo>
                  <a:lnTo>
                    <a:pt x="544142" y="115221"/>
                  </a:lnTo>
                  <a:lnTo>
                    <a:pt x="544142" y="19763"/>
                  </a:lnTo>
                  <a:cubicBezTo>
                    <a:pt x="544142" y="8848"/>
                    <a:pt x="552990" y="0"/>
                    <a:pt x="563905"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156" name="Rectangle 155"/>
            <p:cNvSpPr/>
            <p:nvPr/>
          </p:nvSpPr>
          <p:spPr>
            <a:xfrm>
              <a:off x="9753600" y="1538288"/>
              <a:ext cx="80963" cy="64580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157" name="Rectangle 156"/>
            <p:cNvSpPr/>
            <p:nvPr/>
          </p:nvSpPr>
          <p:spPr>
            <a:xfrm>
              <a:off x="11121441" y="1538288"/>
              <a:ext cx="80963" cy="64580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grpSp>
      <p:pic>
        <p:nvPicPr>
          <p:cNvPr id="163" name="Picture 2" descr="\\MAGNUM\Projects\Microsoft\Cloud Power FY12\Design\ICONS_PNG\Building.png"/>
          <p:cNvPicPr>
            <a:picLocks noChangeAspect="1" noChangeArrowheads="1"/>
          </p:cNvPicPr>
          <p:nvPr/>
        </p:nvPicPr>
        <p:blipFill>
          <a:blip r:embed="rId12" cstate="print">
            <a:grayscl/>
            <a:extLst>
              <a:ext uri="{BEBA8EAE-BF5A-486C-A8C5-ECC9F3942E4B}">
                <a14:imgProps xmlns:a14="http://schemas.microsoft.com/office/drawing/2010/main">
                  <a14:imgLayer r:embed="rId13">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5779293" y="1399403"/>
            <a:ext cx="562131" cy="562131"/>
          </a:xfrm>
          <a:prstGeom prst="rect">
            <a:avLst/>
          </a:prstGeom>
          <a:noFill/>
        </p:spPr>
      </p:pic>
      <p:sp>
        <p:nvSpPr>
          <p:cNvPr id="170" name="Round Same Side Corner Rectangle 4"/>
          <p:cNvSpPr>
            <a:spLocks noChangeAspect="1"/>
          </p:cNvSpPr>
          <p:nvPr/>
        </p:nvSpPr>
        <p:spPr>
          <a:xfrm>
            <a:off x="3069092" y="725662"/>
            <a:ext cx="411480" cy="339348"/>
          </a:xfrm>
          <a:custGeom>
            <a:avLst/>
            <a:gdLst/>
            <a:ahLst/>
            <a:cxnLst/>
            <a:rect l="l" t="t" r="r" b="b"/>
            <a:pathLst>
              <a:path w="5088781" h="4196725">
                <a:moveTo>
                  <a:pt x="3932205" y="2740979"/>
                </a:moveTo>
                <a:cubicBezTo>
                  <a:pt x="4624928" y="2744117"/>
                  <a:pt x="5079721" y="3578290"/>
                  <a:pt x="5088781" y="4196725"/>
                </a:cubicBezTo>
                <a:lnTo>
                  <a:pt x="1644603" y="4196725"/>
                </a:lnTo>
                <a:cubicBezTo>
                  <a:pt x="1637421" y="3648409"/>
                  <a:pt x="2026494" y="2807477"/>
                  <a:pt x="2848812" y="2754777"/>
                </a:cubicBezTo>
                <a:cubicBezTo>
                  <a:pt x="3013057" y="2921134"/>
                  <a:pt x="3196680" y="2964010"/>
                  <a:pt x="3377245" y="2961710"/>
                </a:cubicBezTo>
                <a:cubicBezTo>
                  <a:pt x="3557811" y="2959410"/>
                  <a:pt x="3767704" y="2908024"/>
                  <a:pt x="3932205" y="2740979"/>
                </a:cubicBezTo>
                <a:close/>
                <a:moveTo>
                  <a:pt x="1614816" y="1743076"/>
                </a:moveTo>
                <a:lnTo>
                  <a:pt x="1977279" y="2424771"/>
                </a:lnTo>
                <a:lnTo>
                  <a:pt x="1784566" y="2527237"/>
                </a:lnTo>
                <a:lnTo>
                  <a:pt x="1422103" y="1845543"/>
                </a:lnTo>
                <a:close/>
                <a:moveTo>
                  <a:pt x="2335626" y="1082878"/>
                </a:moveTo>
                <a:lnTo>
                  <a:pt x="2505569" y="1082878"/>
                </a:lnTo>
                <a:cubicBezTo>
                  <a:pt x="2453270" y="1422223"/>
                  <a:pt x="2473720" y="1757360"/>
                  <a:pt x="2581543" y="2025928"/>
                </a:cubicBezTo>
                <a:cubicBezTo>
                  <a:pt x="2349327" y="2129593"/>
                  <a:pt x="2156799" y="1874484"/>
                  <a:pt x="2118259" y="1700337"/>
                </a:cubicBezTo>
                <a:cubicBezTo>
                  <a:pt x="2079719" y="1526190"/>
                  <a:pt x="2122427" y="1197080"/>
                  <a:pt x="2335607" y="1083015"/>
                </a:cubicBezTo>
                <a:cubicBezTo>
                  <a:pt x="2335613" y="1082969"/>
                  <a:pt x="2335620" y="1082924"/>
                  <a:pt x="2335626" y="1082878"/>
                </a:cubicBezTo>
                <a:close/>
                <a:moveTo>
                  <a:pt x="3366644" y="407234"/>
                </a:moveTo>
                <a:cubicBezTo>
                  <a:pt x="3605567" y="399493"/>
                  <a:pt x="3851413" y="469638"/>
                  <a:pt x="3986755" y="647831"/>
                </a:cubicBezTo>
                <a:cubicBezTo>
                  <a:pt x="4261771" y="1009916"/>
                  <a:pt x="4302765" y="1764681"/>
                  <a:pt x="3980367" y="2273061"/>
                </a:cubicBezTo>
                <a:cubicBezTo>
                  <a:pt x="3907585" y="2402466"/>
                  <a:pt x="3824387" y="2477548"/>
                  <a:pt x="3822733" y="2653647"/>
                </a:cubicBezTo>
                <a:lnTo>
                  <a:pt x="3830607" y="2684362"/>
                </a:lnTo>
                <a:cubicBezTo>
                  <a:pt x="3694087" y="2789642"/>
                  <a:pt x="3534947" y="2846489"/>
                  <a:pt x="3366088" y="2846489"/>
                </a:cubicBezTo>
                <a:cubicBezTo>
                  <a:pt x="3197611" y="2846489"/>
                  <a:pt x="3038813" y="2789901"/>
                  <a:pt x="2902505" y="2685055"/>
                </a:cubicBezTo>
                <a:cubicBezTo>
                  <a:pt x="2908007" y="2675223"/>
                  <a:pt x="2909511" y="2664508"/>
                  <a:pt x="2910559" y="2653647"/>
                </a:cubicBezTo>
                <a:cubicBezTo>
                  <a:pt x="2908901" y="2477548"/>
                  <a:pt x="2825704" y="2402466"/>
                  <a:pt x="2752924" y="2273061"/>
                </a:cubicBezTo>
                <a:cubicBezTo>
                  <a:pt x="2430523" y="1764681"/>
                  <a:pt x="2471517" y="1009916"/>
                  <a:pt x="2746534" y="647831"/>
                </a:cubicBezTo>
                <a:cubicBezTo>
                  <a:pt x="2881876" y="469638"/>
                  <a:pt x="3127722" y="399493"/>
                  <a:pt x="3366644" y="407234"/>
                </a:cubicBezTo>
                <a:close/>
                <a:moveTo>
                  <a:pt x="3329004" y="187604"/>
                </a:moveTo>
                <a:cubicBezTo>
                  <a:pt x="3994560" y="167140"/>
                  <a:pt x="4371354" y="579938"/>
                  <a:pt x="4400820" y="1082877"/>
                </a:cubicBezTo>
                <a:lnTo>
                  <a:pt x="4397665" y="1082920"/>
                </a:lnTo>
                <a:cubicBezTo>
                  <a:pt x="4397669" y="1082952"/>
                  <a:pt x="4397674" y="1082983"/>
                  <a:pt x="4397678" y="1083015"/>
                </a:cubicBezTo>
                <a:cubicBezTo>
                  <a:pt x="4610858" y="1197080"/>
                  <a:pt x="4653566" y="1526190"/>
                  <a:pt x="4615026" y="1700337"/>
                </a:cubicBezTo>
                <a:cubicBezTo>
                  <a:pt x="4576486" y="1874484"/>
                  <a:pt x="4383958" y="2129593"/>
                  <a:pt x="4151742" y="2025928"/>
                </a:cubicBezTo>
                <a:cubicBezTo>
                  <a:pt x="4259317" y="1757977"/>
                  <a:pt x="4279921" y="1423762"/>
                  <a:pt x="4227952" y="1085234"/>
                </a:cubicBezTo>
                <a:lnTo>
                  <a:pt x="4226178" y="1085258"/>
                </a:lnTo>
                <a:cubicBezTo>
                  <a:pt x="4224961" y="1052502"/>
                  <a:pt x="4221024" y="1061053"/>
                  <a:pt x="4222062" y="1029218"/>
                </a:cubicBezTo>
                <a:cubicBezTo>
                  <a:pt x="4135466" y="552994"/>
                  <a:pt x="3822726" y="337641"/>
                  <a:pt x="3344993" y="344967"/>
                </a:cubicBezTo>
                <a:cubicBezTo>
                  <a:pt x="2868139" y="352280"/>
                  <a:pt x="2631639" y="579683"/>
                  <a:pt x="2515713" y="1011516"/>
                </a:cubicBezTo>
                <a:lnTo>
                  <a:pt x="2508730" y="1082877"/>
                </a:lnTo>
                <a:lnTo>
                  <a:pt x="2334024" y="1082877"/>
                </a:lnTo>
                <a:cubicBezTo>
                  <a:pt x="2352141" y="801101"/>
                  <a:pt x="2461459" y="565118"/>
                  <a:pt x="2668523" y="409409"/>
                </a:cubicBezTo>
                <a:lnTo>
                  <a:pt x="2668523" y="406660"/>
                </a:lnTo>
                <a:lnTo>
                  <a:pt x="2672097" y="406660"/>
                </a:lnTo>
                <a:cubicBezTo>
                  <a:pt x="2830314" y="279098"/>
                  <a:pt x="3049580" y="202294"/>
                  <a:pt x="3329004" y="187604"/>
                </a:cubicBezTo>
                <a:close/>
                <a:moveTo>
                  <a:pt x="476352" y="116995"/>
                </a:moveTo>
                <a:lnTo>
                  <a:pt x="798711" y="723264"/>
                </a:lnTo>
                <a:cubicBezTo>
                  <a:pt x="614852" y="856321"/>
                  <a:pt x="553503" y="1108041"/>
                  <a:pt x="663223" y="1314393"/>
                </a:cubicBezTo>
                <a:lnTo>
                  <a:pt x="828633" y="1625485"/>
                </a:lnTo>
                <a:cubicBezTo>
                  <a:pt x="938352" y="1831836"/>
                  <a:pt x="1181344" y="1921737"/>
                  <a:pt x="1394465" y="1843716"/>
                </a:cubicBezTo>
                <a:lnTo>
                  <a:pt x="1765435" y="2541408"/>
                </a:lnTo>
                <a:cubicBezTo>
                  <a:pt x="1738310" y="2564983"/>
                  <a:pt x="1707598" y="2584520"/>
                  <a:pt x="1674974" y="2601866"/>
                </a:cubicBezTo>
                <a:lnTo>
                  <a:pt x="1674974" y="2601865"/>
                </a:lnTo>
                <a:cubicBezTo>
                  <a:pt x="1329826" y="2785383"/>
                  <a:pt x="901257" y="2654356"/>
                  <a:pt x="717739" y="2309209"/>
                </a:cubicBezTo>
                <a:lnTo>
                  <a:pt x="82989" y="1115418"/>
                </a:lnTo>
                <a:cubicBezTo>
                  <a:pt x="-100530" y="770270"/>
                  <a:pt x="30497" y="341700"/>
                  <a:pt x="375645" y="158182"/>
                </a:cubicBezTo>
                <a:close/>
                <a:moveTo>
                  <a:pt x="703077" y="0"/>
                </a:moveTo>
                <a:lnTo>
                  <a:pt x="1026074" y="607470"/>
                </a:lnTo>
                <a:lnTo>
                  <a:pt x="833363" y="709937"/>
                </a:lnTo>
                <a:lnTo>
                  <a:pt x="510366" y="10246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71" name="Freeform 25"/>
          <p:cNvSpPr>
            <a:spLocks noChangeAspect="1" noEditPoints="1"/>
          </p:cNvSpPr>
          <p:nvPr/>
        </p:nvSpPr>
        <p:spPr bwMode="black">
          <a:xfrm>
            <a:off x="3569474" y="728153"/>
            <a:ext cx="411480" cy="35036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sp>
        <p:nvSpPr>
          <p:cNvPr id="172" name="Rectangle 171"/>
          <p:cNvSpPr/>
          <p:nvPr/>
        </p:nvSpPr>
        <p:spPr>
          <a:xfrm>
            <a:off x="3973216" y="682455"/>
            <a:ext cx="396970" cy="480131"/>
          </a:xfrm>
          <a:prstGeom prst="rect">
            <a:avLst/>
          </a:prstGeom>
        </p:spPr>
        <p:txBody>
          <a:bodyPr wrap="square">
            <a:spAutoFit/>
          </a:bodyPr>
          <a:lstStyle/>
          <a:p>
            <a:pPr algn="ctr" defTabSz="913916" fontAlgn="base">
              <a:lnSpc>
                <a:spcPct val="90000"/>
              </a:lnSpc>
              <a:spcBef>
                <a:spcPct val="0"/>
              </a:spcBef>
              <a:spcAft>
                <a:spcPct val="0"/>
              </a:spcAft>
            </a:pPr>
            <a:r>
              <a:rPr lang="en-US" sz="2800" b="1" dirty="0" err="1">
                <a:solidFill>
                  <a:schemeClr val="bg1">
                    <a:lumMod val="50000"/>
                  </a:schemeClr>
                </a:solidFill>
                <a:ea typeface="Segoe UI" pitchFamily="34" charset="0"/>
                <a:cs typeface="Segoe UI" pitchFamily="34" charset="0"/>
              </a:rPr>
              <a:t>i</a:t>
            </a:r>
            <a:endParaRPr lang="en-US" sz="2800" b="1" dirty="0">
              <a:solidFill>
                <a:schemeClr val="bg1">
                  <a:lumMod val="50000"/>
                </a:schemeClr>
              </a:solidFill>
              <a:ea typeface="Segoe UI" pitchFamily="34" charset="0"/>
              <a:cs typeface="Segoe UI" pitchFamily="34" charset="0"/>
            </a:endParaRPr>
          </a:p>
        </p:txBody>
      </p:sp>
      <p:pic>
        <p:nvPicPr>
          <p:cNvPr id="173" name="Picture 6" descr="\\MAGNUM\Projects\Microsoft\Cloud Power FY12\Design\ICONS_PNG\Flexible_Workspace.png"/>
          <p:cNvPicPr>
            <a:picLocks noChangeAspect="1" noChangeArrowheads="1"/>
          </p:cNvPicPr>
          <p:nvPr/>
        </p:nvPicPr>
        <p:blipFill>
          <a:blip r:embed="rId14" cstate="print">
            <a:grayscl/>
            <a:extLst>
              <a:ext uri="{BEBA8EAE-BF5A-486C-A8C5-ECC9F3942E4B}">
                <a14:imgProps xmlns:a14="http://schemas.microsoft.com/office/drawing/2010/main">
                  <a14:imgLayer r:embed="rId15">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220621" y="1033575"/>
            <a:ext cx="555230" cy="555230"/>
          </a:xfrm>
          <a:prstGeom prst="rect">
            <a:avLst/>
          </a:prstGeom>
          <a:noFill/>
        </p:spPr>
      </p:pic>
      <p:sp>
        <p:nvSpPr>
          <p:cNvPr id="174" name="Freeform 18"/>
          <p:cNvSpPr>
            <a:spLocks noChangeAspect="1" noEditPoints="1"/>
          </p:cNvSpPr>
          <p:nvPr/>
        </p:nvSpPr>
        <p:spPr bwMode="black">
          <a:xfrm rot="17995606">
            <a:off x="3875190" y="1836108"/>
            <a:ext cx="345031" cy="27093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US" sz="1600" dirty="0">
              <a:ln>
                <a:solidFill>
                  <a:srgbClr val="FFFFFF">
                    <a:alpha val="0"/>
                  </a:srgbClr>
                </a:solidFill>
              </a:ln>
              <a:solidFill>
                <a:srgbClr val="FFFFFF"/>
              </a:solidFill>
            </a:endParaRPr>
          </a:p>
        </p:txBody>
      </p:sp>
      <p:sp>
        <p:nvSpPr>
          <p:cNvPr id="176" name="Rounded Rectangle 7"/>
          <p:cNvSpPr>
            <a:spLocks noChangeAspect="1"/>
          </p:cNvSpPr>
          <p:nvPr/>
        </p:nvSpPr>
        <p:spPr>
          <a:xfrm>
            <a:off x="3723804" y="3448139"/>
            <a:ext cx="382616" cy="351292"/>
          </a:xfrm>
          <a:custGeom>
            <a:avLst/>
            <a:gdLst/>
            <a:ahLst/>
            <a:cxnLst/>
            <a:rect l="l" t="t" r="r" b="b"/>
            <a:pathLst>
              <a:path w="3321450" h="3049531">
                <a:moveTo>
                  <a:pt x="926019" y="2608206"/>
                </a:moveTo>
                <a:lnTo>
                  <a:pt x="1157793" y="2843155"/>
                </a:lnTo>
                <a:lnTo>
                  <a:pt x="1672143" y="2843156"/>
                </a:lnTo>
                <a:lnTo>
                  <a:pt x="1672144" y="2608206"/>
                </a:lnTo>
                <a:close/>
                <a:moveTo>
                  <a:pt x="3211013" y="2197840"/>
                </a:moveTo>
                <a:lnTo>
                  <a:pt x="3211013" y="2619936"/>
                </a:lnTo>
                <a:cubicBezTo>
                  <a:pt x="3211013" y="2674486"/>
                  <a:pt x="3166792" y="2718707"/>
                  <a:pt x="3112242" y="2718707"/>
                </a:cubicBezTo>
                <a:lnTo>
                  <a:pt x="2788156" y="2718707"/>
                </a:lnTo>
                <a:lnTo>
                  <a:pt x="2788156" y="2632524"/>
                </a:lnTo>
                <a:lnTo>
                  <a:pt x="3054552" y="2632524"/>
                </a:lnTo>
                <a:cubicBezTo>
                  <a:pt x="3091678" y="2632524"/>
                  <a:pt x="3121775" y="2602427"/>
                  <a:pt x="3121775" y="2565301"/>
                </a:cubicBezTo>
                <a:lnTo>
                  <a:pt x="3121775" y="2289658"/>
                </a:lnTo>
                <a:close/>
                <a:moveTo>
                  <a:pt x="2278568" y="2090680"/>
                </a:moveTo>
                <a:cubicBezTo>
                  <a:pt x="2279626" y="2262131"/>
                  <a:pt x="2280685" y="2433580"/>
                  <a:pt x="2281743" y="2605030"/>
                </a:cubicBezTo>
                <a:lnTo>
                  <a:pt x="1837243" y="2605031"/>
                </a:lnTo>
                <a:lnTo>
                  <a:pt x="1837243" y="2865381"/>
                </a:lnTo>
                <a:lnTo>
                  <a:pt x="2278568" y="2865381"/>
                </a:lnTo>
                <a:lnTo>
                  <a:pt x="2958018" y="2090681"/>
                </a:lnTo>
                <a:close/>
                <a:moveTo>
                  <a:pt x="2278568" y="1150881"/>
                </a:moveTo>
                <a:cubicBezTo>
                  <a:pt x="2280685" y="1394297"/>
                  <a:pt x="2282801" y="1637714"/>
                  <a:pt x="2284919" y="1881130"/>
                </a:cubicBezTo>
                <a:lnTo>
                  <a:pt x="2983418" y="1900181"/>
                </a:lnTo>
                <a:close/>
                <a:moveTo>
                  <a:pt x="2121380" y="1083782"/>
                </a:moveTo>
                <a:lnTo>
                  <a:pt x="877944" y="2421020"/>
                </a:lnTo>
                <a:lnTo>
                  <a:pt x="2121114" y="2422778"/>
                </a:lnTo>
                <a:close/>
                <a:moveTo>
                  <a:pt x="2148424" y="793781"/>
                </a:moveTo>
                <a:cubicBezTo>
                  <a:pt x="2568896" y="1195869"/>
                  <a:pt x="2932283" y="1591668"/>
                  <a:pt x="3321450" y="1968758"/>
                </a:cubicBezTo>
                <a:lnTo>
                  <a:pt x="2329368" y="3043181"/>
                </a:lnTo>
                <a:lnTo>
                  <a:pt x="1129219" y="3049531"/>
                </a:lnTo>
                <a:lnTo>
                  <a:pt x="540294" y="2510997"/>
                </a:lnTo>
                <a:close/>
                <a:moveTo>
                  <a:pt x="266569" y="757423"/>
                </a:moveTo>
                <a:cubicBezTo>
                  <a:pt x="266569" y="757423"/>
                  <a:pt x="266569" y="757423"/>
                  <a:pt x="266569" y="757424"/>
                </a:cubicBezTo>
                <a:lnTo>
                  <a:pt x="266569" y="757424"/>
                </a:lnTo>
                <a:close/>
                <a:moveTo>
                  <a:pt x="328239" y="695754"/>
                </a:moveTo>
                <a:lnTo>
                  <a:pt x="1828600" y="695754"/>
                </a:lnTo>
                <a:cubicBezTo>
                  <a:pt x="1862659" y="695754"/>
                  <a:pt x="1890270" y="723365"/>
                  <a:pt x="1890270" y="757424"/>
                </a:cubicBezTo>
                <a:lnTo>
                  <a:pt x="1890269" y="757424"/>
                </a:lnTo>
                <a:cubicBezTo>
                  <a:pt x="1890269" y="791483"/>
                  <a:pt x="1862658" y="819094"/>
                  <a:pt x="1828599" y="819094"/>
                </a:cubicBezTo>
                <a:lnTo>
                  <a:pt x="328239" y="819093"/>
                </a:lnTo>
                <a:cubicBezTo>
                  <a:pt x="294180" y="819093"/>
                  <a:pt x="266569" y="791482"/>
                  <a:pt x="266569" y="757424"/>
                </a:cubicBezTo>
                <a:cubicBezTo>
                  <a:pt x="266569" y="723365"/>
                  <a:pt x="294180" y="695754"/>
                  <a:pt x="328239" y="695754"/>
                </a:cubicBezTo>
                <a:close/>
                <a:moveTo>
                  <a:pt x="2975882" y="183696"/>
                </a:moveTo>
                <a:cubicBezTo>
                  <a:pt x="2935301" y="183696"/>
                  <a:pt x="2902403" y="216594"/>
                  <a:pt x="2902403" y="257175"/>
                </a:cubicBezTo>
                <a:cubicBezTo>
                  <a:pt x="2902403" y="297756"/>
                  <a:pt x="2935301" y="330654"/>
                  <a:pt x="2975882" y="330654"/>
                </a:cubicBezTo>
                <a:cubicBezTo>
                  <a:pt x="3016463" y="330654"/>
                  <a:pt x="3049360" y="297756"/>
                  <a:pt x="3049360" y="257175"/>
                </a:cubicBezTo>
                <a:cubicBezTo>
                  <a:pt x="3049360" y="216594"/>
                  <a:pt x="3016463" y="183696"/>
                  <a:pt x="2975882" y="183696"/>
                </a:cubicBezTo>
                <a:close/>
                <a:moveTo>
                  <a:pt x="145031" y="89644"/>
                </a:moveTo>
                <a:lnTo>
                  <a:pt x="127855" y="93111"/>
                </a:lnTo>
                <a:cubicBezTo>
                  <a:pt x="104935" y="103451"/>
                  <a:pt x="89238" y="126595"/>
                  <a:pt x="89238" y="153406"/>
                </a:cubicBezTo>
                <a:lnTo>
                  <a:pt x="89238" y="355636"/>
                </a:lnTo>
                <a:lnTo>
                  <a:pt x="2806881" y="355636"/>
                </a:lnTo>
                <a:lnTo>
                  <a:pt x="2806881" y="89644"/>
                </a:lnTo>
                <a:close/>
                <a:moveTo>
                  <a:pt x="98771" y="0"/>
                </a:moveTo>
                <a:lnTo>
                  <a:pt x="115138" y="0"/>
                </a:lnTo>
                <a:lnTo>
                  <a:pt x="3095876" y="0"/>
                </a:lnTo>
                <a:lnTo>
                  <a:pt x="3112242" y="0"/>
                </a:lnTo>
                <a:cubicBezTo>
                  <a:pt x="3166792" y="0"/>
                  <a:pt x="3211013" y="44221"/>
                  <a:pt x="3211013" y="98771"/>
                </a:cubicBezTo>
                <a:lnTo>
                  <a:pt x="3211013" y="115138"/>
                </a:lnTo>
                <a:lnTo>
                  <a:pt x="3211013" y="1642131"/>
                </a:lnTo>
                <a:lnTo>
                  <a:pt x="3211013" y="1759376"/>
                </a:lnTo>
                <a:lnTo>
                  <a:pt x="3121775" y="1673125"/>
                </a:lnTo>
                <a:lnTo>
                  <a:pt x="3121775" y="426176"/>
                </a:lnTo>
                <a:lnTo>
                  <a:pt x="2806881" y="426176"/>
                </a:lnTo>
                <a:lnTo>
                  <a:pt x="89238" y="426176"/>
                </a:lnTo>
                <a:lnTo>
                  <a:pt x="89238" y="2565301"/>
                </a:lnTo>
                <a:cubicBezTo>
                  <a:pt x="89238" y="2592112"/>
                  <a:pt x="104935" y="2615258"/>
                  <a:pt x="127855" y="2625596"/>
                </a:cubicBezTo>
                <a:cubicBezTo>
                  <a:pt x="133102" y="2628098"/>
                  <a:pt x="138954" y="2629063"/>
                  <a:pt x="145031" y="2629063"/>
                </a:cubicBezTo>
                <a:lnTo>
                  <a:pt x="611693" y="2629063"/>
                </a:lnTo>
                <a:lnTo>
                  <a:pt x="611693" y="2718707"/>
                </a:lnTo>
                <a:lnTo>
                  <a:pt x="115138" y="2718707"/>
                </a:lnTo>
                <a:lnTo>
                  <a:pt x="98771" y="2718707"/>
                </a:lnTo>
                <a:cubicBezTo>
                  <a:pt x="44221" y="2718707"/>
                  <a:pt x="0" y="2674486"/>
                  <a:pt x="0" y="2619936"/>
                </a:cubicBezTo>
                <a:lnTo>
                  <a:pt x="0" y="2603570"/>
                </a:lnTo>
                <a:lnTo>
                  <a:pt x="0" y="426176"/>
                </a:lnTo>
                <a:lnTo>
                  <a:pt x="0" y="355636"/>
                </a:lnTo>
                <a:lnTo>
                  <a:pt x="0" y="115138"/>
                </a:lnTo>
                <a:lnTo>
                  <a:pt x="0" y="98771"/>
                </a:lnTo>
                <a:cubicBezTo>
                  <a:pt x="0" y="44221"/>
                  <a:pt x="44221" y="0"/>
                  <a:pt x="98771"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0" bIns="45720" numCol="1" spcCol="0" rtlCol="0" fromWordArt="0" anchor="ctr" anchorCtr="0" forceAA="0" compatLnSpc="1">
            <a:prstTxWarp prst="textNoShape">
              <a:avLst/>
            </a:prstTxWarp>
            <a:noAutofit/>
          </a:bodyPr>
          <a:lstStyle/>
          <a:p>
            <a:pPr defTabSz="914400"/>
            <a:endParaRPr lang="en-US" sz="720" b="1" dirty="0" err="1">
              <a:solidFill>
                <a:srgbClr val="FFFFFF"/>
              </a:solidFill>
              <a:latin typeface="Verdana" pitchFamily="34" charset="0"/>
              <a:ea typeface="Verdana" pitchFamily="34" charset="0"/>
              <a:cs typeface="Verdana" pitchFamily="34" charset="0"/>
            </a:endParaRPr>
          </a:p>
        </p:txBody>
      </p:sp>
      <p:grpSp>
        <p:nvGrpSpPr>
          <p:cNvPr id="177" name="Group 176"/>
          <p:cNvGrpSpPr>
            <a:grpSpLocks noChangeAspect="1"/>
          </p:cNvGrpSpPr>
          <p:nvPr/>
        </p:nvGrpSpPr>
        <p:grpSpPr>
          <a:xfrm>
            <a:off x="7985744" y="2112529"/>
            <a:ext cx="601455" cy="534152"/>
            <a:chOff x="7253651" y="5269261"/>
            <a:chExt cx="1318878" cy="1171293"/>
          </a:xfrm>
          <a:solidFill>
            <a:schemeClr val="bg1">
              <a:lumMod val="50000"/>
            </a:schemeClr>
          </a:solidFill>
        </p:grpSpPr>
        <p:grpSp>
          <p:nvGrpSpPr>
            <p:cNvPr id="178" name="Group 177"/>
            <p:cNvGrpSpPr/>
            <p:nvPr/>
          </p:nvGrpSpPr>
          <p:grpSpPr>
            <a:xfrm>
              <a:off x="7396930" y="5622448"/>
              <a:ext cx="1175599" cy="818106"/>
              <a:chOff x="6453077" y="805982"/>
              <a:chExt cx="825293" cy="574326"/>
            </a:xfrm>
            <a:grpFill/>
          </p:grpSpPr>
          <p:sp>
            <p:nvSpPr>
              <p:cNvPr id="181" name="Freeform 180"/>
              <p:cNvSpPr/>
              <p:nvPr/>
            </p:nvSpPr>
            <p:spPr>
              <a:xfrm>
                <a:off x="6796514" y="805982"/>
                <a:ext cx="481856" cy="542507"/>
              </a:xfrm>
              <a:custGeom>
                <a:avLst/>
                <a:gdLst/>
                <a:ahLst/>
                <a:cxnLst/>
                <a:rect l="l" t="t" r="r" b="b"/>
                <a:pathLst>
                  <a:path w="607369" h="683818">
                    <a:moveTo>
                      <a:pt x="195512" y="442921"/>
                    </a:moveTo>
                    <a:lnTo>
                      <a:pt x="203915" y="450677"/>
                    </a:lnTo>
                    <a:cubicBezTo>
                      <a:pt x="206284" y="453801"/>
                      <a:pt x="210270" y="457249"/>
                      <a:pt x="209732" y="461665"/>
                    </a:cubicBezTo>
                    <a:cubicBezTo>
                      <a:pt x="209194" y="466082"/>
                      <a:pt x="202622" y="472330"/>
                      <a:pt x="200683" y="477178"/>
                    </a:cubicBezTo>
                    <a:cubicBezTo>
                      <a:pt x="198744" y="482026"/>
                      <a:pt x="198420" y="483750"/>
                      <a:pt x="198097" y="490752"/>
                    </a:cubicBezTo>
                    <a:cubicBezTo>
                      <a:pt x="197774" y="497754"/>
                      <a:pt x="197882" y="503248"/>
                      <a:pt x="198744" y="519192"/>
                    </a:cubicBezTo>
                    <a:cubicBezTo>
                      <a:pt x="199605" y="535135"/>
                      <a:pt x="200898" y="567129"/>
                      <a:pt x="203268" y="586412"/>
                    </a:cubicBezTo>
                    <a:cubicBezTo>
                      <a:pt x="203305" y="586709"/>
                      <a:pt x="203342" y="587004"/>
                      <a:pt x="203444" y="587291"/>
                    </a:cubicBezTo>
                    <a:cubicBezTo>
                      <a:pt x="198951" y="579212"/>
                      <a:pt x="195079" y="572241"/>
                      <a:pt x="192120" y="566747"/>
                    </a:cubicBezTo>
                    <a:cubicBezTo>
                      <a:pt x="169895" y="525472"/>
                      <a:pt x="178230" y="546903"/>
                      <a:pt x="156402" y="535791"/>
                    </a:cubicBezTo>
                    <a:lnTo>
                      <a:pt x="152203" y="534063"/>
                    </a:lnTo>
                    <a:lnTo>
                      <a:pt x="166425" y="505617"/>
                    </a:lnTo>
                    <a:cubicBezTo>
                      <a:pt x="170519" y="498077"/>
                      <a:pt x="172135" y="495599"/>
                      <a:pt x="175475" y="491398"/>
                    </a:cubicBezTo>
                    <a:cubicBezTo>
                      <a:pt x="178815" y="487197"/>
                      <a:pt x="186678" y="483104"/>
                      <a:pt x="187756" y="479763"/>
                    </a:cubicBezTo>
                    <a:cubicBezTo>
                      <a:pt x="188833" y="476424"/>
                      <a:pt x="183447" y="474808"/>
                      <a:pt x="181939" y="471361"/>
                    </a:cubicBezTo>
                    <a:cubicBezTo>
                      <a:pt x="180431" y="467913"/>
                      <a:pt x="177845" y="463281"/>
                      <a:pt x="178707" y="459080"/>
                    </a:cubicBezTo>
                    <a:lnTo>
                      <a:pt x="187109" y="446153"/>
                    </a:lnTo>
                    <a:cubicBezTo>
                      <a:pt x="189910" y="443460"/>
                      <a:pt x="192711" y="442167"/>
                      <a:pt x="195512" y="442921"/>
                    </a:cubicBezTo>
                    <a:close/>
                    <a:moveTo>
                      <a:pt x="153370" y="407630"/>
                    </a:moveTo>
                    <a:cubicBezTo>
                      <a:pt x="162493" y="421788"/>
                      <a:pt x="169895" y="433362"/>
                      <a:pt x="179662" y="438122"/>
                    </a:cubicBezTo>
                    <a:cubicBezTo>
                      <a:pt x="175210" y="445612"/>
                      <a:pt x="169382" y="452621"/>
                      <a:pt x="168882" y="461407"/>
                    </a:cubicBezTo>
                    <a:cubicBezTo>
                      <a:pt x="168020" y="468559"/>
                      <a:pt x="174915" y="473127"/>
                      <a:pt x="176639" y="478987"/>
                    </a:cubicBezTo>
                    <a:cubicBezTo>
                      <a:pt x="162957" y="482986"/>
                      <a:pt x="151150" y="508057"/>
                      <a:pt x="139197" y="526680"/>
                    </a:cubicBezTo>
                    <a:cubicBezTo>
                      <a:pt x="140282" y="513678"/>
                      <a:pt x="141517" y="502928"/>
                      <a:pt x="143028" y="495535"/>
                    </a:cubicBezTo>
                    <a:cubicBezTo>
                      <a:pt x="150957" y="461407"/>
                      <a:pt x="163022" y="451066"/>
                      <a:pt x="153370" y="407630"/>
                    </a:cubicBezTo>
                    <a:close/>
                    <a:moveTo>
                      <a:pt x="134754" y="392117"/>
                    </a:moveTo>
                    <a:lnTo>
                      <a:pt x="135789" y="435552"/>
                    </a:lnTo>
                    <a:cubicBezTo>
                      <a:pt x="125458" y="453184"/>
                      <a:pt x="120411" y="484026"/>
                      <a:pt x="118255" y="520091"/>
                    </a:cubicBezTo>
                    <a:cubicBezTo>
                      <a:pt x="99728" y="512972"/>
                      <a:pt x="79029" y="506031"/>
                      <a:pt x="61152" y="500072"/>
                    </a:cubicBezTo>
                    <a:cubicBezTo>
                      <a:pt x="36628" y="491897"/>
                      <a:pt x="30350" y="474715"/>
                      <a:pt x="0" y="470962"/>
                    </a:cubicBezTo>
                    <a:cubicBezTo>
                      <a:pt x="37094" y="449870"/>
                      <a:pt x="78830" y="431637"/>
                      <a:pt x="116140" y="420040"/>
                    </a:cubicBezTo>
                    <a:cubicBezTo>
                      <a:pt x="123379" y="415903"/>
                      <a:pt x="124412" y="399356"/>
                      <a:pt x="134754" y="392117"/>
                    </a:cubicBezTo>
                    <a:close/>
                    <a:moveTo>
                      <a:pt x="303324" y="351785"/>
                    </a:moveTo>
                    <a:cubicBezTo>
                      <a:pt x="305048" y="410042"/>
                      <a:pt x="271610" y="480711"/>
                      <a:pt x="249547" y="529663"/>
                    </a:cubicBezTo>
                    <a:cubicBezTo>
                      <a:pt x="239218" y="557323"/>
                      <a:pt x="229955" y="583651"/>
                      <a:pt x="222478" y="610148"/>
                    </a:cubicBezTo>
                    <a:cubicBezTo>
                      <a:pt x="207936" y="563435"/>
                      <a:pt x="215779" y="523691"/>
                      <a:pt x="211283" y="480022"/>
                    </a:cubicBezTo>
                    <a:cubicBezTo>
                      <a:pt x="214558" y="474593"/>
                      <a:pt x="221064" y="472395"/>
                      <a:pt x="221107" y="463734"/>
                    </a:cubicBezTo>
                    <a:cubicBezTo>
                      <a:pt x="219703" y="454942"/>
                      <a:pt x="215491" y="444467"/>
                      <a:pt x="205197" y="435604"/>
                    </a:cubicBezTo>
                    <a:cubicBezTo>
                      <a:pt x="240077" y="421806"/>
                      <a:pt x="284089" y="382831"/>
                      <a:pt x="303324" y="351785"/>
                    </a:cubicBezTo>
                    <a:close/>
                    <a:moveTo>
                      <a:pt x="279538" y="341442"/>
                    </a:moveTo>
                    <a:cubicBezTo>
                      <a:pt x="257347" y="358894"/>
                      <a:pt x="224814" y="379901"/>
                      <a:pt x="195511" y="380225"/>
                    </a:cubicBezTo>
                    <a:cubicBezTo>
                      <a:pt x="182477" y="380656"/>
                      <a:pt x="170088" y="375915"/>
                      <a:pt x="157377" y="373761"/>
                    </a:cubicBezTo>
                    <a:cubicBezTo>
                      <a:pt x="170950" y="380440"/>
                      <a:pt x="173859" y="393259"/>
                      <a:pt x="198097" y="393798"/>
                    </a:cubicBezTo>
                    <a:cubicBezTo>
                      <a:pt x="216195" y="393798"/>
                      <a:pt x="257885" y="367298"/>
                      <a:pt x="279538" y="341442"/>
                    </a:cubicBezTo>
                    <a:close/>
                    <a:moveTo>
                      <a:pt x="314700" y="329033"/>
                    </a:moveTo>
                    <a:cubicBezTo>
                      <a:pt x="336417" y="347993"/>
                      <a:pt x="351930" y="376260"/>
                      <a:pt x="376749" y="395219"/>
                    </a:cubicBezTo>
                    <a:cubicBezTo>
                      <a:pt x="443626" y="416938"/>
                      <a:pt x="508434" y="443826"/>
                      <a:pt x="543251" y="472783"/>
                    </a:cubicBezTo>
                    <a:cubicBezTo>
                      <a:pt x="619435" y="519321"/>
                      <a:pt x="601509" y="596883"/>
                      <a:pt x="607369" y="637216"/>
                    </a:cubicBezTo>
                    <a:cubicBezTo>
                      <a:pt x="571862" y="655487"/>
                      <a:pt x="534288" y="642732"/>
                      <a:pt x="497748" y="645489"/>
                    </a:cubicBezTo>
                    <a:cubicBezTo>
                      <a:pt x="414732" y="679003"/>
                      <a:pt x="335008" y="674673"/>
                      <a:pt x="254244" y="683818"/>
                    </a:cubicBezTo>
                    <a:cubicBezTo>
                      <a:pt x="248807" y="671599"/>
                      <a:pt x="242634" y="659530"/>
                      <a:pt x="236204" y="647995"/>
                    </a:cubicBezTo>
                    <a:cubicBezTo>
                      <a:pt x="270444" y="522124"/>
                      <a:pt x="347385" y="369500"/>
                      <a:pt x="314700" y="329033"/>
                    </a:cubicBezTo>
                    <a:close/>
                    <a:moveTo>
                      <a:pt x="175260" y="166"/>
                    </a:moveTo>
                    <a:cubicBezTo>
                      <a:pt x="185026" y="-409"/>
                      <a:pt x="196660" y="453"/>
                      <a:pt x="210593" y="3613"/>
                    </a:cubicBezTo>
                    <a:cubicBezTo>
                      <a:pt x="224526" y="6773"/>
                      <a:pt x="245641" y="14386"/>
                      <a:pt x="258854" y="19125"/>
                    </a:cubicBezTo>
                    <a:cubicBezTo>
                      <a:pt x="272069" y="23866"/>
                      <a:pt x="282697" y="28606"/>
                      <a:pt x="289879" y="32053"/>
                    </a:cubicBezTo>
                    <a:cubicBezTo>
                      <a:pt x="297061" y="35500"/>
                      <a:pt x="296343" y="33346"/>
                      <a:pt x="301945" y="39809"/>
                    </a:cubicBezTo>
                    <a:cubicBezTo>
                      <a:pt x="307547" y="46273"/>
                      <a:pt x="317314" y="58338"/>
                      <a:pt x="323490" y="70835"/>
                    </a:cubicBezTo>
                    <a:cubicBezTo>
                      <a:pt x="329667" y="83331"/>
                      <a:pt x="336417" y="101285"/>
                      <a:pt x="339002" y="114787"/>
                    </a:cubicBezTo>
                    <a:cubicBezTo>
                      <a:pt x="341585" y="128277"/>
                      <a:pt x="339007" y="151802"/>
                      <a:pt x="339002" y="151844"/>
                    </a:cubicBezTo>
                    <a:lnTo>
                      <a:pt x="339595" y="159709"/>
                    </a:lnTo>
                    <a:cubicBezTo>
                      <a:pt x="339792" y="161217"/>
                      <a:pt x="339792" y="161827"/>
                      <a:pt x="339002" y="162186"/>
                    </a:cubicBezTo>
                    <a:cubicBezTo>
                      <a:pt x="337423" y="162905"/>
                      <a:pt x="332395" y="157159"/>
                      <a:pt x="329523" y="156154"/>
                    </a:cubicBezTo>
                    <a:cubicBezTo>
                      <a:pt x="326649" y="155149"/>
                      <a:pt x="323921" y="155580"/>
                      <a:pt x="321766" y="156154"/>
                    </a:cubicBezTo>
                    <a:cubicBezTo>
                      <a:pt x="319612" y="156729"/>
                      <a:pt x="318607" y="161037"/>
                      <a:pt x="316596" y="159601"/>
                    </a:cubicBezTo>
                    <a:lnTo>
                      <a:pt x="314735" y="156951"/>
                    </a:lnTo>
                    <a:lnTo>
                      <a:pt x="313615" y="179355"/>
                    </a:lnTo>
                    <a:lnTo>
                      <a:pt x="314222" y="186622"/>
                    </a:lnTo>
                    <a:cubicBezTo>
                      <a:pt x="315937" y="183907"/>
                      <a:pt x="316926" y="174790"/>
                      <a:pt x="318966" y="172097"/>
                    </a:cubicBezTo>
                    <a:cubicBezTo>
                      <a:pt x="321659" y="168542"/>
                      <a:pt x="325429" y="165310"/>
                      <a:pt x="328661" y="165633"/>
                    </a:cubicBezTo>
                    <a:lnTo>
                      <a:pt x="338357" y="174036"/>
                    </a:lnTo>
                    <a:cubicBezTo>
                      <a:pt x="340403" y="178669"/>
                      <a:pt x="341481" y="184163"/>
                      <a:pt x="340941" y="193427"/>
                    </a:cubicBezTo>
                    <a:cubicBezTo>
                      <a:pt x="340403" y="202691"/>
                      <a:pt x="336417" y="218743"/>
                      <a:pt x="335125" y="229623"/>
                    </a:cubicBezTo>
                    <a:cubicBezTo>
                      <a:pt x="333832" y="240504"/>
                      <a:pt x="334909" y="251491"/>
                      <a:pt x="333185" y="258709"/>
                    </a:cubicBezTo>
                    <a:cubicBezTo>
                      <a:pt x="331462" y="265927"/>
                      <a:pt x="327907" y="269805"/>
                      <a:pt x="324783" y="272929"/>
                    </a:cubicBezTo>
                    <a:cubicBezTo>
                      <a:pt x="321659" y="276053"/>
                      <a:pt x="316811" y="271959"/>
                      <a:pt x="314442" y="277454"/>
                    </a:cubicBezTo>
                    <a:cubicBezTo>
                      <a:pt x="312071" y="282947"/>
                      <a:pt x="312394" y="298352"/>
                      <a:pt x="310563" y="305893"/>
                    </a:cubicBezTo>
                    <a:cubicBezTo>
                      <a:pt x="308732" y="313435"/>
                      <a:pt x="305177" y="316558"/>
                      <a:pt x="303454" y="322699"/>
                    </a:cubicBezTo>
                    <a:cubicBezTo>
                      <a:pt x="301730" y="328840"/>
                      <a:pt x="303022" y="336381"/>
                      <a:pt x="300221" y="342735"/>
                    </a:cubicBezTo>
                    <a:cubicBezTo>
                      <a:pt x="297420" y="349091"/>
                      <a:pt x="293758" y="352862"/>
                      <a:pt x="286648" y="360834"/>
                    </a:cubicBezTo>
                    <a:cubicBezTo>
                      <a:pt x="279538" y="368805"/>
                      <a:pt x="271459" y="379901"/>
                      <a:pt x="257562" y="390566"/>
                    </a:cubicBezTo>
                    <a:cubicBezTo>
                      <a:pt x="243665" y="401231"/>
                      <a:pt x="216087" y="419006"/>
                      <a:pt x="203268" y="424824"/>
                    </a:cubicBezTo>
                    <a:cubicBezTo>
                      <a:pt x="190449" y="430640"/>
                      <a:pt x="188617" y="430101"/>
                      <a:pt x="180646" y="425470"/>
                    </a:cubicBezTo>
                    <a:cubicBezTo>
                      <a:pt x="172673" y="420838"/>
                      <a:pt x="162224" y="405325"/>
                      <a:pt x="155438" y="397029"/>
                    </a:cubicBezTo>
                    <a:cubicBezTo>
                      <a:pt x="148652" y="388735"/>
                      <a:pt x="143157" y="381733"/>
                      <a:pt x="139926" y="375700"/>
                    </a:cubicBezTo>
                    <a:cubicBezTo>
                      <a:pt x="136694" y="369668"/>
                      <a:pt x="140572" y="368482"/>
                      <a:pt x="136047" y="360834"/>
                    </a:cubicBezTo>
                    <a:cubicBezTo>
                      <a:pt x="131523" y="353185"/>
                      <a:pt x="118918" y="342412"/>
                      <a:pt x="112779" y="329809"/>
                    </a:cubicBezTo>
                    <a:cubicBezTo>
                      <a:pt x="106638" y="317205"/>
                      <a:pt x="100390" y="294690"/>
                      <a:pt x="99205" y="285210"/>
                    </a:cubicBezTo>
                    <a:cubicBezTo>
                      <a:pt x="98020" y="275730"/>
                      <a:pt x="92850" y="282947"/>
                      <a:pt x="90156" y="280685"/>
                    </a:cubicBezTo>
                    <a:cubicBezTo>
                      <a:pt x="87463" y="278423"/>
                      <a:pt x="84124" y="277023"/>
                      <a:pt x="83046" y="271636"/>
                    </a:cubicBezTo>
                    <a:lnTo>
                      <a:pt x="83692" y="248367"/>
                    </a:lnTo>
                    <a:cubicBezTo>
                      <a:pt x="83585" y="240181"/>
                      <a:pt x="84554" y="231562"/>
                      <a:pt x="82400" y="222514"/>
                    </a:cubicBezTo>
                    <a:cubicBezTo>
                      <a:pt x="80245" y="213464"/>
                      <a:pt x="72058" y="201399"/>
                      <a:pt x="70765" y="194074"/>
                    </a:cubicBezTo>
                    <a:cubicBezTo>
                      <a:pt x="69473" y="186748"/>
                      <a:pt x="71628" y="178561"/>
                      <a:pt x="76140" y="179776"/>
                    </a:cubicBezTo>
                    <a:lnTo>
                      <a:pt x="73324" y="163813"/>
                    </a:lnTo>
                    <a:lnTo>
                      <a:pt x="72704" y="163048"/>
                    </a:lnTo>
                    <a:cubicBezTo>
                      <a:pt x="69545" y="153568"/>
                      <a:pt x="63943" y="124985"/>
                      <a:pt x="64086" y="111339"/>
                    </a:cubicBezTo>
                    <a:cubicBezTo>
                      <a:pt x="64230" y="97694"/>
                      <a:pt x="68827" y="92236"/>
                      <a:pt x="73566" y="81177"/>
                    </a:cubicBezTo>
                    <a:cubicBezTo>
                      <a:pt x="78306" y="70116"/>
                      <a:pt x="85344" y="54747"/>
                      <a:pt x="92526" y="44980"/>
                    </a:cubicBezTo>
                    <a:cubicBezTo>
                      <a:pt x="99708" y="35213"/>
                      <a:pt x="106746" y="28894"/>
                      <a:pt x="116657" y="22573"/>
                    </a:cubicBezTo>
                    <a:cubicBezTo>
                      <a:pt x="126567" y="16253"/>
                      <a:pt x="142224" y="10795"/>
                      <a:pt x="151990" y="7061"/>
                    </a:cubicBezTo>
                    <a:cubicBezTo>
                      <a:pt x="161758" y="3326"/>
                      <a:pt x="165492" y="740"/>
                      <a:pt x="175260" y="1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2" name="Freeform 181"/>
              <p:cNvSpPr/>
              <p:nvPr/>
            </p:nvSpPr>
            <p:spPr>
              <a:xfrm>
                <a:off x="6453077" y="874629"/>
                <a:ext cx="515226" cy="505679"/>
              </a:xfrm>
              <a:custGeom>
                <a:avLst/>
                <a:gdLst>
                  <a:gd name="connsiteX0" fmla="*/ 992965 w 1413367"/>
                  <a:gd name="connsiteY0" fmla="*/ 998817 h 1522526"/>
                  <a:gd name="connsiteX1" fmla="*/ 1003490 w 1413367"/>
                  <a:gd name="connsiteY1" fmla="*/ 1002500 h 1522526"/>
                  <a:gd name="connsiteX2" fmla="*/ 1110648 w 1413367"/>
                  <a:gd name="connsiteY2" fmla="*/ 1036732 h 1522526"/>
                  <a:gd name="connsiteX3" fmla="*/ 1228224 w 1413367"/>
                  <a:gd name="connsiteY3" fmla="*/ 1091799 h 1522526"/>
                  <a:gd name="connsiteX4" fmla="*/ 1293710 w 1413367"/>
                  <a:gd name="connsiteY4" fmla="*/ 1137937 h 1522526"/>
                  <a:gd name="connsiteX5" fmla="*/ 1323178 w 1413367"/>
                  <a:gd name="connsiteY5" fmla="*/ 1187646 h 1522526"/>
                  <a:gd name="connsiteX6" fmla="*/ 1340257 w 1413367"/>
                  <a:gd name="connsiteY6" fmla="*/ 1220010 h 1522526"/>
                  <a:gd name="connsiteX7" fmla="*/ 1413367 w 1413367"/>
                  <a:gd name="connsiteY7" fmla="*/ 1463277 h 1522526"/>
                  <a:gd name="connsiteX8" fmla="*/ 1177029 w 1413367"/>
                  <a:gd name="connsiteY8" fmla="*/ 1493045 h 1522526"/>
                  <a:gd name="connsiteX9" fmla="*/ 1132974 w 1413367"/>
                  <a:gd name="connsiteY9" fmla="*/ 1439469 h 1522526"/>
                  <a:gd name="connsiteX10" fmla="*/ 1151130 w 1413367"/>
                  <a:gd name="connsiteY10" fmla="*/ 1492451 h 1522526"/>
                  <a:gd name="connsiteX11" fmla="*/ 267073 w 1413367"/>
                  <a:gd name="connsiteY11" fmla="*/ 1497214 h 1522526"/>
                  <a:gd name="connsiteX12" fmla="*/ 250922 w 1413367"/>
                  <a:gd name="connsiteY12" fmla="*/ 1492951 h 1522526"/>
                  <a:gd name="connsiteX13" fmla="*/ 273457 w 1413367"/>
                  <a:gd name="connsiteY13" fmla="*/ 1446229 h 1522526"/>
                  <a:gd name="connsiteX14" fmla="*/ 221069 w 1413367"/>
                  <a:gd name="connsiteY14" fmla="*/ 1493854 h 1522526"/>
                  <a:gd name="connsiteX15" fmla="*/ 668 w 1413367"/>
                  <a:gd name="connsiteY15" fmla="*/ 1482327 h 1522526"/>
                  <a:gd name="connsiteX16" fmla="*/ 61391 w 1413367"/>
                  <a:gd name="connsiteY16" fmla="*/ 1223961 h 1522526"/>
                  <a:gd name="connsiteX17" fmla="*/ 92644 w 1413367"/>
                  <a:gd name="connsiteY17" fmla="*/ 1157285 h 1522526"/>
                  <a:gd name="connsiteX18" fmla="*/ 153665 w 1413367"/>
                  <a:gd name="connsiteY18" fmla="*/ 1120077 h 1522526"/>
                  <a:gd name="connsiteX19" fmla="*/ 251893 w 1413367"/>
                  <a:gd name="connsiteY19" fmla="*/ 1078404 h 1522526"/>
                  <a:gd name="connsiteX20" fmla="*/ 376911 w 1413367"/>
                  <a:gd name="connsiteY20" fmla="*/ 1029290 h 1522526"/>
                  <a:gd name="connsiteX21" fmla="*/ 410479 w 1413367"/>
                  <a:gd name="connsiteY21" fmla="*/ 1016502 h 1522526"/>
                  <a:gd name="connsiteX22" fmla="*/ 592543 w 1413367"/>
                  <a:gd name="connsiteY22" fmla="*/ 1272398 h 1522526"/>
                  <a:gd name="connsiteX23" fmla="*/ 763993 w 1413367"/>
                  <a:gd name="connsiteY23" fmla="*/ 1379555 h 1522526"/>
                  <a:gd name="connsiteX24" fmla="*/ 883056 w 1413367"/>
                  <a:gd name="connsiteY24" fmla="*/ 1243823 h 1522526"/>
                  <a:gd name="connsiteX25" fmla="*/ 992965 w 1413367"/>
                  <a:gd name="connsiteY25" fmla="*/ 998817 h 1522526"/>
                  <a:gd name="connsiteX26" fmla="*/ 856178 w 1413367"/>
                  <a:gd name="connsiteY26" fmla="*/ 852696 h 1522526"/>
                  <a:gd name="connsiteX27" fmla="*/ 851682 w 1413367"/>
                  <a:gd name="connsiteY27" fmla="*/ 923321 h 1522526"/>
                  <a:gd name="connsiteX28" fmla="*/ 959840 w 1413367"/>
                  <a:gd name="connsiteY28" fmla="*/ 978198 h 1522526"/>
                  <a:gd name="connsiteX29" fmla="*/ 885437 w 1413367"/>
                  <a:gd name="connsiteY29" fmla="*/ 1177148 h 1522526"/>
                  <a:gd name="connsiteX30" fmla="*/ 747325 w 1413367"/>
                  <a:gd name="connsiteY30" fmla="*/ 1341455 h 1522526"/>
                  <a:gd name="connsiteX31" fmla="*/ 556825 w 1413367"/>
                  <a:gd name="connsiteY31" fmla="*/ 1191436 h 1522526"/>
                  <a:gd name="connsiteX32" fmla="*/ 439913 w 1413367"/>
                  <a:gd name="connsiteY32" fmla="*/ 1004825 h 1522526"/>
                  <a:gd name="connsiteX33" fmla="*/ 551936 w 1413367"/>
                  <a:gd name="connsiteY33" fmla="*/ 931359 h 1522526"/>
                  <a:gd name="connsiteX34" fmla="*/ 550504 w 1413367"/>
                  <a:gd name="connsiteY34" fmla="*/ 858311 h 1522526"/>
                  <a:gd name="connsiteX35" fmla="*/ 621119 w 1413367"/>
                  <a:gd name="connsiteY35" fmla="*/ 900922 h 1522526"/>
                  <a:gd name="connsiteX36" fmla="*/ 728276 w 1413367"/>
                  <a:gd name="connsiteY36" fmla="*/ 915210 h 1522526"/>
                  <a:gd name="connsiteX37" fmla="*/ 821144 w 1413367"/>
                  <a:gd name="connsiteY37" fmla="*/ 874729 h 1522526"/>
                  <a:gd name="connsiteX38" fmla="*/ 856178 w 1413367"/>
                  <a:gd name="connsiteY38" fmla="*/ 852696 h 1522526"/>
                  <a:gd name="connsiteX39" fmla="*/ 1041767 w 1413367"/>
                  <a:gd name="connsiteY39" fmla="*/ 314309 h 1522526"/>
                  <a:gd name="connsiteX40" fmla="*/ 1048139 w 1413367"/>
                  <a:gd name="connsiteY40" fmla="*/ 320855 h 1522526"/>
                  <a:gd name="connsiteX41" fmla="*/ 1074929 w 1413367"/>
                  <a:gd name="connsiteY41" fmla="*/ 428013 h 1522526"/>
                  <a:gd name="connsiteX42" fmla="*/ 1101718 w 1413367"/>
                  <a:gd name="connsiteY42" fmla="*/ 569403 h 1522526"/>
                  <a:gd name="connsiteX43" fmla="*/ 1110648 w 1413367"/>
                  <a:gd name="connsiteY43" fmla="*/ 704839 h 1522526"/>
                  <a:gd name="connsiteX44" fmla="*/ 1107671 w 1413367"/>
                  <a:gd name="connsiteY44" fmla="*/ 789672 h 1522526"/>
                  <a:gd name="connsiteX45" fmla="*/ 1082370 w 1413367"/>
                  <a:gd name="connsiteY45" fmla="*/ 850693 h 1522526"/>
                  <a:gd name="connsiteX46" fmla="*/ 1036232 w 1413367"/>
                  <a:gd name="connsiteY46" fmla="*/ 859623 h 1522526"/>
                  <a:gd name="connsiteX47" fmla="*/ 963305 w 1413367"/>
                  <a:gd name="connsiteY47" fmla="*/ 853670 h 1522526"/>
                  <a:gd name="connsiteX48" fmla="*/ 908238 w 1413367"/>
                  <a:gd name="connsiteY48" fmla="*/ 834322 h 1522526"/>
                  <a:gd name="connsiteX49" fmla="*/ 915679 w 1413367"/>
                  <a:gd name="connsiteY49" fmla="*/ 813485 h 1522526"/>
                  <a:gd name="connsiteX50" fmla="*/ 945445 w 1413367"/>
                  <a:gd name="connsiteY50" fmla="*/ 773301 h 1522526"/>
                  <a:gd name="connsiteX51" fmla="*/ 973724 w 1413367"/>
                  <a:gd name="connsiteY51" fmla="*/ 704839 h 1522526"/>
                  <a:gd name="connsiteX52" fmla="*/ 979677 w 1413367"/>
                  <a:gd name="connsiteY52" fmla="*/ 675072 h 1522526"/>
                  <a:gd name="connsiteX53" fmla="*/ 997536 w 1413367"/>
                  <a:gd name="connsiteY53" fmla="*/ 655725 h 1522526"/>
                  <a:gd name="connsiteX54" fmla="*/ 1022838 w 1413367"/>
                  <a:gd name="connsiteY54" fmla="*/ 579821 h 1522526"/>
                  <a:gd name="connsiteX55" fmla="*/ 1040697 w 1413367"/>
                  <a:gd name="connsiteY55" fmla="*/ 499452 h 1522526"/>
                  <a:gd name="connsiteX56" fmla="*/ 1042186 w 1413367"/>
                  <a:gd name="connsiteY56" fmla="*/ 463733 h 1522526"/>
                  <a:gd name="connsiteX57" fmla="*/ 1025814 w 1413367"/>
                  <a:gd name="connsiteY57" fmla="*/ 430990 h 1522526"/>
                  <a:gd name="connsiteX58" fmla="*/ 1009443 w 1413367"/>
                  <a:gd name="connsiteY58" fmla="*/ 416107 h 1522526"/>
                  <a:gd name="connsiteX59" fmla="*/ 1006466 w 1413367"/>
                  <a:gd name="connsiteY59" fmla="*/ 386340 h 1522526"/>
                  <a:gd name="connsiteX60" fmla="*/ 1009443 w 1413367"/>
                  <a:gd name="connsiteY60" fmla="*/ 350621 h 1522526"/>
                  <a:gd name="connsiteX61" fmla="*/ 1024326 w 1413367"/>
                  <a:gd name="connsiteY61" fmla="*/ 328297 h 1522526"/>
                  <a:gd name="connsiteX62" fmla="*/ 1041767 w 1413367"/>
                  <a:gd name="connsiteY62" fmla="*/ 314309 h 1522526"/>
                  <a:gd name="connsiteX63" fmla="*/ 616358 w 1413367"/>
                  <a:gd name="connsiteY63" fmla="*/ 96060 h 1522526"/>
                  <a:gd name="connsiteX64" fmla="*/ 509202 w 1413367"/>
                  <a:gd name="connsiteY64" fmla="*/ 431816 h 1522526"/>
                  <a:gd name="connsiteX65" fmla="*/ 654458 w 1413367"/>
                  <a:gd name="connsiteY65" fmla="*/ 184165 h 1522526"/>
                  <a:gd name="connsiteX66" fmla="*/ 616358 w 1413367"/>
                  <a:gd name="connsiteY66" fmla="*/ 96060 h 1522526"/>
                  <a:gd name="connsiteX67" fmla="*/ 651876 w 1413367"/>
                  <a:gd name="connsiteY67" fmla="*/ 0 h 1522526"/>
                  <a:gd name="connsiteX68" fmla="*/ 696401 w 1413367"/>
                  <a:gd name="connsiteY68" fmla="*/ 372 h 1522526"/>
                  <a:gd name="connsiteX69" fmla="*/ 757918 w 1413367"/>
                  <a:gd name="connsiteY69" fmla="*/ 6326 h 1522526"/>
                  <a:gd name="connsiteX70" fmla="*/ 829357 w 1413367"/>
                  <a:gd name="connsiteY70" fmla="*/ 38076 h 1522526"/>
                  <a:gd name="connsiteX71" fmla="*/ 910718 w 1413367"/>
                  <a:gd name="connsiteY71" fmla="*/ 103562 h 1522526"/>
                  <a:gd name="connsiteX72" fmla="*/ 1005970 w 1413367"/>
                  <a:gd name="connsiteY72" fmla="*/ 216673 h 1522526"/>
                  <a:gd name="connsiteX73" fmla="*/ 1041689 w 1413367"/>
                  <a:gd name="connsiteY73" fmla="*/ 276206 h 1522526"/>
                  <a:gd name="connsiteX74" fmla="*/ 1025814 w 1413367"/>
                  <a:gd name="connsiteY74" fmla="*/ 313909 h 1522526"/>
                  <a:gd name="connsiteX75" fmla="*/ 992079 w 1413367"/>
                  <a:gd name="connsiteY75" fmla="*/ 331769 h 1522526"/>
                  <a:gd name="connsiteX76" fmla="*/ 968266 w 1413367"/>
                  <a:gd name="connsiteY76" fmla="*/ 311925 h 1522526"/>
                  <a:gd name="connsiteX77" fmla="*/ 914687 w 1413367"/>
                  <a:gd name="connsiteY77" fmla="*/ 256361 h 1522526"/>
                  <a:gd name="connsiteX78" fmla="*/ 819435 w 1413367"/>
                  <a:gd name="connsiteY78" fmla="*/ 210720 h 1522526"/>
                  <a:gd name="connsiteX79" fmla="*/ 716246 w 1413367"/>
                  <a:gd name="connsiteY79" fmla="*/ 210720 h 1522526"/>
                  <a:gd name="connsiteX80" fmla="*/ 850617 w 1413367"/>
                  <a:gd name="connsiteY80" fmla="*/ 240487 h 1522526"/>
                  <a:gd name="connsiteX81" fmla="*/ 916103 w 1413367"/>
                  <a:gd name="connsiteY81" fmla="*/ 279721 h 1522526"/>
                  <a:gd name="connsiteX82" fmla="*/ 978269 w 1413367"/>
                  <a:gd name="connsiteY82" fmla="*/ 344718 h 1522526"/>
                  <a:gd name="connsiteX83" fmla="*/ 969452 w 1413367"/>
                  <a:gd name="connsiteY83" fmla="*/ 378896 h 1522526"/>
                  <a:gd name="connsiteX84" fmla="*/ 969452 w 1413367"/>
                  <a:gd name="connsiteY84" fmla="*/ 451651 h 1522526"/>
                  <a:gd name="connsiteX85" fmla="*/ 1003488 w 1413367"/>
                  <a:gd name="connsiteY85" fmla="*/ 478628 h 1522526"/>
                  <a:gd name="connsiteX86" fmla="*/ 967232 w 1413367"/>
                  <a:gd name="connsiteY86" fmla="*/ 638035 h 1522526"/>
                  <a:gd name="connsiteX87" fmla="*/ 946515 w 1413367"/>
                  <a:gd name="connsiteY87" fmla="*/ 651932 h 1522526"/>
                  <a:gd name="connsiteX88" fmla="*/ 838644 w 1413367"/>
                  <a:gd name="connsiteY88" fmla="*/ 831290 h 1522526"/>
                  <a:gd name="connsiteX89" fmla="*/ 749707 w 1413367"/>
                  <a:gd name="connsiteY89" fmla="*/ 893779 h 1522526"/>
                  <a:gd name="connsiteX90" fmla="*/ 663982 w 1413367"/>
                  <a:gd name="connsiteY90" fmla="*/ 893779 h 1522526"/>
                  <a:gd name="connsiteX91" fmla="*/ 542921 w 1413367"/>
                  <a:gd name="connsiteY91" fmla="*/ 821966 h 1522526"/>
                  <a:gd name="connsiteX92" fmla="*/ 450782 w 1413367"/>
                  <a:gd name="connsiteY92" fmla="*/ 643758 h 1522526"/>
                  <a:gd name="connsiteX93" fmla="*/ 390111 w 1413367"/>
                  <a:gd name="connsiteY93" fmla="*/ 503970 h 1522526"/>
                  <a:gd name="connsiteX94" fmla="*/ 413787 w 1413367"/>
                  <a:gd name="connsiteY94" fmla="*/ 464730 h 1522526"/>
                  <a:gd name="connsiteX95" fmla="*/ 402973 w 1413367"/>
                  <a:gd name="connsiteY95" fmla="*/ 399317 h 1522526"/>
                  <a:gd name="connsiteX96" fmla="*/ 376911 w 1413367"/>
                  <a:gd name="connsiteY96" fmla="*/ 419083 h 1522526"/>
                  <a:gd name="connsiteX97" fmla="*/ 361036 w 1413367"/>
                  <a:gd name="connsiteY97" fmla="*/ 438927 h 1522526"/>
                  <a:gd name="connsiteX98" fmla="*/ 347145 w 1413367"/>
                  <a:gd name="connsiteY98" fmla="*/ 476631 h 1522526"/>
                  <a:gd name="connsiteX99" fmla="*/ 353098 w 1413367"/>
                  <a:gd name="connsiteY99" fmla="*/ 514335 h 1522526"/>
                  <a:gd name="connsiteX100" fmla="*/ 363020 w 1413367"/>
                  <a:gd name="connsiteY100" fmla="*/ 571883 h 1522526"/>
                  <a:gd name="connsiteX101" fmla="*/ 386833 w 1413367"/>
                  <a:gd name="connsiteY101" fmla="*/ 665150 h 1522526"/>
                  <a:gd name="connsiteX102" fmla="*/ 412630 w 1413367"/>
                  <a:gd name="connsiteY102" fmla="*/ 686979 h 1522526"/>
                  <a:gd name="connsiteX103" fmla="*/ 428506 w 1413367"/>
                  <a:gd name="connsiteY103" fmla="*/ 728652 h 1522526"/>
                  <a:gd name="connsiteX104" fmla="*/ 466210 w 1413367"/>
                  <a:gd name="connsiteY104" fmla="*/ 802075 h 1522526"/>
                  <a:gd name="connsiteX105" fmla="*/ 482085 w 1413367"/>
                  <a:gd name="connsiteY105" fmla="*/ 847716 h 1522526"/>
                  <a:gd name="connsiteX106" fmla="*/ 438428 w 1413367"/>
                  <a:gd name="connsiteY106" fmla="*/ 859623 h 1522526"/>
                  <a:gd name="connsiteX107" fmla="*/ 374927 w 1413367"/>
                  <a:gd name="connsiteY107" fmla="*/ 867560 h 1522526"/>
                  <a:gd name="connsiteX108" fmla="*/ 317379 w 1413367"/>
                  <a:gd name="connsiteY108" fmla="*/ 853670 h 1522526"/>
                  <a:gd name="connsiteX109" fmla="*/ 291581 w 1413367"/>
                  <a:gd name="connsiteY109" fmla="*/ 810012 h 1522526"/>
                  <a:gd name="connsiteX110" fmla="*/ 279675 w 1413367"/>
                  <a:gd name="connsiteY110" fmla="*/ 732620 h 1522526"/>
                  <a:gd name="connsiteX111" fmla="*/ 283644 w 1413367"/>
                  <a:gd name="connsiteY111" fmla="*/ 631415 h 1522526"/>
                  <a:gd name="connsiteX112" fmla="*/ 315394 w 1413367"/>
                  <a:gd name="connsiteY112" fmla="*/ 415114 h 1522526"/>
                  <a:gd name="connsiteX113" fmla="*/ 388817 w 1413367"/>
                  <a:gd name="connsiteY113" fmla="*/ 194845 h 1522526"/>
                  <a:gd name="connsiteX114" fmla="*/ 450334 w 1413367"/>
                  <a:gd name="connsiteY114" fmla="*/ 93640 h 1522526"/>
                  <a:gd name="connsiteX115" fmla="*/ 509867 w 1413367"/>
                  <a:gd name="connsiteY115" fmla="*/ 44029 h 1522526"/>
                  <a:gd name="connsiteX116" fmla="*/ 563446 w 1413367"/>
                  <a:gd name="connsiteY116" fmla="*/ 36092 h 1522526"/>
                  <a:gd name="connsiteX117" fmla="*/ 609087 w 1413367"/>
                  <a:gd name="connsiteY117" fmla="*/ 4341 h 1522526"/>
                  <a:gd name="connsiteX118" fmla="*/ 651876 w 1413367"/>
                  <a:gd name="connsiteY118"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228224 w 1487186"/>
                  <a:gd name="connsiteY3" fmla="*/ 1091799 h 1522526"/>
                  <a:gd name="connsiteX4" fmla="*/ 1293710 w 1487186"/>
                  <a:gd name="connsiteY4" fmla="*/ 1137937 h 1522526"/>
                  <a:gd name="connsiteX5" fmla="*/ 1323178 w 1487186"/>
                  <a:gd name="connsiteY5" fmla="*/ 1187646 h 1522526"/>
                  <a:gd name="connsiteX6" fmla="*/ 1340257 w 1487186"/>
                  <a:gd name="connsiteY6" fmla="*/ 1220010 h 1522526"/>
                  <a:gd name="connsiteX7" fmla="*/ 1487186 w 1487186"/>
                  <a:gd name="connsiteY7" fmla="*/ 1448990 h 1522526"/>
                  <a:gd name="connsiteX8" fmla="*/ 1177029 w 1487186"/>
                  <a:gd name="connsiteY8" fmla="*/ 1493045 h 1522526"/>
                  <a:gd name="connsiteX9" fmla="*/ 1132974 w 1487186"/>
                  <a:gd name="connsiteY9" fmla="*/ 1439469 h 1522526"/>
                  <a:gd name="connsiteX10" fmla="*/ 1151130 w 1487186"/>
                  <a:gd name="connsiteY10" fmla="*/ 1492451 h 1522526"/>
                  <a:gd name="connsiteX11" fmla="*/ 267073 w 1487186"/>
                  <a:gd name="connsiteY11" fmla="*/ 1497214 h 1522526"/>
                  <a:gd name="connsiteX12" fmla="*/ 250922 w 1487186"/>
                  <a:gd name="connsiteY12" fmla="*/ 1492951 h 1522526"/>
                  <a:gd name="connsiteX13" fmla="*/ 273457 w 1487186"/>
                  <a:gd name="connsiteY13" fmla="*/ 1446229 h 1522526"/>
                  <a:gd name="connsiteX14" fmla="*/ 221069 w 1487186"/>
                  <a:gd name="connsiteY14" fmla="*/ 1493854 h 1522526"/>
                  <a:gd name="connsiteX15" fmla="*/ 668 w 1487186"/>
                  <a:gd name="connsiteY15" fmla="*/ 1482327 h 1522526"/>
                  <a:gd name="connsiteX16" fmla="*/ 61391 w 1487186"/>
                  <a:gd name="connsiteY16" fmla="*/ 1223961 h 1522526"/>
                  <a:gd name="connsiteX17" fmla="*/ 92644 w 1487186"/>
                  <a:gd name="connsiteY17" fmla="*/ 1157285 h 1522526"/>
                  <a:gd name="connsiteX18" fmla="*/ 153665 w 1487186"/>
                  <a:gd name="connsiteY18" fmla="*/ 1120077 h 1522526"/>
                  <a:gd name="connsiteX19" fmla="*/ 251893 w 1487186"/>
                  <a:gd name="connsiteY19" fmla="*/ 1078404 h 1522526"/>
                  <a:gd name="connsiteX20" fmla="*/ 376911 w 1487186"/>
                  <a:gd name="connsiteY20" fmla="*/ 1029290 h 1522526"/>
                  <a:gd name="connsiteX21" fmla="*/ 410479 w 1487186"/>
                  <a:gd name="connsiteY21" fmla="*/ 1016502 h 1522526"/>
                  <a:gd name="connsiteX22" fmla="*/ 592543 w 1487186"/>
                  <a:gd name="connsiteY22" fmla="*/ 1272398 h 1522526"/>
                  <a:gd name="connsiteX23" fmla="*/ 763993 w 1487186"/>
                  <a:gd name="connsiteY23" fmla="*/ 1379555 h 1522526"/>
                  <a:gd name="connsiteX24" fmla="*/ 883056 w 1487186"/>
                  <a:gd name="connsiteY24" fmla="*/ 1243823 h 1522526"/>
                  <a:gd name="connsiteX25" fmla="*/ 992965 w 1487186"/>
                  <a:gd name="connsiteY25" fmla="*/ 998817 h 1522526"/>
                  <a:gd name="connsiteX26" fmla="*/ 856178 w 1487186"/>
                  <a:gd name="connsiteY26" fmla="*/ 852696 h 1522526"/>
                  <a:gd name="connsiteX27" fmla="*/ 851682 w 1487186"/>
                  <a:gd name="connsiteY27" fmla="*/ 923321 h 1522526"/>
                  <a:gd name="connsiteX28" fmla="*/ 959840 w 1487186"/>
                  <a:gd name="connsiteY28" fmla="*/ 978198 h 1522526"/>
                  <a:gd name="connsiteX29" fmla="*/ 885437 w 1487186"/>
                  <a:gd name="connsiteY29" fmla="*/ 1177148 h 1522526"/>
                  <a:gd name="connsiteX30" fmla="*/ 747325 w 1487186"/>
                  <a:gd name="connsiteY30" fmla="*/ 1341455 h 1522526"/>
                  <a:gd name="connsiteX31" fmla="*/ 556825 w 1487186"/>
                  <a:gd name="connsiteY31" fmla="*/ 1191436 h 1522526"/>
                  <a:gd name="connsiteX32" fmla="*/ 439913 w 1487186"/>
                  <a:gd name="connsiteY32" fmla="*/ 1004825 h 1522526"/>
                  <a:gd name="connsiteX33" fmla="*/ 551936 w 1487186"/>
                  <a:gd name="connsiteY33" fmla="*/ 931359 h 1522526"/>
                  <a:gd name="connsiteX34" fmla="*/ 550504 w 1487186"/>
                  <a:gd name="connsiteY34" fmla="*/ 858311 h 1522526"/>
                  <a:gd name="connsiteX35" fmla="*/ 621119 w 1487186"/>
                  <a:gd name="connsiteY35" fmla="*/ 900922 h 1522526"/>
                  <a:gd name="connsiteX36" fmla="*/ 728276 w 1487186"/>
                  <a:gd name="connsiteY36" fmla="*/ 915210 h 1522526"/>
                  <a:gd name="connsiteX37" fmla="*/ 821144 w 1487186"/>
                  <a:gd name="connsiteY37" fmla="*/ 874729 h 1522526"/>
                  <a:gd name="connsiteX38" fmla="*/ 856178 w 1487186"/>
                  <a:gd name="connsiteY38" fmla="*/ 852696 h 1522526"/>
                  <a:gd name="connsiteX39" fmla="*/ 1041767 w 1487186"/>
                  <a:gd name="connsiteY39" fmla="*/ 314309 h 1522526"/>
                  <a:gd name="connsiteX40" fmla="*/ 1048139 w 1487186"/>
                  <a:gd name="connsiteY40" fmla="*/ 320855 h 1522526"/>
                  <a:gd name="connsiteX41" fmla="*/ 1074929 w 1487186"/>
                  <a:gd name="connsiteY41" fmla="*/ 428013 h 1522526"/>
                  <a:gd name="connsiteX42" fmla="*/ 1101718 w 1487186"/>
                  <a:gd name="connsiteY42" fmla="*/ 569403 h 1522526"/>
                  <a:gd name="connsiteX43" fmla="*/ 1110648 w 1487186"/>
                  <a:gd name="connsiteY43" fmla="*/ 704839 h 1522526"/>
                  <a:gd name="connsiteX44" fmla="*/ 1107671 w 1487186"/>
                  <a:gd name="connsiteY44" fmla="*/ 789672 h 1522526"/>
                  <a:gd name="connsiteX45" fmla="*/ 1082370 w 1487186"/>
                  <a:gd name="connsiteY45" fmla="*/ 850693 h 1522526"/>
                  <a:gd name="connsiteX46" fmla="*/ 1036232 w 1487186"/>
                  <a:gd name="connsiteY46" fmla="*/ 859623 h 1522526"/>
                  <a:gd name="connsiteX47" fmla="*/ 963305 w 1487186"/>
                  <a:gd name="connsiteY47" fmla="*/ 853670 h 1522526"/>
                  <a:gd name="connsiteX48" fmla="*/ 908238 w 1487186"/>
                  <a:gd name="connsiteY48" fmla="*/ 834322 h 1522526"/>
                  <a:gd name="connsiteX49" fmla="*/ 915679 w 1487186"/>
                  <a:gd name="connsiteY49" fmla="*/ 813485 h 1522526"/>
                  <a:gd name="connsiteX50" fmla="*/ 945445 w 1487186"/>
                  <a:gd name="connsiteY50" fmla="*/ 773301 h 1522526"/>
                  <a:gd name="connsiteX51" fmla="*/ 973724 w 1487186"/>
                  <a:gd name="connsiteY51" fmla="*/ 704839 h 1522526"/>
                  <a:gd name="connsiteX52" fmla="*/ 979677 w 1487186"/>
                  <a:gd name="connsiteY52" fmla="*/ 675072 h 1522526"/>
                  <a:gd name="connsiteX53" fmla="*/ 997536 w 1487186"/>
                  <a:gd name="connsiteY53" fmla="*/ 655725 h 1522526"/>
                  <a:gd name="connsiteX54" fmla="*/ 1022838 w 1487186"/>
                  <a:gd name="connsiteY54" fmla="*/ 579821 h 1522526"/>
                  <a:gd name="connsiteX55" fmla="*/ 1040697 w 1487186"/>
                  <a:gd name="connsiteY55" fmla="*/ 499452 h 1522526"/>
                  <a:gd name="connsiteX56" fmla="*/ 1042186 w 1487186"/>
                  <a:gd name="connsiteY56" fmla="*/ 463733 h 1522526"/>
                  <a:gd name="connsiteX57" fmla="*/ 1025814 w 1487186"/>
                  <a:gd name="connsiteY57" fmla="*/ 430990 h 1522526"/>
                  <a:gd name="connsiteX58" fmla="*/ 1009443 w 1487186"/>
                  <a:gd name="connsiteY58" fmla="*/ 416107 h 1522526"/>
                  <a:gd name="connsiteX59" fmla="*/ 1006466 w 1487186"/>
                  <a:gd name="connsiteY59" fmla="*/ 386340 h 1522526"/>
                  <a:gd name="connsiteX60" fmla="*/ 1009443 w 1487186"/>
                  <a:gd name="connsiteY60" fmla="*/ 350621 h 1522526"/>
                  <a:gd name="connsiteX61" fmla="*/ 1024326 w 1487186"/>
                  <a:gd name="connsiteY61" fmla="*/ 328297 h 1522526"/>
                  <a:gd name="connsiteX62" fmla="*/ 1041767 w 1487186"/>
                  <a:gd name="connsiteY62" fmla="*/ 314309 h 1522526"/>
                  <a:gd name="connsiteX63" fmla="*/ 616358 w 1487186"/>
                  <a:gd name="connsiteY63" fmla="*/ 96060 h 1522526"/>
                  <a:gd name="connsiteX64" fmla="*/ 509202 w 1487186"/>
                  <a:gd name="connsiteY64" fmla="*/ 431816 h 1522526"/>
                  <a:gd name="connsiteX65" fmla="*/ 654458 w 1487186"/>
                  <a:gd name="connsiteY65" fmla="*/ 184165 h 1522526"/>
                  <a:gd name="connsiteX66" fmla="*/ 616358 w 1487186"/>
                  <a:gd name="connsiteY66" fmla="*/ 96060 h 1522526"/>
                  <a:gd name="connsiteX67" fmla="*/ 651876 w 1487186"/>
                  <a:gd name="connsiteY67" fmla="*/ 0 h 1522526"/>
                  <a:gd name="connsiteX68" fmla="*/ 696401 w 1487186"/>
                  <a:gd name="connsiteY68" fmla="*/ 372 h 1522526"/>
                  <a:gd name="connsiteX69" fmla="*/ 757918 w 1487186"/>
                  <a:gd name="connsiteY69" fmla="*/ 6326 h 1522526"/>
                  <a:gd name="connsiteX70" fmla="*/ 829357 w 1487186"/>
                  <a:gd name="connsiteY70" fmla="*/ 38076 h 1522526"/>
                  <a:gd name="connsiteX71" fmla="*/ 910718 w 1487186"/>
                  <a:gd name="connsiteY71" fmla="*/ 103562 h 1522526"/>
                  <a:gd name="connsiteX72" fmla="*/ 1005970 w 1487186"/>
                  <a:gd name="connsiteY72" fmla="*/ 216673 h 1522526"/>
                  <a:gd name="connsiteX73" fmla="*/ 1041689 w 1487186"/>
                  <a:gd name="connsiteY73" fmla="*/ 276206 h 1522526"/>
                  <a:gd name="connsiteX74" fmla="*/ 1025814 w 1487186"/>
                  <a:gd name="connsiteY74" fmla="*/ 313909 h 1522526"/>
                  <a:gd name="connsiteX75" fmla="*/ 992079 w 1487186"/>
                  <a:gd name="connsiteY75" fmla="*/ 331769 h 1522526"/>
                  <a:gd name="connsiteX76" fmla="*/ 968266 w 1487186"/>
                  <a:gd name="connsiteY76" fmla="*/ 311925 h 1522526"/>
                  <a:gd name="connsiteX77" fmla="*/ 914687 w 1487186"/>
                  <a:gd name="connsiteY77" fmla="*/ 256361 h 1522526"/>
                  <a:gd name="connsiteX78" fmla="*/ 819435 w 1487186"/>
                  <a:gd name="connsiteY78" fmla="*/ 210720 h 1522526"/>
                  <a:gd name="connsiteX79" fmla="*/ 716246 w 1487186"/>
                  <a:gd name="connsiteY79" fmla="*/ 210720 h 1522526"/>
                  <a:gd name="connsiteX80" fmla="*/ 850617 w 1487186"/>
                  <a:gd name="connsiteY80" fmla="*/ 240487 h 1522526"/>
                  <a:gd name="connsiteX81" fmla="*/ 916103 w 1487186"/>
                  <a:gd name="connsiteY81" fmla="*/ 279721 h 1522526"/>
                  <a:gd name="connsiteX82" fmla="*/ 978269 w 1487186"/>
                  <a:gd name="connsiteY82" fmla="*/ 344718 h 1522526"/>
                  <a:gd name="connsiteX83" fmla="*/ 969452 w 1487186"/>
                  <a:gd name="connsiteY83" fmla="*/ 378896 h 1522526"/>
                  <a:gd name="connsiteX84" fmla="*/ 969452 w 1487186"/>
                  <a:gd name="connsiteY84" fmla="*/ 451651 h 1522526"/>
                  <a:gd name="connsiteX85" fmla="*/ 1003488 w 1487186"/>
                  <a:gd name="connsiteY85" fmla="*/ 478628 h 1522526"/>
                  <a:gd name="connsiteX86" fmla="*/ 967232 w 1487186"/>
                  <a:gd name="connsiteY86" fmla="*/ 638035 h 1522526"/>
                  <a:gd name="connsiteX87" fmla="*/ 946515 w 1487186"/>
                  <a:gd name="connsiteY87" fmla="*/ 651932 h 1522526"/>
                  <a:gd name="connsiteX88" fmla="*/ 838644 w 1487186"/>
                  <a:gd name="connsiteY88" fmla="*/ 831290 h 1522526"/>
                  <a:gd name="connsiteX89" fmla="*/ 749707 w 1487186"/>
                  <a:gd name="connsiteY89" fmla="*/ 893779 h 1522526"/>
                  <a:gd name="connsiteX90" fmla="*/ 663982 w 1487186"/>
                  <a:gd name="connsiteY90" fmla="*/ 893779 h 1522526"/>
                  <a:gd name="connsiteX91" fmla="*/ 542921 w 1487186"/>
                  <a:gd name="connsiteY91" fmla="*/ 821966 h 1522526"/>
                  <a:gd name="connsiteX92" fmla="*/ 450782 w 1487186"/>
                  <a:gd name="connsiteY92" fmla="*/ 643758 h 1522526"/>
                  <a:gd name="connsiteX93" fmla="*/ 390111 w 1487186"/>
                  <a:gd name="connsiteY93" fmla="*/ 503970 h 1522526"/>
                  <a:gd name="connsiteX94" fmla="*/ 413787 w 1487186"/>
                  <a:gd name="connsiteY94" fmla="*/ 464730 h 1522526"/>
                  <a:gd name="connsiteX95" fmla="*/ 402973 w 1487186"/>
                  <a:gd name="connsiteY95" fmla="*/ 399317 h 1522526"/>
                  <a:gd name="connsiteX96" fmla="*/ 376911 w 1487186"/>
                  <a:gd name="connsiteY96" fmla="*/ 419083 h 1522526"/>
                  <a:gd name="connsiteX97" fmla="*/ 361036 w 1487186"/>
                  <a:gd name="connsiteY97" fmla="*/ 438927 h 1522526"/>
                  <a:gd name="connsiteX98" fmla="*/ 347145 w 1487186"/>
                  <a:gd name="connsiteY98" fmla="*/ 476631 h 1522526"/>
                  <a:gd name="connsiteX99" fmla="*/ 353098 w 1487186"/>
                  <a:gd name="connsiteY99" fmla="*/ 514335 h 1522526"/>
                  <a:gd name="connsiteX100" fmla="*/ 363020 w 1487186"/>
                  <a:gd name="connsiteY100" fmla="*/ 571883 h 1522526"/>
                  <a:gd name="connsiteX101" fmla="*/ 386833 w 1487186"/>
                  <a:gd name="connsiteY101" fmla="*/ 665150 h 1522526"/>
                  <a:gd name="connsiteX102" fmla="*/ 412630 w 1487186"/>
                  <a:gd name="connsiteY102" fmla="*/ 686979 h 1522526"/>
                  <a:gd name="connsiteX103" fmla="*/ 428506 w 1487186"/>
                  <a:gd name="connsiteY103" fmla="*/ 728652 h 1522526"/>
                  <a:gd name="connsiteX104" fmla="*/ 466210 w 1487186"/>
                  <a:gd name="connsiteY104" fmla="*/ 802075 h 1522526"/>
                  <a:gd name="connsiteX105" fmla="*/ 482085 w 1487186"/>
                  <a:gd name="connsiteY105" fmla="*/ 847716 h 1522526"/>
                  <a:gd name="connsiteX106" fmla="*/ 438428 w 1487186"/>
                  <a:gd name="connsiteY106" fmla="*/ 859623 h 1522526"/>
                  <a:gd name="connsiteX107" fmla="*/ 374927 w 1487186"/>
                  <a:gd name="connsiteY107" fmla="*/ 867560 h 1522526"/>
                  <a:gd name="connsiteX108" fmla="*/ 317379 w 1487186"/>
                  <a:gd name="connsiteY108" fmla="*/ 853670 h 1522526"/>
                  <a:gd name="connsiteX109" fmla="*/ 291581 w 1487186"/>
                  <a:gd name="connsiteY109" fmla="*/ 810012 h 1522526"/>
                  <a:gd name="connsiteX110" fmla="*/ 279675 w 1487186"/>
                  <a:gd name="connsiteY110" fmla="*/ 732620 h 1522526"/>
                  <a:gd name="connsiteX111" fmla="*/ 283644 w 1487186"/>
                  <a:gd name="connsiteY111" fmla="*/ 631415 h 1522526"/>
                  <a:gd name="connsiteX112" fmla="*/ 315394 w 1487186"/>
                  <a:gd name="connsiteY112" fmla="*/ 415114 h 1522526"/>
                  <a:gd name="connsiteX113" fmla="*/ 388817 w 1487186"/>
                  <a:gd name="connsiteY113" fmla="*/ 194845 h 1522526"/>
                  <a:gd name="connsiteX114" fmla="*/ 450334 w 1487186"/>
                  <a:gd name="connsiteY114" fmla="*/ 93640 h 1522526"/>
                  <a:gd name="connsiteX115" fmla="*/ 509867 w 1487186"/>
                  <a:gd name="connsiteY115" fmla="*/ 44029 h 1522526"/>
                  <a:gd name="connsiteX116" fmla="*/ 563446 w 1487186"/>
                  <a:gd name="connsiteY116" fmla="*/ 36092 h 1522526"/>
                  <a:gd name="connsiteX117" fmla="*/ 609087 w 1487186"/>
                  <a:gd name="connsiteY117" fmla="*/ 4341 h 1522526"/>
                  <a:gd name="connsiteX118" fmla="*/ 651876 w 1487186"/>
                  <a:gd name="connsiteY118" fmla="*/ 0 h 1522526"/>
                  <a:gd name="connsiteX0" fmla="*/ 992965 w 1489754"/>
                  <a:gd name="connsiteY0" fmla="*/ 998817 h 1522526"/>
                  <a:gd name="connsiteX1" fmla="*/ 1003490 w 1489754"/>
                  <a:gd name="connsiteY1" fmla="*/ 1002500 h 1522526"/>
                  <a:gd name="connsiteX2" fmla="*/ 1110648 w 1489754"/>
                  <a:gd name="connsiteY2" fmla="*/ 1036732 h 1522526"/>
                  <a:gd name="connsiteX3" fmla="*/ 1228224 w 1489754"/>
                  <a:gd name="connsiteY3" fmla="*/ 1091799 h 1522526"/>
                  <a:gd name="connsiteX4" fmla="*/ 1293710 w 1489754"/>
                  <a:gd name="connsiteY4" fmla="*/ 1137937 h 1522526"/>
                  <a:gd name="connsiteX5" fmla="*/ 1323178 w 1489754"/>
                  <a:gd name="connsiteY5" fmla="*/ 1187646 h 1522526"/>
                  <a:gd name="connsiteX6" fmla="*/ 1487186 w 1489754"/>
                  <a:gd name="connsiteY6" fmla="*/ 1448990 h 1522526"/>
                  <a:gd name="connsiteX7" fmla="*/ 1177029 w 1489754"/>
                  <a:gd name="connsiteY7" fmla="*/ 1493045 h 1522526"/>
                  <a:gd name="connsiteX8" fmla="*/ 1132974 w 1489754"/>
                  <a:gd name="connsiteY8" fmla="*/ 1439469 h 1522526"/>
                  <a:gd name="connsiteX9" fmla="*/ 1151130 w 1489754"/>
                  <a:gd name="connsiteY9" fmla="*/ 1492451 h 1522526"/>
                  <a:gd name="connsiteX10" fmla="*/ 267073 w 1489754"/>
                  <a:gd name="connsiteY10" fmla="*/ 1497214 h 1522526"/>
                  <a:gd name="connsiteX11" fmla="*/ 250922 w 1489754"/>
                  <a:gd name="connsiteY11" fmla="*/ 1492951 h 1522526"/>
                  <a:gd name="connsiteX12" fmla="*/ 273457 w 1489754"/>
                  <a:gd name="connsiteY12" fmla="*/ 1446229 h 1522526"/>
                  <a:gd name="connsiteX13" fmla="*/ 221069 w 1489754"/>
                  <a:gd name="connsiteY13" fmla="*/ 1493854 h 1522526"/>
                  <a:gd name="connsiteX14" fmla="*/ 668 w 1489754"/>
                  <a:gd name="connsiteY14" fmla="*/ 1482327 h 1522526"/>
                  <a:gd name="connsiteX15" fmla="*/ 61391 w 1489754"/>
                  <a:gd name="connsiteY15" fmla="*/ 1223961 h 1522526"/>
                  <a:gd name="connsiteX16" fmla="*/ 92644 w 1489754"/>
                  <a:gd name="connsiteY16" fmla="*/ 1157285 h 1522526"/>
                  <a:gd name="connsiteX17" fmla="*/ 153665 w 1489754"/>
                  <a:gd name="connsiteY17" fmla="*/ 1120077 h 1522526"/>
                  <a:gd name="connsiteX18" fmla="*/ 251893 w 1489754"/>
                  <a:gd name="connsiteY18" fmla="*/ 1078404 h 1522526"/>
                  <a:gd name="connsiteX19" fmla="*/ 376911 w 1489754"/>
                  <a:gd name="connsiteY19" fmla="*/ 1029290 h 1522526"/>
                  <a:gd name="connsiteX20" fmla="*/ 410479 w 1489754"/>
                  <a:gd name="connsiteY20" fmla="*/ 1016502 h 1522526"/>
                  <a:gd name="connsiteX21" fmla="*/ 592543 w 1489754"/>
                  <a:gd name="connsiteY21" fmla="*/ 1272398 h 1522526"/>
                  <a:gd name="connsiteX22" fmla="*/ 763993 w 1489754"/>
                  <a:gd name="connsiteY22" fmla="*/ 1379555 h 1522526"/>
                  <a:gd name="connsiteX23" fmla="*/ 883056 w 1489754"/>
                  <a:gd name="connsiteY23" fmla="*/ 1243823 h 1522526"/>
                  <a:gd name="connsiteX24" fmla="*/ 992965 w 1489754"/>
                  <a:gd name="connsiteY24" fmla="*/ 998817 h 1522526"/>
                  <a:gd name="connsiteX25" fmla="*/ 856178 w 1489754"/>
                  <a:gd name="connsiteY25" fmla="*/ 852696 h 1522526"/>
                  <a:gd name="connsiteX26" fmla="*/ 851682 w 1489754"/>
                  <a:gd name="connsiteY26" fmla="*/ 923321 h 1522526"/>
                  <a:gd name="connsiteX27" fmla="*/ 959840 w 1489754"/>
                  <a:gd name="connsiteY27" fmla="*/ 978198 h 1522526"/>
                  <a:gd name="connsiteX28" fmla="*/ 885437 w 1489754"/>
                  <a:gd name="connsiteY28" fmla="*/ 1177148 h 1522526"/>
                  <a:gd name="connsiteX29" fmla="*/ 747325 w 1489754"/>
                  <a:gd name="connsiteY29" fmla="*/ 1341455 h 1522526"/>
                  <a:gd name="connsiteX30" fmla="*/ 556825 w 1489754"/>
                  <a:gd name="connsiteY30" fmla="*/ 1191436 h 1522526"/>
                  <a:gd name="connsiteX31" fmla="*/ 439913 w 1489754"/>
                  <a:gd name="connsiteY31" fmla="*/ 1004825 h 1522526"/>
                  <a:gd name="connsiteX32" fmla="*/ 551936 w 1489754"/>
                  <a:gd name="connsiteY32" fmla="*/ 931359 h 1522526"/>
                  <a:gd name="connsiteX33" fmla="*/ 550504 w 1489754"/>
                  <a:gd name="connsiteY33" fmla="*/ 858311 h 1522526"/>
                  <a:gd name="connsiteX34" fmla="*/ 621119 w 1489754"/>
                  <a:gd name="connsiteY34" fmla="*/ 900922 h 1522526"/>
                  <a:gd name="connsiteX35" fmla="*/ 728276 w 1489754"/>
                  <a:gd name="connsiteY35" fmla="*/ 915210 h 1522526"/>
                  <a:gd name="connsiteX36" fmla="*/ 821144 w 1489754"/>
                  <a:gd name="connsiteY36" fmla="*/ 874729 h 1522526"/>
                  <a:gd name="connsiteX37" fmla="*/ 856178 w 1489754"/>
                  <a:gd name="connsiteY37" fmla="*/ 852696 h 1522526"/>
                  <a:gd name="connsiteX38" fmla="*/ 1041767 w 1489754"/>
                  <a:gd name="connsiteY38" fmla="*/ 314309 h 1522526"/>
                  <a:gd name="connsiteX39" fmla="*/ 1048139 w 1489754"/>
                  <a:gd name="connsiteY39" fmla="*/ 320855 h 1522526"/>
                  <a:gd name="connsiteX40" fmla="*/ 1074929 w 1489754"/>
                  <a:gd name="connsiteY40" fmla="*/ 428013 h 1522526"/>
                  <a:gd name="connsiteX41" fmla="*/ 1101718 w 1489754"/>
                  <a:gd name="connsiteY41" fmla="*/ 569403 h 1522526"/>
                  <a:gd name="connsiteX42" fmla="*/ 1110648 w 1489754"/>
                  <a:gd name="connsiteY42" fmla="*/ 704839 h 1522526"/>
                  <a:gd name="connsiteX43" fmla="*/ 1107671 w 1489754"/>
                  <a:gd name="connsiteY43" fmla="*/ 789672 h 1522526"/>
                  <a:gd name="connsiteX44" fmla="*/ 1082370 w 1489754"/>
                  <a:gd name="connsiteY44" fmla="*/ 850693 h 1522526"/>
                  <a:gd name="connsiteX45" fmla="*/ 1036232 w 1489754"/>
                  <a:gd name="connsiteY45" fmla="*/ 859623 h 1522526"/>
                  <a:gd name="connsiteX46" fmla="*/ 963305 w 1489754"/>
                  <a:gd name="connsiteY46" fmla="*/ 853670 h 1522526"/>
                  <a:gd name="connsiteX47" fmla="*/ 908238 w 1489754"/>
                  <a:gd name="connsiteY47" fmla="*/ 834322 h 1522526"/>
                  <a:gd name="connsiteX48" fmla="*/ 915679 w 1489754"/>
                  <a:gd name="connsiteY48" fmla="*/ 813485 h 1522526"/>
                  <a:gd name="connsiteX49" fmla="*/ 945445 w 1489754"/>
                  <a:gd name="connsiteY49" fmla="*/ 773301 h 1522526"/>
                  <a:gd name="connsiteX50" fmla="*/ 973724 w 1489754"/>
                  <a:gd name="connsiteY50" fmla="*/ 704839 h 1522526"/>
                  <a:gd name="connsiteX51" fmla="*/ 979677 w 1489754"/>
                  <a:gd name="connsiteY51" fmla="*/ 675072 h 1522526"/>
                  <a:gd name="connsiteX52" fmla="*/ 997536 w 1489754"/>
                  <a:gd name="connsiteY52" fmla="*/ 655725 h 1522526"/>
                  <a:gd name="connsiteX53" fmla="*/ 1022838 w 1489754"/>
                  <a:gd name="connsiteY53" fmla="*/ 579821 h 1522526"/>
                  <a:gd name="connsiteX54" fmla="*/ 1040697 w 1489754"/>
                  <a:gd name="connsiteY54" fmla="*/ 499452 h 1522526"/>
                  <a:gd name="connsiteX55" fmla="*/ 1042186 w 1489754"/>
                  <a:gd name="connsiteY55" fmla="*/ 463733 h 1522526"/>
                  <a:gd name="connsiteX56" fmla="*/ 1025814 w 1489754"/>
                  <a:gd name="connsiteY56" fmla="*/ 430990 h 1522526"/>
                  <a:gd name="connsiteX57" fmla="*/ 1009443 w 1489754"/>
                  <a:gd name="connsiteY57" fmla="*/ 416107 h 1522526"/>
                  <a:gd name="connsiteX58" fmla="*/ 1006466 w 1489754"/>
                  <a:gd name="connsiteY58" fmla="*/ 386340 h 1522526"/>
                  <a:gd name="connsiteX59" fmla="*/ 1009443 w 1489754"/>
                  <a:gd name="connsiteY59" fmla="*/ 350621 h 1522526"/>
                  <a:gd name="connsiteX60" fmla="*/ 1024326 w 1489754"/>
                  <a:gd name="connsiteY60" fmla="*/ 328297 h 1522526"/>
                  <a:gd name="connsiteX61" fmla="*/ 1041767 w 1489754"/>
                  <a:gd name="connsiteY61" fmla="*/ 314309 h 1522526"/>
                  <a:gd name="connsiteX62" fmla="*/ 616358 w 1489754"/>
                  <a:gd name="connsiteY62" fmla="*/ 96060 h 1522526"/>
                  <a:gd name="connsiteX63" fmla="*/ 509202 w 1489754"/>
                  <a:gd name="connsiteY63" fmla="*/ 431816 h 1522526"/>
                  <a:gd name="connsiteX64" fmla="*/ 654458 w 1489754"/>
                  <a:gd name="connsiteY64" fmla="*/ 184165 h 1522526"/>
                  <a:gd name="connsiteX65" fmla="*/ 616358 w 1489754"/>
                  <a:gd name="connsiteY65" fmla="*/ 96060 h 1522526"/>
                  <a:gd name="connsiteX66" fmla="*/ 651876 w 1489754"/>
                  <a:gd name="connsiteY66" fmla="*/ 0 h 1522526"/>
                  <a:gd name="connsiteX67" fmla="*/ 696401 w 1489754"/>
                  <a:gd name="connsiteY67" fmla="*/ 372 h 1522526"/>
                  <a:gd name="connsiteX68" fmla="*/ 757918 w 1489754"/>
                  <a:gd name="connsiteY68" fmla="*/ 6326 h 1522526"/>
                  <a:gd name="connsiteX69" fmla="*/ 829357 w 1489754"/>
                  <a:gd name="connsiteY69" fmla="*/ 38076 h 1522526"/>
                  <a:gd name="connsiteX70" fmla="*/ 910718 w 1489754"/>
                  <a:gd name="connsiteY70" fmla="*/ 103562 h 1522526"/>
                  <a:gd name="connsiteX71" fmla="*/ 1005970 w 1489754"/>
                  <a:gd name="connsiteY71" fmla="*/ 216673 h 1522526"/>
                  <a:gd name="connsiteX72" fmla="*/ 1041689 w 1489754"/>
                  <a:gd name="connsiteY72" fmla="*/ 276206 h 1522526"/>
                  <a:gd name="connsiteX73" fmla="*/ 1025814 w 1489754"/>
                  <a:gd name="connsiteY73" fmla="*/ 313909 h 1522526"/>
                  <a:gd name="connsiteX74" fmla="*/ 992079 w 1489754"/>
                  <a:gd name="connsiteY74" fmla="*/ 331769 h 1522526"/>
                  <a:gd name="connsiteX75" fmla="*/ 968266 w 1489754"/>
                  <a:gd name="connsiteY75" fmla="*/ 311925 h 1522526"/>
                  <a:gd name="connsiteX76" fmla="*/ 914687 w 1489754"/>
                  <a:gd name="connsiteY76" fmla="*/ 256361 h 1522526"/>
                  <a:gd name="connsiteX77" fmla="*/ 819435 w 1489754"/>
                  <a:gd name="connsiteY77" fmla="*/ 210720 h 1522526"/>
                  <a:gd name="connsiteX78" fmla="*/ 716246 w 1489754"/>
                  <a:gd name="connsiteY78" fmla="*/ 210720 h 1522526"/>
                  <a:gd name="connsiteX79" fmla="*/ 850617 w 1489754"/>
                  <a:gd name="connsiteY79" fmla="*/ 240487 h 1522526"/>
                  <a:gd name="connsiteX80" fmla="*/ 916103 w 1489754"/>
                  <a:gd name="connsiteY80" fmla="*/ 279721 h 1522526"/>
                  <a:gd name="connsiteX81" fmla="*/ 978269 w 1489754"/>
                  <a:gd name="connsiteY81" fmla="*/ 344718 h 1522526"/>
                  <a:gd name="connsiteX82" fmla="*/ 969452 w 1489754"/>
                  <a:gd name="connsiteY82" fmla="*/ 378896 h 1522526"/>
                  <a:gd name="connsiteX83" fmla="*/ 969452 w 1489754"/>
                  <a:gd name="connsiteY83" fmla="*/ 451651 h 1522526"/>
                  <a:gd name="connsiteX84" fmla="*/ 1003488 w 1489754"/>
                  <a:gd name="connsiteY84" fmla="*/ 478628 h 1522526"/>
                  <a:gd name="connsiteX85" fmla="*/ 967232 w 1489754"/>
                  <a:gd name="connsiteY85" fmla="*/ 638035 h 1522526"/>
                  <a:gd name="connsiteX86" fmla="*/ 946515 w 1489754"/>
                  <a:gd name="connsiteY86" fmla="*/ 651932 h 1522526"/>
                  <a:gd name="connsiteX87" fmla="*/ 838644 w 1489754"/>
                  <a:gd name="connsiteY87" fmla="*/ 831290 h 1522526"/>
                  <a:gd name="connsiteX88" fmla="*/ 749707 w 1489754"/>
                  <a:gd name="connsiteY88" fmla="*/ 893779 h 1522526"/>
                  <a:gd name="connsiteX89" fmla="*/ 663982 w 1489754"/>
                  <a:gd name="connsiteY89" fmla="*/ 893779 h 1522526"/>
                  <a:gd name="connsiteX90" fmla="*/ 542921 w 1489754"/>
                  <a:gd name="connsiteY90" fmla="*/ 821966 h 1522526"/>
                  <a:gd name="connsiteX91" fmla="*/ 450782 w 1489754"/>
                  <a:gd name="connsiteY91" fmla="*/ 643758 h 1522526"/>
                  <a:gd name="connsiteX92" fmla="*/ 390111 w 1489754"/>
                  <a:gd name="connsiteY92" fmla="*/ 503970 h 1522526"/>
                  <a:gd name="connsiteX93" fmla="*/ 413787 w 1489754"/>
                  <a:gd name="connsiteY93" fmla="*/ 464730 h 1522526"/>
                  <a:gd name="connsiteX94" fmla="*/ 402973 w 1489754"/>
                  <a:gd name="connsiteY94" fmla="*/ 399317 h 1522526"/>
                  <a:gd name="connsiteX95" fmla="*/ 376911 w 1489754"/>
                  <a:gd name="connsiteY95" fmla="*/ 419083 h 1522526"/>
                  <a:gd name="connsiteX96" fmla="*/ 361036 w 1489754"/>
                  <a:gd name="connsiteY96" fmla="*/ 438927 h 1522526"/>
                  <a:gd name="connsiteX97" fmla="*/ 347145 w 1489754"/>
                  <a:gd name="connsiteY97" fmla="*/ 476631 h 1522526"/>
                  <a:gd name="connsiteX98" fmla="*/ 353098 w 1489754"/>
                  <a:gd name="connsiteY98" fmla="*/ 514335 h 1522526"/>
                  <a:gd name="connsiteX99" fmla="*/ 363020 w 1489754"/>
                  <a:gd name="connsiteY99" fmla="*/ 571883 h 1522526"/>
                  <a:gd name="connsiteX100" fmla="*/ 386833 w 1489754"/>
                  <a:gd name="connsiteY100" fmla="*/ 665150 h 1522526"/>
                  <a:gd name="connsiteX101" fmla="*/ 412630 w 1489754"/>
                  <a:gd name="connsiteY101" fmla="*/ 686979 h 1522526"/>
                  <a:gd name="connsiteX102" fmla="*/ 428506 w 1489754"/>
                  <a:gd name="connsiteY102" fmla="*/ 728652 h 1522526"/>
                  <a:gd name="connsiteX103" fmla="*/ 466210 w 1489754"/>
                  <a:gd name="connsiteY103" fmla="*/ 802075 h 1522526"/>
                  <a:gd name="connsiteX104" fmla="*/ 482085 w 1489754"/>
                  <a:gd name="connsiteY104" fmla="*/ 847716 h 1522526"/>
                  <a:gd name="connsiteX105" fmla="*/ 438428 w 1489754"/>
                  <a:gd name="connsiteY105" fmla="*/ 859623 h 1522526"/>
                  <a:gd name="connsiteX106" fmla="*/ 374927 w 1489754"/>
                  <a:gd name="connsiteY106" fmla="*/ 867560 h 1522526"/>
                  <a:gd name="connsiteX107" fmla="*/ 317379 w 1489754"/>
                  <a:gd name="connsiteY107" fmla="*/ 853670 h 1522526"/>
                  <a:gd name="connsiteX108" fmla="*/ 291581 w 1489754"/>
                  <a:gd name="connsiteY108" fmla="*/ 810012 h 1522526"/>
                  <a:gd name="connsiteX109" fmla="*/ 279675 w 1489754"/>
                  <a:gd name="connsiteY109" fmla="*/ 732620 h 1522526"/>
                  <a:gd name="connsiteX110" fmla="*/ 283644 w 1489754"/>
                  <a:gd name="connsiteY110" fmla="*/ 631415 h 1522526"/>
                  <a:gd name="connsiteX111" fmla="*/ 315394 w 1489754"/>
                  <a:gd name="connsiteY111" fmla="*/ 415114 h 1522526"/>
                  <a:gd name="connsiteX112" fmla="*/ 388817 w 1489754"/>
                  <a:gd name="connsiteY112" fmla="*/ 194845 h 1522526"/>
                  <a:gd name="connsiteX113" fmla="*/ 450334 w 1489754"/>
                  <a:gd name="connsiteY113" fmla="*/ 93640 h 1522526"/>
                  <a:gd name="connsiteX114" fmla="*/ 509867 w 1489754"/>
                  <a:gd name="connsiteY114" fmla="*/ 44029 h 1522526"/>
                  <a:gd name="connsiteX115" fmla="*/ 563446 w 1489754"/>
                  <a:gd name="connsiteY115" fmla="*/ 36092 h 1522526"/>
                  <a:gd name="connsiteX116" fmla="*/ 609087 w 1489754"/>
                  <a:gd name="connsiteY116" fmla="*/ 4341 h 1522526"/>
                  <a:gd name="connsiteX117" fmla="*/ 651876 w 1489754"/>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293710 w 1490589"/>
                  <a:gd name="connsiteY4" fmla="*/ 1137937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319904 w 1490589"/>
                  <a:gd name="connsiteY4" fmla="*/ 1106981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319904 w 1490589"/>
                  <a:gd name="connsiteY3" fmla="*/ 1106981 h 1522526"/>
                  <a:gd name="connsiteX4" fmla="*/ 1366040 w 1490589"/>
                  <a:gd name="connsiteY4" fmla="*/ 1185265 h 1522526"/>
                  <a:gd name="connsiteX5" fmla="*/ 1487186 w 1490589"/>
                  <a:gd name="connsiteY5" fmla="*/ 1448990 h 1522526"/>
                  <a:gd name="connsiteX6" fmla="*/ 1177029 w 1490589"/>
                  <a:gd name="connsiteY6" fmla="*/ 1493045 h 1522526"/>
                  <a:gd name="connsiteX7" fmla="*/ 1132974 w 1490589"/>
                  <a:gd name="connsiteY7" fmla="*/ 1439469 h 1522526"/>
                  <a:gd name="connsiteX8" fmla="*/ 1151130 w 1490589"/>
                  <a:gd name="connsiteY8" fmla="*/ 1492451 h 1522526"/>
                  <a:gd name="connsiteX9" fmla="*/ 267073 w 1490589"/>
                  <a:gd name="connsiteY9" fmla="*/ 1497214 h 1522526"/>
                  <a:gd name="connsiteX10" fmla="*/ 250922 w 1490589"/>
                  <a:gd name="connsiteY10" fmla="*/ 1492951 h 1522526"/>
                  <a:gd name="connsiteX11" fmla="*/ 273457 w 1490589"/>
                  <a:gd name="connsiteY11" fmla="*/ 1446229 h 1522526"/>
                  <a:gd name="connsiteX12" fmla="*/ 221069 w 1490589"/>
                  <a:gd name="connsiteY12" fmla="*/ 1493854 h 1522526"/>
                  <a:gd name="connsiteX13" fmla="*/ 668 w 1490589"/>
                  <a:gd name="connsiteY13" fmla="*/ 1482327 h 1522526"/>
                  <a:gd name="connsiteX14" fmla="*/ 61391 w 1490589"/>
                  <a:gd name="connsiteY14" fmla="*/ 1223961 h 1522526"/>
                  <a:gd name="connsiteX15" fmla="*/ 92644 w 1490589"/>
                  <a:gd name="connsiteY15" fmla="*/ 1157285 h 1522526"/>
                  <a:gd name="connsiteX16" fmla="*/ 153665 w 1490589"/>
                  <a:gd name="connsiteY16" fmla="*/ 1120077 h 1522526"/>
                  <a:gd name="connsiteX17" fmla="*/ 251893 w 1490589"/>
                  <a:gd name="connsiteY17" fmla="*/ 1078404 h 1522526"/>
                  <a:gd name="connsiteX18" fmla="*/ 376911 w 1490589"/>
                  <a:gd name="connsiteY18" fmla="*/ 1029290 h 1522526"/>
                  <a:gd name="connsiteX19" fmla="*/ 410479 w 1490589"/>
                  <a:gd name="connsiteY19" fmla="*/ 1016502 h 1522526"/>
                  <a:gd name="connsiteX20" fmla="*/ 592543 w 1490589"/>
                  <a:gd name="connsiteY20" fmla="*/ 1272398 h 1522526"/>
                  <a:gd name="connsiteX21" fmla="*/ 763993 w 1490589"/>
                  <a:gd name="connsiteY21" fmla="*/ 1379555 h 1522526"/>
                  <a:gd name="connsiteX22" fmla="*/ 883056 w 1490589"/>
                  <a:gd name="connsiteY22" fmla="*/ 1243823 h 1522526"/>
                  <a:gd name="connsiteX23" fmla="*/ 992965 w 1490589"/>
                  <a:gd name="connsiteY23" fmla="*/ 998817 h 1522526"/>
                  <a:gd name="connsiteX24" fmla="*/ 856178 w 1490589"/>
                  <a:gd name="connsiteY24" fmla="*/ 852696 h 1522526"/>
                  <a:gd name="connsiteX25" fmla="*/ 851682 w 1490589"/>
                  <a:gd name="connsiteY25" fmla="*/ 923321 h 1522526"/>
                  <a:gd name="connsiteX26" fmla="*/ 959840 w 1490589"/>
                  <a:gd name="connsiteY26" fmla="*/ 978198 h 1522526"/>
                  <a:gd name="connsiteX27" fmla="*/ 885437 w 1490589"/>
                  <a:gd name="connsiteY27" fmla="*/ 1177148 h 1522526"/>
                  <a:gd name="connsiteX28" fmla="*/ 747325 w 1490589"/>
                  <a:gd name="connsiteY28" fmla="*/ 1341455 h 1522526"/>
                  <a:gd name="connsiteX29" fmla="*/ 556825 w 1490589"/>
                  <a:gd name="connsiteY29" fmla="*/ 1191436 h 1522526"/>
                  <a:gd name="connsiteX30" fmla="*/ 439913 w 1490589"/>
                  <a:gd name="connsiteY30" fmla="*/ 1004825 h 1522526"/>
                  <a:gd name="connsiteX31" fmla="*/ 551936 w 1490589"/>
                  <a:gd name="connsiteY31" fmla="*/ 931359 h 1522526"/>
                  <a:gd name="connsiteX32" fmla="*/ 550504 w 1490589"/>
                  <a:gd name="connsiteY32" fmla="*/ 858311 h 1522526"/>
                  <a:gd name="connsiteX33" fmla="*/ 621119 w 1490589"/>
                  <a:gd name="connsiteY33" fmla="*/ 900922 h 1522526"/>
                  <a:gd name="connsiteX34" fmla="*/ 728276 w 1490589"/>
                  <a:gd name="connsiteY34" fmla="*/ 915210 h 1522526"/>
                  <a:gd name="connsiteX35" fmla="*/ 821144 w 1490589"/>
                  <a:gd name="connsiteY35" fmla="*/ 874729 h 1522526"/>
                  <a:gd name="connsiteX36" fmla="*/ 856178 w 1490589"/>
                  <a:gd name="connsiteY36" fmla="*/ 852696 h 1522526"/>
                  <a:gd name="connsiteX37" fmla="*/ 1041767 w 1490589"/>
                  <a:gd name="connsiteY37" fmla="*/ 314309 h 1522526"/>
                  <a:gd name="connsiteX38" fmla="*/ 1048139 w 1490589"/>
                  <a:gd name="connsiteY38" fmla="*/ 320855 h 1522526"/>
                  <a:gd name="connsiteX39" fmla="*/ 1074929 w 1490589"/>
                  <a:gd name="connsiteY39" fmla="*/ 428013 h 1522526"/>
                  <a:gd name="connsiteX40" fmla="*/ 1101718 w 1490589"/>
                  <a:gd name="connsiteY40" fmla="*/ 569403 h 1522526"/>
                  <a:gd name="connsiteX41" fmla="*/ 1110648 w 1490589"/>
                  <a:gd name="connsiteY41" fmla="*/ 704839 h 1522526"/>
                  <a:gd name="connsiteX42" fmla="*/ 1107671 w 1490589"/>
                  <a:gd name="connsiteY42" fmla="*/ 789672 h 1522526"/>
                  <a:gd name="connsiteX43" fmla="*/ 1082370 w 1490589"/>
                  <a:gd name="connsiteY43" fmla="*/ 850693 h 1522526"/>
                  <a:gd name="connsiteX44" fmla="*/ 1036232 w 1490589"/>
                  <a:gd name="connsiteY44" fmla="*/ 859623 h 1522526"/>
                  <a:gd name="connsiteX45" fmla="*/ 963305 w 1490589"/>
                  <a:gd name="connsiteY45" fmla="*/ 853670 h 1522526"/>
                  <a:gd name="connsiteX46" fmla="*/ 908238 w 1490589"/>
                  <a:gd name="connsiteY46" fmla="*/ 834322 h 1522526"/>
                  <a:gd name="connsiteX47" fmla="*/ 915679 w 1490589"/>
                  <a:gd name="connsiteY47" fmla="*/ 813485 h 1522526"/>
                  <a:gd name="connsiteX48" fmla="*/ 945445 w 1490589"/>
                  <a:gd name="connsiteY48" fmla="*/ 773301 h 1522526"/>
                  <a:gd name="connsiteX49" fmla="*/ 973724 w 1490589"/>
                  <a:gd name="connsiteY49" fmla="*/ 704839 h 1522526"/>
                  <a:gd name="connsiteX50" fmla="*/ 979677 w 1490589"/>
                  <a:gd name="connsiteY50" fmla="*/ 675072 h 1522526"/>
                  <a:gd name="connsiteX51" fmla="*/ 997536 w 1490589"/>
                  <a:gd name="connsiteY51" fmla="*/ 655725 h 1522526"/>
                  <a:gd name="connsiteX52" fmla="*/ 1022838 w 1490589"/>
                  <a:gd name="connsiteY52" fmla="*/ 579821 h 1522526"/>
                  <a:gd name="connsiteX53" fmla="*/ 1040697 w 1490589"/>
                  <a:gd name="connsiteY53" fmla="*/ 499452 h 1522526"/>
                  <a:gd name="connsiteX54" fmla="*/ 1042186 w 1490589"/>
                  <a:gd name="connsiteY54" fmla="*/ 463733 h 1522526"/>
                  <a:gd name="connsiteX55" fmla="*/ 1025814 w 1490589"/>
                  <a:gd name="connsiteY55" fmla="*/ 430990 h 1522526"/>
                  <a:gd name="connsiteX56" fmla="*/ 1009443 w 1490589"/>
                  <a:gd name="connsiteY56" fmla="*/ 416107 h 1522526"/>
                  <a:gd name="connsiteX57" fmla="*/ 1006466 w 1490589"/>
                  <a:gd name="connsiteY57" fmla="*/ 386340 h 1522526"/>
                  <a:gd name="connsiteX58" fmla="*/ 1009443 w 1490589"/>
                  <a:gd name="connsiteY58" fmla="*/ 350621 h 1522526"/>
                  <a:gd name="connsiteX59" fmla="*/ 1024326 w 1490589"/>
                  <a:gd name="connsiteY59" fmla="*/ 328297 h 1522526"/>
                  <a:gd name="connsiteX60" fmla="*/ 1041767 w 1490589"/>
                  <a:gd name="connsiteY60" fmla="*/ 314309 h 1522526"/>
                  <a:gd name="connsiteX61" fmla="*/ 616358 w 1490589"/>
                  <a:gd name="connsiteY61" fmla="*/ 96060 h 1522526"/>
                  <a:gd name="connsiteX62" fmla="*/ 509202 w 1490589"/>
                  <a:gd name="connsiteY62" fmla="*/ 431816 h 1522526"/>
                  <a:gd name="connsiteX63" fmla="*/ 654458 w 1490589"/>
                  <a:gd name="connsiteY63" fmla="*/ 184165 h 1522526"/>
                  <a:gd name="connsiteX64" fmla="*/ 616358 w 1490589"/>
                  <a:gd name="connsiteY64" fmla="*/ 96060 h 1522526"/>
                  <a:gd name="connsiteX65" fmla="*/ 651876 w 1490589"/>
                  <a:gd name="connsiteY65" fmla="*/ 0 h 1522526"/>
                  <a:gd name="connsiteX66" fmla="*/ 696401 w 1490589"/>
                  <a:gd name="connsiteY66" fmla="*/ 372 h 1522526"/>
                  <a:gd name="connsiteX67" fmla="*/ 757918 w 1490589"/>
                  <a:gd name="connsiteY67" fmla="*/ 6326 h 1522526"/>
                  <a:gd name="connsiteX68" fmla="*/ 829357 w 1490589"/>
                  <a:gd name="connsiteY68" fmla="*/ 38076 h 1522526"/>
                  <a:gd name="connsiteX69" fmla="*/ 910718 w 1490589"/>
                  <a:gd name="connsiteY69" fmla="*/ 103562 h 1522526"/>
                  <a:gd name="connsiteX70" fmla="*/ 1005970 w 1490589"/>
                  <a:gd name="connsiteY70" fmla="*/ 216673 h 1522526"/>
                  <a:gd name="connsiteX71" fmla="*/ 1041689 w 1490589"/>
                  <a:gd name="connsiteY71" fmla="*/ 276206 h 1522526"/>
                  <a:gd name="connsiteX72" fmla="*/ 1025814 w 1490589"/>
                  <a:gd name="connsiteY72" fmla="*/ 313909 h 1522526"/>
                  <a:gd name="connsiteX73" fmla="*/ 992079 w 1490589"/>
                  <a:gd name="connsiteY73" fmla="*/ 331769 h 1522526"/>
                  <a:gd name="connsiteX74" fmla="*/ 968266 w 1490589"/>
                  <a:gd name="connsiteY74" fmla="*/ 311925 h 1522526"/>
                  <a:gd name="connsiteX75" fmla="*/ 914687 w 1490589"/>
                  <a:gd name="connsiteY75" fmla="*/ 256361 h 1522526"/>
                  <a:gd name="connsiteX76" fmla="*/ 819435 w 1490589"/>
                  <a:gd name="connsiteY76" fmla="*/ 210720 h 1522526"/>
                  <a:gd name="connsiteX77" fmla="*/ 716246 w 1490589"/>
                  <a:gd name="connsiteY77" fmla="*/ 210720 h 1522526"/>
                  <a:gd name="connsiteX78" fmla="*/ 850617 w 1490589"/>
                  <a:gd name="connsiteY78" fmla="*/ 240487 h 1522526"/>
                  <a:gd name="connsiteX79" fmla="*/ 916103 w 1490589"/>
                  <a:gd name="connsiteY79" fmla="*/ 279721 h 1522526"/>
                  <a:gd name="connsiteX80" fmla="*/ 978269 w 1490589"/>
                  <a:gd name="connsiteY80" fmla="*/ 344718 h 1522526"/>
                  <a:gd name="connsiteX81" fmla="*/ 969452 w 1490589"/>
                  <a:gd name="connsiteY81" fmla="*/ 378896 h 1522526"/>
                  <a:gd name="connsiteX82" fmla="*/ 969452 w 1490589"/>
                  <a:gd name="connsiteY82" fmla="*/ 451651 h 1522526"/>
                  <a:gd name="connsiteX83" fmla="*/ 1003488 w 1490589"/>
                  <a:gd name="connsiteY83" fmla="*/ 478628 h 1522526"/>
                  <a:gd name="connsiteX84" fmla="*/ 967232 w 1490589"/>
                  <a:gd name="connsiteY84" fmla="*/ 638035 h 1522526"/>
                  <a:gd name="connsiteX85" fmla="*/ 946515 w 1490589"/>
                  <a:gd name="connsiteY85" fmla="*/ 651932 h 1522526"/>
                  <a:gd name="connsiteX86" fmla="*/ 838644 w 1490589"/>
                  <a:gd name="connsiteY86" fmla="*/ 831290 h 1522526"/>
                  <a:gd name="connsiteX87" fmla="*/ 749707 w 1490589"/>
                  <a:gd name="connsiteY87" fmla="*/ 893779 h 1522526"/>
                  <a:gd name="connsiteX88" fmla="*/ 663982 w 1490589"/>
                  <a:gd name="connsiteY88" fmla="*/ 893779 h 1522526"/>
                  <a:gd name="connsiteX89" fmla="*/ 542921 w 1490589"/>
                  <a:gd name="connsiteY89" fmla="*/ 821966 h 1522526"/>
                  <a:gd name="connsiteX90" fmla="*/ 450782 w 1490589"/>
                  <a:gd name="connsiteY90" fmla="*/ 643758 h 1522526"/>
                  <a:gd name="connsiteX91" fmla="*/ 390111 w 1490589"/>
                  <a:gd name="connsiteY91" fmla="*/ 503970 h 1522526"/>
                  <a:gd name="connsiteX92" fmla="*/ 413787 w 1490589"/>
                  <a:gd name="connsiteY92" fmla="*/ 464730 h 1522526"/>
                  <a:gd name="connsiteX93" fmla="*/ 402973 w 1490589"/>
                  <a:gd name="connsiteY93" fmla="*/ 399317 h 1522526"/>
                  <a:gd name="connsiteX94" fmla="*/ 376911 w 1490589"/>
                  <a:gd name="connsiteY94" fmla="*/ 419083 h 1522526"/>
                  <a:gd name="connsiteX95" fmla="*/ 361036 w 1490589"/>
                  <a:gd name="connsiteY95" fmla="*/ 438927 h 1522526"/>
                  <a:gd name="connsiteX96" fmla="*/ 347145 w 1490589"/>
                  <a:gd name="connsiteY96" fmla="*/ 476631 h 1522526"/>
                  <a:gd name="connsiteX97" fmla="*/ 353098 w 1490589"/>
                  <a:gd name="connsiteY97" fmla="*/ 514335 h 1522526"/>
                  <a:gd name="connsiteX98" fmla="*/ 363020 w 1490589"/>
                  <a:gd name="connsiteY98" fmla="*/ 571883 h 1522526"/>
                  <a:gd name="connsiteX99" fmla="*/ 386833 w 1490589"/>
                  <a:gd name="connsiteY99" fmla="*/ 665150 h 1522526"/>
                  <a:gd name="connsiteX100" fmla="*/ 412630 w 1490589"/>
                  <a:gd name="connsiteY100" fmla="*/ 686979 h 1522526"/>
                  <a:gd name="connsiteX101" fmla="*/ 428506 w 1490589"/>
                  <a:gd name="connsiteY101" fmla="*/ 728652 h 1522526"/>
                  <a:gd name="connsiteX102" fmla="*/ 466210 w 1490589"/>
                  <a:gd name="connsiteY102" fmla="*/ 802075 h 1522526"/>
                  <a:gd name="connsiteX103" fmla="*/ 482085 w 1490589"/>
                  <a:gd name="connsiteY103" fmla="*/ 847716 h 1522526"/>
                  <a:gd name="connsiteX104" fmla="*/ 438428 w 1490589"/>
                  <a:gd name="connsiteY104" fmla="*/ 859623 h 1522526"/>
                  <a:gd name="connsiteX105" fmla="*/ 374927 w 1490589"/>
                  <a:gd name="connsiteY105" fmla="*/ 867560 h 1522526"/>
                  <a:gd name="connsiteX106" fmla="*/ 317379 w 1490589"/>
                  <a:gd name="connsiteY106" fmla="*/ 853670 h 1522526"/>
                  <a:gd name="connsiteX107" fmla="*/ 291581 w 1490589"/>
                  <a:gd name="connsiteY107" fmla="*/ 810012 h 1522526"/>
                  <a:gd name="connsiteX108" fmla="*/ 279675 w 1490589"/>
                  <a:gd name="connsiteY108" fmla="*/ 732620 h 1522526"/>
                  <a:gd name="connsiteX109" fmla="*/ 283644 w 1490589"/>
                  <a:gd name="connsiteY109" fmla="*/ 631415 h 1522526"/>
                  <a:gd name="connsiteX110" fmla="*/ 315394 w 1490589"/>
                  <a:gd name="connsiteY110" fmla="*/ 415114 h 1522526"/>
                  <a:gd name="connsiteX111" fmla="*/ 388817 w 1490589"/>
                  <a:gd name="connsiteY111" fmla="*/ 194845 h 1522526"/>
                  <a:gd name="connsiteX112" fmla="*/ 450334 w 1490589"/>
                  <a:gd name="connsiteY112" fmla="*/ 93640 h 1522526"/>
                  <a:gd name="connsiteX113" fmla="*/ 509867 w 1490589"/>
                  <a:gd name="connsiteY113" fmla="*/ 44029 h 1522526"/>
                  <a:gd name="connsiteX114" fmla="*/ 563446 w 1490589"/>
                  <a:gd name="connsiteY114" fmla="*/ 36092 h 1522526"/>
                  <a:gd name="connsiteX115" fmla="*/ 609087 w 1490589"/>
                  <a:gd name="connsiteY115" fmla="*/ 4341 h 1522526"/>
                  <a:gd name="connsiteX116" fmla="*/ 651876 w 1490589"/>
                  <a:gd name="connsiteY116" fmla="*/ 0 h 1522526"/>
                  <a:gd name="connsiteX0" fmla="*/ 992965 w 1491247"/>
                  <a:gd name="connsiteY0" fmla="*/ 998817 h 1522526"/>
                  <a:gd name="connsiteX1" fmla="*/ 1003490 w 1491247"/>
                  <a:gd name="connsiteY1" fmla="*/ 1002500 h 1522526"/>
                  <a:gd name="connsiteX2" fmla="*/ 1110648 w 1491247"/>
                  <a:gd name="connsiteY2" fmla="*/ 1036732 h 1522526"/>
                  <a:gd name="connsiteX3" fmla="*/ 1319904 w 1491247"/>
                  <a:gd name="connsiteY3" fmla="*/ 1106981 h 1522526"/>
                  <a:gd name="connsiteX4" fmla="*/ 1387472 w 1491247"/>
                  <a:gd name="connsiteY4" fmla="*/ 1185265 h 1522526"/>
                  <a:gd name="connsiteX5" fmla="*/ 1487186 w 1491247"/>
                  <a:gd name="connsiteY5" fmla="*/ 1448990 h 1522526"/>
                  <a:gd name="connsiteX6" fmla="*/ 1177029 w 1491247"/>
                  <a:gd name="connsiteY6" fmla="*/ 1493045 h 1522526"/>
                  <a:gd name="connsiteX7" fmla="*/ 1132974 w 1491247"/>
                  <a:gd name="connsiteY7" fmla="*/ 1439469 h 1522526"/>
                  <a:gd name="connsiteX8" fmla="*/ 1151130 w 1491247"/>
                  <a:gd name="connsiteY8" fmla="*/ 1492451 h 1522526"/>
                  <a:gd name="connsiteX9" fmla="*/ 267073 w 1491247"/>
                  <a:gd name="connsiteY9" fmla="*/ 1497214 h 1522526"/>
                  <a:gd name="connsiteX10" fmla="*/ 250922 w 1491247"/>
                  <a:gd name="connsiteY10" fmla="*/ 1492951 h 1522526"/>
                  <a:gd name="connsiteX11" fmla="*/ 273457 w 1491247"/>
                  <a:gd name="connsiteY11" fmla="*/ 1446229 h 1522526"/>
                  <a:gd name="connsiteX12" fmla="*/ 221069 w 1491247"/>
                  <a:gd name="connsiteY12" fmla="*/ 1493854 h 1522526"/>
                  <a:gd name="connsiteX13" fmla="*/ 668 w 1491247"/>
                  <a:gd name="connsiteY13" fmla="*/ 1482327 h 1522526"/>
                  <a:gd name="connsiteX14" fmla="*/ 61391 w 1491247"/>
                  <a:gd name="connsiteY14" fmla="*/ 1223961 h 1522526"/>
                  <a:gd name="connsiteX15" fmla="*/ 92644 w 1491247"/>
                  <a:gd name="connsiteY15" fmla="*/ 1157285 h 1522526"/>
                  <a:gd name="connsiteX16" fmla="*/ 153665 w 1491247"/>
                  <a:gd name="connsiteY16" fmla="*/ 1120077 h 1522526"/>
                  <a:gd name="connsiteX17" fmla="*/ 251893 w 1491247"/>
                  <a:gd name="connsiteY17" fmla="*/ 1078404 h 1522526"/>
                  <a:gd name="connsiteX18" fmla="*/ 376911 w 1491247"/>
                  <a:gd name="connsiteY18" fmla="*/ 1029290 h 1522526"/>
                  <a:gd name="connsiteX19" fmla="*/ 410479 w 1491247"/>
                  <a:gd name="connsiteY19" fmla="*/ 1016502 h 1522526"/>
                  <a:gd name="connsiteX20" fmla="*/ 592543 w 1491247"/>
                  <a:gd name="connsiteY20" fmla="*/ 1272398 h 1522526"/>
                  <a:gd name="connsiteX21" fmla="*/ 763993 w 1491247"/>
                  <a:gd name="connsiteY21" fmla="*/ 1379555 h 1522526"/>
                  <a:gd name="connsiteX22" fmla="*/ 883056 w 1491247"/>
                  <a:gd name="connsiteY22" fmla="*/ 1243823 h 1522526"/>
                  <a:gd name="connsiteX23" fmla="*/ 992965 w 1491247"/>
                  <a:gd name="connsiteY23" fmla="*/ 998817 h 1522526"/>
                  <a:gd name="connsiteX24" fmla="*/ 856178 w 1491247"/>
                  <a:gd name="connsiteY24" fmla="*/ 852696 h 1522526"/>
                  <a:gd name="connsiteX25" fmla="*/ 851682 w 1491247"/>
                  <a:gd name="connsiteY25" fmla="*/ 923321 h 1522526"/>
                  <a:gd name="connsiteX26" fmla="*/ 959840 w 1491247"/>
                  <a:gd name="connsiteY26" fmla="*/ 978198 h 1522526"/>
                  <a:gd name="connsiteX27" fmla="*/ 885437 w 1491247"/>
                  <a:gd name="connsiteY27" fmla="*/ 1177148 h 1522526"/>
                  <a:gd name="connsiteX28" fmla="*/ 747325 w 1491247"/>
                  <a:gd name="connsiteY28" fmla="*/ 1341455 h 1522526"/>
                  <a:gd name="connsiteX29" fmla="*/ 556825 w 1491247"/>
                  <a:gd name="connsiteY29" fmla="*/ 1191436 h 1522526"/>
                  <a:gd name="connsiteX30" fmla="*/ 439913 w 1491247"/>
                  <a:gd name="connsiteY30" fmla="*/ 1004825 h 1522526"/>
                  <a:gd name="connsiteX31" fmla="*/ 551936 w 1491247"/>
                  <a:gd name="connsiteY31" fmla="*/ 931359 h 1522526"/>
                  <a:gd name="connsiteX32" fmla="*/ 550504 w 1491247"/>
                  <a:gd name="connsiteY32" fmla="*/ 858311 h 1522526"/>
                  <a:gd name="connsiteX33" fmla="*/ 621119 w 1491247"/>
                  <a:gd name="connsiteY33" fmla="*/ 900922 h 1522526"/>
                  <a:gd name="connsiteX34" fmla="*/ 728276 w 1491247"/>
                  <a:gd name="connsiteY34" fmla="*/ 915210 h 1522526"/>
                  <a:gd name="connsiteX35" fmla="*/ 821144 w 1491247"/>
                  <a:gd name="connsiteY35" fmla="*/ 874729 h 1522526"/>
                  <a:gd name="connsiteX36" fmla="*/ 856178 w 1491247"/>
                  <a:gd name="connsiteY36" fmla="*/ 852696 h 1522526"/>
                  <a:gd name="connsiteX37" fmla="*/ 1041767 w 1491247"/>
                  <a:gd name="connsiteY37" fmla="*/ 314309 h 1522526"/>
                  <a:gd name="connsiteX38" fmla="*/ 1048139 w 1491247"/>
                  <a:gd name="connsiteY38" fmla="*/ 320855 h 1522526"/>
                  <a:gd name="connsiteX39" fmla="*/ 1074929 w 1491247"/>
                  <a:gd name="connsiteY39" fmla="*/ 428013 h 1522526"/>
                  <a:gd name="connsiteX40" fmla="*/ 1101718 w 1491247"/>
                  <a:gd name="connsiteY40" fmla="*/ 569403 h 1522526"/>
                  <a:gd name="connsiteX41" fmla="*/ 1110648 w 1491247"/>
                  <a:gd name="connsiteY41" fmla="*/ 704839 h 1522526"/>
                  <a:gd name="connsiteX42" fmla="*/ 1107671 w 1491247"/>
                  <a:gd name="connsiteY42" fmla="*/ 789672 h 1522526"/>
                  <a:gd name="connsiteX43" fmla="*/ 1082370 w 1491247"/>
                  <a:gd name="connsiteY43" fmla="*/ 850693 h 1522526"/>
                  <a:gd name="connsiteX44" fmla="*/ 1036232 w 1491247"/>
                  <a:gd name="connsiteY44" fmla="*/ 859623 h 1522526"/>
                  <a:gd name="connsiteX45" fmla="*/ 963305 w 1491247"/>
                  <a:gd name="connsiteY45" fmla="*/ 853670 h 1522526"/>
                  <a:gd name="connsiteX46" fmla="*/ 908238 w 1491247"/>
                  <a:gd name="connsiteY46" fmla="*/ 834322 h 1522526"/>
                  <a:gd name="connsiteX47" fmla="*/ 915679 w 1491247"/>
                  <a:gd name="connsiteY47" fmla="*/ 813485 h 1522526"/>
                  <a:gd name="connsiteX48" fmla="*/ 945445 w 1491247"/>
                  <a:gd name="connsiteY48" fmla="*/ 773301 h 1522526"/>
                  <a:gd name="connsiteX49" fmla="*/ 973724 w 1491247"/>
                  <a:gd name="connsiteY49" fmla="*/ 704839 h 1522526"/>
                  <a:gd name="connsiteX50" fmla="*/ 979677 w 1491247"/>
                  <a:gd name="connsiteY50" fmla="*/ 675072 h 1522526"/>
                  <a:gd name="connsiteX51" fmla="*/ 997536 w 1491247"/>
                  <a:gd name="connsiteY51" fmla="*/ 655725 h 1522526"/>
                  <a:gd name="connsiteX52" fmla="*/ 1022838 w 1491247"/>
                  <a:gd name="connsiteY52" fmla="*/ 579821 h 1522526"/>
                  <a:gd name="connsiteX53" fmla="*/ 1040697 w 1491247"/>
                  <a:gd name="connsiteY53" fmla="*/ 499452 h 1522526"/>
                  <a:gd name="connsiteX54" fmla="*/ 1042186 w 1491247"/>
                  <a:gd name="connsiteY54" fmla="*/ 463733 h 1522526"/>
                  <a:gd name="connsiteX55" fmla="*/ 1025814 w 1491247"/>
                  <a:gd name="connsiteY55" fmla="*/ 430990 h 1522526"/>
                  <a:gd name="connsiteX56" fmla="*/ 1009443 w 1491247"/>
                  <a:gd name="connsiteY56" fmla="*/ 416107 h 1522526"/>
                  <a:gd name="connsiteX57" fmla="*/ 1006466 w 1491247"/>
                  <a:gd name="connsiteY57" fmla="*/ 386340 h 1522526"/>
                  <a:gd name="connsiteX58" fmla="*/ 1009443 w 1491247"/>
                  <a:gd name="connsiteY58" fmla="*/ 350621 h 1522526"/>
                  <a:gd name="connsiteX59" fmla="*/ 1024326 w 1491247"/>
                  <a:gd name="connsiteY59" fmla="*/ 328297 h 1522526"/>
                  <a:gd name="connsiteX60" fmla="*/ 1041767 w 1491247"/>
                  <a:gd name="connsiteY60" fmla="*/ 314309 h 1522526"/>
                  <a:gd name="connsiteX61" fmla="*/ 616358 w 1491247"/>
                  <a:gd name="connsiteY61" fmla="*/ 96060 h 1522526"/>
                  <a:gd name="connsiteX62" fmla="*/ 509202 w 1491247"/>
                  <a:gd name="connsiteY62" fmla="*/ 431816 h 1522526"/>
                  <a:gd name="connsiteX63" fmla="*/ 654458 w 1491247"/>
                  <a:gd name="connsiteY63" fmla="*/ 184165 h 1522526"/>
                  <a:gd name="connsiteX64" fmla="*/ 616358 w 1491247"/>
                  <a:gd name="connsiteY64" fmla="*/ 96060 h 1522526"/>
                  <a:gd name="connsiteX65" fmla="*/ 651876 w 1491247"/>
                  <a:gd name="connsiteY65" fmla="*/ 0 h 1522526"/>
                  <a:gd name="connsiteX66" fmla="*/ 696401 w 1491247"/>
                  <a:gd name="connsiteY66" fmla="*/ 372 h 1522526"/>
                  <a:gd name="connsiteX67" fmla="*/ 757918 w 1491247"/>
                  <a:gd name="connsiteY67" fmla="*/ 6326 h 1522526"/>
                  <a:gd name="connsiteX68" fmla="*/ 829357 w 1491247"/>
                  <a:gd name="connsiteY68" fmla="*/ 38076 h 1522526"/>
                  <a:gd name="connsiteX69" fmla="*/ 910718 w 1491247"/>
                  <a:gd name="connsiteY69" fmla="*/ 103562 h 1522526"/>
                  <a:gd name="connsiteX70" fmla="*/ 1005970 w 1491247"/>
                  <a:gd name="connsiteY70" fmla="*/ 216673 h 1522526"/>
                  <a:gd name="connsiteX71" fmla="*/ 1041689 w 1491247"/>
                  <a:gd name="connsiteY71" fmla="*/ 276206 h 1522526"/>
                  <a:gd name="connsiteX72" fmla="*/ 1025814 w 1491247"/>
                  <a:gd name="connsiteY72" fmla="*/ 313909 h 1522526"/>
                  <a:gd name="connsiteX73" fmla="*/ 992079 w 1491247"/>
                  <a:gd name="connsiteY73" fmla="*/ 331769 h 1522526"/>
                  <a:gd name="connsiteX74" fmla="*/ 968266 w 1491247"/>
                  <a:gd name="connsiteY74" fmla="*/ 311925 h 1522526"/>
                  <a:gd name="connsiteX75" fmla="*/ 914687 w 1491247"/>
                  <a:gd name="connsiteY75" fmla="*/ 256361 h 1522526"/>
                  <a:gd name="connsiteX76" fmla="*/ 819435 w 1491247"/>
                  <a:gd name="connsiteY76" fmla="*/ 210720 h 1522526"/>
                  <a:gd name="connsiteX77" fmla="*/ 716246 w 1491247"/>
                  <a:gd name="connsiteY77" fmla="*/ 210720 h 1522526"/>
                  <a:gd name="connsiteX78" fmla="*/ 850617 w 1491247"/>
                  <a:gd name="connsiteY78" fmla="*/ 240487 h 1522526"/>
                  <a:gd name="connsiteX79" fmla="*/ 916103 w 1491247"/>
                  <a:gd name="connsiteY79" fmla="*/ 279721 h 1522526"/>
                  <a:gd name="connsiteX80" fmla="*/ 978269 w 1491247"/>
                  <a:gd name="connsiteY80" fmla="*/ 344718 h 1522526"/>
                  <a:gd name="connsiteX81" fmla="*/ 969452 w 1491247"/>
                  <a:gd name="connsiteY81" fmla="*/ 378896 h 1522526"/>
                  <a:gd name="connsiteX82" fmla="*/ 969452 w 1491247"/>
                  <a:gd name="connsiteY82" fmla="*/ 451651 h 1522526"/>
                  <a:gd name="connsiteX83" fmla="*/ 1003488 w 1491247"/>
                  <a:gd name="connsiteY83" fmla="*/ 478628 h 1522526"/>
                  <a:gd name="connsiteX84" fmla="*/ 967232 w 1491247"/>
                  <a:gd name="connsiteY84" fmla="*/ 638035 h 1522526"/>
                  <a:gd name="connsiteX85" fmla="*/ 946515 w 1491247"/>
                  <a:gd name="connsiteY85" fmla="*/ 651932 h 1522526"/>
                  <a:gd name="connsiteX86" fmla="*/ 838644 w 1491247"/>
                  <a:gd name="connsiteY86" fmla="*/ 831290 h 1522526"/>
                  <a:gd name="connsiteX87" fmla="*/ 749707 w 1491247"/>
                  <a:gd name="connsiteY87" fmla="*/ 893779 h 1522526"/>
                  <a:gd name="connsiteX88" fmla="*/ 663982 w 1491247"/>
                  <a:gd name="connsiteY88" fmla="*/ 893779 h 1522526"/>
                  <a:gd name="connsiteX89" fmla="*/ 542921 w 1491247"/>
                  <a:gd name="connsiteY89" fmla="*/ 821966 h 1522526"/>
                  <a:gd name="connsiteX90" fmla="*/ 450782 w 1491247"/>
                  <a:gd name="connsiteY90" fmla="*/ 643758 h 1522526"/>
                  <a:gd name="connsiteX91" fmla="*/ 390111 w 1491247"/>
                  <a:gd name="connsiteY91" fmla="*/ 503970 h 1522526"/>
                  <a:gd name="connsiteX92" fmla="*/ 413787 w 1491247"/>
                  <a:gd name="connsiteY92" fmla="*/ 464730 h 1522526"/>
                  <a:gd name="connsiteX93" fmla="*/ 402973 w 1491247"/>
                  <a:gd name="connsiteY93" fmla="*/ 399317 h 1522526"/>
                  <a:gd name="connsiteX94" fmla="*/ 376911 w 1491247"/>
                  <a:gd name="connsiteY94" fmla="*/ 419083 h 1522526"/>
                  <a:gd name="connsiteX95" fmla="*/ 361036 w 1491247"/>
                  <a:gd name="connsiteY95" fmla="*/ 438927 h 1522526"/>
                  <a:gd name="connsiteX96" fmla="*/ 347145 w 1491247"/>
                  <a:gd name="connsiteY96" fmla="*/ 476631 h 1522526"/>
                  <a:gd name="connsiteX97" fmla="*/ 353098 w 1491247"/>
                  <a:gd name="connsiteY97" fmla="*/ 514335 h 1522526"/>
                  <a:gd name="connsiteX98" fmla="*/ 363020 w 1491247"/>
                  <a:gd name="connsiteY98" fmla="*/ 571883 h 1522526"/>
                  <a:gd name="connsiteX99" fmla="*/ 386833 w 1491247"/>
                  <a:gd name="connsiteY99" fmla="*/ 665150 h 1522526"/>
                  <a:gd name="connsiteX100" fmla="*/ 412630 w 1491247"/>
                  <a:gd name="connsiteY100" fmla="*/ 686979 h 1522526"/>
                  <a:gd name="connsiteX101" fmla="*/ 428506 w 1491247"/>
                  <a:gd name="connsiteY101" fmla="*/ 728652 h 1522526"/>
                  <a:gd name="connsiteX102" fmla="*/ 466210 w 1491247"/>
                  <a:gd name="connsiteY102" fmla="*/ 802075 h 1522526"/>
                  <a:gd name="connsiteX103" fmla="*/ 482085 w 1491247"/>
                  <a:gd name="connsiteY103" fmla="*/ 847716 h 1522526"/>
                  <a:gd name="connsiteX104" fmla="*/ 438428 w 1491247"/>
                  <a:gd name="connsiteY104" fmla="*/ 859623 h 1522526"/>
                  <a:gd name="connsiteX105" fmla="*/ 374927 w 1491247"/>
                  <a:gd name="connsiteY105" fmla="*/ 867560 h 1522526"/>
                  <a:gd name="connsiteX106" fmla="*/ 317379 w 1491247"/>
                  <a:gd name="connsiteY106" fmla="*/ 853670 h 1522526"/>
                  <a:gd name="connsiteX107" fmla="*/ 291581 w 1491247"/>
                  <a:gd name="connsiteY107" fmla="*/ 810012 h 1522526"/>
                  <a:gd name="connsiteX108" fmla="*/ 279675 w 1491247"/>
                  <a:gd name="connsiteY108" fmla="*/ 732620 h 1522526"/>
                  <a:gd name="connsiteX109" fmla="*/ 283644 w 1491247"/>
                  <a:gd name="connsiteY109" fmla="*/ 631415 h 1522526"/>
                  <a:gd name="connsiteX110" fmla="*/ 315394 w 1491247"/>
                  <a:gd name="connsiteY110" fmla="*/ 415114 h 1522526"/>
                  <a:gd name="connsiteX111" fmla="*/ 388817 w 1491247"/>
                  <a:gd name="connsiteY111" fmla="*/ 194845 h 1522526"/>
                  <a:gd name="connsiteX112" fmla="*/ 450334 w 1491247"/>
                  <a:gd name="connsiteY112" fmla="*/ 93640 h 1522526"/>
                  <a:gd name="connsiteX113" fmla="*/ 509867 w 1491247"/>
                  <a:gd name="connsiteY113" fmla="*/ 44029 h 1522526"/>
                  <a:gd name="connsiteX114" fmla="*/ 563446 w 1491247"/>
                  <a:gd name="connsiteY114" fmla="*/ 36092 h 1522526"/>
                  <a:gd name="connsiteX115" fmla="*/ 609087 w 1491247"/>
                  <a:gd name="connsiteY115" fmla="*/ 4341 h 1522526"/>
                  <a:gd name="connsiteX116" fmla="*/ 651876 w 1491247"/>
                  <a:gd name="connsiteY116"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319904 w 1487186"/>
                  <a:gd name="connsiteY3" fmla="*/ 1106981 h 1522526"/>
                  <a:gd name="connsiteX4" fmla="*/ 1387472 w 1487186"/>
                  <a:gd name="connsiteY4" fmla="*/ 1185265 h 1522526"/>
                  <a:gd name="connsiteX5" fmla="*/ 1487186 w 1487186"/>
                  <a:gd name="connsiteY5" fmla="*/ 1448990 h 1522526"/>
                  <a:gd name="connsiteX6" fmla="*/ 1177029 w 1487186"/>
                  <a:gd name="connsiteY6" fmla="*/ 1493045 h 1522526"/>
                  <a:gd name="connsiteX7" fmla="*/ 1132974 w 1487186"/>
                  <a:gd name="connsiteY7" fmla="*/ 1439469 h 1522526"/>
                  <a:gd name="connsiteX8" fmla="*/ 1151130 w 1487186"/>
                  <a:gd name="connsiteY8" fmla="*/ 1492451 h 1522526"/>
                  <a:gd name="connsiteX9" fmla="*/ 267073 w 1487186"/>
                  <a:gd name="connsiteY9" fmla="*/ 1497214 h 1522526"/>
                  <a:gd name="connsiteX10" fmla="*/ 250922 w 1487186"/>
                  <a:gd name="connsiteY10" fmla="*/ 1492951 h 1522526"/>
                  <a:gd name="connsiteX11" fmla="*/ 273457 w 1487186"/>
                  <a:gd name="connsiteY11" fmla="*/ 1446229 h 1522526"/>
                  <a:gd name="connsiteX12" fmla="*/ 221069 w 1487186"/>
                  <a:gd name="connsiteY12" fmla="*/ 1493854 h 1522526"/>
                  <a:gd name="connsiteX13" fmla="*/ 668 w 1487186"/>
                  <a:gd name="connsiteY13" fmla="*/ 1482327 h 1522526"/>
                  <a:gd name="connsiteX14" fmla="*/ 61391 w 1487186"/>
                  <a:gd name="connsiteY14" fmla="*/ 1223961 h 1522526"/>
                  <a:gd name="connsiteX15" fmla="*/ 92644 w 1487186"/>
                  <a:gd name="connsiteY15" fmla="*/ 1157285 h 1522526"/>
                  <a:gd name="connsiteX16" fmla="*/ 153665 w 1487186"/>
                  <a:gd name="connsiteY16" fmla="*/ 1120077 h 1522526"/>
                  <a:gd name="connsiteX17" fmla="*/ 251893 w 1487186"/>
                  <a:gd name="connsiteY17" fmla="*/ 1078404 h 1522526"/>
                  <a:gd name="connsiteX18" fmla="*/ 376911 w 1487186"/>
                  <a:gd name="connsiteY18" fmla="*/ 1029290 h 1522526"/>
                  <a:gd name="connsiteX19" fmla="*/ 410479 w 1487186"/>
                  <a:gd name="connsiteY19" fmla="*/ 1016502 h 1522526"/>
                  <a:gd name="connsiteX20" fmla="*/ 592543 w 1487186"/>
                  <a:gd name="connsiteY20" fmla="*/ 1272398 h 1522526"/>
                  <a:gd name="connsiteX21" fmla="*/ 763993 w 1487186"/>
                  <a:gd name="connsiteY21" fmla="*/ 1379555 h 1522526"/>
                  <a:gd name="connsiteX22" fmla="*/ 883056 w 1487186"/>
                  <a:gd name="connsiteY22" fmla="*/ 1243823 h 1522526"/>
                  <a:gd name="connsiteX23" fmla="*/ 992965 w 1487186"/>
                  <a:gd name="connsiteY23" fmla="*/ 998817 h 1522526"/>
                  <a:gd name="connsiteX24" fmla="*/ 856178 w 1487186"/>
                  <a:gd name="connsiteY24" fmla="*/ 852696 h 1522526"/>
                  <a:gd name="connsiteX25" fmla="*/ 851682 w 1487186"/>
                  <a:gd name="connsiteY25" fmla="*/ 923321 h 1522526"/>
                  <a:gd name="connsiteX26" fmla="*/ 959840 w 1487186"/>
                  <a:gd name="connsiteY26" fmla="*/ 978198 h 1522526"/>
                  <a:gd name="connsiteX27" fmla="*/ 885437 w 1487186"/>
                  <a:gd name="connsiteY27" fmla="*/ 1177148 h 1522526"/>
                  <a:gd name="connsiteX28" fmla="*/ 747325 w 1487186"/>
                  <a:gd name="connsiteY28" fmla="*/ 1341455 h 1522526"/>
                  <a:gd name="connsiteX29" fmla="*/ 556825 w 1487186"/>
                  <a:gd name="connsiteY29" fmla="*/ 1191436 h 1522526"/>
                  <a:gd name="connsiteX30" fmla="*/ 439913 w 1487186"/>
                  <a:gd name="connsiteY30" fmla="*/ 1004825 h 1522526"/>
                  <a:gd name="connsiteX31" fmla="*/ 551936 w 1487186"/>
                  <a:gd name="connsiteY31" fmla="*/ 931359 h 1522526"/>
                  <a:gd name="connsiteX32" fmla="*/ 550504 w 1487186"/>
                  <a:gd name="connsiteY32" fmla="*/ 858311 h 1522526"/>
                  <a:gd name="connsiteX33" fmla="*/ 621119 w 1487186"/>
                  <a:gd name="connsiteY33" fmla="*/ 900922 h 1522526"/>
                  <a:gd name="connsiteX34" fmla="*/ 728276 w 1487186"/>
                  <a:gd name="connsiteY34" fmla="*/ 915210 h 1522526"/>
                  <a:gd name="connsiteX35" fmla="*/ 821144 w 1487186"/>
                  <a:gd name="connsiteY35" fmla="*/ 874729 h 1522526"/>
                  <a:gd name="connsiteX36" fmla="*/ 856178 w 1487186"/>
                  <a:gd name="connsiteY36" fmla="*/ 852696 h 1522526"/>
                  <a:gd name="connsiteX37" fmla="*/ 1041767 w 1487186"/>
                  <a:gd name="connsiteY37" fmla="*/ 314309 h 1522526"/>
                  <a:gd name="connsiteX38" fmla="*/ 1048139 w 1487186"/>
                  <a:gd name="connsiteY38" fmla="*/ 320855 h 1522526"/>
                  <a:gd name="connsiteX39" fmla="*/ 1074929 w 1487186"/>
                  <a:gd name="connsiteY39" fmla="*/ 428013 h 1522526"/>
                  <a:gd name="connsiteX40" fmla="*/ 1101718 w 1487186"/>
                  <a:gd name="connsiteY40" fmla="*/ 569403 h 1522526"/>
                  <a:gd name="connsiteX41" fmla="*/ 1110648 w 1487186"/>
                  <a:gd name="connsiteY41" fmla="*/ 704839 h 1522526"/>
                  <a:gd name="connsiteX42" fmla="*/ 1107671 w 1487186"/>
                  <a:gd name="connsiteY42" fmla="*/ 789672 h 1522526"/>
                  <a:gd name="connsiteX43" fmla="*/ 1082370 w 1487186"/>
                  <a:gd name="connsiteY43" fmla="*/ 850693 h 1522526"/>
                  <a:gd name="connsiteX44" fmla="*/ 1036232 w 1487186"/>
                  <a:gd name="connsiteY44" fmla="*/ 859623 h 1522526"/>
                  <a:gd name="connsiteX45" fmla="*/ 963305 w 1487186"/>
                  <a:gd name="connsiteY45" fmla="*/ 853670 h 1522526"/>
                  <a:gd name="connsiteX46" fmla="*/ 908238 w 1487186"/>
                  <a:gd name="connsiteY46" fmla="*/ 834322 h 1522526"/>
                  <a:gd name="connsiteX47" fmla="*/ 915679 w 1487186"/>
                  <a:gd name="connsiteY47" fmla="*/ 813485 h 1522526"/>
                  <a:gd name="connsiteX48" fmla="*/ 945445 w 1487186"/>
                  <a:gd name="connsiteY48" fmla="*/ 773301 h 1522526"/>
                  <a:gd name="connsiteX49" fmla="*/ 973724 w 1487186"/>
                  <a:gd name="connsiteY49" fmla="*/ 704839 h 1522526"/>
                  <a:gd name="connsiteX50" fmla="*/ 979677 w 1487186"/>
                  <a:gd name="connsiteY50" fmla="*/ 675072 h 1522526"/>
                  <a:gd name="connsiteX51" fmla="*/ 997536 w 1487186"/>
                  <a:gd name="connsiteY51" fmla="*/ 655725 h 1522526"/>
                  <a:gd name="connsiteX52" fmla="*/ 1022838 w 1487186"/>
                  <a:gd name="connsiteY52" fmla="*/ 579821 h 1522526"/>
                  <a:gd name="connsiteX53" fmla="*/ 1040697 w 1487186"/>
                  <a:gd name="connsiteY53" fmla="*/ 499452 h 1522526"/>
                  <a:gd name="connsiteX54" fmla="*/ 1042186 w 1487186"/>
                  <a:gd name="connsiteY54" fmla="*/ 463733 h 1522526"/>
                  <a:gd name="connsiteX55" fmla="*/ 1025814 w 1487186"/>
                  <a:gd name="connsiteY55" fmla="*/ 430990 h 1522526"/>
                  <a:gd name="connsiteX56" fmla="*/ 1009443 w 1487186"/>
                  <a:gd name="connsiteY56" fmla="*/ 416107 h 1522526"/>
                  <a:gd name="connsiteX57" fmla="*/ 1006466 w 1487186"/>
                  <a:gd name="connsiteY57" fmla="*/ 386340 h 1522526"/>
                  <a:gd name="connsiteX58" fmla="*/ 1009443 w 1487186"/>
                  <a:gd name="connsiteY58" fmla="*/ 350621 h 1522526"/>
                  <a:gd name="connsiteX59" fmla="*/ 1024326 w 1487186"/>
                  <a:gd name="connsiteY59" fmla="*/ 328297 h 1522526"/>
                  <a:gd name="connsiteX60" fmla="*/ 1041767 w 1487186"/>
                  <a:gd name="connsiteY60" fmla="*/ 314309 h 1522526"/>
                  <a:gd name="connsiteX61" fmla="*/ 616358 w 1487186"/>
                  <a:gd name="connsiteY61" fmla="*/ 96060 h 1522526"/>
                  <a:gd name="connsiteX62" fmla="*/ 509202 w 1487186"/>
                  <a:gd name="connsiteY62" fmla="*/ 431816 h 1522526"/>
                  <a:gd name="connsiteX63" fmla="*/ 654458 w 1487186"/>
                  <a:gd name="connsiteY63" fmla="*/ 184165 h 1522526"/>
                  <a:gd name="connsiteX64" fmla="*/ 616358 w 1487186"/>
                  <a:gd name="connsiteY64" fmla="*/ 96060 h 1522526"/>
                  <a:gd name="connsiteX65" fmla="*/ 651876 w 1487186"/>
                  <a:gd name="connsiteY65" fmla="*/ 0 h 1522526"/>
                  <a:gd name="connsiteX66" fmla="*/ 696401 w 1487186"/>
                  <a:gd name="connsiteY66" fmla="*/ 372 h 1522526"/>
                  <a:gd name="connsiteX67" fmla="*/ 757918 w 1487186"/>
                  <a:gd name="connsiteY67" fmla="*/ 6326 h 1522526"/>
                  <a:gd name="connsiteX68" fmla="*/ 829357 w 1487186"/>
                  <a:gd name="connsiteY68" fmla="*/ 38076 h 1522526"/>
                  <a:gd name="connsiteX69" fmla="*/ 910718 w 1487186"/>
                  <a:gd name="connsiteY69" fmla="*/ 103562 h 1522526"/>
                  <a:gd name="connsiteX70" fmla="*/ 1005970 w 1487186"/>
                  <a:gd name="connsiteY70" fmla="*/ 216673 h 1522526"/>
                  <a:gd name="connsiteX71" fmla="*/ 1041689 w 1487186"/>
                  <a:gd name="connsiteY71" fmla="*/ 276206 h 1522526"/>
                  <a:gd name="connsiteX72" fmla="*/ 1025814 w 1487186"/>
                  <a:gd name="connsiteY72" fmla="*/ 313909 h 1522526"/>
                  <a:gd name="connsiteX73" fmla="*/ 992079 w 1487186"/>
                  <a:gd name="connsiteY73" fmla="*/ 331769 h 1522526"/>
                  <a:gd name="connsiteX74" fmla="*/ 968266 w 1487186"/>
                  <a:gd name="connsiteY74" fmla="*/ 311925 h 1522526"/>
                  <a:gd name="connsiteX75" fmla="*/ 914687 w 1487186"/>
                  <a:gd name="connsiteY75" fmla="*/ 256361 h 1522526"/>
                  <a:gd name="connsiteX76" fmla="*/ 819435 w 1487186"/>
                  <a:gd name="connsiteY76" fmla="*/ 210720 h 1522526"/>
                  <a:gd name="connsiteX77" fmla="*/ 716246 w 1487186"/>
                  <a:gd name="connsiteY77" fmla="*/ 210720 h 1522526"/>
                  <a:gd name="connsiteX78" fmla="*/ 850617 w 1487186"/>
                  <a:gd name="connsiteY78" fmla="*/ 240487 h 1522526"/>
                  <a:gd name="connsiteX79" fmla="*/ 916103 w 1487186"/>
                  <a:gd name="connsiteY79" fmla="*/ 279721 h 1522526"/>
                  <a:gd name="connsiteX80" fmla="*/ 978269 w 1487186"/>
                  <a:gd name="connsiteY80" fmla="*/ 344718 h 1522526"/>
                  <a:gd name="connsiteX81" fmla="*/ 969452 w 1487186"/>
                  <a:gd name="connsiteY81" fmla="*/ 378896 h 1522526"/>
                  <a:gd name="connsiteX82" fmla="*/ 969452 w 1487186"/>
                  <a:gd name="connsiteY82" fmla="*/ 451651 h 1522526"/>
                  <a:gd name="connsiteX83" fmla="*/ 1003488 w 1487186"/>
                  <a:gd name="connsiteY83" fmla="*/ 478628 h 1522526"/>
                  <a:gd name="connsiteX84" fmla="*/ 967232 w 1487186"/>
                  <a:gd name="connsiteY84" fmla="*/ 638035 h 1522526"/>
                  <a:gd name="connsiteX85" fmla="*/ 946515 w 1487186"/>
                  <a:gd name="connsiteY85" fmla="*/ 651932 h 1522526"/>
                  <a:gd name="connsiteX86" fmla="*/ 838644 w 1487186"/>
                  <a:gd name="connsiteY86" fmla="*/ 831290 h 1522526"/>
                  <a:gd name="connsiteX87" fmla="*/ 749707 w 1487186"/>
                  <a:gd name="connsiteY87" fmla="*/ 893779 h 1522526"/>
                  <a:gd name="connsiteX88" fmla="*/ 663982 w 1487186"/>
                  <a:gd name="connsiteY88" fmla="*/ 893779 h 1522526"/>
                  <a:gd name="connsiteX89" fmla="*/ 542921 w 1487186"/>
                  <a:gd name="connsiteY89" fmla="*/ 821966 h 1522526"/>
                  <a:gd name="connsiteX90" fmla="*/ 450782 w 1487186"/>
                  <a:gd name="connsiteY90" fmla="*/ 643758 h 1522526"/>
                  <a:gd name="connsiteX91" fmla="*/ 390111 w 1487186"/>
                  <a:gd name="connsiteY91" fmla="*/ 503970 h 1522526"/>
                  <a:gd name="connsiteX92" fmla="*/ 413787 w 1487186"/>
                  <a:gd name="connsiteY92" fmla="*/ 464730 h 1522526"/>
                  <a:gd name="connsiteX93" fmla="*/ 402973 w 1487186"/>
                  <a:gd name="connsiteY93" fmla="*/ 399317 h 1522526"/>
                  <a:gd name="connsiteX94" fmla="*/ 376911 w 1487186"/>
                  <a:gd name="connsiteY94" fmla="*/ 419083 h 1522526"/>
                  <a:gd name="connsiteX95" fmla="*/ 361036 w 1487186"/>
                  <a:gd name="connsiteY95" fmla="*/ 438927 h 1522526"/>
                  <a:gd name="connsiteX96" fmla="*/ 347145 w 1487186"/>
                  <a:gd name="connsiteY96" fmla="*/ 476631 h 1522526"/>
                  <a:gd name="connsiteX97" fmla="*/ 353098 w 1487186"/>
                  <a:gd name="connsiteY97" fmla="*/ 514335 h 1522526"/>
                  <a:gd name="connsiteX98" fmla="*/ 363020 w 1487186"/>
                  <a:gd name="connsiteY98" fmla="*/ 571883 h 1522526"/>
                  <a:gd name="connsiteX99" fmla="*/ 386833 w 1487186"/>
                  <a:gd name="connsiteY99" fmla="*/ 665150 h 1522526"/>
                  <a:gd name="connsiteX100" fmla="*/ 412630 w 1487186"/>
                  <a:gd name="connsiteY100" fmla="*/ 686979 h 1522526"/>
                  <a:gd name="connsiteX101" fmla="*/ 428506 w 1487186"/>
                  <a:gd name="connsiteY101" fmla="*/ 728652 h 1522526"/>
                  <a:gd name="connsiteX102" fmla="*/ 466210 w 1487186"/>
                  <a:gd name="connsiteY102" fmla="*/ 802075 h 1522526"/>
                  <a:gd name="connsiteX103" fmla="*/ 482085 w 1487186"/>
                  <a:gd name="connsiteY103" fmla="*/ 847716 h 1522526"/>
                  <a:gd name="connsiteX104" fmla="*/ 438428 w 1487186"/>
                  <a:gd name="connsiteY104" fmla="*/ 859623 h 1522526"/>
                  <a:gd name="connsiteX105" fmla="*/ 374927 w 1487186"/>
                  <a:gd name="connsiteY105" fmla="*/ 867560 h 1522526"/>
                  <a:gd name="connsiteX106" fmla="*/ 317379 w 1487186"/>
                  <a:gd name="connsiteY106" fmla="*/ 853670 h 1522526"/>
                  <a:gd name="connsiteX107" fmla="*/ 291581 w 1487186"/>
                  <a:gd name="connsiteY107" fmla="*/ 810012 h 1522526"/>
                  <a:gd name="connsiteX108" fmla="*/ 279675 w 1487186"/>
                  <a:gd name="connsiteY108" fmla="*/ 732620 h 1522526"/>
                  <a:gd name="connsiteX109" fmla="*/ 283644 w 1487186"/>
                  <a:gd name="connsiteY109" fmla="*/ 631415 h 1522526"/>
                  <a:gd name="connsiteX110" fmla="*/ 315394 w 1487186"/>
                  <a:gd name="connsiteY110" fmla="*/ 415114 h 1522526"/>
                  <a:gd name="connsiteX111" fmla="*/ 388817 w 1487186"/>
                  <a:gd name="connsiteY111" fmla="*/ 194845 h 1522526"/>
                  <a:gd name="connsiteX112" fmla="*/ 450334 w 1487186"/>
                  <a:gd name="connsiteY112" fmla="*/ 93640 h 1522526"/>
                  <a:gd name="connsiteX113" fmla="*/ 509867 w 1487186"/>
                  <a:gd name="connsiteY113" fmla="*/ 44029 h 1522526"/>
                  <a:gd name="connsiteX114" fmla="*/ 563446 w 1487186"/>
                  <a:gd name="connsiteY114" fmla="*/ 36092 h 1522526"/>
                  <a:gd name="connsiteX115" fmla="*/ 609087 w 1487186"/>
                  <a:gd name="connsiteY115" fmla="*/ 4341 h 1522526"/>
                  <a:gd name="connsiteX116" fmla="*/ 651876 w 1487186"/>
                  <a:gd name="connsiteY116" fmla="*/ 0 h 1522526"/>
                  <a:gd name="connsiteX0" fmla="*/ 1056847 w 1551068"/>
                  <a:gd name="connsiteY0" fmla="*/ 998817 h 1522526"/>
                  <a:gd name="connsiteX1" fmla="*/ 1067372 w 1551068"/>
                  <a:gd name="connsiteY1" fmla="*/ 1002500 h 1522526"/>
                  <a:gd name="connsiteX2" fmla="*/ 1174530 w 1551068"/>
                  <a:gd name="connsiteY2" fmla="*/ 1036732 h 1522526"/>
                  <a:gd name="connsiteX3" fmla="*/ 1383786 w 1551068"/>
                  <a:gd name="connsiteY3" fmla="*/ 1106981 h 1522526"/>
                  <a:gd name="connsiteX4" fmla="*/ 1451354 w 1551068"/>
                  <a:gd name="connsiteY4" fmla="*/ 1185265 h 1522526"/>
                  <a:gd name="connsiteX5" fmla="*/ 1551068 w 1551068"/>
                  <a:gd name="connsiteY5" fmla="*/ 1448990 h 1522526"/>
                  <a:gd name="connsiteX6" fmla="*/ 1240911 w 1551068"/>
                  <a:gd name="connsiteY6" fmla="*/ 1493045 h 1522526"/>
                  <a:gd name="connsiteX7" fmla="*/ 1196856 w 1551068"/>
                  <a:gd name="connsiteY7" fmla="*/ 1439469 h 1522526"/>
                  <a:gd name="connsiteX8" fmla="*/ 1215012 w 1551068"/>
                  <a:gd name="connsiteY8" fmla="*/ 1492451 h 1522526"/>
                  <a:gd name="connsiteX9" fmla="*/ 330955 w 1551068"/>
                  <a:gd name="connsiteY9" fmla="*/ 1497214 h 1522526"/>
                  <a:gd name="connsiteX10" fmla="*/ 314804 w 1551068"/>
                  <a:gd name="connsiteY10" fmla="*/ 1492951 h 1522526"/>
                  <a:gd name="connsiteX11" fmla="*/ 337339 w 1551068"/>
                  <a:gd name="connsiteY11" fmla="*/ 1446229 h 1522526"/>
                  <a:gd name="connsiteX12" fmla="*/ 284951 w 1551068"/>
                  <a:gd name="connsiteY12" fmla="*/ 1493854 h 1522526"/>
                  <a:gd name="connsiteX13" fmla="*/ 256 w 1551068"/>
                  <a:gd name="connsiteY13" fmla="*/ 1482327 h 1522526"/>
                  <a:gd name="connsiteX14" fmla="*/ 125273 w 1551068"/>
                  <a:gd name="connsiteY14" fmla="*/ 1223961 h 1522526"/>
                  <a:gd name="connsiteX15" fmla="*/ 156526 w 1551068"/>
                  <a:gd name="connsiteY15" fmla="*/ 1157285 h 1522526"/>
                  <a:gd name="connsiteX16" fmla="*/ 217547 w 1551068"/>
                  <a:gd name="connsiteY16" fmla="*/ 1120077 h 1522526"/>
                  <a:gd name="connsiteX17" fmla="*/ 315775 w 1551068"/>
                  <a:gd name="connsiteY17" fmla="*/ 1078404 h 1522526"/>
                  <a:gd name="connsiteX18" fmla="*/ 440793 w 1551068"/>
                  <a:gd name="connsiteY18" fmla="*/ 1029290 h 1522526"/>
                  <a:gd name="connsiteX19" fmla="*/ 474361 w 1551068"/>
                  <a:gd name="connsiteY19" fmla="*/ 1016502 h 1522526"/>
                  <a:gd name="connsiteX20" fmla="*/ 656425 w 1551068"/>
                  <a:gd name="connsiteY20" fmla="*/ 1272398 h 1522526"/>
                  <a:gd name="connsiteX21" fmla="*/ 827875 w 1551068"/>
                  <a:gd name="connsiteY21" fmla="*/ 1379555 h 1522526"/>
                  <a:gd name="connsiteX22" fmla="*/ 946938 w 1551068"/>
                  <a:gd name="connsiteY22" fmla="*/ 1243823 h 1522526"/>
                  <a:gd name="connsiteX23" fmla="*/ 1056847 w 1551068"/>
                  <a:gd name="connsiteY23" fmla="*/ 998817 h 1522526"/>
                  <a:gd name="connsiteX24" fmla="*/ 920060 w 1551068"/>
                  <a:gd name="connsiteY24" fmla="*/ 852696 h 1522526"/>
                  <a:gd name="connsiteX25" fmla="*/ 915564 w 1551068"/>
                  <a:gd name="connsiteY25" fmla="*/ 923321 h 1522526"/>
                  <a:gd name="connsiteX26" fmla="*/ 1023722 w 1551068"/>
                  <a:gd name="connsiteY26" fmla="*/ 978198 h 1522526"/>
                  <a:gd name="connsiteX27" fmla="*/ 949319 w 1551068"/>
                  <a:gd name="connsiteY27" fmla="*/ 1177148 h 1522526"/>
                  <a:gd name="connsiteX28" fmla="*/ 811207 w 1551068"/>
                  <a:gd name="connsiteY28" fmla="*/ 1341455 h 1522526"/>
                  <a:gd name="connsiteX29" fmla="*/ 620707 w 1551068"/>
                  <a:gd name="connsiteY29" fmla="*/ 1191436 h 1522526"/>
                  <a:gd name="connsiteX30" fmla="*/ 503795 w 1551068"/>
                  <a:gd name="connsiteY30" fmla="*/ 1004825 h 1522526"/>
                  <a:gd name="connsiteX31" fmla="*/ 615818 w 1551068"/>
                  <a:gd name="connsiteY31" fmla="*/ 931359 h 1522526"/>
                  <a:gd name="connsiteX32" fmla="*/ 614386 w 1551068"/>
                  <a:gd name="connsiteY32" fmla="*/ 858311 h 1522526"/>
                  <a:gd name="connsiteX33" fmla="*/ 685001 w 1551068"/>
                  <a:gd name="connsiteY33" fmla="*/ 900922 h 1522526"/>
                  <a:gd name="connsiteX34" fmla="*/ 792158 w 1551068"/>
                  <a:gd name="connsiteY34" fmla="*/ 915210 h 1522526"/>
                  <a:gd name="connsiteX35" fmla="*/ 885026 w 1551068"/>
                  <a:gd name="connsiteY35" fmla="*/ 874729 h 1522526"/>
                  <a:gd name="connsiteX36" fmla="*/ 920060 w 1551068"/>
                  <a:gd name="connsiteY36" fmla="*/ 852696 h 1522526"/>
                  <a:gd name="connsiteX37" fmla="*/ 1105649 w 1551068"/>
                  <a:gd name="connsiteY37" fmla="*/ 314309 h 1522526"/>
                  <a:gd name="connsiteX38" fmla="*/ 1112021 w 1551068"/>
                  <a:gd name="connsiteY38" fmla="*/ 320855 h 1522526"/>
                  <a:gd name="connsiteX39" fmla="*/ 1138811 w 1551068"/>
                  <a:gd name="connsiteY39" fmla="*/ 428013 h 1522526"/>
                  <a:gd name="connsiteX40" fmla="*/ 1165600 w 1551068"/>
                  <a:gd name="connsiteY40" fmla="*/ 569403 h 1522526"/>
                  <a:gd name="connsiteX41" fmla="*/ 1174530 w 1551068"/>
                  <a:gd name="connsiteY41" fmla="*/ 704839 h 1522526"/>
                  <a:gd name="connsiteX42" fmla="*/ 1171553 w 1551068"/>
                  <a:gd name="connsiteY42" fmla="*/ 789672 h 1522526"/>
                  <a:gd name="connsiteX43" fmla="*/ 1146252 w 1551068"/>
                  <a:gd name="connsiteY43" fmla="*/ 850693 h 1522526"/>
                  <a:gd name="connsiteX44" fmla="*/ 1100114 w 1551068"/>
                  <a:gd name="connsiteY44" fmla="*/ 859623 h 1522526"/>
                  <a:gd name="connsiteX45" fmla="*/ 1027187 w 1551068"/>
                  <a:gd name="connsiteY45" fmla="*/ 853670 h 1522526"/>
                  <a:gd name="connsiteX46" fmla="*/ 972120 w 1551068"/>
                  <a:gd name="connsiteY46" fmla="*/ 834322 h 1522526"/>
                  <a:gd name="connsiteX47" fmla="*/ 979561 w 1551068"/>
                  <a:gd name="connsiteY47" fmla="*/ 813485 h 1522526"/>
                  <a:gd name="connsiteX48" fmla="*/ 1009327 w 1551068"/>
                  <a:gd name="connsiteY48" fmla="*/ 773301 h 1522526"/>
                  <a:gd name="connsiteX49" fmla="*/ 1037606 w 1551068"/>
                  <a:gd name="connsiteY49" fmla="*/ 704839 h 1522526"/>
                  <a:gd name="connsiteX50" fmla="*/ 1043559 w 1551068"/>
                  <a:gd name="connsiteY50" fmla="*/ 675072 h 1522526"/>
                  <a:gd name="connsiteX51" fmla="*/ 1061418 w 1551068"/>
                  <a:gd name="connsiteY51" fmla="*/ 655725 h 1522526"/>
                  <a:gd name="connsiteX52" fmla="*/ 1086720 w 1551068"/>
                  <a:gd name="connsiteY52" fmla="*/ 579821 h 1522526"/>
                  <a:gd name="connsiteX53" fmla="*/ 1104579 w 1551068"/>
                  <a:gd name="connsiteY53" fmla="*/ 499452 h 1522526"/>
                  <a:gd name="connsiteX54" fmla="*/ 1106068 w 1551068"/>
                  <a:gd name="connsiteY54" fmla="*/ 463733 h 1522526"/>
                  <a:gd name="connsiteX55" fmla="*/ 1089696 w 1551068"/>
                  <a:gd name="connsiteY55" fmla="*/ 430990 h 1522526"/>
                  <a:gd name="connsiteX56" fmla="*/ 1073325 w 1551068"/>
                  <a:gd name="connsiteY56" fmla="*/ 416107 h 1522526"/>
                  <a:gd name="connsiteX57" fmla="*/ 1070348 w 1551068"/>
                  <a:gd name="connsiteY57" fmla="*/ 386340 h 1522526"/>
                  <a:gd name="connsiteX58" fmla="*/ 1073325 w 1551068"/>
                  <a:gd name="connsiteY58" fmla="*/ 350621 h 1522526"/>
                  <a:gd name="connsiteX59" fmla="*/ 1088208 w 1551068"/>
                  <a:gd name="connsiteY59" fmla="*/ 328297 h 1522526"/>
                  <a:gd name="connsiteX60" fmla="*/ 1105649 w 1551068"/>
                  <a:gd name="connsiteY60" fmla="*/ 314309 h 1522526"/>
                  <a:gd name="connsiteX61" fmla="*/ 680240 w 1551068"/>
                  <a:gd name="connsiteY61" fmla="*/ 96060 h 1522526"/>
                  <a:gd name="connsiteX62" fmla="*/ 573084 w 1551068"/>
                  <a:gd name="connsiteY62" fmla="*/ 431816 h 1522526"/>
                  <a:gd name="connsiteX63" fmla="*/ 718340 w 1551068"/>
                  <a:gd name="connsiteY63" fmla="*/ 184165 h 1522526"/>
                  <a:gd name="connsiteX64" fmla="*/ 680240 w 1551068"/>
                  <a:gd name="connsiteY64" fmla="*/ 96060 h 1522526"/>
                  <a:gd name="connsiteX65" fmla="*/ 715758 w 1551068"/>
                  <a:gd name="connsiteY65" fmla="*/ 0 h 1522526"/>
                  <a:gd name="connsiteX66" fmla="*/ 760283 w 1551068"/>
                  <a:gd name="connsiteY66" fmla="*/ 372 h 1522526"/>
                  <a:gd name="connsiteX67" fmla="*/ 821800 w 1551068"/>
                  <a:gd name="connsiteY67" fmla="*/ 6326 h 1522526"/>
                  <a:gd name="connsiteX68" fmla="*/ 893239 w 1551068"/>
                  <a:gd name="connsiteY68" fmla="*/ 38076 h 1522526"/>
                  <a:gd name="connsiteX69" fmla="*/ 974600 w 1551068"/>
                  <a:gd name="connsiteY69" fmla="*/ 103562 h 1522526"/>
                  <a:gd name="connsiteX70" fmla="*/ 1069852 w 1551068"/>
                  <a:gd name="connsiteY70" fmla="*/ 216673 h 1522526"/>
                  <a:gd name="connsiteX71" fmla="*/ 1105571 w 1551068"/>
                  <a:gd name="connsiteY71" fmla="*/ 276206 h 1522526"/>
                  <a:gd name="connsiteX72" fmla="*/ 1089696 w 1551068"/>
                  <a:gd name="connsiteY72" fmla="*/ 313909 h 1522526"/>
                  <a:gd name="connsiteX73" fmla="*/ 1055961 w 1551068"/>
                  <a:gd name="connsiteY73" fmla="*/ 331769 h 1522526"/>
                  <a:gd name="connsiteX74" fmla="*/ 1032148 w 1551068"/>
                  <a:gd name="connsiteY74" fmla="*/ 311925 h 1522526"/>
                  <a:gd name="connsiteX75" fmla="*/ 978569 w 1551068"/>
                  <a:gd name="connsiteY75" fmla="*/ 256361 h 1522526"/>
                  <a:gd name="connsiteX76" fmla="*/ 883317 w 1551068"/>
                  <a:gd name="connsiteY76" fmla="*/ 210720 h 1522526"/>
                  <a:gd name="connsiteX77" fmla="*/ 780128 w 1551068"/>
                  <a:gd name="connsiteY77" fmla="*/ 210720 h 1522526"/>
                  <a:gd name="connsiteX78" fmla="*/ 914499 w 1551068"/>
                  <a:gd name="connsiteY78" fmla="*/ 240487 h 1522526"/>
                  <a:gd name="connsiteX79" fmla="*/ 979985 w 1551068"/>
                  <a:gd name="connsiteY79" fmla="*/ 279721 h 1522526"/>
                  <a:gd name="connsiteX80" fmla="*/ 1042151 w 1551068"/>
                  <a:gd name="connsiteY80" fmla="*/ 344718 h 1522526"/>
                  <a:gd name="connsiteX81" fmla="*/ 1033334 w 1551068"/>
                  <a:gd name="connsiteY81" fmla="*/ 378896 h 1522526"/>
                  <a:gd name="connsiteX82" fmla="*/ 1033334 w 1551068"/>
                  <a:gd name="connsiteY82" fmla="*/ 451651 h 1522526"/>
                  <a:gd name="connsiteX83" fmla="*/ 1067370 w 1551068"/>
                  <a:gd name="connsiteY83" fmla="*/ 478628 h 1522526"/>
                  <a:gd name="connsiteX84" fmla="*/ 1031114 w 1551068"/>
                  <a:gd name="connsiteY84" fmla="*/ 638035 h 1522526"/>
                  <a:gd name="connsiteX85" fmla="*/ 1010397 w 1551068"/>
                  <a:gd name="connsiteY85" fmla="*/ 651932 h 1522526"/>
                  <a:gd name="connsiteX86" fmla="*/ 902526 w 1551068"/>
                  <a:gd name="connsiteY86" fmla="*/ 831290 h 1522526"/>
                  <a:gd name="connsiteX87" fmla="*/ 813589 w 1551068"/>
                  <a:gd name="connsiteY87" fmla="*/ 893779 h 1522526"/>
                  <a:gd name="connsiteX88" fmla="*/ 727864 w 1551068"/>
                  <a:gd name="connsiteY88" fmla="*/ 893779 h 1522526"/>
                  <a:gd name="connsiteX89" fmla="*/ 606803 w 1551068"/>
                  <a:gd name="connsiteY89" fmla="*/ 821966 h 1522526"/>
                  <a:gd name="connsiteX90" fmla="*/ 514664 w 1551068"/>
                  <a:gd name="connsiteY90" fmla="*/ 643758 h 1522526"/>
                  <a:gd name="connsiteX91" fmla="*/ 453993 w 1551068"/>
                  <a:gd name="connsiteY91" fmla="*/ 503970 h 1522526"/>
                  <a:gd name="connsiteX92" fmla="*/ 477669 w 1551068"/>
                  <a:gd name="connsiteY92" fmla="*/ 464730 h 1522526"/>
                  <a:gd name="connsiteX93" fmla="*/ 466855 w 1551068"/>
                  <a:gd name="connsiteY93" fmla="*/ 399317 h 1522526"/>
                  <a:gd name="connsiteX94" fmla="*/ 440793 w 1551068"/>
                  <a:gd name="connsiteY94" fmla="*/ 419083 h 1522526"/>
                  <a:gd name="connsiteX95" fmla="*/ 424918 w 1551068"/>
                  <a:gd name="connsiteY95" fmla="*/ 438927 h 1522526"/>
                  <a:gd name="connsiteX96" fmla="*/ 411027 w 1551068"/>
                  <a:gd name="connsiteY96" fmla="*/ 476631 h 1522526"/>
                  <a:gd name="connsiteX97" fmla="*/ 416980 w 1551068"/>
                  <a:gd name="connsiteY97" fmla="*/ 514335 h 1522526"/>
                  <a:gd name="connsiteX98" fmla="*/ 426902 w 1551068"/>
                  <a:gd name="connsiteY98" fmla="*/ 571883 h 1522526"/>
                  <a:gd name="connsiteX99" fmla="*/ 450715 w 1551068"/>
                  <a:gd name="connsiteY99" fmla="*/ 665150 h 1522526"/>
                  <a:gd name="connsiteX100" fmla="*/ 476512 w 1551068"/>
                  <a:gd name="connsiteY100" fmla="*/ 686979 h 1522526"/>
                  <a:gd name="connsiteX101" fmla="*/ 492388 w 1551068"/>
                  <a:gd name="connsiteY101" fmla="*/ 728652 h 1522526"/>
                  <a:gd name="connsiteX102" fmla="*/ 530092 w 1551068"/>
                  <a:gd name="connsiteY102" fmla="*/ 802075 h 1522526"/>
                  <a:gd name="connsiteX103" fmla="*/ 545967 w 1551068"/>
                  <a:gd name="connsiteY103" fmla="*/ 847716 h 1522526"/>
                  <a:gd name="connsiteX104" fmla="*/ 502310 w 1551068"/>
                  <a:gd name="connsiteY104" fmla="*/ 859623 h 1522526"/>
                  <a:gd name="connsiteX105" fmla="*/ 438809 w 1551068"/>
                  <a:gd name="connsiteY105" fmla="*/ 867560 h 1522526"/>
                  <a:gd name="connsiteX106" fmla="*/ 381261 w 1551068"/>
                  <a:gd name="connsiteY106" fmla="*/ 853670 h 1522526"/>
                  <a:gd name="connsiteX107" fmla="*/ 355463 w 1551068"/>
                  <a:gd name="connsiteY107" fmla="*/ 810012 h 1522526"/>
                  <a:gd name="connsiteX108" fmla="*/ 343557 w 1551068"/>
                  <a:gd name="connsiteY108" fmla="*/ 732620 h 1522526"/>
                  <a:gd name="connsiteX109" fmla="*/ 347526 w 1551068"/>
                  <a:gd name="connsiteY109" fmla="*/ 631415 h 1522526"/>
                  <a:gd name="connsiteX110" fmla="*/ 379276 w 1551068"/>
                  <a:gd name="connsiteY110" fmla="*/ 415114 h 1522526"/>
                  <a:gd name="connsiteX111" fmla="*/ 452699 w 1551068"/>
                  <a:gd name="connsiteY111" fmla="*/ 194845 h 1522526"/>
                  <a:gd name="connsiteX112" fmla="*/ 514216 w 1551068"/>
                  <a:gd name="connsiteY112" fmla="*/ 93640 h 1522526"/>
                  <a:gd name="connsiteX113" fmla="*/ 573749 w 1551068"/>
                  <a:gd name="connsiteY113" fmla="*/ 44029 h 1522526"/>
                  <a:gd name="connsiteX114" fmla="*/ 627328 w 1551068"/>
                  <a:gd name="connsiteY114" fmla="*/ 36092 h 1522526"/>
                  <a:gd name="connsiteX115" fmla="*/ 672969 w 1551068"/>
                  <a:gd name="connsiteY115" fmla="*/ 4341 h 1522526"/>
                  <a:gd name="connsiteX116" fmla="*/ 715758 w 1551068"/>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56635 w 1551177"/>
                  <a:gd name="connsiteY15" fmla="*/ 1157285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32823 w 1551177"/>
                  <a:gd name="connsiteY15" fmla="*/ 1150141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17745 w 1551266"/>
                  <a:gd name="connsiteY16" fmla="*/ 1120077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22508 w 1551266"/>
                  <a:gd name="connsiteY16" fmla="*/ 1108171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551266" h="1522526">
                    <a:moveTo>
                      <a:pt x="1057045" y="998817"/>
                    </a:moveTo>
                    <a:lnTo>
                      <a:pt x="1067570" y="1002500"/>
                    </a:lnTo>
                    <a:lnTo>
                      <a:pt x="1174728" y="1036732"/>
                    </a:lnTo>
                    <a:lnTo>
                      <a:pt x="1383984" y="1106981"/>
                    </a:lnTo>
                    <a:cubicBezTo>
                      <a:pt x="1387457" y="1120375"/>
                      <a:pt x="1443515" y="1151630"/>
                      <a:pt x="1451552" y="1185265"/>
                    </a:cubicBezTo>
                    <a:cubicBezTo>
                      <a:pt x="1483798" y="1237107"/>
                      <a:pt x="1504186" y="1331415"/>
                      <a:pt x="1551266" y="1448990"/>
                    </a:cubicBezTo>
                    <a:cubicBezTo>
                      <a:pt x="1544321" y="1477764"/>
                      <a:pt x="1250039" y="1471217"/>
                      <a:pt x="1241109" y="1493045"/>
                    </a:cubicBezTo>
                    <a:cubicBezTo>
                      <a:pt x="1226424" y="1475186"/>
                      <a:pt x="1221264" y="1443041"/>
                      <a:pt x="1197054" y="1439469"/>
                    </a:cubicBezTo>
                    <a:lnTo>
                      <a:pt x="1215210" y="1492451"/>
                    </a:lnTo>
                    <a:cubicBezTo>
                      <a:pt x="885826" y="1530777"/>
                      <a:pt x="710655" y="1532592"/>
                      <a:pt x="331153" y="1497214"/>
                    </a:cubicBezTo>
                    <a:lnTo>
                      <a:pt x="315002" y="1492951"/>
                    </a:lnTo>
                    <a:cubicBezTo>
                      <a:pt x="308449" y="1486754"/>
                      <a:pt x="327012" y="1473858"/>
                      <a:pt x="337537" y="1446229"/>
                    </a:cubicBezTo>
                    <a:cubicBezTo>
                      <a:pt x="297056" y="1451785"/>
                      <a:pt x="311343" y="1478773"/>
                      <a:pt x="285149" y="1493854"/>
                    </a:cubicBezTo>
                    <a:lnTo>
                      <a:pt x="454" y="1482327"/>
                    </a:lnTo>
                    <a:cubicBezTo>
                      <a:pt x="-5499" y="1452561"/>
                      <a:pt x="48477" y="1321393"/>
                      <a:pt x="80227" y="1223961"/>
                    </a:cubicBezTo>
                    <a:cubicBezTo>
                      <a:pt x="78738" y="1205109"/>
                      <a:pt x="126463" y="1163039"/>
                      <a:pt x="132912" y="1150141"/>
                    </a:cubicBezTo>
                    <a:lnTo>
                      <a:pt x="222508" y="1108171"/>
                    </a:lnTo>
                    <a:lnTo>
                      <a:pt x="315973" y="1078404"/>
                    </a:lnTo>
                    <a:lnTo>
                      <a:pt x="440991" y="1029290"/>
                    </a:lnTo>
                    <a:lnTo>
                      <a:pt x="474559" y="1016502"/>
                    </a:lnTo>
                    <a:cubicBezTo>
                      <a:pt x="516350" y="1085393"/>
                      <a:pt x="601200" y="1214439"/>
                      <a:pt x="656623" y="1272398"/>
                    </a:cubicBezTo>
                    <a:cubicBezTo>
                      <a:pt x="717345" y="1335898"/>
                      <a:pt x="779654" y="1384317"/>
                      <a:pt x="828073" y="1379555"/>
                    </a:cubicBezTo>
                    <a:cubicBezTo>
                      <a:pt x="876492" y="1374793"/>
                      <a:pt x="903480" y="1322007"/>
                      <a:pt x="947136" y="1243823"/>
                    </a:cubicBezTo>
                    <a:cubicBezTo>
                      <a:pt x="977066" y="1190222"/>
                      <a:pt x="1024529" y="1081221"/>
                      <a:pt x="1057045" y="998817"/>
                    </a:cubicBezTo>
                    <a:close/>
                    <a:moveTo>
                      <a:pt x="920258" y="852696"/>
                    </a:moveTo>
                    <a:cubicBezTo>
                      <a:pt x="921010" y="872436"/>
                      <a:pt x="911945" y="917882"/>
                      <a:pt x="915762" y="923321"/>
                    </a:cubicBezTo>
                    <a:cubicBezTo>
                      <a:pt x="941496" y="957488"/>
                      <a:pt x="993424" y="955937"/>
                      <a:pt x="1023920" y="978198"/>
                    </a:cubicBezTo>
                    <a:cubicBezTo>
                      <a:pt x="1001831" y="1045214"/>
                      <a:pt x="975280" y="1129625"/>
                      <a:pt x="949517" y="1177148"/>
                    </a:cubicBezTo>
                    <a:cubicBezTo>
                      <a:pt x="908639" y="1252554"/>
                      <a:pt x="866174" y="1339074"/>
                      <a:pt x="811405" y="1341455"/>
                    </a:cubicBezTo>
                    <a:cubicBezTo>
                      <a:pt x="756636" y="1343836"/>
                      <a:pt x="682818" y="1265652"/>
                      <a:pt x="620905" y="1191436"/>
                    </a:cubicBezTo>
                    <a:cubicBezTo>
                      <a:pt x="585938" y="1149521"/>
                      <a:pt x="541097" y="1071020"/>
                      <a:pt x="503993" y="1004825"/>
                    </a:cubicBezTo>
                    <a:cubicBezTo>
                      <a:pt x="515878" y="994816"/>
                      <a:pt x="599975" y="955559"/>
                      <a:pt x="616016" y="931359"/>
                    </a:cubicBezTo>
                    <a:cubicBezTo>
                      <a:pt x="617098" y="908462"/>
                      <a:pt x="618089" y="894817"/>
                      <a:pt x="614584" y="858311"/>
                    </a:cubicBezTo>
                    <a:cubicBezTo>
                      <a:pt x="638122" y="872515"/>
                      <a:pt x="655570" y="891439"/>
                      <a:pt x="685199" y="900922"/>
                    </a:cubicBezTo>
                    <a:cubicBezTo>
                      <a:pt x="714828" y="910405"/>
                      <a:pt x="759019" y="919575"/>
                      <a:pt x="792356" y="915210"/>
                    </a:cubicBezTo>
                    <a:cubicBezTo>
                      <a:pt x="825693" y="910845"/>
                      <a:pt x="863907" y="885148"/>
                      <a:pt x="885224" y="874729"/>
                    </a:cubicBezTo>
                    <a:cubicBezTo>
                      <a:pt x="906541" y="864310"/>
                      <a:pt x="909433" y="855230"/>
                      <a:pt x="920258" y="852696"/>
                    </a:cubicBezTo>
                    <a:close/>
                    <a:moveTo>
                      <a:pt x="1105847" y="314309"/>
                    </a:moveTo>
                    <a:lnTo>
                      <a:pt x="1112219" y="320855"/>
                    </a:lnTo>
                    <a:cubicBezTo>
                      <a:pt x="1120653" y="337474"/>
                      <a:pt x="1130079" y="386589"/>
                      <a:pt x="1139009" y="428013"/>
                    </a:cubicBezTo>
                    <a:cubicBezTo>
                      <a:pt x="1147938" y="469438"/>
                      <a:pt x="1159845" y="523265"/>
                      <a:pt x="1165798" y="569403"/>
                    </a:cubicBezTo>
                    <a:cubicBezTo>
                      <a:pt x="1171751" y="615540"/>
                      <a:pt x="1173736" y="668127"/>
                      <a:pt x="1174728" y="704839"/>
                    </a:cubicBezTo>
                    <a:cubicBezTo>
                      <a:pt x="1175720" y="741550"/>
                      <a:pt x="1176464" y="765363"/>
                      <a:pt x="1171751" y="789672"/>
                    </a:cubicBezTo>
                    <a:cubicBezTo>
                      <a:pt x="1167038" y="813982"/>
                      <a:pt x="1158356" y="839035"/>
                      <a:pt x="1146450" y="850693"/>
                    </a:cubicBezTo>
                    <a:cubicBezTo>
                      <a:pt x="1134543" y="862351"/>
                      <a:pt x="1120157" y="859127"/>
                      <a:pt x="1100312" y="859623"/>
                    </a:cubicBezTo>
                    <a:cubicBezTo>
                      <a:pt x="1080468" y="860119"/>
                      <a:pt x="1048717" y="857887"/>
                      <a:pt x="1027385" y="853670"/>
                    </a:cubicBezTo>
                    <a:cubicBezTo>
                      <a:pt x="1006053" y="849453"/>
                      <a:pt x="980256" y="841019"/>
                      <a:pt x="972318" y="834322"/>
                    </a:cubicBezTo>
                    <a:cubicBezTo>
                      <a:pt x="964380" y="827624"/>
                      <a:pt x="973558" y="823656"/>
                      <a:pt x="979759" y="813485"/>
                    </a:cubicBezTo>
                    <a:cubicBezTo>
                      <a:pt x="985961" y="803315"/>
                      <a:pt x="999852" y="791409"/>
                      <a:pt x="1009525" y="773301"/>
                    </a:cubicBezTo>
                    <a:cubicBezTo>
                      <a:pt x="1019199" y="755193"/>
                      <a:pt x="1032098" y="721210"/>
                      <a:pt x="1037804" y="704839"/>
                    </a:cubicBezTo>
                    <a:cubicBezTo>
                      <a:pt x="1043509" y="688467"/>
                      <a:pt x="1039788" y="683258"/>
                      <a:pt x="1043757" y="675072"/>
                    </a:cubicBezTo>
                    <a:cubicBezTo>
                      <a:pt x="1047726" y="666887"/>
                      <a:pt x="1054423" y="671600"/>
                      <a:pt x="1061616" y="655725"/>
                    </a:cubicBezTo>
                    <a:cubicBezTo>
                      <a:pt x="1068810" y="639849"/>
                      <a:pt x="1079724" y="605866"/>
                      <a:pt x="1086918" y="579821"/>
                    </a:cubicBezTo>
                    <a:cubicBezTo>
                      <a:pt x="1094111" y="553775"/>
                      <a:pt x="1101553" y="518800"/>
                      <a:pt x="1104777" y="499452"/>
                    </a:cubicBezTo>
                    <a:cubicBezTo>
                      <a:pt x="1108002" y="480104"/>
                      <a:pt x="1108746" y="475143"/>
                      <a:pt x="1106266" y="463733"/>
                    </a:cubicBezTo>
                    <a:cubicBezTo>
                      <a:pt x="1103785" y="452322"/>
                      <a:pt x="1095351" y="438927"/>
                      <a:pt x="1089894" y="430990"/>
                    </a:cubicBezTo>
                    <a:cubicBezTo>
                      <a:pt x="1084437" y="423052"/>
                      <a:pt x="1076748" y="423548"/>
                      <a:pt x="1073523" y="416107"/>
                    </a:cubicBezTo>
                    <a:cubicBezTo>
                      <a:pt x="1070298" y="408665"/>
                      <a:pt x="1070546" y="397255"/>
                      <a:pt x="1070546" y="386340"/>
                    </a:cubicBezTo>
                    <a:cubicBezTo>
                      <a:pt x="1070546" y="375426"/>
                      <a:pt x="1070546" y="360295"/>
                      <a:pt x="1073523" y="350621"/>
                    </a:cubicBezTo>
                    <a:cubicBezTo>
                      <a:pt x="1076500" y="340947"/>
                      <a:pt x="1081957" y="333258"/>
                      <a:pt x="1088406" y="328297"/>
                    </a:cubicBezTo>
                    <a:cubicBezTo>
                      <a:pt x="1093243" y="324576"/>
                      <a:pt x="1099475" y="312902"/>
                      <a:pt x="1105847" y="314309"/>
                    </a:cubicBezTo>
                    <a:close/>
                    <a:moveTo>
                      <a:pt x="680438" y="96060"/>
                    </a:moveTo>
                    <a:cubicBezTo>
                      <a:pt x="756637" y="286559"/>
                      <a:pt x="570901" y="331804"/>
                      <a:pt x="573282" y="431816"/>
                    </a:cubicBezTo>
                    <a:cubicBezTo>
                      <a:pt x="599476" y="307992"/>
                      <a:pt x="747113" y="298465"/>
                      <a:pt x="718538" y="184165"/>
                    </a:cubicBezTo>
                    <a:lnTo>
                      <a:pt x="680438" y="96060"/>
                    </a:lnTo>
                    <a:close/>
                    <a:moveTo>
                      <a:pt x="715956" y="0"/>
                    </a:moveTo>
                    <a:lnTo>
                      <a:pt x="760481" y="372"/>
                    </a:lnTo>
                    <a:cubicBezTo>
                      <a:pt x="785287" y="703"/>
                      <a:pt x="799839" y="42"/>
                      <a:pt x="821998" y="6326"/>
                    </a:cubicBezTo>
                    <a:cubicBezTo>
                      <a:pt x="844157" y="12609"/>
                      <a:pt x="867970" y="21870"/>
                      <a:pt x="893437" y="38076"/>
                    </a:cubicBezTo>
                    <a:cubicBezTo>
                      <a:pt x="918904" y="54282"/>
                      <a:pt x="945363" y="73796"/>
                      <a:pt x="974798" y="103562"/>
                    </a:cubicBezTo>
                    <a:cubicBezTo>
                      <a:pt x="1004233" y="133328"/>
                      <a:pt x="1048221" y="187899"/>
                      <a:pt x="1070050" y="216673"/>
                    </a:cubicBezTo>
                    <a:cubicBezTo>
                      <a:pt x="1091878" y="245447"/>
                      <a:pt x="1102462" y="260000"/>
                      <a:pt x="1105769" y="276206"/>
                    </a:cubicBezTo>
                    <a:cubicBezTo>
                      <a:pt x="1109076" y="292412"/>
                      <a:pt x="1098162" y="304649"/>
                      <a:pt x="1089894" y="313909"/>
                    </a:cubicBezTo>
                    <a:cubicBezTo>
                      <a:pt x="1081626" y="323170"/>
                      <a:pt x="1065750" y="332100"/>
                      <a:pt x="1056159" y="331769"/>
                    </a:cubicBezTo>
                    <a:cubicBezTo>
                      <a:pt x="1046567" y="331439"/>
                      <a:pt x="1045245" y="324493"/>
                      <a:pt x="1032346" y="311925"/>
                    </a:cubicBezTo>
                    <a:cubicBezTo>
                      <a:pt x="1019447" y="299357"/>
                      <a:pt x="1003572" y="273229"/>
                      <a:pt x="978767" y="256361"/>
                    </a:cubicBezTo>
                    <a:cubicBezTo>
                      <a:pt x="953962" y="239494"/>
                      <a:pt x="916588" y="218327"/>
                      <a:pt x="883515" y="210720"/>
                    </a:cubicBezTo>
                    <a:cubicBezTo>
                      <a:pt x="850442" y="203113"/>
                      <a:pt x="775129" y="205759"/>
                      <a:pt x="780326" y="210720"/>
                    </a:cubicBezTo>
                    <a:cubicBezTo>
                      <a:pt x="785522" y="215681"/>
                      <a:pt x="874754" y="217931"/>
                      <a:pt x="914697" y="240487"/>
                    </a:cubicBezTo>
                    <a:cubicBezTo>
                      <a:pt x="954640" y="263042"/>
                      <a:pt x="958908" y="262349"/>
                      <a:pt x="980183" y="279721"/>
                    </a:cubicBezTo>
                    <a:cubicBezTo>
                      <a:pt x="1001459" y="297093"/>
                      <a:pt x="1027930" y="328926"/>
                      <a:pt x="1042349" y="344718"/>
                    </a:cubicBezTo>
                    <a:cubicBezTo>
                      <a:pt x="1036581" y="366876"/>
                      <a:pt x="1037228" y="359759"/>
                      <a:pt x="1033532" y="378896"/>
                    </a:cubicBezTo>
                    <a:cubicBezTo>
                      <a:pt x="1041669" y="398511"/>
                      <a:pt x="1033536" y="451629"/>
                      <a:pt x="1033532" y="451651"/>
                    </a:cubicBezTo>
                    <a:cubicBezTo>
                      <a:pt x="1033584" y="451655"/>
                      <a:pt x="1067568" y="454123"/>
                      <a:pt x="1067568" y="478628"/>
                    </a:cubicBezTo>
                    <a:cubicBezTo>
                      <a:pt x="1067568" y="503147"/>
                      <a:pt x="1031326" y="637985"/>
                      <a:pt x="1031312" y="638035"/>
                    </a:cubicBezTo>
                    <a:cubicBezTo>
                      <a:pt x="1031294" y="638069"/>
                      <a:pt x="1021683" y="654383"/>
                      <a:pt x="1010595" y="651932"/>
                    </a:cubicBezTo>
                    <a:cubicBezTo>
                      <a:pt x="998860" y="750796"/>
                      <a:pt x="937336" y="800802"/>
                      <a:pt x="902724" y="831290"/>
                    </a:cubicBezTo>
                    <a:cubicBezTo>
                      <a:pt x="870320" y="870407"/>
                      <a:pt x="842897" y="883364"/>
                      <a:pt x="813787" y="893779"/>
                    </a:cubicBezTo>
                    <a:cubicBezTo>
                      <a:pt x="784677" y="904194"/>
                      <a:pt x="762526" y="905748"/>
                      <a:pt x="728062" y="893779"/>
                    </a:cubicBezTo>
                    <a:cubicBezTo>
                      <a:pt x="693598" y="881810"/>
                      <a:pt x="642534" y="863636"/>
                      <a:pt x="607001" y="821966"/>
                    </a:cubicBezTo>
                    <a:cubicBezTo>
                      <a:pt x="597383" y="805617"/>
                      <a:pt x="517082" y="732861"/>
                      <a:pt x="514862" y="643758"/>
                    </a:cubicBezTo>
                    <a:cubicBezTo>
                      <a:pt x="483786" y="641305"/>
                      <a:pt x="466029" y="551383"/>
                      <a:pt x="454191" y="503970"/>
                    </a:cubicBezTo>
                    <a:cubicBezTo>
                      <a:pt x="444575" y="463929"/>
                      <a:pt x="477842" y="464730"/>
                      <a:pt x="477867" y="464730"/>
                    </a:cubicBezTo>
                    <a:cubicBezTo>
                      <a:pt x="477845" y="464677"/>
                      <a:pt x="459134" y="425808"/>
                      <a:pt x="467053" y="399317"/>
                    </a:cubicBezTo>
                    <a:cubicBezTo>
                      <a:pt x="449615" y="408769"/>
                      <a:pt x="447981" y="412482"/>
                      <a:pt x="440991" y="419083"/>
                    </a:cubicBezTo>
                    <a:cubicBezTo>
                      <a:pt x="434001" y="425685"/>
                      <a:pt x="430077" y="429336"/>
                      <a:pt x="425116" y="438927"/>
                    </a:cubicBezTo>
                    <a:cubicBezTo>
                      <a:pt x="420155" y="448519"/>
                      <a:pt x="412548" y="464063"/>
                      <a:pt x="411225" y="476631"/>
                    </a:cubicBezTo>
                    <a:cubicBezTo>
                      <a:pt x="409902" y="489199"/>
                      <a:pt x="414532" y="498460"/>
                      <a:pt x="417178" y="514335"/>
                    </a:cubicBezTo>
                    <a:cubicBezTo>
                      <a:pt x="419824" y="530210"/>
                      <a:pt x="421478" y="546747"/>
                      <a:pt x="427100" y="571883"/>
                    </a:cubicBezTo>
                    <a:cubicBezTo>
                      <a:pt x="432723" y="597019"/>
                      <a:pt x="442645" y="645968"/>
                      <a:pt x="450913" y="665150"/>
                    </a:cubicBezTo>
                    <a:cubicBezTo>
                      <a:pt x="459181" y="684333"/>
                      <a:pt x="469765" y="676395"/>
                      <a:pt x="476710" y="686979"/>
                    </a:cubicBezTo>
                    <a:cubicBezTo>
                      <a:pt x="483656" y="697563"/>
                      <a:pt x="483656" y="709469"/>
                      <a:pt x="492586" y="728652"/>
                    </a:cubicBezTo>
                    <a:cubicBezTo>
                      <a:pt x="501516" y="747834"/>
                      <a:pt x="521360" y="782231"/>
                      <a:pt x="530290" y="802075"/>
                    </a:cubicBezTo>
                    <a:cubicBezTo>
                      <a:pt x="539219" y="821919"/>
                      <a:pt x="550795" y="838125"/>
                      <a:pt x="546165" y="847716"/>
                    </a:cubicBezTo>
                    <a:cubicBezTo>
                      <a:pt x="541534" y="857308"/>
                      <a:pt x="520367" y="856316"/>
                      <a:pt x="502508" y="859623"/>
                    </a:cubicBezTo>
                    <a:cubicBezTo>
                      <a:pt x="484648" y="862930"/>
                      <a:pt x="459181" y="868553"/>
                      <a:pt x="439007" y="867560"/>
                    </a:cubicBezTo>
                    <a:cubicBezTo>
                      <a:pt x="418832" y="866568"/>
                      <a:pt x="395350" y="863261"/>
                      <a:pt x="381459" y="853670"/>
                    </a:cubicBezTo>
                    <a:cubicBezTo>
                      <a:pt x="367568" y="844078"/>
                      <a:pt x="361945" y="830187"/>
                      <a:pt x="355661" y="810012"/>
                    </a:cubicBezTo>
                    <a:cubicBezTo>
                      <a:pt x="349377" y="789838"/>
                      <a:pt x="345078" y="762387"/>
                      <a:pt x="343755" y="732620"/>
                    </a:cubicBezTo>
                    <a:cubicBezTo>
                      <a:pt x="342432" y="702854"/>
                      <a:pt x="341770" y="684333"/>
                      <a:pt x="347724" y="631415"/>
                    </a:cubicBezTo>
                    <a:cubicBezTo>
                      <a:pt x="353677" y="578498"/>
                      <a:pt x="361945" y="487876"/>
                      <a:pt x="379474" y="415114"/>
                    </a:cubicBezTo>
                    <a:cubicBezTo>
                      <a:pt x="397003" y="342353"/>
                      <a:pt x="430407" y="248424"/>
                      <a:pt x="452897" y="194845"/>
                    </a:cubicBezTo>
                    <a:cubicBezTo>
                      <a:pt x="475388" y="141266"/>
                      <a:pt x="494240" y="118775"/>
                      <a:pt x="514414" y="93640"/>
                    </a:cubicBezTo>
                    <a:cubicBezTo>
                      <a:pt x="534589" y="68504"/>
                      <a:pt x="555095" y="53621"/>
                      <a:pt x="573947" y="44029"/>
                    </a:cubicBezTo>
                    <a:cubicBezTo>
                      <a:pt x="592799" y="34438"/>
                      <a:pt x="610989" y="42707"/>
                      <a:pt x="627526" y="36092"/>
                    </a:cubicBezTo>
                    <a:cubicBezTo>
                      <a:pt x="644063" y="29477"/>
                      <a:pt x="650677" y="10294"/>
                      <a:pt x="673167" y="4341"/>
                    </a:cubicBezTo>
                    <a:cubicBezTo>
                      <a:pt x="684412" y="1365"/>
                      <a:pt x="700040" y="290"/>
                      <a:pt x="7159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179" name="Rectangle 2"/>
            <p:cNvSpPr/>
            <p:nvPr/>
          </p:nvSpPr>
          <p:spPr bwMode="auto">
            <a:xfrm>
              <a:off x="7253651" y="5291307"/>
              <a:ext cx="536052" cy="421631"/>
            </a:xfrm>
            <a:custGeom>
              <a:avLst/>
              <a:gdLst/>
              <a:ahLst/>
              <a:cxnLst/>
              <a:rect l="l" t="t" r="r" b="b"/>
              <a:pathLst>
                <a:path w="384964" h="302793">
                  <a:moveTo>
                    <a:pt x="155277" y="0"/>
                  </a:moveTo>
                  <a:cubicBezTo>
                    <a:pt x="241034" y="0"/>
                    <a:pt x="310554" y="48229"/>
                    <a:pt x="310554" y="107722"/>
                  </a:cubicBezTo>
                  <a:cubicBezTo>
                    <a:pt x="310554" y="144907"/>
                    <a:pt x="283396" y="177691"/>
                    <a:pt x="241166" y="195076"/>
                  </a:cubicBezTo>
                  <a:cubicBezTo>
                    <a:pt x="271743" y="250344"/>
                    <a:pt x="325687" y="298792"/>
                    <a:pt x="384964" y="302793"/>
                  </a:cubicBezTo>
                  <a:cubicBezTo>
                    <a:pt x="298948" y="288665"/>
                    <a:pt x="240852" y="254760"/>
                    <a:pt x="204183" y="208594"/>
                  </a:cubicBezTo>
                  <a:cubicBezTo>
                    <a:pt x="189026" y="213504"/>
                    <a:pt x="172478" y="215444"/>
                    <a:pt x="155277" y="215444"/>
                  </a:cubicBezTo>
                  <a:cubicBezTo>
                    <a:pt x="69520" y="215444"/>
                    <a:pt x="0" y="167215"/>
                    <a:pt x="0" y="107722"/>
                  </a:cubicBezTo>
                  <a:cubicBezTo>
                    <a:pt x="0" y="48229"/>
                    <a:pt x="69520" y="0"/>
                    <a:pt x="15527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Rectangle 2"/>
            <p:cNvSpPr/>
            <p:nvPr/>
          </p:nvSpPr>
          <p:spPr bwMode="auto">
            <a:xfrm rot="20688755" flipH="1">
              <a:off x="7899296" y="5269261"/>
              <a:ext cx="463107" cy="364256"/>
            </a:xfrm>
            <a:custGeom>
              <a:avLst/>
              <a:gdLst/>
              <a:ahLst/>
              <a:cxnLst/>
              <a:rect l="l" t="t" r="r" b="b"/>
              <a:pathLst>
                <a:path w="384964" h="302793">
                  <a:moveTo>
                    <a:pt x="155277" y="0"/>
                  </a:moveTo>
                  <a:cubicBezTo>
                    <a:pt x="241034" y="0"/>
                    <a:pt x="310554" y="48229"/>
                    <a:pt x="310554" y="107722"/>
                  </a:cubicBezTo>
                  <a:cubicBezTo>
                    <a:pt x="310554" y="144907"/>
                    <a:pt x="283396" y="177691"/>
                    <a:pt x="241166" y="195076"/>
                  </a:cubicBezTo>
                  <a:cubicBezTo>
                    <a:pt x="271743" y="250344"/>
                    <a:pt x="325687" y="298792"/>
                    <a:pt x="384964" y="302793"/>
                  </a:cubicBezTo>
                  <a:cubicBezTo>
                    <a:pt x="298948" y="288665"/>
                    <a:pt x="240852" y="254760"/>
                    <a:pt x="204183" y="208594"/>
                  </a:cubicBezTo>
                  <a:cubicBezTo>
                    <a:pt x="189026" y="213504"/>
                    <a:pt x="172478" y="215444"/>
                    <a:pt x="155277" y="215444"/>
                  </a:cubicBezTo>
                  <a:cubicBezTo>
                    <a:pt x="69520" y="215444"/>
                    <a:pt x="0" y="167215"/>
                    <a:pt x="0" y="107722"/>
                  </a:cubicBezTo>
                  <a:cubicBezTo>
                    <a:pt x="0" y="48229"/>
                    <a:pt x="69520" y="0"/>
                    <a:pt x="15527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84" name="Picture 6" descr="\\MAGNUM\Projects\Microsoft\Cloud Power FY12\Design\ICONS_PNG\Professionals.png"/>
          <p:cNvPicPr>
            <a:picLocks noChangeAspect="1" noChangeArrowheads="1"/>
          </p:cNvPicPr>
          <p:nvPr/>
        </p:nvPicPr>
        <p:blipFill>
          <a:blip r:embed="rId16" cstate="print">
            <a:grayscl/>
            <a:extLst>
              <a:ext uri="{BEBA8EAE-BF5A-486C-A8C5-ECC9F3942E4B}">
                <a14:imgProps xmlns:a14="http://schemas.microsoft.com/office/drawing/2010/main">
                  <a14:imgLayer r:embed="rId17">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7502764" y="1324632"/>
            <a:ext cx="615514" cy="615514"/>
          </a:xfrm>
          <a:prstGeom prst="rect">
            <a:avLst/>
          </a:prstGeom>
          <a:noFill/>
        </p:spPr>
      </p:pic>
      <p:pic>
        <p:nvPicPr>
          <p:cNvPr id="186" name="Picture 7" descr="\\MAGNUM\Projects\Microsoft\Cloud Power FY12\Design\ICONS_PNG\Control.png"/>
          <p:cNvPicPr>
            <a:picLocks noChangeAspect="1" noChangeArrowheads="1"/>
          </p:cNvPicPr>
          <p:nvPr/>
        </p:nvPicPr>
        <p:blipFill>
          <a:blip r:embed="rId18" cstate="print">
            <a:grayscl/>
            <a:extLst>
              <a:ext uri="{BEBA8EAE-BF5A-486C-A8C5-ECC9F3942E4B}">
                <a14:imgProps xmlns:a14="http://schemas.microsoft.com/office/drawing/2010/main">
                  <a14:imgLayer r:embed="rId19">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9568501" y="2764917"/>
            <a:ext cx="556667" cy="556667"/>
          </a:xfrm>
          <a:prstGeom prst="rect">
            <a:avLst/>
          </a:prstGeom>
          <a:noFill/>
        </p:spPr>
      </p:pic>
      <p:pic>
        <p:nvPicPr>
          <p:cNvPr id="190" name="Picture 2" descr="\\MAGNUM\Projects\Microsoft\Cloud Power FY12\Design\ICONS_PNG\Devices.png"/>
          <p:cNvPicPr>
            <a:picLocks noChangeAspect="1" noChangeArrowheads="1"/>
          </p:cNvPicPr>
          <p:nvPr/>
        </p:nvPicPr>
        <p:blipFill>
          <a:blip r:embed="rId20" cstate="print">
            <a:grayscl/>
            <a:extLst>
              <a:ext uri="{BEBA8EAE-BF5A-486C-A8C5-ECC9F3942E4B}">
                <a14:imgProps xmlns:a14="http://schemas.microsoft.com/office/drawing/2010/main">
                  <a14:imgLayer r:embed="rId21">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9072876" y="3383042"/>
            <a:ext cx="337930" cy="457200"/>
          </a:xfrm>
          <a:prstGeom prst="rect">
            <a:avLst/>
          </a:prstGeom>
          <a:noFill/>
          <a:ln>
            <a:noFill/>
          </a:ln>
        </p:spPr>
      </p:pic>
      <p:pic>
        <p:nvPicPr>
          <p:cNvPr id="191" name="Picture 2" descr="\\MAGNUM\Projects\Microsoft\Cloud Power FY12\Design\ICONS_PNG\Devices.png"/>
          <p:cNvPicPr>
            <a:picLocks noChangeAspect="1" noChangeArrowheads="1"/>
          </p:cNvPicPr>
          <p:nvPr/>
        </p:nvPicPr>
        <p:blipFill>
          <a:blip r:embed="rId22" cstate="print">
            <a:grayscl/>
            <a:extLst>
              <a:ext uri="{BEBA8EAE-BF5A-486C-A8C5-ECC9F3942E4B}">
                <a14:imgProps xmlns:a14="http://schemas.microsoft.com/office/drawing/2010/main">
                  <a14:imgLayer r:embed="rId23">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9338433" y="3427921"/>
            <a:ext cx="457200" cy="404446"/>
          </a:xfrm>
          <a:prstGeom prst="rect">
            <a:avLst/>
          </a:prstGeom>
          <a:noFill/>
          <a:ln>
            <a:noFill/>
          </a:ln>
        </p:spPr>
      </p:pic>
      <p:sp>
        <p:nvSpPr>
          <p:cNvPr id="192" name="Freeform 61"/>
          <p:cNvSpPr>
            <a:spLocks noChangeAspect="1" noEditPoints="1"/>
          </p:cNvSpPr>
          <p:nvPr/>
        </p:nvSpPr>
        <p:spPr bwMode="black">
          <a:xfrm>
            <a:off x="8795550" y="3405442"/>
            <a:ext cx="277326" cy="347472"/>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sp>
        <p:nvSpPr>
          <p:cNvPr id="193" name="Freeform 192"/>
          <p:cNvSpPr/>
          <p:nvPr/>
        </p:nvSpPr>
        <p:spPr bwMode="auto">
          <a:xfrm>
            <a:off x="10289508" y="823266"/>
            <a:ext cx="564571" cy="348309"/>
          </a:xfrm>
          <a:custGeom>
            <a:avLst/>
            <a:gdLst/>
            <a:ahLst/>
            <a:cxnLst/>
            <a:rect l="l" t="t" r="r" b="b"/>
            <a:pathLst>
              <a:path w="7228936" h="4459856">
                <a:moveTo>
                  <a:pt x="2449902" y="3398807"/>
                </a:moveTo>
                <a:lnTo>
                  <a:pt x="3278038" y="3605841"/>
                </a:lnTo>
                <a:lnTo>
                  <a:pt x="2760453" y="3812875"/>
                </a:lnTo>
                <a:lnTo>
                  <a:pt x="1863306" y="3519577"/>
                </a:lnTo>
                <a:close/>
                <a:moveTo>
                  <a:pt x="698740" y="2907102"/>
                </a:moveTo>
                <a:lnTo>
                  <a:pt x="120770" y="3036498"/>
                </a:lnTo>
                <a:lnTo>
                  <a:pt x="3579962" y="4218317"/>
                </a:lnTo>
                <a:lnTo>
                  <a:pt x="5227608" y="3735237"/>
                </a:lnTo>
                <a:lnTo>
                  <a:pt x="3554083" y="3623094"/>
                </a:lnTo>
                <a:close/>
                <a:moveTo>
                  <a:pt x="3113553" y="2502343"/>
                </a:moveTo>
                <a:cubicBezTo>
                  <a:pt x="3093826" y="2502343"/>
                  <a:pt x="3077834" y="2518335"/>
                  <a:pt x="3077834" y="2538062"/>
                </a:cubicBezTo>
                <a:lnTo>
                  <a:pt x="3077834" y="2732371"/>
                </a:lnTo>
                <a:cubicBezTo>
                  <a:pt x="3077834" y="2752098"/>
                  <a:pt x="3093826" y="2768090"/>
                  <a:pt x="3113553" y="2768090"/>
                </a:cubicBezTo>
                <a:lnTo>
                  <a:pt x="3113552" y="2768091"/>
                </a:lnTo>
                <a:cubicBezTo>
                  <a:pt x="3133279" y="2768091"/>
                  <a:pt x="3149271" y="2752099"/>
                  <a:pt x="3149271" y="2732372"/>
                </a:cubicBezTo>
                <a:cubicBezTo>
                  <a:pt x="3149271" y="2667602"/>
                  <a:pt x="3149272" y="2602832"/>
                  <a:pt x="3149272" y="2538062"/>
                </a:cubicBezTo>
                <a:cubicBezTo>
                  <a:pt x="3149272" y="2518335"/>
                  <a:pt x="3133280" y="2502343"/>
                  <a:pt x="3113553" y="2502343"/>
                </a:cubicBezTo>
                <a:close/>
                <a:moveTo>
                  <a:pt x="1194264" y="2179922"/>
                </a:moveTo>
                <a:cubicBezTo>
                  <a:pt x="1192677" y="2260884"/>
                  <a:pt x="1191089" y="2341847"/>
                  <a:pt x="1189502" y="2422809"/>
                </a:cubicBezTo>
                <a:lnTo>
                  <a:pt x="1539546" y="2449003"/>
                </a:lnTo>
                <a:lnTo>
                  <a:pt x="1539546" y="2179922"/>
                </a:lnTo>
                <a:close/>
                <a:moveTo>
                  <a:pt x="1756036" y="1890262"/>
                </a:moveTo>
                <a:lnTo>
                  <a:pt x="2150948" y="2582907"/>
                </a:lnTo>
                <a:lnTo>
                  <a:pt x="2150398" y="2695610"/>
                </a:lnTo>
                <a:lnTo>
                  <a:pt x="1206811" y="2563946"/>
                </a:lnTo>
                <a:lnTo>
                  <a:pt x="1069675" y="2540184"/>
                </a:lnTo>
                <a:lnTo>
                  <a:pt x="1069675" y="1923208"/>
                </a:lnTo>
                <a:close/>
                <a:moveTo>
                  <a:pt x="2156604" y="1423358"/>
                </a:moveTo>
                <a:lnTo>
                  <a:pt x="2151689" y="2430912"/>
                </a:lnTo>
                <a:lnTo>
                  <a:pt x="1834123" y="1886514"/>
                </a:lnTo>
                <a:lnTo>
                  <a:pt x="1958196" y="1880558"/>
                </a:lnTo>
                <a:close/>
                <a:moveTo>
                  <a:pt x="3174521" y="1173192"/>
                </a:moveTo>
                <a:lnTo>
                  <a:pt x="3174521" y="1458994"/>
                </a:lnTo>
                <a:lnTo>
                  <a:pt x="2458528" y="1552754"/>
                </a:lnTo>
                <a:lnTo>
                  <a:pt x="2457966" y="1552594"/>
                </a:lnTo>
                <a:lnTo>
                  <a:pt x="2449902" y="1302588"/>
                </a:lnTo>
                <a:close/>
                <a:moveTo>
                  <a:pt x="3579962" y="879894"/>
                </a:moveTo>
                <a:lnTo>
                  <a:pt x="793630" y="1423358"/>
                </a:lnTo>
                <a:lnTo>
                  <a:pt x="785004" y="1587260"/>
                </a:lnTo>
                <a:lnTo>
                  <a:pt x="560717" y="1949570"/>
                </a:lnTo>
                <a:lnTo>
                  <a:pt x="776377" y="1949570"/>
                </a:lnTo>
                <a:lnTo>
                  <a:pt x="767751" y="2104845"/>
                </a:lnTo>
                <a:lnTo>
                  <a:pt x="871268" y="2260120"/>
                </a:lnTo>
                <a:lnTo>
                  <a:pt x="879894" y="1932317"/>
                </a:lnTo>
                <a:lnTo>
                  <a:pt x="1017917" y="1925692"/>
                </a:lnTo>
                <a:lnTo>
                  <a:pt x="1017917" y="2570671"/>
                </a:lnTo>
                <a:lnTo>
                  <a:pt x="1050563" y="2570671"/>
                </a:lnTo>
                <a:lnTo>
                  <a:pt x="2028578" y="2711537"/>
                </a:lnTo>
                <a:lnTo>
                  <a:pt x="2150217" y="2732669"/>
                </a:lnTo>
                <a:lnTo>
                  <a:pt x="2149599" y="2859288"/>
                </a:lnTo>
                <a:lnTo>
                  <a:pt x="862641" y="2656936"/>
                </a:lnTo>
                <a:lnTo>
                  <a:pt x="871268" y="2415396"/>
                </a:lnTo>
                <a:lnTo>
                  <a:pt x="759125" y="2242868"/>
                </a:lnTo>
                <a:lnTo>
                  <a:pt x="750498" y="2872596"/>
                </a:lnTo>
                <a:lnTo>
                  <a:pt x="2148001" y="3186828"/>
                </a:lnTo>
                <a:cubicBezTo>
                  <a:pt x="2147993" y="3188476"/>
                  <a:pt x="2147985" y="3190125"/>
                  <a:pt x="2147977" y="3191773"/>
                </a:cubicBezTo>
                <a:lnTo>
                  <a:pt x="2320506" y="3234905"/>
                </a:lnTo>
                <a:cubicBezTo>
                  <a:pt x="2323381" y="2723071"/>
                  <a:pt x="2326257" y="2211237"/>
                  <a:pt x="2329132" y="1699403"/>
                </a:cubicBezTo>
                <a:lnTo>
                  <a:pt x="2338737" y="1689798"/>
                </a:lnTo>
                <a:lnTo>
                  <a:pt x="3174521" y="1597786"/>
                </a:lnTo>
                <a:lnTo>
                  <a:pt x="3174521" y="1604513"/>
                </a:lnTo>
                <a:lnTo>
                  <a:pt x="3329796" y="1587260"/>
                </a:lnTo>
                <a:cubicBezTo>
                  <a:pt x="3326921" y="2214113"/>
                  <a:pt x="3324045" y="2840966"/>
                  <a:pt x="3321170" y="3467819"/>
                </a:cubicBezTo>
                <a:lnTo>
                  <a:pt x="3571336" y="3536830"/>
                </a:lnTo>
                <a:cubicBezTo>
                  <a:pt x="3574211" y="2651185"/>
                  <a:pt x="3577087" y="1765539"/>
                  <a:pt x="3579962" y="879894"/>
                </a:cubicBezTo>
                <a:close/>
                <a:moveTo>
                  <a:pt x="3994030" y="77637"/>
                </a:moveTo>
                <a:lnTo>
                  <a:pt x="1130060" y="802256"/>
                </a:lnTo>
                <a:lnTo>
                  <a:pt x="1121434" y="1276709"/>
                </a:lnTo>
                <a:lnTo>
                  <a:pt x="3597215" y="759124"/>
                </a:lnTo>
                <a:lnTo>
                  <a:pt x="4002657" y="845388"/>
                </a:lnTo>
                <a:cubicBezTo>
                  <a:pt x="3999781" y="589471"/>
                  <a:pt x="3996906" y="333554"/>
                  <a:pt x="3994030" y="77637"/>
                </a:cubicBezTo>
                <a:close/>
                <a:moveTo>
                  <a:pt x="3985404" y="0"/>
                </a:moveTo>
                <a:lnTo>
                  <a:pt x="4183811" y="51758"/>
                </a:lnTo>
                <a:lnTo>
                  <a:pt x="4373592" y="940279"/>
                </a:lnTo>
                <a:lnTo>
                  <a:pt x="4641011" y="1009290"/>
                </a:lnTo>
                <a:lnTo>
                  <a:pt x="4649638" y="948905"/>
                </a:lnTo>
                <a:lnTo>
                  <a:pt x="5236234" y="888520"/>
                </a:lnTo>
                <a:lnTo>
                  <a:pt x="5667555" y="1043796"/>
                </a:lnTo>
                <a:lnTo>
                  <a:pt x="5676181" y="1224951"/>
                </a:lnTo>
                <a:lnTo>
                  <a:pt x="6625087" y="1440611"/>
                </a:lnTo>
                <a:lnTo>
                  <a:pt x="6668219" y="2846717"/>
                </a:lnTo>
                <a:lnTo>
                  <a:pt x="7194430" y="2958860"/>
                </a:lnTo>
                <a:lnTo>
                  <a:pt x="7228936" y="3226279"/>
                </a:lnTo>
                <a:lnTo>
                  <a:pt x="3579962" y="4459856"/>
                </a:lnTo>
                <a:lnTo>
                  <a:pt x="0" y="3131388"/>
                </a:lnTo>
                <a:lnTo>
                  <a:pt x="8626" y="2993366"/>
                </a:lnTo>
                <a:lnTo>
                  <a:pt x="664234" y="2881222"/>
                </a:lnTo>
                <a:lnTo>
                  <a:pt x="698740" y="2113471"/>
                </a:lnTo>
                <a:lnTo>
                  <a:pt x="629728" y="2018581"/>
                </a:lnTo>
                <a:lnTo>
                  <a:pt x="422694" y="2027207"/>
                </a:lnTo>
                <a:lnTo>
                  <a:pt x="715992" y="1570007"/>
                </a:lnTo>
                <a:lnTo>
                  <a:pt x="715992" y="1354347"/>
                </a:lnTo>
                <a:lnTo>
                  <a:pt x="1043796" y="1293962"/>
                </a:lnTo>
                <a:lnTo>
                  <a:pt x="1069675" y="750498"/>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80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94" name="Group 193"/>
          <p:cNvGrpSpPr/>
          <p:nvPr/>
        </p:nvGrpSpPr>
        <p:grpSpPr>
          <a:xfrm>
            <a:off x="11134661" y="246210"/>
            <a:ext cx="489270" cy="390389"/>
            <a:chOff x="928913" y="3884413"/>
            <a:chExt cx="2166935" cy="1728997"/>
          </a:xfrm>
        </p:grpSpPr>
        <p:sp>
          <p:nvSpPr>
            <p:cNvPr id="195" name="Freeform 194"/>
            <p:cNvSpPr/>
            <p:nvPr/>
          </p:nvSpPr>
          <p:spPr>
            <a:xfrm>
              <a:off x="928913" y="3979926"/>
              <a:ext cx="686989" cy="1633484"/>
            </a:xfrm>
            <a:custGeom>
              <a:avLst/>
              <a:gdLst>
                <a:gd name="connsiteX0" fmla="*/ 762448 w 1004418"/>
                <a:gd name="connsiteY0" fmla="*/ 1549280 h 1748166"/>
                <a:gd name="connsiteX1" fmla="*/ 762448 w 1004418"/>
                <a:gd name="connsiteY1" fmla="*/ 1660335 h 1748166"/>
                <a:gd name="connsiteX2" fmla="*/ 942296 w 1004418"/>
                <a:gd name="connsiteY2" fmla="*/ 1660335 h 1748166"/>
                <a:gd name="connsiteX3" fmla="*/ 942296 w 1004418"/>
                <a:gd name="connsiteY3" fmla="*/ 1549280 h 1748166"/>
                <a:gd name="connsiteX4" fmla="*/ 526885 w 1004418"/>
                <a:gd name="connsiteY4" fmla="*/ 1549280 h 1748166"/>
                <a:gd name="connsiteX5" fmla="*/ 526885 w 1004418"/>
                <a:gd name="connsiteY5" fmla="*/ 1660335 h 1748166"/>
                <a:gd name="connsiteX6" fmla="*/ 706733 w 1004418"/>
                <a:gd name="connsiteY6" fmla="*/ 1660335 h 1748166"/>
                <a:gd name="connsiteX7" fmla="*/ 706733 w 1004418"/>
                <a:gd name="connsiteY7" fmla="*/ 1549280 h 1748166"/>
                <a:gd name="connsiteX8" fmla="*/ 291323 w 1004418"/>
                <a:gd name="connsiteY8" fmla="*/ 1549280 h 1748166"/>
                <a:gd name="connsiteX9" fmla="*/ 291323 w 1004418"/>
                <a:gd name="connsiteY9" fmla="*/ 1660335 h 1748166"/>
                <a:gd name="connsiteX10" fmla="*/ 471171 w 1004418"/>
                <a:gd name="connsiteY10" fmla="*/ 1660335 h 1748166"/>
                <a:gd name="connsiteX11" fmla="*/ 471171 w 1004418"/>
                <a:gd name="connsiteY11" fmla="*/ 1549280 h 1748166"/>
                <a:gd name="connsiteX12" fmla="*/ 55761 w 1004418"/>
                <a:gd name="connsiteY12" fmla="*/ 1549280 h 1748166"/>
                <a:gd name="connsiteX13" fmla="*/ 55761 w 1004418"/>
                <a:gd name="connsiteY13" fmla="*/ 1660335 h 1748166"/>
                <a:gd name="connsiteX14" fmla="*/ 235609 w 1004418"/>
                <a:gd name="connsiteY14" fmla="*/ 1660335 h 1748166"/>
                <a:gd name="connsiteX15" fmla="*/ 235609 w 1004418"/>
                <a:gd name="connsiteY15" fmla="*/ 1549280 h 1748166"/>
                <a:gd name="connsiteX16" fmla="*/ 762448 w 1004418"/>
                <a:gd name="connsiteY16" fmla="*/ 1387515 h 1748166"/>
                <a:gd name="connsiteX17" fmla="*/ 762448 w 1004418"/>
                <a:gd name="connsiteY17" fmla="*/ 1498570 h 1748166"/>
                <a:gd name="connsiteX18" fmla="*/ 942296 w 1004418"/>
                <a:gd name="connsiteY18" fmla="*/ 1498570 h 1748166"/>
                <a:gd name="connsiteX19" fmla="*/ 942296 w 1004418"/>
                <a:gd name="connsiteY19" fmla="*/ 1387515 h 1748166"/>
                <a:gd name="connsiteX20" fmla="*/ 526885 w 1004418"/>
                <a:gd name="connsiteY20" fmla="*/ 1387515 h 1748166"/>
                <a:gd name="connsiteX21" fmla="*/ 526885 w 1004418"/>
                <a:gd name="connsiteY21" fmla="*/ 1498570 h 1748166"/>
                <a:gd name="connsiteX22" fmla="*/ 706733 w 1004418"/>
                <a:gd name="connsiteY22" fmla="*/ 1498570 h 1748166"/>
                <a:gd name="connsiteX23" fmla="*/ 706733 w 1004418"/>
                <a:gd name="connsiteY23" fmla="*/ 1387515 h 1748166"/>
                <a:gd name="connsiteX24" fmla="*/ 291323 w 1004418"/>
                <a:gd name="connsiteY24" fmla="*/ 1387515 h 1748166"/>
                <a:gd name="connsiteX25" fmla="*/ 291323 w 1004418"/>
                <a:gd name="connsiteY25" fmla="*/ 1498570 h 1748166"/>
                <a:gd name="connsiteX26" fmla="*/ 471171 w 1004418"/>
                <a:gd name="connsiteY26" fmla="*/ 1498570 h 1748166"/>
                <a:gd name="connsiteX27" fmla="*/ 471171 w 1004418"/>
                <a:gd name="connsiteY27" fmla="*/ 1387515 h 1748166"/>
                <a:gd name="connsiteX28" fmla="*/ 55761 w 1004418"/>
                <a:gd name="connsiteY28" fmla="*/ 1387515 h 1748166"/>
                <a:gd name="connsiteX29" fmla="*/ 55761 w 1004418"/>
                <a:gd name="connsiteY29" fmla="*/ 1498570 h 1748166"/>
                <a:gd name="connsiteX30" fmla="*/ 235609 w 1004418"/>
                <a:gd name="connsiteY30" fmla="*/ 1498570 h 1748166"/>
                <a:gd name="connsiteX31" fmla="*/ 235609 w 1004418"/>
                <a:gd name="connsiteY31" fmla="*/ 1387515 h 1748166"/>
                <a:gd name="connsiteX32" fmla="*/ 762448 w 1004418"/>
                <a:gd name="connsiteY32" fmla="*/ 1225750 h 1748166"/>
                <a:gd name="connsiteX33" fmla="*/ 762448 w 1004418"/>
                <a:gd name="connsiteY33" fmla="*/ 1336805 h 1748166"/>
                <a:gd name="connsiteX34" fmla="*/ 942296 w 1004418"/>
                <a:gd name="connsiteY34" fmla="*/ 1336805 h 1748166"/>
                <a:gd name="connsiteX35" fmla="*/ 942296 w 1004418"/>
                <a:gd name="connsiteY35" fmla="*/ 1225750 h 1748166"/>
                <a:gd name="connsiteX36" fmla="*/ 526885 w 1004418"/>
                <a:gd name="connsiteY36" fmla="*/ 1225750 h 1748166"/>
                <a:gd name="connsiteX37" fmla="*/ 526885 w 1004418"/>
                <a:gd name="connsiteY37" fmla="*/ 1336805 h 1748166"/>
                <a:gd name="connsiteX38" fmla="*/ 706733 w 1004418"/>
                <a:gd name="connsiteY38" fmla="*/ 1336805 h 1748166"/>
                <a:gd name="connsiteX39" fmla="*/ 706733 w 1004418"/>
                <a:gd name="connsiteY39" fmla="*/ 1225750 h 1748166"/>
                <a:gd name="connsiteX40" fmla="*/ 291323 w 1004418"/>
                <a:gd name="connsiteY40" fmla="*/ 1225750 h 1748166"/>
                <a:gd name="connsiteX41" fmla="*/ 291323 w 1004418"/>
                <a:gd name="connsiteY41" fmla="*/ 1336805 h 1748166"/>
                <a:gd name="connsiteX42" fmla="*/ 471171 w 1004418"/>
                <a:gd name="connsiteY42" fmla="*/ 1336805 h 1748166"/>
                <a:gd name="connsiteX43" fmla="*/ 471171 w 1004418"/>
                <a:gd name="connsiteY43" fmla="*/ 1225750 h 1748166"/>
                <a:gd name="connsiteX44" fmla="*/ 55761 w 1004418"/>
                <a:gd name="connsiteY44" fmla="*/ 1225750 h 1748166"/>
                <a:gd name="connsiteX45" fmla="*/ 55761 w 1004418"/>
                <a:gd name="connsiteY45" fmla="*/ 1336805 h 1748166"/>
                <a:gd name="connsiteX46" fmla="*/ 235609 w 1004418"/>
                <a:gd name="connsiteY46" fmla="*/ 1336805 h 1748166"/>
                <a:gd name="connsiteX47" fmla="*/ 235609 w 1004418"/>
                <a:gd name="connsiteY47" fmla="*/ 1225750 h 1748166"/>
                <a:gd name="connsiteX48" fmla="*/ 762448 w 1004418"/>
                <a:gd name="connsiteY48" fmla="*/ 1063985 h 1748166"/>
                <a:gd name="connsiteX49" fmla="*/ 762448 w 1004418"/>
                <a:gd name="connsiteY49" fmla="*/ 1175040 h 1748166"/>
                <a:gd name="connsiteX50" fmla="*/ 942296 w 1004418"/>
                <a:gd name="connsiteY50" fmla="*/ 1175040 h 1748166"/>
                <a:gd name="connsiteX51" fmla="*/ 942296 w 1004418"/>
                <a:gd name="connsiteY51" fmla="*/ 1063985 h 1748166"/>
                <a:gd name="connsiteX52" fmla="*/ 526885 w 1004418"/>
                <a:gd name="connsiteY52" fmla="*/ 1063985 h 1748166"/>
                <a:gd name="connsiteX53" fmla="*/ 526885 w 1004418"/>
                <a:gd name="connsiteY53" fmla="*/ 1175040 h 1748166"/>
                <a:gd name="connsiteX54" fmla="*/ 706733 w 1004418"/>
                <a:gd name="connsiteY54" fmla="*/ 1175040 h 1748166"/>
                <a:gd name="connsiteX55" fmla="*/ 706733 w 1004418"/>
                <a:gd name="connsiteY55" fmla="*/ 1063985 h 1748166"/>
                <a:gd name="connsiteX56" fmla="*/ 291323 w 1004418"/>
                <a:gd name="connsiteY56" fmla="*/ 1063985 h 1748166"/>
                <a:gd name="connsiteX57" fmla="*/ 291323 w 1004418"/>
                <a:gd name="connsiteY57" fmla="*/ 1175040 h 1748166"/>
                <a:gd name="connsiteX58" fmla="*/ 471171 w 1004418"/>
                <a:gd name="connsiteY58" fmla="*/ 1175040 h 1748166"/>
                <a:gd name="connsiteX59" fmla="*/ 471171 w 1004418"/>
                <a:gd name="connsiteY59" fmla="*/ 1063985 h 1748166"/>
                <a:gd name="connsiteX60" fmla="*/ 55761 w 1004418"/>
                <a:gd name="connsiteY60" fmla="*/ 1063985 h 1748166"/>
                <a:gd name="connsiteX61" fmla="*/ 55761 w 1004418"/>
                <a:gd name="connsiteY61" fmla="*/ 1175040 h 1748166"/>
                <a:gd name="connsiteX62" fmla="*/ 235609 w 1004418"/>
                <a:gd name="connsiteY62" fmla="*/ 1175040 h 1748166"/>
                <a:gd name="connsiteX63" fmla="*/ 235609 w 1004418"/>
                <a:gd name="connsiteY63" fmla="*/ 1063985 h 1748166"/>
                <a:gd name="connsiteX64" fmla="*/ 762448 w 1004418"/>
                <a:gd name="connsiteY64" fmla="*/ 902220 h 1748166"/>
                <a:gd name="connsiteX65" fmla="*/ 762448 w 1004418"/>
                <a:gd name="connsiteY65" fmla="*/ 1013275 h 1748166"/>
                <a:gd name="connsiteX66" fmla="*/ 942296 w 1004418"/>
                <a:gd name="connsiteY66" fmla="*/ 1013275 h 1748166"/>
                <a:gd name="connsiteX67" fmla="*/ 942296 w 1004418"/>
                <a:gd name="connsiteY67" fmla="*/ 902220 h 1748166"/>
                <a:gd name="connsiteX68" fmla="*/ 526885 w 1004418"/>
                <a:gd name="connsiteY68" fmla="*/ 902220 h 1748166"/>
                <a:gd name="connsiteX69" fmla="*/ 526885 w 1004418"/>
                <a:gd name="connsiteY69" fmla="*/ 1013275 h 1748166"/>
                <a:gd name="connsiteX70" fmla="*/ 706733 w 1004418"/>
                <a:gd name="connsiteY70" fmla="*/ 1013275 h 1748166"/>
                <a:gd name="connsiteX71" fmla="*/ 706733 w 1004418"/>
                <a:gd name="connsiteY71" fmla="*/ 902220 h 1748166"/>
                <a:gd name="connsiteX72" fmla="*/ 291323 w 1004418"/>
                <a:gd name="connsiteY72" fmla="*/ 902220 h 1748166"/>
                <a:gd name="connsiteX73" fmla="*/ 291323 w 1004418"/>
                <a:gd name="connsiteY73" fmla="*/ 1013275 h 1748166"/>
                <a:gd name="connsiteX74" fmla="*/ 471171 w 1004418"/>
                <a:gd name="connsiteY74" fmla="*/ 1013275 h 1748166"/>
                <a:gd name="connsiteX75" fmla="*/ 471171 w 1004418"/>
                <a:gd name="connsiteY75" fmla="*/ 902220 h 1748166"/>
                <a:gd name="connsiteX76" fmla="*/ 55761 w 1004418"/>
                <a:gd name="connsiteY76" fmla="*/ 902220 h 1748166"/>
                <a:gd name="connsiteX77" fmla="*/ 55761 w 1004418"/>
                <a:gd name="connsiteY77" fmla="*/ 1013275 h 1748166"/>
                <a:gd name="connsiteX78" fmla="*/ 235609 w 1004418"/>
                <a:gd name="connsiteY78" fmla="*/ 1013275 h 1748166"/>
                <a:gd name="connsiteX79" fmla="*/ 235609 w 1004418"/>
                <a:gd name="connsiteY79" fmla="*/ 902220 h 1748166"/>
                <a:gd name="connsiteX80" fmla="*/ 762448 w 1004418"/>
                <a:gd name="connsiteY80" fmla="*/ 740455 h 1748166"/>
                <a:gd name="connsiteX81" fmla="*/ 762448 w 1004418"/>
                <a:gd name="connsiteY81" fmla="*/ 851510 h 1748166"/>
                <a:gd name="connsiteX82" fmla="*/ 942296 w 1004418"/>
                <a:gd name="connsiteY82" fmla="*/ 851510 h 1748166"/>
                <a:gd name="connsiteX83" fmla="*/ 942296 w 1004418"/>
                <a:gd name="connsiteY83" fmla="*/ 740455 h 1748166"/>
                <a:gd name="connsiteX84" fmla="*/ 526885 w 1004418"/>
                <a:gd name="connsiteY84" fmla="*/ 740455 h 1748166"/>
                <a:gd name="connsiteX85" fmla="*/ 526885 w 1004418"/>
                <a:gd name="connsiteY85" fmla="*/ 851510 h 1748166"/>
                <a:gd name="connsiteX86" fmla="*/ 706733 w 1004418"/>
                <a:gd name="connsiteY86" fmla="*/ 851510 h 1748166"/>
                <a:gd name="connsiteX87" fmla="*/ 706733 w 1004418"/>
                <a:gd name="connsiteY87" fmla="*/ 740455 h 1748166"/>
                <a:gd name="connsiteX88" fmla="*/ 291323 w 1004418"/>
                <a:gd name="connsiteY88" fmla="*/ 740455 h 1748166"/>
                <a:gd name="connsiteX89" fmla="*/ 291323 w 1004418"/>
                <a:gd name="connsiteY89" fmla="*/ 851510 h 1748166"/>
                <a:gd name="connsiteX90" fmla="*/ 471171 w 1004418"/>
                <a:gd name="connsiteY90" fmla="*/ 851510 h 1748166"/>
                <a:gd name="connsiteX91" fmla="*/ 471171 w 1004418"/>
                <a:gd name="connsiteY91" fmla="*/ 740455 h 1748166"/>
                <a:gd name="connsiteX92" fmla="*/ 55761 w 1004418"/>
                <a:gd name="connsiteY92" fmla="*/ 740455 h 1748166"/>
                <a:gd name="connsiteX93" fmla="*/ 55761 w 1004418"/>
                <a:gd name="connsiteY93" fmla="*/ 851510 h 1748166"/>
                <a:gd name="connsiteX94" fmla="*/ 235609 w 1004418"/>
                <a:gd name="connsiteY94" fmla="*/ 851510 h 1748166"/>
                <a:gd name="connsiteX95" fmla="*/ 235609 w 1004418"/>
                <a:gd name="connsiteY95" fmla="*/ 740455 h 1748166"/>
                <a:gd name="connsiteX96" fmla="*/ 762448 w 1004418"/>
                <a:gd name="connsiteY96" fmla="*/ 578690 h 1748166"/>
                <a:gd name="connsiteX97" fmla="*/ 762448 w 1004418"/>
                <a:gd name="connsiteY97" fmla="*/ 689745 h 1748166"/>
                <a:gd name="connsiteX98" fmla="*/ 942296 w 1004418"/>
                <a:gd name="connsiteY98" fmla="*/ 689745 h 1748166"/>
                <a:gd name="connsiteX99" fmla="*/ 942296 w 1004418"/>
                <a:gd name="connsiteY99" fmla="*/ 578690 h 1748166"/>
                <a:gd name="connsiteX100" fmla="*/ 526885 w 1004418"/>
                <a:gd name="connsiteY100" fmla="*/ 578690 h 1748166"/>
                <a:gd name="connsiteX101" fmla="*/ 526885 w 1004418"/>
                <a:gd name="connsiteY101" fmla="*/ 689745 h 1748166"/>
                <a:gd name="connsiteX102" fmla="*/ 706733 w 1004418"/>
                <a:gd name="connsiteY102" fmla="*/ 689745 h 1748166"/>
                <a:gd name="connsiteX103" fmla="*/ 706733 w 1004418"/>
                <a:gd name="connsiteY103" fmla="*/ 578690 h 1748166"/>
                <a:gd name="connsiteX104" fmla="*/ 291323 w 1004418"/>
                <a:gd name="connsiteY104" fmla="*/ 578690 h 1748166"/>
                <a:gd name="connsiteX105" fmla="*/ 291323 w 1004418"/>
                <a:gd name="connsiteY105" fmla="*/ 689745 h 1748166"/>
                <a:gd name="connsiteX106" fmla="*/ 471171 w 1004418"/>
                <a:gd name="connsiteY106" fmla="*/ 689745 h 1748166"/>
                <a:gd name="connsiteX107" fmla="*/ 471171 w 1004418"/>
                <a:gd name="connsiteY107" fmla="*/ 578690 h 1748166"/>
                <a:gd name="connsiteX108" fmla="*/ 55761 w 1004418"/>
                <a:gd name="connsiteY108" fmla="*/ 578690 h 1748166"/>
                <a:gd name="connsiteX109" fmla="*/ 55761 w 1004418"/>
                <a:gd name="connsiteY109" fmla="*/ 689745 h 1748166"/>
                <a:gd name="connsiteX110" fmla="*/ 235609 w 1004418"/>
                <a:gd name="connsiteY110" fmla="*/ 689745 h 1748166"/>
                <a:gd name="connsiteX111" fmla="*/ 235609 w 1004418"/>
                <a:gd name="connsiteY111" fmla="*/ 578690 h 1748166"/>
                <a:gd name="connsiteX112" fmla="*/ 762448 w 1004418"/>
                <a:gd name="connsiteY112" fmla="*/ 416925 h 1748166"/>
                <a:gd name="connsiteX113" fmla="*/ 762448 w 1004418"/>
                <a:gd name="connsiteY113" fmla="*/ 527980 h 1748166"/>
                <a:gd name="connsiteX114" fmla="*/ 942296 w 1004418"/>
                <a:gd name="connsiteY114" fmla="*/ 527980 h 1748166"/>
                <a:gd name="connsiteX115" fmla="*/ 942296 w 1004418"/>
                <a:gd name="connsiteY115" fmla="*/ 416925 h 1748166"/>
                <a:gd name="connsiteX116" fmla="*/ 526885 w 1004418"/>
                <a:gd name="connsiteY116" fmla="*/ 416925 h 1748166"/>
                <a:gd name="connsiteX117" fmla="*/ 526885 w 1004418"/>
                <a:gd name="connsiteY117" fmla="*/ 527980 h 1748166"/>
                <a:gd name="connsiteX118" fmla="*/ 706733 w 1004418"/>
                <a:gd name="connsiteY118" fmla="*/ 527980 h 1748166"/>
                <a:gd name="connsiteX119" fmla="*/ 706733 w 1004418"/>
                <a:gd name="connsiteY119" fmla="*/ 416925 h 1748166"/>
                <a:gd name="connsiteX120" fmla="*/ 291323 w 1004418"/>
                <a:gd name="connsiteY120" fmla="*/ 416925 h 1748166"/>
                <a:gd name="connsiteX121" fmla="*/ 291323 w 1004418"/>
                <a:gd name="connsiteY121" fmla="*/ 527980 h 1748166"/>
                <a:gd name="connsiteX122" fmla="*/ 471171 w 1004418"/>
                <a:gd name="connsiteY122" fmla="*/ 527980 h 1748166"/>
                <a:gd name="connsiteX123" fmla="*/ 471171 w 1004418"/>
                <a:gd name="connsiteY123" fmla="*/ 416925 h 1748166"/>
                <a:gd name="connsiteX124" fmla="*/ 55761 w 1004418"/>
                <a:gd name="connsiteY124" fmla="*/ 416925 h 1748166"/>
                <a:gd name="connsiteX125" fmla="*/ 55761 w 1004418"/>
                <a:gd name="connsiteY125" fmla="*/ 527980 h 1748166"/>
                <a:gd name="connsiteX126" fmla="*/ 235609 w 1004418"/>
                <a:gd name="connsiteY126" fmla="*/ 527980 h 1748166"/>
                <a:gd name="connsiteX127" fmla="*/ 235609 w 1004418"/>
                <a:gd name="connsiteY127" fmla="*/ 416925 h 1748166"/>
                <a:gd name="connsiteX128" fmla="*/ 762448 w 1004418"/>
                <a:gd name="connsiteY128" fmla="*/ 255160 h 1748166"/>
                <a:gd name="connsiteX129" fmla="*/ 762448 w 1004418"/>
                <a:gd name="connsiteY129" fmla="*/ 366215 h 1748166"/>
                <a:gd name="connsiteX130" fmla="*/ 942296 w 1004418"/>
                <a:gd name="connsiteY130" fmla="*/ 366215 h 1748166"/>
                <a:gd name="connsiteX131" fmla="*/ 942296 w 1004418"/>
                <a:gd name="connsiteY131" fmla="*/ 255160 h 1748166"/>
                <a:gd name="connsiteX132" fmla="*/ 526885 w 1004418"/>
                <a:gd name="connsiteY132" fmla="*/ 255160 h 1748166"/>
                <a:gd name="connsiteX133" fmla="*/ 526885 w 1004418"/>
                <a:gd name="connsiteY133" fmla="*/ 366215 h 1748166"/>
                <a:gd name="connsiteX134" fmla="*/ 706733 w 1004418"/>
                <a:gd name="connsiteY134" fmla="*/ 366215 h 1748166"/>
                <a:gd name="connsiteX135" fmla="*/ 706733 w 1004418"/>
                <a:gd name="connsiteY135" fmla="*/ 255160 h 1748166"/>
                <a:gd name="connsiteX136" fmla="*/ 291323 w 1004418"/>
                <a:gd name="connsiteY136" fmla="*/ 255160 h 1748166"/>
                <a:gd name="connsiteX137" fmla="*/ 291323 w 1004418"/>
                <a:gd name="connsiteY137" fmla="*/ 366215 h 1748166"/>
                <a:gd name="connsiteX138" fmla="*/ 471171 w 1004418"/>
                <a:gd name="connsiteY138" fmla="*/ 366215 h 1748166"/>
                <a:gd name="connsiteX139" fmla="*/ 471171 w 1004418"/>
                <a:gd name="connsiteY139" fmla="*/ 255160 h 1748166"/>
                <a:gd name="connsiteX140" fmla="*/ 55761 w 1004418"/>
                <a:gd name="connsiteY140" fmla="*/ 255160 h 1748166"/>
                <a:gd name="connsiteX141" fmla="*/ 55761 w 1004418"/>
                <a:gd name="connsiteY141" fmla="*/ 366215 h 1748166"/>
                <a:gd name="connsiteX142" fmla="*/ 235609 w 1004418"/>
                <a:gd name="connsiteY142" fmla="*/ 366215 h 1748166"/>
                <a:gd name="connsiteX143" fmla="*/ 235609 w 1004418"/>
                <a:gd name="connsiteY143" fmla="*/ 255160 h 1748166"/>
                <a:gd name="connsiteX144" fmla="*/ 762448 w 1004418"/>
                <a:gd name="connsiteY144" fmla="*/ 93395 h 1748166"/>
                <a:gd name="connsiteX145" fmla="*/ 762448 w 1004418"/>
                <a:gd name="connsiteY145" fmla="*/ 204450 h 1748166"/>
                <a:gd name="connsiteX146" fmla="*/ 942296 w 1004418"/>
                <a:gd name="connsiteY146" fmla="*/ 204450 h 1748166"/>
                <a:gd name="connsiteX147" fmla="*/ 942296 w 1004418"/>
                <a:gd name="connsiteY147" fmla="*/ 93395 h 1748166"/>
                <a:gd name="connsiteX148" fmla="*/ 526885 w 1004418"/>
                <a:gd name="connsiteY148" fmla="*/ 93395 h 1748166"/>
                <a:gd name="connsiteX149" fmla="*/ 526885 w 1004418"/>
                <a:gd name="connsiteY149" fmla="*/ 204450 h 1748166"/>
                <a:gd name="connsiteX150" fmla="*/ 706733 w 1004418"/>
                <a:gd name="connsiteY150" fmla="*/ 204450 h 1748166"/>
                <a:gd name="connsiteX151" fmla="*/ 706733 w 1004418"/>
                <a:gd name="connsiteY151" fmla="*/ 93395 h 1748166"/>
                <a:gd name="connsiteX152" fmla="*/ 291323 w 1004418"/>
                <a:gd name="connsiteY152" fmla="*/ 93395 h 1748166"/>
                <a:gd name="connsiteX153" fmla="*/ 291323 w 1004418"/>
                <a:gd name="connsiteY153" fmla="*/ 204450 h 1748166"/>
                <a:gd name="connsiteX154" fmla="*/ 471171 w 1004418"/>
                <a:gd name="connsiteY154" fmla="*/ 204450 h 1748166"/>
                <a:gd name="connsiteX155" fmla="*/ 471171 w 1004418"/>
                <a:gd name="connsiteY155" fmla="*/ 93395 h 1748166"/>
                <a:gd name="connsiteX156" fmla="*/ 55761 w 1004418"/>
                <a:gd name="connsiteY156" fmla="*/ 93395 h 1748166"/>
                <a:gd name="connsiteX157" fmla="*/ 55761 w 1004418"/>
                <a:gd name="connsiteY157" fmla="*/ 204450 h 1748166"/>
                <a:gd name="connsiteX158" fmla="*/ 235609 w 1004418"/>
                <a:gd name="connsiteY158" fmla="*/ 204450 h 1748166"/>
                <a:gd name="connsiteX159" fmla="*/ 235609 w 1004418"/>
                <a:gd name="connsiteY159" fmla="*/ 93395 h 1748166"/>
                <a:gd name="connsiteX160" fmla="*/ 0 w 1004418"/>
                <a:gd name="connsiteY160" fmla="*/ 0 h 1748166"/>
                <a:gd name="connsiteX161" fmla="*/ 1004418 w 1004418"/>
                <a:gd name="connsiteY161" fmla="*/ 0 h 1748166"/>
                <a:gd name="connsiteX162" fmla="*/ 1004418 w 1004418"/>
                <a:gd name="connsiteY162" fmla="*/ 1748166 h 1748166"/>
                <a:gd name="connsiteX163" fmla="*/ 0 w 1004418"/>
                <a:gd name="connsiteY163" fmla="*/ 1748166 h 174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004418" h="1748166">
                  <a:moveTo>
                    <a:pt x="762448" y="1549280"/>
                  </a:moveTo>
                  <a:lnTo>
                    <a:pt x="762448" y="1660335"/>
                  </a:lnTo>
                  <a:lnTo>
                    <a:pt x="942296" y="1660335"/>
                  </a:lnTo>
                  <a:lnTo>
                    <a:pt x="942296" y="1549280"/>
                  </a:lnTo>
                  <a:close/>
                  <a:moveTo>
                    <a:pt x="526885" y="1549280"/>
                  </a:moveTo>
                  <a:lnTo>
                    <a:pt x="526885" y="1660335"/>
                  </a:lnTo>
                  <a:lnTo>
                    <a:pt x="706733" y="1660335"/>
                  </a:lnTo>
                  <a:lnTo>
                    <a:pt x="706733" y="1549280"/>
                  </a:lnTo>
                  <a:close/>
                  <a:moveTo>
                    <a:pt x="291323" y="1549280"/>
                  </a:moveTo>
                  <a:lnTo>
                    <a:pt x="291323" y="1660335"/>
                  </a:lnTo>
                  <a:lnTo>
                    <a:pt x="471171" y="1660335"/>
                  </a:lnTo>
                  <a:lnTo>
                    <a:pt x="471171" y="1549280"/>
                  </a:lnTo>
                  <a:close/>
                  <a:moveTo>
                    <a:pt x="55761" y="1549280"/>
                  </a:moveTo>
                  <a:lnTo>
                    <a:pt x="55761" y="1660335"/>
                  </a:lnTo>
                  <a:lnTo>
                    <a:pt x="235609" y="1660335"/>
                  </a:lnTo>
                  <a:lnTo>
                    <a:pt x="235609" y="1549280"/>
                  </a:lnTo>
                  <a:close/>
                  <a:moveTo>
                    <a:pt x="762448" y="1387515"/>
                  </a:moveTo>
                  <a:lnTo>
                    <a:pt x="762448" y="1498570"/>
                  </a:lnTo>
                  <a:lnTo>
                    <a:pt x="942296" y="1498570"/>
                  </a:lnTo>
                  <a:lnTo>
                    <a:pt x="942296" y="1387515"/>
                  </a:lnTo>
                  <a:close/>
                  <a:moveTo>
                    <a:pt x="526885" y="1387515"/>
                  </a:moveTo>
                  <a:lnTo>
                    <a:pt x="526885" y="1498570"/>
                  </a:lnTo>
                  <a:lnTo>
                    <a:pt x="706733" y="1498570"/>
                  </a:lnTo>
                  <a:lnTo>
                    <a:pt x="706733" y="1387515"/>
                  </a:lnTo>
                  <a:close/>
                  <a:moveTo>
                    <a:pt x="291323" y="1387515"/>
                  </a:moveTo>
                  <a:lnTo>
                    <a:pt x="291323" y="1498570"/>
                  </a:lnTo>
                  <a:lnTo>
                    <a:pt x="471171" y="1498570"/>
                  </a:lnTo>
                  <a:lnTo>
                    <a:pt x="471171" y="1387515"/>
                  </a:lnTo>
                  <a:close/>
                  <a:moveTo>
                    <a:pt x="55761" y="1387515"/>
                  </a:moveTo>
                  <a:lnTo>
                    <a:pt x="55761" y="1498570"/>
                  </a:lnTo>
                  <a:lnTo>
                    <a:pt x="235609" y="1498570"/>
                  </a:lnTo>
                  <a:lnTo>
                    <a:pt x="235609" y="1387515"/>
                  </a:lnTo>
                  <a:close/>
                  <a:moveTo>
                    <a:pt x="762448" y="1225750"/>
                  </a:moveTo>
                  <a:lnTo>
                    <a:pt x="762448" y="1336805"/>
                  </a:lnTo>
                  <a:lnTo>
                    <a:pt x="942296" y="1336805"/>
                  </a:lnTo>
                  <a:lnTo>
                    <a:pt x="942296" y="1225750"/>
                  </a:lnTo>
                  <a:close/>
                  <a:moveTo>
                    <a:pt x="526885" y="1225750"/>
                  </a:moveTo>
                  <a:lnTo>
                    <a:pt x="526885" y="1336805"/>
                  </a:lnTo>
                  <a:lnTo>
                    <a:pt x="706733" y="1336805"/>
                  </a:lnTo>
                  <a:lnTo>
                    <a:pt x="706733" y="1225750"/>
                  </a:lnTo>
                  <a:close/>
                  <a:moveTo>
                    <a:pt x="291323" y="1225750"/>
                  </a:moveTo>
                  <a:lnTo>
                    <a:pt x="291323" y="1336805"/>
                  </a:lnTo>
                  <a:lnTo>
                    <a:pt x="471171" y="1336805"/>
                  </a:lnTo>
                  <a:lnTo>
                    <a:pt x="471171" y="1225750"/>
                  </a:lnTo>
                  <a:close/>
                  <a:moveTo>
                    <a:pt x="55761" y="1225750"/>
                  </a:moveTo>
                  <a:lnTo>
                    <a:pt x="55761" y="1336805"/>
                  </a:lnTo>
                  <a:lnTo>
                    <a:pt x="235609" y="1336805"/>
                  </a:lnTo>
                  <a:lnTo>
                    <a:pt x="235609" y="1225750"/>
                  </a:lnTo>
                  <a:close/>
                  <a:moveTo>
                    <a:pt x="762448" y="1063985"/>
                  </a:moveTo>
                  <a:lnTo>
                    <a:pt x="762448" y="1175040"/>
                  </a:lnTo>
                  <a:lnTo>
                    <a:pt x="942296" y="1175040"/>
                  </a:lnTo>
                  <a:lnTo>
                    <a:pt x="942296" y="1063985"/>
                  </a:lnTo>
                  <a:close/>
                  <a:moveTo>
                    <a:pt x="526885" y="1063985"/>
                  </a:moveTo>
                  <a:lnTo>
                    <a:pt x="526885" y="1175040"/>
                  </a:lnTo>
                  <a:lnTo>
                    <a:pt x="706733" y="1175040"/>
                  </a:lnTo>
                  <a:lnTo>
                    <a:pt x="706733" y="1063985"/>
                  </a:lnTo>
                  <a:close/>
                  <a:moveTo>
                    <a:pt x="291323" y="1063985"/>
                  </a:moveTo>
                  <a:lnTo>
                    <a:pt x="291323" y="1175040"/>
                  </a:lnTo>
                  <a:lnTo>
                    <a:pt x="471171" y="1175040"/>
                  </a:lnTo>
                  <a:lnTo>
                    <a:pt x="471171" y="1063985"/>
                  </a:lnTo>
                  <a:close/>
                  <a:moveTo>
                    <a:pt x="55761" y="1063985"/>
                  </a:moveTo>
                  <a:lnTo>
                    <a:pt x="55761" y="1175040"/>
                  </a:lnTo>
                  <a:lnTo>
                    <a:pt x="235609" y="1175040"/>
                  </a:lnTo>
                  <a:lnTo>
                    <a:pt x="235609" y="1063985"/>
                  </a:lnTo>
                  <a:close/>
                  <a:moveTo>
                    <a:pt x="762448" y="902220"/>
                  </a:moveTo>
                  <a:lnTo>
                    <a:pt x="762448" y="1013275"/>
                  </a:lnTo>
                  <a:lnTo>
                    <a:pt x="942296" y="1013275"/>
                  </a:lnTo>
                  <a:lnTo>
                    <a:pt x="942296" y="902220"/>
                  </a:lnTo>
                  <a:close/>
                  <a:moveTo>
                    <a:pt x="526885" y="902220"/>
                  </a:moveTo>
                  <a:lnTo>
                    <a:pt x="526885" y="1013275"/>
                  </a:lnTo>
                  <a:lnTo>
                    <a:pt x="706733" y="1013275"/>
                  </a:lnTo>
                  <a:lnTo>
                    <a:pt x="706733" y="902220"/>
                  </a:lnTo>
                  <a:close/>
                  <a:moveTo>
                    <a:pt x="291323" y="902220"/>
                  </a:moveTo>
                  <a:lnTo>
                    <a:pt x="291323" y="1013275"/>
                  </a:lnTo>
                  <a:lnTo>
                    <a:pt x="471171" y="1013275"/>
                  </a:lnTo>
                  <a:lnTo>
                    <a:pt x="471171" y="902220"/>
                  </a:lnTo>
                  <a:close/>
                  <a:moveTo>
                    <a:pt x="55761" y="902220"/>
                  </a:moveTo>
                  <a:lnTo>
                    <a:pt x="55761" y="1013275"/>
                  </a:lnTo>
                  <a:lnTo>
                    <a:pt x="235609" y="1013275"/>
                  </a:lnTo>
                  <a:lnTo>
                    <a:pt x="235609" y="902220"/>
                  </a:lnTo>
                  <a:close/>
                  <a:moveTo>
                    <a:pt x="762448" y="740455"/>
                  </a:moveTo>
                  <a:lnTo>
                    <a:pt x="762448" y="851510"/>
                  </a:lnTo>
                  <a:lnTo>
                    <a:pt x="942296" y="851510"/>
                  </a:lnTo>
                  <a:lnTo>
                    <a:pt x="942296" y="740455"/>
                  </a:lnTo>
                  <a:close/>
                  <a:moveTo>
                    <a:pt x="526885" y="740455"/>
                  </a:moveTo>
                  <a:lnTo>
                    <a:pt x="526885" y="851510"/>
                  </a:lnTo>
                  <a:lnTo>
                    <a:pt x="706733" y="851510"/>
                  </a:lnTo>
                  <a:lnTo>
                    <a:pt x="706733" y="740455"/>
                  </a:lnTo>
                  <a:close/>
                  <a:moveTo>
                    <a:pt x="291323" y="740455"/>
                  </a:moveTo>
                  <a:lnTo>
                    <a:pt x="291323" y="851510"/>
                  </a:lnTo>
                  <a:lnTo>
                    <a:pt x="471171" y="851510"/>
                  </a:lnTo>
                  <a:lnTo>
                    <a:pt x="471171" y="740455"/>
                  </a:lnTo>
                  <a:close/>
                  <a:moveTo>
                    <a:pt x="55761" y="740455"/>
                  </a:moveTo>
                  <a:lnTo>
                    <a:pt x="55761" y="851510"/>
                  </a:lnTo>
                  <a:lnTo>
                    <a:pt x="235609" y="851510"/>
                  </a:lnTo>
                  <a:lnTo>
                    <a:pt x="235609" y="740455"/>
                  </a:lnTo>
                  <a:close/>
                  <a:moveTo>
                    <a:pt x="762448" y="578690"/>
                  </a:moveTo>
                  <a:lnTo>
                    <a:pt x="762448" y="689745"/>
                  </a:lnTo>
                  <a:lnTo>
                    <a:pt x="942296" y="689745"/>
                  </a:lnTo>
                  <a:lnTo>
                    <a:pt x="942296" y="578690"/>
                  </a:lnTo>
                  <a:close/>
                  <a:moveTo>
                    <a:pt x="526885" y="578690"/>
                  </a:moveTo>
                  <a:lnTo>
                    <a:pt x="526885" y="689745"/>
                  </a:lnTo>
                  <a:lnTo>
                    <a:pt x="706733" y="689745"/>
                  </a:lnTo>
                  <a:lnTo>
                    <a:pt x="706733" y="578690"/>
                  </a:lnTo>
                  <a:close/>
                  <a:moveTo>
                    <a:pt x="291323" y="578690"/>
                  </a:moveTo>
                  <a:lnTo>
                    <a:pt x="291323" y="689745"/>
                  </a:lnTo>
                  <a:lnTo>
                    <a:pt x="471171" y="689745"/>
                  </a:lnTo>
                  <a:lnTo>
                    <a:pt x="471171" y="578690"/>
                  </a:lnTo>
                  <a:close/>
                  <a:moveTo>
                    <a:pt x="55761" y="578690"/>
                  </a:moveTo>
                  <a:lnTo>
                    <a:pt x="55761" y="689745"/>
                  </a:lnTo>
                  <a:lnTo>
                    <a:pt x="235609" y="689745"/>
                  </a:lnTo>
                  <a:lnTo>
                    <a:pt x="235609" y="578690"/>
                  </a:lnTo>
                  <a:close/>
                  <a:moveTo>
                    <a:pt x="762448" y="416925"/>
                  </a:moveTo>
                  <a:lnTo>
                    <a:pt x="762448" y="527980"/>
                  </a:lnTo>
                  <a:lnTo>
                    <a:pt x="942296" y="527980"/>
                  </a:lnTo>
                  <a:lnTo>
                    <a:pt x="942296" y="416925"/>
                  </a:lnTo>
                  <a:close/>
                  <a:moveTo>
                    <a:pt x="526885" y="416925"/>
                  </a:moveTo>
                  <a:lnTo>
                    <a:pt x="526885" y="527980"/>
                  </a:lnTo>
                  <a:lnTo>
                    <a:pt x="706733" y="527980"/>
                  </a:lnTo>
                  <a:lnTo>
                    <a:pt x="706733" y="416925"/>
                  </a:lnTo>
                  <a:close/>
                  <a:moveTo>
                    <a:pt x="291323" y="416925"/>
                  </a:moveTo>
                  <a:lnTo>
                    <a:pt x="291323" y="527980"/>
                  </a:lnTo>
                  <a:lnTo>
                    <a:pt x="471171" y="527980"/>
                  </a:lnTo>
                  <a:lnTo>
                    <a:pt x="471171" y="416925"/>
                  </a:lnTo>
                  <a:close/>
                  <a:moveTo>
                    <a:pt x="55761" y="416925"/>
                  </a:moveTo>
                  <a:lnTo>
                    <a:pt x="55761" y="527980"/>
                  </a:lnTo>
                  <a:lnTo>
                    <a:pt x="235609" y="527980"/>
                  </a:lnTo>
                  <a:lnTo>
                    <a:pt x="235609" y="416925"/>
                  </a:lnTo>
                  <a:close/>
                  <a:moveTo>
                    <a:pt x="762448" y="255160"/>
                  </a:moveTo>
                  <a:lnTo>
                    <a:pt x="762448" y="366215"/>
                  </a:lnTo>
                  <a:lnTo>
                    <a:pt x="942296" y="366215"/>
                  </a:lnTo>
                  <a:lnTo>
                    <a:pt x="942296" y="255160"/>
                  </a:lnTo>
                  <a:close/>
                  <a:moveTo>
                    <a:pt x="526885" y="255160"/>
                  </a:moveTo>
                  <a:lnTo>
                    <a:pt x="526885" y="366215"/>
                  </a:lnTo>
                  <a:lnTo>
                    <a:pt x="706733" y="366215"/>
                  </a:lnTo>
                  <a:lnTo>
                    <a:pt x="706733" y="255160"/>
                  </a:lnTo>
                  <a:close/>
                  <a:moveTo>
                    <a:pt x="291323" y="255160"/>
                  </a:moveTo>
                  <a:lnTo>
                    <a:pt x="291323" y="366215"/>
                  </a:lnTo>
                  <a:lnTo>
                    <a:pt x="471171" y="366215"/>
                  </a:lnTo>
                  <a:lnTo>
                    <a:pt x="471171" y="255160"/>
                  </a:lnTo>
                  <a:close/>
                  <a:moveTo>
                    <a:pt x="55761" y="255160"/>
                  </a:moveTo>
                  <a:lnTo>
                    <a:pt x="55761" y="366215"/>
                  </a:lnTo>
                  <a:lnTo>
                    <a:pt x="235609" y="366215"/>
                  </a:lnTo>
                  <a:lnTo>
                    <a:pt x="235609" y="255160"/>
                  </a:lnTo>
                  <a:close/>
                  <a:moveTo>
                    <a:pt x="762448" y="93395"/>
                  </a:moveTo>
                  <a:lnTo>
                    <a:pt x="762448" y="204450"/>
                  </a:lnTo>
                  <a:lnTo>
                    <a:pt x="942296" y="204450"/>
                  </a:lnTo>
                  <a:lnTo>
                    <a:pt x="942296" y="93395"/>
                  </a:lnTo>
                  <a:close/>
                  <a:moveTo>
                    <a:pt x="526885" y="93395"/>
                  </a:moveTo>
                  <a:lnTo>
                    <a:pt x="526885" y="204450"/>
                  </a:lnTo>
                  <a:lnTo>
                    <a:pt x="706733" y="204450"/>
                  </a:lnTo>
                  <a:lnTo>
                    <a:pt x="706733" y="93395"/>
                  </a:lnTo>
                  <a:close/>
                  <a:moveTo>
                    <a:pt x="291323" y="93395"/>
                  </a:moveTo>
                  <a:lnTo>
                    <a:pt x="291323" y="204450"/>
                  </a:lnTo>
                  <a:lnTo>
                    <a:pt x="471171" y="204450"/>
                  </a:lnTo>
                  <a:lnTo>
                    <a:pt x="471171" y="93395"/>
                  </a:lnTo>
                  <a:close/>
                  <a:moveTo>
                    <a:pt x="55761" y="93395"/>
                  </a:moveTo>
                  <a:lnTo>
                    <a:pt x="55761" y="204450"/>
                  </a:lnTo>
                  <a:lnTo>
                    <a:pt x="235609" y="204450"/>
                  </a:lnTo>
                  <a:lnTo>
                    <a:pt x="235609" y="93395"/>
                  </a:lnTo>
                  <a:close/>
                  <a:moveTo>
                    <a:pt x="0" y="0"/>
                  </a:moveTo>
                  <a:lnTo>
                    <a:pt x="1004418" y="0"/>
                  </a:lnTo>
                  <a:lnTo>
                    <a:pt x="1004418" y="1748166"/>
                  </a:lnTo>
                  <a:lnTo>
                    <a:pt x="0" y="1748166"/>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196" name="Freeform 195"/>
            <p:cNvSpPr/>
            <p:nvPr/>
          </p:nvSpPr>
          <p:spPr>
            <a:xfrm>
              <a:off x="1664036" y="4253206"/>
              <a:ext cx="417678" cy="1360203"/>
            </a:xfrm>
            <a:custGeom>
              <a:avLst/>
              <a:gdLst>
                <a:gd name="connsiteX0" fmla="*/ 396674 w 522562"/>
                <a:gd name="connsiteY0" fmla="*/ 1580850 h 1701769"/>
                <a:gd name="connsiteX1" fmla="*/ 396674 w 522562"/>
                <a:gd name="connsiteY1" fmla="*/ 1648369 h 1701769"/>
                <a:gd name="connsiteX2" fmla="*/ 490242 w 522562"/>
                <a:gd name="connsiteY2" fmla="*/ 1648369 h 1701769"/>
                <a:gd name="connsiteX3" fmla="*/ 490242 w 522562"/>
                <a:gd name="connsiteY3" fmla="*/ 1580850 h 1701769"/>
                <a:gd name="connsiteX4" fmla="*/ 274119 w 522562"/>
                <a:gd name="connsiteY4" fmla="*/ 1580850 h 1701769"/>
                <a:gd name="connsiteX5" fmla="*/ 274119 w 522562"/>
                <a:gd name="connsiteY5" fmla="*/ 1648369 h 1701769"/>
                <a:gd name="connsiteX6" fmla="*/ 367687 w 522562"/>
                <a:gd name="connsiteY6" fmla="*/ 1648369 h 1701769"/>
                <a:gd name="connsiteX7" fmla="*/ 367687 w 522562"/>
                <a:gd name="connsiteY7" fmla="*/ 1580850 h 1701769"/>
                <a:gd name="connsiteX8" fmla="*/ 151565 w 522562"/>
                <a:gd name="connsiteY8" fmla="*/ 1580850 h 1701769"/>
                <a:gd name="connsiteX9" fmla="*/ 151565 w 522562"/>
                <a:gd name="connsiteY9" fmla="*/ 1648369 h 1701769"/>
                <a:gd name="connsiteX10" fmla="*/ 245133 w 522562"/>
                <a:gd name="connsiteY10" fmla="*/ 1648369 h 1701769"/>
                <a:gd name="connsiteX11" fmla="*/ 245133 w 522562"/>
                <a:gd name="connsiteY11" fmla="*/ 1580850 h 1701769"/>
                <a:gd name="connsiteX12" fmla="*/ 29010 w 522562"/>
                <a:gd name="connsiteY12" fmla="*/ 1580850 h 1701769"/>
                <a:gd name="connsiteX13" fmla="*/ 29010 w 522562"/>
                <a:gd name="connsiteY13" fmla="*/ 1648369 h 1701769"/>
                <a:gd name="connsiteX14" fmla="*/ 122579 w 522562"/>
                <a:gd name="connsiteY14" fmla="*/ 1648369 h 1701769"/>
                <a:gd name="connsiteX15" fmla="*/ 122579 w 522562"/>
                <a:gd name="connsiteY15" fmla="*/ 1580850 h 1701769"/>
                <a:gd name="connsiteX16" fmla="*/ 396674 w 522562"/>
                <a:gd name="connsiteY16" fmla="*/ 1482500 h 1701769"/>
                <a:gd name="connsiteX17" fmla="*/ 396674 w 522562"/>
                <a:gd name="connsiteY17" fmla="*/ 1550019 h 1701769"/>
                <a:gd name="connsiteX18" fmla="*/ 490242 w 522562"/>
                <a:gd name="connsiteY18" fmla="*/ 1550019 h 1701769"/>
                <a:gd name="connsiteX19" fmla="*/ 490242 w 522562"/>
                <a:gd name="connsiteY19" fmla="*/ 1482500 h 1701769"/>
                <a:gd name="connsiteX20" fmla="*/ 274119 w 522562"/>
                <a:gd name="connsiteY20" fmla="*/ 1482500 h 1701769"/>
                <a:gd name="connsiteX21" fmla="*/ 274119 w 522562"/>
                <a:gd name="connsiteY21" fmla="*/ 1550019 h 1701769"/>
                <a:gd name="connsiteX22" fmla="*/ 367687 w 522562"/>
                <a:gd name="connsiteY22" fmla="*/ 1550019 h 1701769"/>
                <a:gd name="connsiteX23" fmla="*/ 367687 w 522562"/>
                <a:gd name="connsiteY23" fmla="*/ 1482500 h 1701769"/>
                <a:gd name="connsiteX24" fmla="*/ 151565 w 522562"/>
                <a:gd name="connsiteY24" fmla="*/ 1482500 h 1701769"/>
                <a:gd name="connsiteX25" fmla="*/ 151565 w 522562"/>
                <a:gd name="connsiteY25" fmla="*/ 1550019 h 1701769"/>
                <a:gd name="connsiteX26" fmla="*/ 245133 w 522562"/>
                <a:gd name="connsiteY26" fmla="*/ 1550019 h 1701769"/>
                <a:gd name="connsiteX27" fmla="*/ 245133 w 522562"/>
                <a:gd name="connsiteY27" fmla="*/ 1482500 h 1701769"/>
                <a:gd name="connsiteX28" fmla="*/ 29010 w 522562"/>
                <a:gd name="connsiteY28" fmla="*/ 1482500 h 1701769"/>
                <a:gd name="connsiteX29" fmla="*/ 29010 w 522562"/>
                <a:gd name="connsiteY29" fmla="*/ 1550019 h 1701769"/>
                <a:gd name="connsiteX30" fmla="*/ 122579 w 522562"/>
                <a:gd name="connsiteY30" fmla="*/ 1550019 h 1701769"/>
                <a:gd name="connsiteX31" fmla="*/ 122579 w 522562"/>
                <a:gd name="connsiteY31" fmla="*/ 1482500 h 1701769"/>
                <a:gd name="connsiteX32" fmla="*/ 396674 w 522562"/>
                <a:gd name="connsiteY32" fmla="*/ 1384149 h 1701769"/>
                <a:gd name="connsiteX33" fmla="*/ 396674 w 522562"/>
                <a:gd name="connsiteY33" fmla="*/ 1451669 h 1701769"/>
                <a:gd name="connsiteX34" fmla="*/ 490242 w 522562"/>
                <a:gd name="connsiteY34" fmla="*/ 1451669 h 1701769"/>
                <a:gd name="connsiteX35" fmla="*/ 490242 w 522562"/>
                <a:gd name="connsiteY35" fmla="*/ 1384149 h 1701769"/>
                <a:gd name="connsiteX36" fmla="*/ 274119 w 522562"/>
                <a:gd name="connsiteY36" fmla="*/ 1384149 h 1701769"/>
                <a:gd name="connsiteX37" fmla="*/ 274119 w 522562"/>
                <a:gd name="connsiteY37" fmla="*/ 1451669 h 1701769"/>
                <a:gd name="connsiteX38" fmla="*/ 367687 w 522562"/>
                <a:gd name="connsiteY38" fmla="*/ 1451669 h 1701769"/>
                <a:gd name="connsiteX39" fmla="*/ 367687 w 522562"/>
                <a:gd name="connsiteY39" fmla="*/ 1384149 h 1701769"/>
                <a:gd name="connsiteX40" fmla="*/ 151565 w 522562"/>
                <a:gd name="connsiteY40" fmla="*/ 1384149 h 1701769"/>
                <a:gd name="connsiteX41" fmla="*/ 151565 w 522562"/>
                <a:gd name="connsiteY41" fmla="*/ 1451669 h 1701769"/>
                <a:gd name="connsiteX42" fmla="*/ 245133 w 522562"/>
                <a:gd name="connsiteY42" fmla="*/ 1451669 h 1701769"/>
                <a:gd name="connsiteX43" fmla="*/ 245133 w 522562"/>
                <a:gd name="connsiteY43" fmla="*/ 1384149 h 1701769"/>
                <a:gd name="connsiteX44" fmla="*/ 29010 w 522562"/>
                <a:gd name="connsiteY44" fmla="*/ 1384149 h 1701769"/>
                <a:gd name="connsiteX45" fmla="*/ 29010 w 522562"/>
                <a:gd name="connsiteY45" fmla="*/ 1451669 h 1701769"/>
                <a:gd name="connsiteX46" fmla="*/ 122579 w 522562"/>
                <a:gd name="connsiteY46" fmla="*/ 1451669 h 1701769"/>
                <a:gd name="connsiteX47" fmla="*/ 122579 w 522562"/>
                <a:gd name="connsiteY47" fmla="*/ 1384149 h 1701769"/>
                <a:gd name="connsiteX48" fmla="*/ 396674 w 522562"/>
                <a:gd name="connsiteY48" fmla="*/ 1285799 h 1701769"/>
                <a:gd name="connsiteX49" fmla="*/ 396674 w 522562"/>
                <a:gd name="connsiteY49" fmla="*/ 1353318 h 1701769"/>
                <a:gd name="connsiteX50" fmla="*/ 490242 w 522562"/>
                <a:gd name="connsiteY50" fmla="*/ 1353318 h 1701769"/>
                <a:gd name="connsiteX51" fmla="*/ 490242 w 522562"/>
                <a:gd name="connsiteY51" fmla="*/ 1285799 h 1701769"/>
                <a:gd name="connsiteX52" fmla="*/ 274119 w 522562"/>
                <a:gd name="connsiteY52" fmla="*/ 1285799 h 1701769"/>
                <a:gd name="connsiteX53" fmla="*/ 274119 w 522562"/>
                <a:gd name="connsiteY53" fmla="*/ 1353318 h 1701769"/>
                <a:gd name="connsiteX54" fmla="*/ 367687 w 522562"/>
                <a:gd name="connsiteY54" fmla="*/ 1353318 h 1701769"/>
                <a:gd name="connsiteX55" fmla="*/ 367687 w 522562"/>
                <a:gd name="connsiteY55" fmla="*/ 1285799 h 1701769"/>
                <a:gd name="connsiteX56" fmla="*/ 151565 w 522562"/>
                <a:gd name="connsiteY56" fmla="*/ 1285799 h 1701769"/>
                <a:gd name="connsiteX57" fmla="*/ 151565 w 522562"/>
                <a:gd name="connsiteY57" fmla="*/ 1353318 h 1701769"/>
                <a:gd name="connsiteX58" fmla="*/ 245133 w 522562"/>
                <a:gd name="connsiteY58" fmla="*/ 1353318 h 1701769"/>
                <a:gd name="connsiteX59" fmla="*/ 245133 w 522562"/>
                <a:gd name="connsiteY59" fmla="*/ 1285799 h 1701769"/>
                <a:gd name="connsiteX60" fmla="*/ 29010 w 522562"/>
                <a:gd name="connsiteY60" fmla="*/ 1285799 h 1701769"/>
                <a:gd name="connsiteX61" fmla="*/ 29010 w 522562"/>
                <a:gd name="connsiteY61" fmla="*/ 1353318 h 1701769"/>
                <a:gd name="connsiteX62" fmla="*/ 122579 w 522562"/>
                <a:gd name="connsiteY62" fmla="*/ 1353318 h 1701769"/>
                <a:gd name="connsiteX63" fmla="*/ 122579 w 522562"/>
                <a:gd name="connsiteY63" fmla="*/ 1285799 h 1701769"/>
                <a:gd name="connsiteX64" fmla="*/ 396674 w 522562"/>
                <a:gd name="connsiteY64" fmla="*/ 1187448 h 1701769"/>
                <a:gd name="connsiteX65" fmla="*/ 396674 w 522562"/>
                <a:gd name="connsiteY65" fmla="*/ 1254968 h 1701769"/>
                <a:gd name="connsiteX66" fmla="*/ 490242 w 522562"/>
                <a:gd name="connsiteY66" fmla="*/ 1254968 h 1701769"/>
                <a:gd name="connsiteX67" fmla="*/ 490242 w 522562"/>
                <a:gd name="connsiteY67" fmla="*/ 1187448 h 1701769"/>
                <a:gd name="connsiteX68" fmla="*/ 274119 w 522562"/>
                <a:gd name="connsiteY68" fmla="*/ 1187448 h 1701769"/>
                <a:gd name="connsiteX69" fmla="*/ 274119 w 522562"/>
                <a:gd name="connsiteY69" fmla="*/ 1254968 h 1701769"/>
                <a:gd name="connsiteX70" fmla="*/ 367687 w 522562"/>
                <a:gd name="connsiteY70" fmla="*/ 1254968 h 1701769"/>
                <a:gd name="connsiteX71" fmla="*/ 367687 w 522562"/>
                <a:gd name="connsiteY71" fmla="*/ 1187448 h 1701769"/>
                <a:gd name="connsiteX72" fmla="*/ 151565 w 522562"/>
                <a:gd name="connsiteY72" fmla="*/ 1187448 h 1701769"/>
                <a:gd name="connsiteX73" fmla="*/ 151565 w 522562"/>
                <a:gd name="connsiteY73" fmla="*/ 1254968 h 1701769"/>
                <a:gd name="connsiteX74" fmla="*/ 245133 w 522562"/>
                <a:gd name="connsiteY74" fmla="*/ 1254968 h 1701769"/>
                <a:gd name="connsiteX75" fmla="*/ 245133 w 522562"/>
                <a:gd name="connsiteY75" fmla="*/ 1187448 h 1701769"/>
                <a:gd name="connsiteX76" fmla="*/ 29010 w 522562"/>
                <a:gd name="connsiteY76" fmla="*/ 1187448 h 1701769"/>
                <a:gd name="connsiteX77" fmla="*/ 29010 w 522562"/>
                <a:gd name="connsiteY77" fmla="*/ 1254968 h 1701769"/>
                <a:gd name="connsiteX78" fmla="*/ 122579 w 522562"/>
                <a:gd name="connsiteY78" fmla="*/ 1254968 h 1701769"/>
                <a:gd name="connsiteX79" fmla="*/ 122579 w 522562"/>
                <a:gd name="connsiteY79" fmla="*/ 1187448 h 1701769"/>
                <a:gd name="connsiteX80" fmla="*/ 396674 w 522562"/>
                <a:gd name="connsiteY80" fmla="*/ 1089098 h 1701769"/>
                <a:gd name="connsiteX81" fmla="*/ 396674 w 522562"/>
                <a:gd name="connsiteY81" fmla="*/ 1156618 h 1701769"/>
                <a:gd name="connsiteX82" fmla="*/ 490242 w 522562"/>
                <a:gd name="connsiteY82" fmla="*/ 1156618 h 1701769"/>
                <a:gd name="connsiteX83" fmla="*/ 490242 w 522562"/>
                <a:gd name="connsiteY83" fmla="*/ 1089098 h 1701769"/>
                <a:gd name="connsiteX84" fmla="*/ 274119 w 522562"/>
                <a:gd name="connsiteY84" fmla="*/ 1089098 h 1701769"/>
                <a:gd name="connsiteX85" fmla="*/ 274119 w 522562"/>
                <a:gd name="connsiteY85" fmla="*/ 1156618 h 1701769"/>
                <a:gd name="connsiteX86" fmla="*/ 367687 w 522562"/>
                <a:gd name="connsiteY86" fmla="*/ 1156618 h 1701769"/>
                <a:gd name="connsiteX87" fmla="*/ 367687 w 522562"/>
                <a:gd name="connsiteY87" fmla="*/ 1089098 h 1701769"/>
                <a:gd name="connsiteX88" fmla="*/ 151565 w 522562"/>
                <a:gd name="connsiteY88" fmla="*/ 1089098 h 1701769"/>
                <a:gd name="connsiteX89" fmla="*/ 151565 w 522562"/>
                <a:gd name="connsiteY89" fmla="*/ 1156618 h 1701769"/>
                <a:gd name="connsiteX90" fmla="*/ 245133 w 522562"/>
                <a:gd name="connsiteY90" fmla="*/ 1156618 h 1701769"/>
                <a:gd name="connsiteX91" fmla="*/ 245133 w 522562"/>
                <a:gd name="connsiteY91" fmla="*/ 1089098 h 1701769"/>
                <a:gd name="connsiteX92" fmla="*/ 29010 w 522562"/>
                <a:gd name="connsiteY92" fmla="*/ 1089098 h 1701769"/>
                <a:gd name="connsiteX93" fmla="*/ 29010 w 522562"/>
                <a:gd name="connsiteY93" fmla="*/ 1156618 h 1701769"/>
                <a:gd name="connsiteX94" fmla="*/ 122579 w 522562"/>
                <a:gd name="connsiteY94" fmla="*/ 1156618 h 1701769"/>
                <a:gd name="connsiteX95" fmla="*/ 122579 w 522562"/>
                <a:gd name="connsiteY95" fmla="*/ 1089098 h 1701769"/>
                <a:gd name="connsiteX96" fmla="*/ 396674 w 522562"/>
                <a:gd name="connsiteY96" fmla="*/ 990748 h 1701769"/>
                <a:gd name="connsiteX97" fmla="*/ 396674 w 522562"/>
                <a:gd name="connsiteY97" fmla="*/ 1058267 h 1701769"/>
                <a:gd name="connsiteX98" fmla="*/ 490242 w 522562"/>
                <a:gd name="connsiteY98" fmla="*/ 1058267 h 1701769"/>
                <a:gd name="connsiteX99" fmla="*/ 490242 w 522562"/>
                <a:gd name="connsiteY99" fmla="*/ 990748 h 1701769"/>
                <a:gd name="connsiteX100" fmla="*/ 274119 w 522562"/>
                <a:gd name="connsiteY100" fmla="*/ 990748 h 1701769"/>
                <a:gd name="connsiteX101" fmla="*/ 274119 w 522562"/>
                <a:gd name="connsiteY101" fmla="*/ 1058267 h 1701769"/>
                <a:gd name="connsiteX102" fmla="*/ 367687 w 522562"/>
                <a:gd name="connsiteY102" fmla="*/ 1058267 h 1701769"/>
                <a:gd name="connsiteX103" fmla="*/ 367687 w 522562"/>
                <a:gd name="connsiteY103" fmla="*/ 990748 h 1701769"/>
                <a:gd name="connsiteX104" fmla="*/ 151565 w 522562"/>
                <a:gd name="connsiteY104" fmla="*/ 990748 h 1701769"/>
                <a:gd name="connsiteX105" fmla="*/ 151565 w 522562"/>
                <a:gd name="connsiteY105" fmla="*/ 1058267 h 1701769"/>
                <a:gd name="connsiteX106" fmla="*/ 245133 w 522562"/>
                <a:gd name="connsiteY106" fmla="*/ 1058267 h 1701769"/>
                <a:gd name="connsiteX107" fmla="*/ 245133 w 522562"/>
                <a:gd name="connsiteY107" fmla="*/ 990748 h 1701769"/>
                <a:gd name="connsiteX108" fmla="*/ 29010 w 522562"/>
                <a:gd name="connsiteY108" fmla="*/ 990748 h 1701769"/>
                <a:gd name="connsiteX109" fmla="*/ 29010 w 522562"/>
                <a:gd name="connsiteY109" fmla="*/ 1058267 h 1701769"/>
                <a:gd name="connsiteX110" fmla="*/ 122579 w 522562"/>
                <a:gd name="connsiteY110" fmla="*/ 1058267 h 1701769"/>
                <a:gd name="connsiteX111" fmla="*/ 122579 w 522562"/>
                <a:gd name="connsiteY111" fmla="*/ 990748 h 1701769"/>
                <a:gd name="connsiteX112" fmla="*/ 396674 w 522562"/>
                <a:gd name="connsiteY112" fmla="*/ 892397 h 1701769"/>
                <a:gd name="connsiteX113" fmla="*/ 396674 w 522562"/>
                <a:gd name="connsiteY113" fmla="*/ 959917 h 1701769"/>
                <a:gd name="connsiteX114" fmla="*/ 490242 w 522562"/>
                <a:gd name="connsiteY114" fmla="*/ 959917 h 1701769"/>
                <a:gd name="connsiteX115" fmla="*/ 490242 w 522562"/>
                <a:gd name="connsiteY115" fmla="*/ 892397 h 1701769"/>
                <a:gd name="connsiteX116" fmla="*/ 274119 w 522562"/>
                <a:gd name="connsiteY116" fmla="*/ 892397 h 1701769"/>
                <a:gd name="connsiteX117" fmla="*/ 274119 w 522562"/>
                <a:gd name="connsiteY117" fmla="*/ 959917 h 1701769"/>
                <a:gd name="connsiteX118" fmla="*/ 367687 w 522562"/>
                <a:gd name="connsiteY118" fmla="*/ 959917 h 1701769"/>
                <a:gd name="connsiteX119" fmla="*/ 367687 w 522562"/>
                <a:gd name="connsiteY119" fmla="*/ 892397 h 1701769"/>
                <a:gd name="connsiteX120" fmla="*/ 151565 w 522562"/>
                <a:gd name="connsiteY120" fmla="*/ 892397 h 1701769"/>
                <a:gd name="connsiteX121" fmla="*/ 151565 w 522562"/>
                <a:gd name="connsiteY121" fmla="*/ 959917 h 1701769"/>
                <a:gd name="connsiteX122" fmla="*/ 245133 w 522562"/>
                <a:gd name="connsiteY122" fmla="*/ 959917 h 1701769"/>
                <a:gd name="connsiteX123" fmla="*/ 245133 w 522562"/>
                <a:gd name="connsiteY123" fmla="*/ 892397 h 1701769"/>
                <a:gd name="connsiteX124" fmla="*/ 29010 w 522562"/>
                <a:gd name="connsiteY124" fmla="*/ 892397 h 1701769"/>
                <a:gd name="connsiteX125" fmla="*/ 29010 w 522562"/>
                <a:gd name="connsiteY125" fmla="*/ 959917 h 1701769"/>
                <a:gd name="connsiteX126" fmla="*/ 122579 w 522562"/>
                <a:gd name="connsiteY126" fmla="*/ 959917 h 1701769"/>
                <a:gd name="connsiteX127" fmla="*/ 122579 w 522562"/>
                <a:gd name="connsiteY127" fmla="*/ 892397 h 1701769"/>
                <a:gd name="connsiteX128" fmla="*/ 396674 w 522562"/>
                <a:gd name="connsiteY128" fmla="*/ 794047 h 1701769"/>
                <a:gd name="connsiteX129" fmla="*/ 396674 w 522562"/>
                <a:gd name="connsiteY129" fmla="*/ 861567 h 1701769"/>
                <a:gd name="connsiteX130" fmla="*/ 490242 w 522562"/>
                <a:gd name="connsiteY130" fmla="*/ 861567 h 1701769"/>
                <a:gd name="connsiteX131" fmla="*/ 490242 w 522562"/>
                <a:gd name="connsiteY131" fmla="*/ 794047 h 1701769"/>
                <a:gd name="connsiteX132" fmla="*/ 274119 w 522562"/>
                <a:gd name="connsiteY132" fmla="*/ 794047 h 1701769"/>
                <a:gd name="connsiteX133" fmla="*/ 274119 w 522562"/>
                <a:gd name="connsiteY133" fmla="*/ 861567 h 1701769"/>
                <a:gd name="connsiteX134" fmla="*/ 367687 w 522562"/>
                <a:gd name="connsiteY134" fmla="*/ 861567 h 1701769"/>
                <a:gd name="connsiteX135" fmla="*/ 367687 w 522562"/>
                <a:gd name="connsiteY135" fmla="*/ 794047 h 1701769"/>
                <a:gd name="connsiteX136" fmla="*/ 151565 w 522562"/>
                <a:gd name="connsiteY136" fmla="*/ 794047 h 1701769"/>
                <a:gd name="connsiteX137" fmla="*/ 151565 w 522562"/>
                <a:gd name="connsiteY137" fmla="*/ 861567 h 1701769"/>
                <a:gd name="connsiteX138" fmla="*/ 245133 w 522562"/>
                <a:gd name="connsiteY138" fmla="*/ 861567 h 1701769"/>
                <a:gd name="connsiteX139" fmla="*/ 245133 w 522562"/>
                <a:gd name="connsiteY139" fmla="*/ 794047 h 1701769"/>
                <a:gd name="connsiteX140" fmla="*/ 29010 w 522562"/>
                <a:gd name="connsiteY140" fmla="*/ 794047 h 1701769"/>
                <a:gd name="connsiteX141" fmla="*/ 29010 w 522562"/>
                <a:gd name="connsiteY141" fmla="*/ 861567 h 1701769"/>
                <a:gd name="connsiteX142" fmla="*/ 122579 w 522562"/>
                <a:gd name="connsiteY142" fmla="*/ 861567 h 1701769"/>
                <a:gd name="connsiteX143" fmla="*/ 122579 w 522562"/>
                <a:gd name="connsiteY143" fmla="*/ 794047 h 1701769"/>
                <a:gd name="connsiteX144" fmla="*/ 396674 w 522562"/>
                <a:gd name="connsiteY144" fmla="*/ 695697 h 1701769"/>
                <a:gd name="connsiteX145" fmla="*/ 396674 w 522562"/>
                <a:gd name="connsiteY145" fmla="*/ 763216 h 1701769"/>
                <a:gd name="connsiteX146" fmla="*/ 490242 w 522562"/>
                <a:gd name="connsiteY146" fmla="*/ 763216 h 1701769"/>
                <a:gd name="connsiteX147" fmla="*/ 490242 w 522562"/>
                <a:gd name="connsiteY147" fmla="*/ 695697 h 1701769"/>
                <a:gd name="connsiteX148" fmla="*/ 274119 w 522562"/>
                <a:gd name="connsiteY148" fmla="*/ 695697 h 1701769"/>
                <a:gd name="connsiteX149" fmla="*/ 274119 w 522562"/>
                <a:gd name="connsiteY149" fmla="*/ 763216 h 1701769"/>
                <a:gd name="connsiteX150" fmla="*/ 367687 w 522562"/>
                <a:gd name="connsiteY150" fmla="*/ 763216 h 1701769"/>
                <a:gd name="connsiteX151" fmla="*/ 367687 w 522562"/>
                <a:gd name="connsiteY151" fmla="*/ 695697 h 1701769"/>
                <a:gd name="connsiteX152" fmla="*/ 151565 w 522562"/>
                <a:gd name="connsiteY152" fmla="*/ 695697 h 1701769"/>
                <a:gd name="connsiteX153" fmla="*/ 151565 w 522562"/>
                <a:gd name="connsiteY153" fmla="*/ 763216 h 1701769"/>
                <a:gd name="connsiteX154" fmla="*/ 245133 w 522562"/>
                <a:gd name="connsiteY154" fmla="*/ 763216 h 1701769"/>
                <a:gd name="connsiteX155" fmla="*/ 245133 w 522562"/>
                <a:gd name="connsiteY155" fmla="*/ 695697 h 1701769"/>
                <a:gd name="connsiteX156" fmla="*/ 29010 w 522562"/>
                <a:gd name="connsiteY156" fmla="*/ 695697 h 1701769"/>
                <a:gd name="connsiteX157" fmla="*/ 29010 w 522562"/>
                <a:gd name="connsiteY157" fmla="*/ 763216 h 1701769"/>
                <a:gd name="connsiteX158" fmla="*/ 122579 w 522562"/>
                <a:gd name="connsiteY158" fmla="*/ 763216 h 1701769"/>
                <a:gd name="connsiteX159" fmla="*/ 122579 w 522562"/>
                <a:gd name="connsiteY159" fmla="*/ 695697 h 1701769"/>
                <a:gd name="connsiteX160" fmla="*/ 0 w 522562"/>
                <a:gd name="connsiteY160" fmla="*/ 638914 h 1701769"/>
                <a:gd name="connsiteX161" fmla="*/ 522562 w 522562"/>
                <a:gd name="connsiteY161" fmla="*/ 638914 h 1701769"/>
                <a:gd name="connsiteX162" fmla="*/ 522562 w 522562"/>
                <a:gd name="connsiteY162" fmla="*/ 1701769 h 1701769"/>
                <a:gd name="connsiteX163" fmla="*/ 0 w 522562"/>
                <a:gd name="connsiteY163" fmla="*/ 1701769 h 1701769"/>
                <a:gd name="connsiteX164" fmla="*/ 236999 w 522562"/>
                <a:gd name="connsiteY164" fmla="*/ 0 h 1701769"/>
                <a:gd name="connsiteX165" fmla="*/ 285564 w 522562"/>
                <a:gd name="connsiteY165" fmla="*/ 0 h 1701769"/>
                <a:gd name="connsiteX166" fmla="*/ 309847 w 522562"/>
                <a:gd name="connsiteY166" fmla="*/ 633349 h 1701769"/>
                <a:gd name="connsiteX167" fmla="*/ 212716 w 522562"/>
                <a:gd name="connsiteY167" fmla="*/ 633349 h 170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522562" h="1701769">
                  <a:moveTo>
                    <a:pt x="396674" y="1580850"/>
                  </a:moveTo>
                  <a:lnTo>
                    <a:pt x="396674" y="1648369"/>
                  </a:lnTo>
                  <a:lnTo>
                    <a:pt x="490242" y="1648369"/>
                  </a:lnTo>
                  <a:lnTo>
                    <a:pt x="490242" y="1580850"/>
                  </a:lnTo>
                  <a:close/>
                  <a:moveTo>
                    <a:pt x="274119" y="1580850"/>
                  </a:moveTo>
                  <a:lnTo>
                    <a:pt x="274119" y="1648369"/>
                  </a:lnTo>
                  <a:lnTo>
                    <a:pt x="367687" y="1648369"/>
                  </a:lnTo>
                  <a:lnTo>
                    <a:pt x="367687" y="1580850"/>
                  </a:lnTo>
                  <a:close/>
                  <a:moveTo>
                    <a:pt x="151565" y="1580850"/>
                  </a:moveTo>
                  <a:lnTo>
                    <a:pt x="151565" y="1648369"/>
                  </a:lnTo>
                  <a:lnTo>
                    <a:pt x="245133" y="1648369"/>
                  </a:lnTo>
                  <a:lnTo>
                    <a:pt x="245133" y="1580850"/>
                  </a:lnTo>
                  <a:close/>
                  <a:moveTo>
                    <a:pt x="29010" y="1580850"/>
                  </a:moveTo>
                  <a:lnTo>
                    <a:pt x="29010" y="1648369"/>
                  </a:lnTo>
                  <a:lnTo>
                    <a:pt x="122579" y="1648369"/>
                  </a:lnTo>
                  <a:lnTo>
                    <a:pt x="122579" y="1580850"/>
                  </a:lnTo>
                  <a:close/>
                  <a:moveTo>
                    <a:pt x="396674" y="1482500"/>
                  </a:moveTo>
                  <a:lnTo>
                    <a:pt x="396674" y="1550019"/>
                  </a:lnTo>
                  <a:lnTo>
                    <a:pt x="490242" y="1550019"/>
                  </a:lnTo>
                  <a:lnTo>
                    <a:pt x="490242" y="1482500"/>
                  </a:lnTo>
                  <a:close/>
                  <a:moveTo>
                    <a:pt x="274119" y="1482500"/>
                  </a:moveTo>
                  <a:lnTo>
                    <a:pt x="274119" y="1550019"/>
                  </a:lnTo>
                  <a:lnTo>
                    <a:pt x="367687" y="1550019"/>
                  </a:lnTo>
                  <a:lnTo>
                    <a:pt x="367687" y="1482500"/>
                  </a:lnTo>
                  <a:close/>
                  <a:moveTo>
                    <a:pt x="151565" y="1482500"/>
                  </a:moveTo>
                  <a:lnTo>
                    <a:pt x="151565" y="1550019"/>
                  </a:lnTo>
                  <a:lnTo>
                    <a:pt x="245133" y="1550019"/>
                  </a:lnTo>
                  <a:lnTo>
                    <a:pt x="245133" y="1482500"/>
                  </a:lnTo>
                  <a:close/>
                  <a:moveTo>
                    <a:pt x="29010" y="1482500"/>
                  </a:moveTo>
                  <a:lnTo>
                    <a:pt x="29010" y="1550019"/>
                  </a:lnTo>
                  <a:lnTo>
                    <a:pt x="122579" y="1550019"/>
                  </a:lnTo>
                  <a:lnTo>
                    <a:pt x="122579" y="1482500"/>
                  </a:lnTo>
                  <a:close/>
                  <a:moveTo>
                    <a:pt x="396674" y="1384149"/>
                  </a:moveTo>
                  <a:lnTo>
                    <a:pt x="396674" y="1451669"/>
                  </a:lnTo>
                  <a:lnTo>
                    <a:pt x="490242" y="1451669"/>
                  </a:lnTo>
                  <a:lnTo>
                    <a:pt x="490242" y="1384149"/>
                  </a:lnTo>
                  <a:close/>
                  <a:moveTo>
                    <a:pt x="274119" y="1384149"/>
                  </a:moveTo>
                  <a:lnTo>
                    <a:pt x="274119" y="1451669"/>
                  </a:lnTo>
                  <a:lnTo>
                    <a:pt x="367687" y="1451669"/>
                  </a:lnTo>
                  <a:lnTo>
                    <a:pt x="367687" y="1384149"/>
                  </a:lnTo>
                  <a:close/>
                  <a:moveTo>
                    <a:pt x="151565" y="1384149"/>
                  </a:moveTo>
                  <a:lnTo>
                    <a:pt x="151565" y="1451669"/>
                  </a:lnTo>
                  <a:lnTo>
                    <a:pt x="245133" y="1451669"/>
                  </a:lnTo>
                  <a:lnTo>
                    <a:pt x="245133" y="1384149"/>
                  </a:lnTo>
                  <a:close/>
                  <a:moveTo>
                    <a:pt x="29010" y="1384149"/>
                  </a:moveTo>
                  <a:lnTo>
                    <a:pt x="29010" y="1451669"/>
                  </a:lnTo>
                  <a:lnTo>
                    <a:pt x="122579" y="1451669"/>
                  </a:lnTo>
                  <a:lnTo>
                    <a:pt x="122579" y="1384149"/>
                  </a:lnTo>
                  <a:close/>
                  <a:moveTo>
                    <a:pt x="396674" y="1285799"/>
                  </a:moveTo>
                  <a:lnTo>
                    <a:pt x="396674" y="1353318"/>
                  </a:lnTo>
                  <a:lnTo>
                    <a:pt x="490242" y="1353318"/>
                  </a:lnTo>
                  <a:lnTo>
                    <a:pt x="490242" y="1285799"/>
                  </a:lnTo>
                  <a:close/>
                  <a:moveTo>
                    <a:pt x="274119" y="1285799"/>
                  </a:moveTo>
                  <a:lnTo>
                    <a:pt x="274119" y="1353318"/>
                  </a:lnTo>
                  <a:lnTo>
                    <a:pt x="367687" y="1353318"/>
                  </a:lnTo>
                  <a:lnTo>
                    <a:pt x="367687" y="1285799"/>
                  </a:lnTo>
                  <a:close/>
                  <a:moveTo>
                    <a:pt x="151565" y="1285799"/>
                  </a:moveTo>
                  <a:lnTo>
                    <a:pt x="151565" y="1353318"/>
                  </a:lnTo>
                  <a:lnTo>
                    <a:pt x="245133" y="1353318"/>
                  </a:lnTo>
                  <a:lnTo>
                    <a:pt x="245133" y="1285799"/>
                  </a:lnTo>
                  <a:close/>
                  <a:moveTo>
                    <a:pt x="29010" y="1285799"/>
                  </a:moveTo>
                  <a:lnTo>
                    <a:pt x="29010" y="1353318"/>
                  </a:lnTo>
                  <a:lnTo>
                    <a:pt x="122579" y="1353318"/>
                  </a:lnTo>
                  <a:lnTo>
                    <a:pt x="122579" y="1285799"/>
                  </a:lnTo>
                  <a:close/>
                  <a:moveTo>
                    <a:pt x="396674" y="1187448"/>
                  </a:moveTo>
                  <a:lnTo>
                    <a:pt x="396674" y="1254968"/>
                  </a:lnTo>
                  <a:lnTo>
                    <a:pt x="490242" y="1254968"/>
                  </a:lnTo>
                  <a:lnTo>
                    <a:pt x="490242" y="1187448"/>
                  </a:lnTo>
                  <a:close/>
                  <a:moveTo>
                    <a:pt x="274119" y="1187448"/>
                  </a:moveTo>
                  <a:lnTo>
                    <a:pt x="274119" y="1254968"/>
                  </a:lnTo>
                  <a:lnTo>
                    <a:pt x="367687" y="1254968"/>
                  </a:lnTo>
                  <a:lnTo>
                    <a:pt x="367687" y="1187448"/>
                  </a:lnTo>
                  <a:close/>
                  <a:moveTo>
                    <a:pt x="151565" y="1187448"/>
                  </a:moveTo>
                  <a:lnTo>
                    <a:pt x="151565" y="1254968"/>
                  </a:lnTo>
                  <a:lnTo>
                    <a:pt x="245133" y="1254968"/>
                  </a:lnTo>
                  <a:lnTo>
                    <a:pt x="245133" y="1187448"/>
                  </a:lnTo>
                  <a:close/>
                  <a:moveTo>
                    <a:pt x="29010" y="1187448"/>
                  </a:moveTo>
                  <a:lnTo>
                    <a:pt x="29010" y="1254968"/>
                  </a:lnTo>
                  <a:lnTo>
                    <a:pt x="122579" y="1254968"/>
                  </a:lnTo>
                  <a:lnTo>
                    <a:pt x="122579" y="1187448"/>
                  </a:lnTo>
                  <a:close/>
                  <a:moveTo>
                    <a:pt x="396674" y="1089098"/>
                  </a:moveTo>
                  <a:lnTo>
                    <a:pt x="396674" y="1156618"/>
                  </a:lnTo>
                  <a:lnTo>
                    <a:pt x="490242" y="1156618"/>
                  </a:lnTo>
                  <a:lnTo>
                    <a:pt x="490242" y="1089098"/>
                  </a:lnTo>
                  <a:close/>
                  <a:moveTo>
                    <a:pt x="274119" y="1089098"/>
                  </a:moveTo>
                  <a:lnTo>
                    <a:pt x="274119" y="1156618"/>
                  </a:lnTo>
                  <a:lnTo>
                    <a:pt x="367687" y="1156618"/>
                  </a:lnTo>
                  <a:lnTo>
                    <a:pt x="367687" y="1089098"/>
                  </a:lnTo>
                  <a:close/>
                  <a:moveTo>
                    <a:pt x="151565" y="1089098"/>
                  </a:moveTo>
                  <a:lnTo>
                    <a:pt x="151565" y="1156618"/>
                  </a:lnTo>
                  <a:lnTo>
                    <a:pt x="245133" y="1156618"/>
                  </a:lnTo>
                  <a:lnTo>
                    <a:pt x="245133" y="1089098"/>
                  </a:lnTo>
                  <a:close/>
                  <a:moveTo>
                    <a:pt x="29010" y="1089098"/>
                  </a:moveTo>
                  <a:lnTo>
                    <a:pt x="29010" y="1156618"/>
                  </a:lnTo>
                  <a:lnTo>
                    <a:pt x="122579" y="1156618"/>
                  </a:lnTo>
                  <a:lnTo>
                    <a:pt x="122579" y="1089098"/>
                  </a:lnTo>
                  <a:close/>
                  <a:moveTo>
                    <a:pt x="396674" y="990748"/>
                  </a:moveTo>
                  <a:lnTo>
                    <a:pt x="396674" y="1058267"/>
                  </a:lnTo>
                  <a:lnTo>
                    <a:pt x="490242" y="1058267"/>
                  </a:lnTo>
                  <a:lnTo>
                    <a:pt x="490242" y="990748"/>
                  </a:lnTo>
                  <a:close/>
                  <a:moveTo>
                    <a:pt x="274119" y="990748"/>
                  </a:moveTo>
                  <a:lnTo>
                    <a:pt x="274119" y="1058267"/>
                  </a:lnTo>
                  <a:lnTo>
                    <a:pt x="367687" y="1058267"/>
                  </a:lnTo>
                  <a:lnTo>
                    <a:pt x="367687" y="990748"/>
                  </a:lnTo>
                  <a:close/>
                  <a:moveTo>
                    <a:pt x="151565" y="990748"/>
                  </a:moveTo>
                  <a:lnTo>
                    <a:pt x="151565" y="1058267"/>
                  </a:lnTo>
                  <a:lnTo>
                    <a:pt x="245133" y="1058267"/>
                  </a:lnTo>
                  <a:lnTo>
                    <a:pt x="245133" y="990748"/>
                  </a:lnTo>
                  <a:close/>
                  <a:moveTo>
                    <a:pt x="29010" y="990748"/>
                  </a:moveTo>
                  <a:lnTo>
                    <a:pt x="29010" y="1058267"/>
                  </a:lnTo>
                  <a:lnTo>
                    <a:pt x="122579" y="1058267"/>
                  </a:lnTo>
                  <a:lnTo>
                    <a:pt x="122579" y="990748"/>
                  </a:lnTo>
                  <a:close/>
                  <a:moveTo>
                    <a:pt x="396674" y="892397"/>
                  </a:moveTo>
                  <a:lnTo>
                    <a:pt x="396674" y="959917"/>
                  </a:lnTo>
                  <a:lnTo>
                    <a:pt x="490242" y="959917"/>
                  </a:lnTo>
                  <a:lnTo>
                    <a:pt x="490242" y="892397"/>
                  </a:lnTo>
                  <a:close/>
                  <a:moveTo>
                    <a:pt x="274119" y="892397"/>
                  </a:moveTo>
                  <a:lnTo>
                    <a:pt x="274119" y="959917"/>
                  </a:lnTo>
                  <a:lnTo>
                    <a:pt x="367687" y="959917"/>
                  </a:lnTo>
                  <a:lnTo>
                    <a:pt x="367687" y="892397"/>
                  </a:lnTo>
                  <a:close/>
                  <a:moveTo>
                    <a:pt x="151565" y="892397"/>
                  </a:moveTo>
                  <a:lnTo>
                    <a:pt x="151565" y="959917"/>
                  </a:lnTo>
                  <a:lnTo>
                    <a:pt x="245133" y="959917"/>
                  </a:lnTo>
                  <a:lnTo>
                    <a:pt x="245133" y="892397"/>
                  </a:lnTo>
                  <a:close/>
                  <a:moveTo>
                    <a:pt x="29010" y="892397"/>
                  </a:moveTo>
                  <a:lnTo>
                    <a:pt x="29010" y="959917"/>
                  </a:lnTo>
                  <a:lnTo>
                    <a:pt x="122579" y="959917"/>
                  </a:lnTo>
                  <a:lnTo>
                    <a:pt x="122579" y="892397"/>
                  </a:lnTo>
                  <a:close/>
                  <a:moveTo>
                    <a:pt x="396674" y="794047"/>
                  </a:moveTo>
                  <a:lnTo>
                    <a:pt x="396674" y="861567"/>
                  </a:lnTo>
                  <a:lnTo>
                    <a:pt x="490242" y="861567"/>
                  </a:lnTo>
                  <a:lnTo>
                    <a:pt x="490242" y="794047"/>
                  </a:lnTo>
                  <a:close/>
                  <a:moveTo>
                    <a:pt x="274119" y="794047"/>
                  </a:moveTo>
                  <a:lnTo>
                    <a:pt x="274119" y="861567"/>
                  </a:lnTo>
                  <a:lnTo>
                    <a:pt x="367687" y="861567"/>
                  </a:lnTo>
                  <a:lnTo>
                    <a:pt x="367687" y="794047"/>
                  </a:lnTo>
                  <a:close/>
                  <a:moveTo>
                    <a:pt x="151565" y="794047"/>
                  </a:moveTo>
                  <a:lnTo>
                    <a:pt x="151565" y="861567"/>
                  </a:lnTo>
                  <a:lnTo>
                    <a:pt x="245133" y="861567"/>
                  </a:lnTo>
                  <a:lnTo>
                    <a:pt x="245133" y="794047"/>
                  </a:lnTo>
                  <a:close/>
                  <a:moveTo>
                    <a:pt x="29010" y="794047"/>
                  </a:moveTo>
                  <a:lnTo>
                    <a:pt x="29010" y="861567"/>
                  </a:lnTo>
                  <a:lnTo>
                    <a:pt x="122579" y="861567"/>
                  </a:lnTo>
                  <a:lnTo>
                    <a:pt x="122579" y="794047"/>
                  </a:lnTo>
                  <a:close/>
                  <a:moveTo>
                    <a:pt x="396674" y="695697"/>
                  </a:moveTo>
                  <a:lnTo>
                    <a:pt x="396674" y="763216"/>
                  </a:lnTo>
                  <a:lnTo>
                    <a:pt x="490242" y="763216"/>
                  </a:lnTo>
                  <a:lnTo>
                    <a:pt x="490242" y="695697"/>
                  </a:lnTo>
                  <a:close/>
                  <a:moveTo>
                    <a:pt x="274119" y="695697"/>
                  </a:moveTo>
                  <a:lnTo>
                    <a:pt x="274119" y="763216"/>
                  </a:lnTo>
                  <a:lnTo>
                    <a:pt x="367687" y="763216"/>
                  </a:lnTo>
                  <a:lnTo>
                    <a:pt x="367687" y="695697"/>
                  </a:lnTo>
                  <a:close/>
                  <a:moveTo>
                    <a:pt x="151565" y="695697"/>
                  </a:moveTo>
                  <a:lnTo>
                    <a:pt x="151565" y="763216"/>
                  </a:lnTo>
                  <a:lnTo>
                    <a:pt x="245133" y="763216"/>
                  </a:lnTo>
                  <a:lnTo>
                    <a:pt x="245133" y="695697"/>
                  </a:lnTo>
                  <a:close/>
                  <a:moveTo>
                    <a:pt x="29010" y="695697"/>
                  </a:moveTo>
                  <a:lnTo>
                    <a:pt x="29010" y="763216"/>
                  </a:lnTo>
                  <a:lnTo>
                    <a:pt x="122579" y="763216"/>
                  </a:lnTo>
                  <a:lnTo>
                    <a:pt x="122579" y="695697"/>
                  </a:lnTo>
                  <a:close/>
                  <a:moveTo>
                    <a:pt x="0" y="638914"/>
                  </a:moveTo>
                  <a:lnTo>
                    <a:pt x="522562" y="638914"/>
                  </a:lnTo>
                  <a:lnTo>
                    <a:pt x="522562" y="1701769"/>
                  </a:lnTo>
                  <a:lnTo>
                    <a:pt x="0" y="1701769"/>
                  </a:lnTo>
                  <a:close/>
                  <a:moveTo>
                    <a:pt x="236999" y="0"/>
                  </a:moveTo>
                  <a:lnTo>
                    <a:pt x="285564" y="0"/>
                  </a:lnTo>
                  <a:lnTo>
                    <a:pt x="309847" y="633349"/>
                  </a:lnTo>
                  <a:lnTo>
                    <a:pt x="212716" y="633349"/>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197" name="Round Same Side Corner Rectangle 196"/>
            <p:cNvSpPr/>
            <p:nvPr/>
          </p:nvSpPr>
          <p:spPr>
            <a:xfrm>
              <a:off x="1100660" y="3884413"/>
              <a:ext cx="343495" cy="103540"/>
            </a:xfrm>
            <a:prstGeom prst="round2SameRect">
              <a:avLst>
                <a:gd name="adj1" fmla="val 50000"/>
                <a:gd name="adj2"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198" name="Freeform 197"/>
            <p:cNvSpPr/>
            <p:nvPr/>
          </p:nvSpPr>
          <p:spPr>
            <a:xfrm>
              <a:off x="2129849" y="4212602"/>
              <a:ext cx="965999" cy="1400808"/>
            </a:xfrm>
            <a:custGeom>
              <a:avLst/>
              <a:gdLst>
                <a:gd name="connsiteX0" fmla="*/ 854488 w 1026319"/>
                <a:gd name="connsiteY0" fmla="*/ 1243372 h 1488280"/>
                <a:gd name="connsiteX1" fmla="*/ 854488 w 1026319"/>
                <a:gd name="connsiteY1" fmla="*/ 1343956 h 1488280"/>
                <a:gd name="connsiteX2" fmla="*/ 956882 w 1026319"/>
                <a:gd name="connsiteY2" fmla="*/ 1343956 h 1488280"/>
                <a:gd name="connsiteX3" fmla="*/ 956882 w 1026319"/>
                <a:gd name="connsiteY3" fmla="*/ 1243372 h 1488280"/>
                <a:gd name="connsiteX4" fmla="*/ 686181 w 1026319"/>
                <a:gd name="connsiteY4" fmla="*/ 1243372 h 1488280"/>
                <a:gd name="connsiteX5" fmla="*/ 686181 w 1026319"/>
                <a:gd name="connsiteY5" fmla="*/ 1343956 h 1488280"/>
                <a:gd name="connsiteX6" fmla="*/ 788575 w 1026319"/>
                <a:gd name="connsiteY6" fmla="*/ 1343956 h 1488280"/>
                <a:gd name="connsiteX7" fmla="*/ 788575 w 1026319"/>
                <a:gd name="connsiteY7" fmla="*/ 1243372 h 1488280"/>
                <a:gd name="connsiteX8" fmla="*/ 390144 w 1026319"/>
                <a:gd name="connsiteY8" fmla="*/ 1243372 h 1488280"/>
                <a:gd name="connsiteX9" fmla="*/ 390144 w 1026319"/>
                <a:gd name="connsiteY9" fmla="*/ 1343956 h 1488280"/>
                <a:gd name="connsiteX10" fmla="*/ 492538 w 1026319"/>
                <a:gd name="connsiteY10" fmla="*/ 1343956 h 1488280"/>
                <a:gd name="connsiteX11" fmla="*/ 492538 w 1026319"/>
                <a:gd name="connsiteY11" fmla="*/ 1243372 h 1488280"/>
                <a:gd name="connsiteX12" fmla="*/ 221837 w 1026319"/>
                <a:gd name="connsiteY12" fmla="*/ 1243372 h 1488280"/>
                <a:gd name="connsiteX13" fmla="*/ 221837 w 1026319"/>
                <a:gd name="connsiteY13" fmla="*/ 1343956 h 1488280"/>
                <a:gd name="connsiteX14" fmla="*/ 324231 w 1026319"/>
                <a:gd name="connsiteY14" fmla="*/ 1343956 h 1488280"/>
                <a:gd name="connsiteX15" fmla="*/ 324231 w 1026319"/>
                <a:gd name="connsiteY15" fmla="*/ 1243372 h 1488280"/>
                <a:gd name="connsiteX16" fmla="*/ 59912 w 1026319"/>
                <a:gd name="connsiteY16" fmla="*/ 1243372 h 1488280"/>
                <a:gd name="connsiteX17" fmla="*/ 59912 w 1026319"/>
                <a:gd name="connsiteY17" fmla="*/ 1343956 h 1488280"/>
                <a:gd name="connsiteX18" fmla="*/ 162306 w 1026319"/>
                <a:gd name="connsiteY18" fmla="*/ 1343956 h 1488280"/>
                <a:gd name="connsiteX19" fmla="*/ 162306 w 1026319"/>
                <a:gd name="connsiteY19" fmla="*/ 1243372 h 1488280"/>
                <a:gd name="connsiteX20" fmla="*/ 854488 w 1026319"/>
                <a:gd name="connsiteY20" fmla="*/ 1041995 h 1488280"/>
                <a:gd name="connsiteX21" fmla="*/ 854488 w 1026319"/>
                <a:gd name="connsiteY21" fmla="*/ 1142579 h 1488280"/>
                <a:gd name="connsiteX22" fmla="*/ 956882 w 1026319"/>
                <a:gd name="connsiteY22" fmla="*/ 1142579 h 1488280"/>
                <a:gd name="connsiteX23" fmla="*/ 956882 w 1026319"/>
                <a:gd name="connsiteY23" fmla="*/ 1041995 h 1488280"/>
                <a:gd name="connsiteX24" fmla="*/ 686181 w 1026319"/>
                <a:gd name="connsiteY24" fmla="*/ 1041995 h 1488280"/>
                <a:gd name="connsiteX25" fmla="*/ 686181 w 1026319"/>
                <a:gd name="connsiteY25" fmla="*/ 1142579 h 1488280"/>
                <a:gd name="connsiteX26" fmla="*/ 788575 w 1026319"/>
                <a:gd name="connsiteY26" fmla="*/ 1142579 h 1488280"/>
                <a:gd name="connsiteX27" fmla="*/ 788575 w 1026319"/>
                <a:gd name="connsiteY27" fmla="*/ 1041995 h 1488280"/>
                <a:gd name="connsiteX28" fmla="*/ 390144 w 1026319"/>
                <a:gd name="connsiteY28" fmla="*/ 1041995 h 1488280"/>
                <a:gd name="connsiteX29" fmla="*/ 390144 w 1026319"/>
                <a:gd name="connsiteY29" fmla="*/ 1142579 h 1488280"/>
                <a:gd name="connsiteX30" fmla="*/ 492538 w 1026319"/>
                <a:gd name="connsiteY30" fmla="*/ 1142579 h 1488280"/>
                <a:gd name="connsiteX31" fmla="*/ 492538 w 1026319"/>
                <a:gd name="connsiteY31" fmla="*/ 1041995 h 1488280"/>
                <a:gd name="connsiteX32" fmla="*/ 221837 w 1026319"/>
                <a:gd name="connsiteY32" fmla="*/ 1041995 h 1488280"/>
                <a:gd name="connsiteX33" fmla="*/ 221837 w 1026319"/>
                <a:gd name="connsiteY33" fmla="*/ 1142579 h 1488280"/>
                <a:gd name="connsiteX34" fmla="*/ 324231 w 1026319"/>
                <a:gd name="connsiteY34" fmla="*/ 1142579 h 1488280"/>
                <a:gd name="connsiteX35" fmla="*/ 324231 w 1026319"/>
                <a:gd name="connsiteY35" fmla="*/ 1041995 h 1488280"/>
                <a:gd name="connsiteX36" fmla="*/ 59912 w 1026319"/>
                <a:gd name="connsiteY36" fmla="*/ 1041995 h 1488280"/>
                <a:gd name="connsiteX37" fmla="*/ 59912 w 1026319"/>
                <a:gd name="connsiteY37" fmla="*/ 1142579 h 1488280"/>
                <a:gd name="connsiteX38" fmla="*/ 162306 w 1026319"/>
                <a:gd name="connsiteY38" fmla="*/ 1142579 h 1488280"/>
                <a:gd name="connsiteX39" fmla="*/ 162306 w 1026319"/>
                <a:gd name="connsiteY39" fmla="*/ 1041995 h 1488280"/>
                <a:gd name="connsiteX40" fmla="*/ 854488 w 1026319"/>
                <a:gd name="connsiteY40" fmla="*/ 840618 h 1488280"/>
                <a:gd name="connsiteX41" fmla="*/ 854488 w 1026319"/>
                <a:gd name="connsiteY41" fmla="*/ 941202 h 1488280"/>
                <a:gd name="connsiteX42" fmla="*/ 956882 w 1026319"/>
                <a:gd name="connsiteY42" fmla="*/ 941202 h 1488280"/>
                <a:gd name="connsiteX43" fmla="*/ 956882 w 1026319"/>
                <a:gd name="connsiteY43" fmla="*/ 840618 h 1488280"/>
                <a:gd name="connsiteX44" fmla="*/ 686181 w 1026319"/>
                <a:gd name="connsiteY44" fmla="*/ 840618 h 1488280"/>
                <a:gd name="connsiteX45" fmla="*/ 686181 w 1026319"/>
                <a:gd name="connsiteY45" fmla="*/ 941202 h 1488280"/>
                <a:gd name="connsiteX46" fmla="*/ 788575 w 1026319"/>
                <a:gd name="connsiteY46" fmla="*/ 941202 h 1488280"/>
                <a:gd name="connsiteX47" fmla="*/ 788575 w 1026319"/>
                <a:gd name="connsiteY47" fmla="*/ 840618 h 1488280"/>
                <a:gd name="connsiteX48" fmla="*/ 390144 w 1026319"/>
                <a:gd name="connsiteY48" fmla="*/ 840618 h 1488280"/>
                <a:gd name="connsiteX49" fmla="*/ 390144 w 1026319"/>
                <a:gd name="connsiteY49" fmla="*/ 941202 h 1488280"/>
                <a:gd name="connsiteX50" fmla="*/ 492538 w 1026319"/>
                <a:gd name="connsiteY50" fmla="*/ 941202 h 1488280"/>
                <a:gd name="connsiteX51" fmla="*/ 492538 w 1026319"/>
                <a:gd name="connsiteY51" fmla="*/ 840618 h 1488280"/>
                <a:gd name="connsiteX52" fmla="*/ 221837 w 1026319"/>
                <a:gd name="connsiteY52" fmla="*/ 840618 h 1488280"/>
                <a:gd name="connsiteX53" fmla="*/ 221837 w 1026319"/>
                <a:gd name="connsiteY53" fmla="*/ 941202 h 1488280"/>
                <a:gd name="connsiteX54" fmla="*/ 324231 w 1026319"/>
                <a:gd name="connsiteY54" fmla="*/ 941202 h 1488280"/>
                <a:gd name="connsiteX55" fmla="*/ 324231 w 1026319"/>
                <a:gd name="connsiteY55" fmla="*/ 840618 h 1488280"/>
                <a:gd name="connsiteX56" fmla="*/ 59912 w 1026319"/>
                <a:gd name="connsiteY56" fmla="*/ 840618 h 1488280"/>
                <a:gd name="connsiteX57" fmla="*/ 59912 w 1026319"/>
                <a:gd name="connsiteY57" fmla="*/ 941202 h 1488280"/>
                <a:gd name="connsiteX58" fmla="*/ 162306 w 1026319"/>
                <a:gd name="connsiteY58" fmla="*/ 941202 h 1488280"/>
                <a:gd name="connsiteX59" fmla="*/ 162306 w 1026319"/>
                <a:gd name="connsiteY59" fmla="*/ 840618 h 1488280"/>
                <a:gd name="connsiteX60" fmla="*/ 390144 w 1026319"/>
                <a:gd name="connsiteY60" fmla="*/ 639241 h 1488280"/>
                <a:gd name="connsiteX61" fmla="*/ 390144 w 1026319"/>
                <a:gd name="connsiteY61" fmla="*/ 739825 h 1488280"/>
                <a:gd name="connsiteX62" fmla="*/ 492538 w 1026319"/>
                <a:gd name="connsiteY62" fmla="*/ 739825 h 1488280"/>
                <a:gd name="connsiteX63" fmla="*/ 492538 w 1026319"/>
                <a:gd name="connsiteY63" fmla="*/ 639241 h 1488280"/>
                <a:gd name="connsiteX64" fmla="*/ 221837 w 1026319"/>
                <a:gd name="connsiteY64" fmla="*/ 639241 h 1488280"/>
                <a:gd name="connsiteX65" fmla="*/ 221837 w 1026319"/>
                <a:gd name="connsiteY65" fmla="*/ 739825 h 1488280"/>
                <a:gd name="connsiteX66" fmla="*/ 324231 w 1026319"/>
                <a:gd name="connsiteY66" fmla="*/ 739825 h 1488280"/>
                <a:gd name="connsiteX67" fmla="*/ 324231 w 1026319"/>
                <a:gd name="connsiteY67" fmla="*/ 639241 h 1488280"/>
                <a:gd name="connsiteX68" fmla="*/ 59912 w 1026319"/>
                <a:gd name="connsiteY68" fmla="*/ 639241 h 1488280"/>
                <a:gd name="connsiteX69" fmla="*/ 59912 w 1026319"/>
                <a:gd name="connsiteY69" fmla="*/ 739825 h 1488280"/>
                <a:gd name="connsiteX70" fmla="*/ 162306 w 1026319"/>
                <a:gd name="connsiteY70" fmla="*/ 739825 h 1488280"/>
                <a:gd name="connsiteX71" fmla="*/ 162306 w 1026319"/>
                <a:gd name="connsiteY71" fmla="*/ 639241 h 1488280"/>
                <a:gd name="connsiteX72" fmla="*/ 854488 w 1026319"/>
                <a:gd name="connsiteY72" fmla="*/ 616953 h 1488280"/>
                <a:gd name="connsiteX73" fmla="*/ 854488 w 1026319"/>
                <a:gd name="connsiteY73" fmla="*/ 717537 h 1488280"/>
                <a:gd name="connsiteX74" fmla="*/ 956882 w 1026319"/>
                <a:gd name="connsiteY74" fmla="*/ 717537 h 1488280"/>
                <a:gd name="connsiteX75" fmla="*/ 956882 w 1026319"/>
                <a:gd name="connsiteY75" fmla="*/ 616953 h 1488280"/>
                <a:gd name="connsiteX76" fmla="*/ 686181 w 1026319"/>
                <a:gd name="connsiteY76" fmla="*/ 616953 h 1488280"/>
                <a:gd name="connsiteX77" fmla="*/ 686181 w 1026319"/>
                <a:gd name="connsiteY77" fmla="*/ 717537 h 1488280"/>
                <a:gd name="connsiteX78" fmla="*/ 788575 w 1026319"/>
                <a:gd name="connsiteY78" fmla="*/ 717537 h 1488280"/>
                <a:gd name="connsiteX79" fmla="*/ 788575 w 1026319"/>
                <a:gd name="connsiteY79" fmla="*/ 616953 h 1488280"/>
                <a:gd name="connsiteX80" fmla="*/ 0 w 1026319"/>
                <a:gd name="connsiteY80" fmla="*/ 488156 h 1488280"/>
                <a:gd name="connsiteX81" fmla="*/ 552450 w 1026319"/>
                <a:gd name="connsiteY81" fmla="*/ 488156 h 1488280"/>
                <a:gd name="connsiteX82" fmla="*/ 552450 w 1026319"/>
                <a:gd name="connsiteY82" fmla="*/ 1488280 h 1488280"/>
                <a:gd name="connsiteX83" fmla="*/ 0 w 1026319"/>
                <a:gd name="connsiteY83" fmla="*/ 1488280 h 1488280"/>
                <a:gd name="connsiteX84" fmla="*/ 854488 w 1026319"/>
                <a:gd name="connsiteY84" fmla="*/ 414052 h 1488280"/>
                <a:gd name="connsiteX85" fmla="*/ 854488 w 1026319"/>
                <a:gd name="connsiteY85" fmla="*/ 514636 h 1488280"/>
                <a:gd name="connsiteX86" fmla="*/ 956882 w 1026319"/>
                <a:gd name="connsiteY86" fmla="*/ 514636 h 1488280"/>
                <a:gd name="connsiteX87" fmla="*/ 956882 w 1026319"/>
                <a:gd name="connsiteY87" fmla="*/ 414052 h 1488280"/>
                <a:gd name="connsiteX88" fmla="*/ 686181 w 1026319"/>
                <a:gd name="connsiteY88" fmla="*/ 414052 h 1488280"/>
                <a:gd name="connsiteX89" fmla="*/ 686181 w 1026319"/>
                <a:gd name="connsiteY89" fmla="*/ 514636 h 1488280"/>
                <a:gd name="connsiteX90" fmla="*/ 788575 w 1026319"/>
                <a:gd name="connsiteY90" fmla="*/ 514636 h 1488280"/>
                <a:gd name="connsiteX91" fmla="*/ 788575 w 1026319"/>
                <a:gd name="connsiteY91" fmla="*/ 414052 h 1488280"/>
                <a:gd name="connsiteX92" fmla="*/ 287274 w 1026319"/>
                <a:gd name="connsiteY92" fmla="*/ 388144 h 1488280"/>
                <a:gd name="connsiteX93" fmla="*/ 552450 w 1026319"/>
                <a:gd name="connsiteY93" fmla="*/ 388144 h 1488280"/>
                <a:gd name="connsiteX94" fmla="*/ 552450 w 1026319"/>
                <a:gd name="connsiteY94" fmla="*/ 464344 h 1488280"/>
                <a:gd name="connsiteX95" fmla="*/ 287274 w 1026319"/>
                <a:gd name="connsiteY95" fmla="*/ 464344 h 1488280"/>
                <a:gd name="connsiteX96" fmla="*/ 0 w 1026319"/>
                <a:gd name="connsiteY96" fmla="*/ 388144 h 1488280"/>
                <a:gd name="connsiteX97" fmla="*/ 265176 w 1026319"/>
                <a:gd name="connsiteY97" fmla="*/ 388144 h 1488280"/>
                <a:gd name="connsiteX98" fmla="*/ 265176 w 1026319"/>
                <a:gd name="connsiteY98" fmla="*/ 464344 h 1488280"/>
                <a:gd name="connsiteX99" fmla="*/ 0 w 1026319"/>
                <a:gd name="connsiteY99" fmla="*/ 464344 h 1488280"/>
                <a:gd name="connsiteX100" fmla="*/ 854488 w 1026319"/>
                <a:gd name="connsiteY100" fmla="*/ 218750 h 1488280"/>
                <a:gd name="connsiteX101" fmla="*/ 854488 w 1026319"/>
                <a:gd name="connsiteY101" fmla="*/ 319334 h 1488280"/>
                <a:gd name="connsiteX102" fmla="*/ 956882 w 1026319"/>
                <a:gd name="connsiteY102" fmla="*/ 319334 h 1488280"/>
                <a:gd name="connsiteX103" fmla="*/ 956882 w 1026319"/>
                <a:gd name="connsiteY103" fmla="*/ 218750 h 1488280"/>
                <a:gd name="connsiteX104" fmla="*/ 686181 w 1026319"/>
                <a:gd name="connsiteY104" fmla="*/ 218750 h 1488280"/>
                <a:gd name="connsiteX105" fmla="*/ 686181 w 1026319"/>
                <a:gd name="connsiteY105" fmla="*/ 319334 h 1488280"/>
                <a:gd name="connsiteX106" fmla="*/ 788575 w 1026319"/>
                <a:gd name="connsiteY106" fmla="*/ 319334 h 1488280"/>
                <a:gd name="connsiteX107" fmla="*/ 788575 w 1026319"/>
                <a:gd name="connsiteY107" fmla="*/ 218750 h 1488280"/>
                <a:gd name="connsiteX108" fmla="*/ 616744 w 1026319"/>
                <a:gd name="connsiteY108" fmla="*/ 100011 h 1488280"/>
                <a:gd name="connsiteX109" fmla="*/ 1026319 w 1026319"/>
                <a:gd name="connsiteY109" fmla="*/ 100011 h 1488280"/>
                <a:gd name="connsiteX110" fmla="*/ 1026319 w 1026319"/>
                <a:gd name="connsiteY110" fmla="*/ 1488280 h 1488280"/>
                <a:gd name="connsiteX111" fmla="*/ 616744 w 1026319"/>
                <a:gd name="connsiteY111" fmla="*/ 1488280 h 1488280"/>
                <a:gd name="connsiteX112" fmla="*/ 616744 w 1026319"/>
                <a:gd name="connsiteY112" fmla="*/ 0 h 1488280"/>
                <a:gd name="connsiteX113" fmla="*/ 1026319 w 1026319"/>
                <a:gd name="connsiteY113" fmla="*/ 0 h 1488280"/>
                <a:gd name="connsiteX114" fmla="*/ 1026319 w 1026319"/>
                <a:gd name="connsiteY114" fmla="*/ 76200 h 1488280"/>
                <a:gd name="connsiteX115" fmla="*/ 616744 w 1026319"/>
                <a:gd name="connsiteY115" fmla="*/ 76200 h 148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026319" h="1488280">
                  <a:moveTo>
                    <a:pt x="854488" y="1243372"/>
                  </a:moveTo>
                  <a:lnTo>
                    <a:pt x="854488" y="1343956"/>
                  </a:lnTo>
                  <a:lnTo>
                    <a:pt x="956882" y="1343956"/>
                  </a:lnTo>
                  <a:lnTo>
                    <a:pt x="956882" y="1243372"/>
                  </a:lnTo>
                  <a:close/>
                  <a:moveTo>
                    <a:pt x="686181" y="1243372"/>
                  </a:moveTo>
                  <a:lnTo>
                    <a:pt x="686181" y="1343956"/>
                  </a:lnTo>
                  <a:lnTo>
                    <a:pt x="788575" y="1343956"/>
                  </a:lnTo>
                  <a:lnTo>
                    <a:pt x="788575" y="1243372"/>
                  </a:lnTo>
                  <a:close/>
                  <a:moveTo>
                    <a:pt x="390144" y="1243372"/>
                  </a:moveTo>
                  <a:lnTo>
                    <a:pt x="390144" y="1343956"/>
                  </a:lnTo>
                  <a:lnTo>
                    <a:pt x="492538" y="1343956"/>
                  </a:lnTo>
                  <a:lnTo>
                    <a:pt x="492538" y="1243372"/>
                  </a:lnTo>
                  <a:close/>
                  <a:moveTo>
                    <a:pt x="221837" y="1243372"/>
                  </a:moveTo>
                  <a:lnTo>
                    <a:pt x="221837" y="1343956"/>
                  </a:lnTo>
                  <a:lnTo>
                    <a:pt x="324231" y="1343956"/>
                  </a:lnTo>
                  <a:lnTo>
                    <a:pt x="324231" y="1243372"/>
                  </a:lnTo>
                  <a:close/>
                  <a:moveTo>
                    <a:pt x="59912" y="1243372"/>
                  </a:moveTo>
                  <a:lnTo>
                    <a:pt x="59912" y="1343956"/>
                  </a:lnTo>
                  <a:lnTo>
                    <a:pt x="162306" y="1343956"/>
                  </a:lnTo>
                  <a:lnTo>
                    <a:pt x="162306" y="1243372"/>
                  </a:lnTo>
                  <a:close/>
                  <a:moveTo>
                    <a:pt x="854488" y="1041995"/>
                  </a:moveTo>
                  <a:lnTo>
                    <a:pt x="854488" y="1142579"/>
                  </a:lnTo>
                  <a:lnTo>
                    <a:pt x="956882" y="1142579"/>
                  </a:lnTo>
                  <a:lnTo>
                    <a:pt x="956882" y="1041995"/>
                  </a:lnTo>
                  <a:close/>
                  <a:moveTo>
                    <a:pt x="686181" y="1041995"/>
                  </a:moveTo>
                  <a:lnTo>
                    <a:pt x="686181" y="1142579"/>
                  </a:lnTo>
                  <a:lnTo>
                    <a:pt x="788575" y="1142579"/>
                  </a:lnTo>
                  <a:lnTo>
                    <a:pt x="788575" y="1041995"/>
                  </a:lnTo>
                  <a:close/>
                  <a:moveTo>
                    <a:pt x="390144" y="1041995"/>
                  </a:moveTo>
                  <a:lnTo>
                    <a:pt x="390144" y="1142579"/>
                  </a:lnTo>
                  <a:lnTo>
                    <a:pt x="492538" y="1142579"/>
                  </a:lnTo>
                  <a:lnTo>
                    <a:pt x="492538" y="1041995"/>
                  </a:lnTo>
                  <a:close/>
                  <a:moveTo>
                    <a:pt x="221837" y="1041995"/>
                  </a:moveTo>
                  <a:lnTo>
                    <a:pt x="221837" y="1142579"/>
                  </a:lnTo>
                  <a:lnTo>
                    <a:pt x="324231" y="1142579"/>
                  </a:lnTo>
                  <a:lnTo>
                    <a:pt x="324231" y="1041995"/>
                  </a:lnTo>
                  <a:close/>
                  <a:moveTo>
                    <a:pt x="59912" y="1041995"/>
                  </a:moveTo>
                  <a:lnTo>
                    <a:pt x="59912" y="1142579"/>
                  </a:lnTo>
                  <a:lnTo>
                    <a:pt x="162306" y="1142579"/>
                  </a:lnTo>
                  <a:lnTo>
                    <a:pt x="162306" y="1041995"/>
                  </a:lnTo>
                  <a:close/>
                  <a:moveTo>
                    <a:pt x="854488" y="840618"/>
                  </a:moveTo>
                  <a:lnTo>
                    <a:pt x="854488" y="941202"/>
                  </a:lnTo>
                  <a:lnTo>
                    <a:pt x="956882" y="941202"/>
                  </a:lnTo>
                  <a:lnTo>
                    <a:pt x="956882" y="840618"/>
                  </a:lnTo>
                  <a:close/>
                  <a:moveTo>
                    <a:pt x="686181" y="840618"/>
                  </a:moveTo>
                  <a:lnTo>
                    <a:pt x="686181" y="941202"/>
                  </a:lnTo>
                  <a:lnTo>
                    <a:pt x="788575" y="941202"/>
                  </a:lnTo>
                  <a:lnTo>
                    <a:pt x="788575" y="840618"/>
                  </a:lnTo>
                  <a:close/>
                  <a:moveTo>
                    <a:pt x="390144" y="840618"/>
                  </a:moveTo>
                  <a:lnTo>
                    <a:pt x="390144" y="941202"/>
                  </a:lnTo>
                  <a:lnTo>
                    <a:pt x="492538" y="941202"/>
                  </a:lnTo>
                  <a:lnTo>
                    <a:pt x="492538" y="840618"/>
                  </a:lnTo>
                  <a:close/>
                  <a:moveTo>
                    <a:pt x="221837" y="840618"/>
                  </a:moveTo>
                  <a:lnTo>
                    <a:pt x="221837" y="941202"/>
                  </a:lnTo>
                  <a:lnTo>
                    <a:pt x="324231" y="941202"/>
                  </a:lnTo>
                  <a:lnTo>
                    <a:pt x="324231" y="840618"/>
                  </a:lnTo>
                  <a:close/>
                  <a:moveTo>
                    <a:pt x="59912" y="840618"/>
                  </a:moveTo>
                  <a:lnTo>
                    <a:pt x="59912" y="941202"/>
                  </a:lnTo>
                  <a:lnTo>
                    <a:pt x="162306" y="941202"/>
                  </a:lnTo>
                  <a:lnTo>
                    <a:pt x="162306" y="840618"/>
                  </a:lnTo>
                  <a:close/>
                  <a:moveTo>
                    <a:pt x="390144" y="639241"/>
                  </a:moveTo>
                  <a:lnTo>
                    <a:pt x="390144" y="739825"/>
                  </a:lnTo>
                  <a:lnTo>
                    <a:pt x="492538" y="739825"/>
                  </a:lnTo>
                  <a:lnTo>
                    <a:pt x="492538" y="639241"/>
                  </a:lnTo>
                  <a:close/>
                  <a:moveTo>
                    <a:pt x="221837" y="639241"/>
                  </a:moveTo>
                  <a:lnTo>
                    <a:pt x="221837" y="739825"/>
                  </a:lnTo>
                  <a:lnTo>
                    <a:pt x="324231" y="739825"/>
                  </a:lnTo>
                  <a:lnTo>
                    <a:pt x="324231" y="639241"/>
                  </a:lnTo>
                  <a:close/>
                  <a:moveTo>
                    <a:pt x="59912" y="639241"/>
                  </a:moveTo>
                  <a:lnTo>
                    <a:pt x="59912" y="739825"/>
                  </a:lnTo>
                  <a:lnTo>
                    <a:pt x="162306" y="739825"/>
                  </a:lnTo>
                  <a:lnTo>
                    <a:pt x="162306" y="639241"/>
                  </a:lnTo>
                  <a:close/>
                  <a:moveTo>
                    <a:pt x="854488" y="616953"/>
                  </a:moveTo>
                  <a:lnTo>
                    <a:pt x="854488" y="717537"/>
                  </a:lnTo>
                  <a:lnTo>
                    <a:pt x="956882" y="717537"/>
                  </a:lnTo>
                  <a:lnTo>
                    <a:pt x="956882" y="616953"/>
                  </a:lnTo>
                  <a:close/>
                  <a:moveTo>
                    <a:pt x="686181" y="616953"/>
                  </a:moveTo>
                  <a:lnTo>
                    <a:pt x="686181" y="717537"/>
                  </a:lnTo>
                  <a:lnTo>
                    <a:pt x="788575" y="717537"/>
                  </a:lnTo>
                  <a:lnTo>
                    <a:pt x="788575" y="616953"/>
                  </a:lnTo>
                  <a:close/>
                  <a:moveTo>
                    <a:pt x="0" y="488156"/>
                  </a:moveTo>
                  <a:lnTo>
                    <a:pt x="552450" y="488156"/>
                  </a:lnTo>
                  <a:lnTo>
                    <a:pt x="552450" y="1488280"/>
                  </a:lnTo>
                  <a:lnTo>
                    <a:pt x="0" y="1488280"/>
                  </a:lnTo>
                  <a:close/>
                  <a:moveTo>
                    <a:pt x="854488" y="414052"/>
                  </a:moveTo>
                  <a:lnTo>
                    <a:pt x="854488" y="514636"/>
                  </a:lnTo>
                  <a:lnTo>
                    <a:pt x="956882" y="514636"/>
                  </a:lnTo>
                  <a:lnTo>
                    <a:pt x="956882" y="414052"/>
                  </a:lnTo>
                  <a:close/>
                  <a:moveTo>
                    <a:pt x="686181" y="414052"/>
                  </a:moveTo>
                  <a:lnTo>
                    <a:pt x="686181" y="514636"/>
                  </a:lnTo>
                  <a:lnTo>
                    <a:pt x="788575" y="514636"/>
                  </a:lnTo>
                  <a:lnTo>
                    <a:pt x="788575" y="414052"/>
                  </a:lnTo>
                  <a:close/>
                  <a:moveTo>
                    <a:pt x="287274" y="388144"/>
                  </a:moveTo>
                  <a:lnTo>
                    <a:pt x="552450" y="388144"/>
                  </a:lnTo>
                  <a:lnTo>
                    <a:pt x="552450" y="464344"/>
                  </a:lnTo>
                  <a:lnTo>
                    <a:pt x="287274" y="464344"/>
                  </a:lnTo>
                  <a:close/>
                  <a:moveTo>
                    <a:pt x="0" y="388144"/>
                  </a:moveTo>
                  <a:lnTo>
                    <a:pt x="265176" y="388144"/>
                  </a:lnTo>
                  <a:lnTo>
                    <a:pt x="265176" y="464344"/>
                  </a:lnTo>
                  <a:lnTo>
                    <a:pt x="0" y="464344"/>
                  </a:lnTo>
                  <a:close/>
                  <a:moveTo>
                    <a:pt x="854488" y="218750"/>
                  </a:moveTo>
                  <a:lnTo>
                    <a:pt x="854488" y="319334"/>
                  </a:lnTo>
                  <a:lnTo>
                    <a:pt x="956882" y="319334"/>
                  </a:lnTo>
                  <a:lnTo>
                    <a:pt x="956882" y="218750"/>
                  </a:lnTo>
                  <a:close/>
                  <a:moveTo>
                    <a:pt x="686181" y="218750"/>
                  </a:moveTo>
                  <a:lnTo>
                    <a:pt x="686181" y="319334"/>
                  </a:lnTo>
                  <a:lnTo>
                    <a:pt x="788575" y="319334"/>
                  </a:lnTo>
                  <a:lnTo>
                    <a:pt x="788575" y="218750"/>
                  </a:lnTo>
                  <a:close/>
                  <a:moveTo>
                    <a:pt x="616744" y="100011"/>
                  </a:moveTo>
                  <a:lnTo>
                    <a:pt x="1026319" y="100011"/>
                  </a:lnTo>
                  <a:lnTo>
                    <a:pt x="1026319" y="1488280"/>
                  </a:lnTo>
                  <a:lnTo>
                    <a:pt x="616744" y="1488280"/>
                  </a:lnTo>
                  <a:close/>
                  <a:moveTo>
                    <a:pt x="616744" y="0"/>
                  </a:moveTo>
                  <a:lnTo>
                    <a:pt x="1026319" y="0"/>
                  </a:lnTo>
                  <a:lnTo>
                    <a:pt x="1026319" y="76200"/>
                  </a:lnTo>
                  <a:lnTo>
                    <a:pt x="616744" y="76200"/>
                  </a:lnTo>
                  <a:close/>
                </a:path>
              </a:pathLst>
            </a:cu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solidFill>
                  <a:srgbClr val="505050"/>
                </a:solidFill>
              </a:endParaRPr>
            </a:p>
          </p:txBody>
        </p:sp>
      </p:grpSp>
    </p:spTree>
    <p:extLst>
      <p:ext uri="{BB962C8B-B14F-4D97-AF65-F5344CB8AC3E}">
        <p14:creationId xmlns:p14="http://schemas.microsoft.com/office/powerpoint/2010/main" val="28191687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dirty="0"/>
              <a:t>Smart City – its all about </a:t>
            </a:r>
          </a:p>
        </p:txBody>
      </p:sp>
      <p:sp>
        <p:nvSpPr>
          <p:cNvPr id="2" name="Slide Number Placeholder 1"/>
          <p:cNvSpPr>
            <a:spLocks noGrp="1"/>
          </p:cNvSpPr>
          <p:nvPr>
            <p:ph type="sldNum" sz="quarter" idx="14"/>
          </p:nvPr>
        </p:nvSpPr>
        <p:spPr/>
        <p:txBody>
          <a:bodyPr/>
          <a:lstStyle/>
          <a:p>
            <a:fld id="{FAADACFB-7C71-4E89-89D2-7BBA40B7BFA9}" type="slidenum">
              <a:rPr lang="en-US" smtClean="0">
                <a:solidFill>
                  <a:srgbClr val="505050"/>
                </a:solidFill>
              </a:rPr>
              <a:pPr/>
              <a:t>5</a:t>
            </a:fld>
            <a:endParaRPr lang="en-US" dirty="0">
              <a:solidFill>
                <a:srgbClr val="505050"/>
              </a:solidFill>
            </a:endParaRPr>
          </a:p>
        </p:txBody>
      </p:sp>
      <p:sp>
        <p:nvSpPr>
          <p:cNvPr id="5" name="Rectangle 4"/>
          <p:cNvSpPr/>
          <p:nvPr>
            <p:custDataLst>
              <p:tags r:id="rId1"/>
            </p:custDataLst>
          </p:nvPr>
        </p:nvSpPr>
        <p:spPr>
          <a:xfrm>
            <a:off x="313161" y="1295401"/>
            <a:ext cx="3679479" cy="3505200"/>
          </a:xfrm>
          <a:prstGeom prst="rect">
            <a:avLst/>
          </a:prstGeom>
          <a:solidFill>
            <a:schemeClr val="tx2"/>
          </a:solidFill>
          <a:ln w="25400" cap="flat" cmpd="sng" algn="ctr">
            <a:noFill/>
            <a:prstDash val="solid"/>
          </a:ln>
          <a:effectLst/>
        </p:spPr>
        <p:txBody>
          <a:bodyPr lIns="731520" tIns="45720" rIns="91440" bIns="45720" rtlCol="0" anchor="t">
            <a:noAutofit/>
          </a:bodyPr>
          <a:lstStyle/>
          <a:p>
            <a:pPr defTabSz="908110">
              <a:defRPr/>
            </a:pPr>
            <a:r>
              <a:rPr lang="en-US" sz="3200" dirty="0">
                <a:solidFill>
                  <a:prstClr val="white"/>
                </a:solidFill>
                <a:latin typeface="Segoe UI Light"/>
                <a:cs typeface="Segoe UI Semibold" panose="020B0702040204020203" pitchFamily="34" charset="0"/>
              </a:rPr>
              <a:t>Engage with Citizens</a:t>
            </a:r>
          </a:p>
        </p:txBody>
      </p:sp>
      <p:sp>
        <p:nvSpPr>
          <p:cNvPr id="8" name="Rectangle 7"/>
          <p:cNvSpPr/>
          <p:nvPr>
            <p:custDataLst>
              <p:tags r:id="rId2"/>
            </p:custDataLst>
          </p:nvPr>
        </p:nvSpPr>
        <p:spPr>
          <a:xfrm>
            <a:off x="4205578" y="1295401"/>
            <a:ext cx="3679479" cy="3505200"/>
          </a:xfrm>
          <a:prstGeom prst="rect">
            <a:avLst/>
          </a:prstGeom>
          <a:solidFill>
            <a:schemeClr val="tx2"/>
          </a:solidFill>
          <a:ln w="25400" cap="flat" cmpd="sng" algn="ctr">
            <a:noFill/>
            <a:prstDash val="solid"/>
          </a:ln>
          <a:effectLst/>
        </p:spPr>
        <p:txBody>
          <a:bodyPr lIns="731520" tIns="45720" rIns="91440" bIns="45720" rtlCol="0" anchor="t">
            <a:noAutofit/>
          </a:bodyPr>
          <a:lstStyle/>
          <a:p>
            <a:pPr defTabSz="908110"/>
            <a:r>
              <a:rPr lang="en-US" sz="3200" dirty="0">
                <a:solidFill>
                  <a:prstClr val="white"/>
                </a:solidFill>
                <a:latin typeface="Segoe UI Light"/>
                <a:cs typeface="Segoe UI Semibold" panose="020B0702040204020203" pitchFamily="34" charset="0"/>
              </a:rPr>
              <a:t>Empower City Employees</a:t>
            </a:r>
          </a:p>
        </p:txBody>
      </p:sp>
      <p:sp>
        <p:nvSpPr>
          <p:cNvPr id="11" name="Rectangle 10"/>
          <p:cNvSpPr/>
          <p:nvPr>
            <p:custDataLst>
              <p:tags r:id="rId3"/>
            </p:custDataLst>
          </p:nvPr>
        </p:nvSpPr>
        <p:spPr>
          <a:xfrm>
            <a:off x="8097995" y="1295401"/>
            <a:ext cx="3787618" cy="3505200"/>
          </a:xfrm>
          <a:prstGeom prst="rect">
            <a:avLst/>
          </a:prstGeom>
          <a:solidFill>
            <a:schemeClr val="tx2"/>
          </a:solidFill>
          <a:ln w="25400" cap="flat" cmpd="sng" algn="ctr">
            <a:noFill/>
            <a:prstDash val="solid"/>
          </a:ln>
          <a:effectLst/>
        </p:spPr>
        <p:txBody>
          <a:bodyPr lIns="731520" tIns="45720" rIns="91440" bIns="45720" rtlCol="0" anchor="t">
            <a:noAutofit/>
          </a:bodyPr>
          <a:lstStyle/>
          <a:p>
            <a:pPr defTabSz="908110"/>
            <a:r>
              <a:rPr lang="en-IN" sz="3200" dirty="0">
                <a:solidFill>
                  <a:prstClr val="white"/>
                </a:solidFill>
                <a:latin typeface="Segoe UI Light"/>
                <a:cs typeface="Segoe UI Semibold" panose="020B0702040204020203" pitchFamily="34" charset="0"/>
              </a:rPr>
              <a:t>Optimize City Operations and Infrastructure</a:t>
            </a:r>
            <a:endParaRPr lang="en-IN" sz="2400" dirty="0">
              <a:solidFill>
                <a:prstClr val="white"/>
              </a:solidFill>
              <a:latin typeface="Segoe UI Light"/>
              <a:cs typeface="Segoe UI Semibold" panose="020B0702040204020203" pitchFamily="34" charset="0"/>
            </a:endParaRPr>
          </a:p>
        </p:txBody>
      </p:sp>
      <p:grpSp>
        <p:nvGrpSpPr>
          <p:cNvPr id="24" name="Group 23"/>
          <p:cNvGrpSpPr/>
          <p:nvPr/>
        </p:nvGrpSpPr>
        <p:grpSpPr>
          <a:xfrm>
            <a:off x="1527180" y="3460197"/>
            <a:ext cx="1247420" cy="817352"/>
            <a:chOff x="-927099" y="4183614"/>
            <a:chExt cx="1847325" cy="1210430"/>
          </a:xfrm>
          <a:solidFill>
            <a:schemeClr val="bg1"/>
          </a:solidFill>
        </p:grpSpPr>
        <p:sp>
          <p:nvSpPr>
            <p:cNvPr id="25" name="Round Same Side Corner Rectangle 2"/>
            <p:cNvSpPr/>
            <p:nvPr/>
          </p:nvSpPr>
          <p:spPr>
            <a:xfrm>
              <a:off x="-774700" y="4183614"/>
              <a:ext cx="275129" cy="513123"/>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ctr" defTabSz="1088105"/>
              <a:endParaRPr lang="en-US" sz="1200" dirty="0">
                <a:solidFill>
                  <a:prstClr val="white"/>
                </a:solidFill>
              </a:endParaRPr>
            </a:p>
          </p:txBody>
        </p:sp>
        <p:sp>
          <p:nvSpPr>
            <p:cNvPr id="26" name="Oval 13"/>
            <p:cNvSpPr/>
            <p:nvPr/>
          </p:nvSpPr>
          <p:spPr>
            <a:xfrm>
              <a:off x="-927099" y="4885774"/>
              <a:ext cx="508270" cy="508270"/>
            </a:xfrm>
            <a:custGeom>
              <a:avLst/>
              <a:gdLst/>
              <a:ahLst/>
              <a:cxnLst/>
              <a:rect l="l" t="t" r="r" b="b"/>
              <a:pathLst>
                <a:path w="5360063" h="5360063">
                  <a:moveTo>
                    <a:pt x="2786711" y="4616633"/>
                  </a:moveTo>
                  <a:cubicBezTo>
                    <a:pt x="2845629" y="4616633"/>
                    <a:pt x="2893391" y="4664395"/>
                    <a:pt x="2893391" y="4723313"/>
                  </a:cubicBezTo>
                  <a:lnTo>
                    <a:pt x="2893216" y="4724182"/>
                  </a:lnTo>
                  <a:cubicBezTo>
                    <a:pt x="2893390" y="4724470"/>
                    <a:pt x="2893391" y="4724760"/>
                    <a:pt x="2893391" y="4725050"/>
                  </a:cubicBezTo>
                  <a:cubicBezTo>
                    <a:pt x="2893391" y="4783968"/>
                    <a:pt x="2845629" y="4831730"/>
                    <a:pt x="2786711" y="4831730"/>
                  </a:cubicBezTo>
                  <a:cubicBezTo>
                    <a:pt x="2727793" y="4831730"/>
                    <a:pt x="2680031" y="4783968"/>
                    <a:pt x="2680031" y="4725050"/>
                  </a:cubicBezTo>
                  <a:lnTo>
                    <a:pt x="2680206" y="4724182"/>
                  </a:lnTo>
                  <a:cubicBezTo>
                    <a:pt x="2680032" y="4723893"/>
                    <a:pt x="2680031" y="4723603"/>
                    <a:pt x="2680031" y="4723313"/>
                  </a:cubicBezTo>
                  <a:cubicBezTo>
                    <a:pt x="2680031" y="4664395"/>
                    <a:pt x="2727793" y="4616633"/>
                    <a:pt x="2786711" y="4616633"/>
                  </a:cubicBezTo>
                  <a:close/>
                  <a:moveTo>
                    <a:pt x="2370764" y="4172762"/>
                  </a:moveTo>
                  <a:cubicBezTo>
                    <a:pt x="2473381" y="4329652"/>
                    <a:pt x="2563715" y="4465105"/>
                    <a:pt x="2670321" y="4589275"/>
                  </a:cubicBezTo>
                  <a:cubicBezTo>
                    <a:pt x="2630242" y="4620838"/>
                    <a:pt x="2605736" y="4670082"/>
                    <a:pt x="2605736" y="4725050"/>
                  </a:cubicBezTo>
                  <a:cubicBezTo>
                    <a:pt x="2605736" y="4825000"/>
                    <a:pt x="2686761" y="4906025"/>
                    <a:pt x="2786711" y="4906025"/>
                  </a:cubicBezTo>
                  <a:cubicBezTo>
                    <a:pt x="2819605" y="4906025"/>
                    <a:pt x="2850448" y="4897250"/>
                    <a:pt x="2875571" y="4879387"/>
                  </a:cubicBezTo>
                  <a:cubicBezTo>
                    <a:pt x="2979721" y="4999406"/>
                    <a:pt x="3106893" y="5113460"/>
                    <a:pt x="3196681" y="5191382"/>
                  </a:cubicBezTo>
                  <a:cubicBezTo>
                    <a:pt x="3030020" y="5227229"/>
                    <a:pt x="2857147" y="5245561"/>
                    <a:pt x="2680032" y="5245561"/>
                  </a:cubicBezTo>
                  <a:cubicBezTo>
                    <a:pt x="2385646" y="5245561"/>
                    <a:pt x="2102983" y="5194917"/>
                    <a:pt x="1841065" y="5099089"/>
                  </a:cubicBezTo>
                  <a:lnTo>
                    <a:pt x="1850963" y="5094880"/>
                  </a:lnTo>
                  <a:cubicBezTo>
                    <a:pt x="1850963" y="5089948"/>
                    <a:pt x="1839965" y="5073920"/>
                    <a:pt x="1842715" y="5071762"/>
                  </a:cubicBezTo>
                  <a:lnTo>
                    <a:pt x="1850963" y="5075153"/>
                  </a:lnTo>
                  <a:cubicBezTo>
                    <a:pt x="1857480" y="5081728"/>
                    <a:pt x="1863997" y="5088304"/>
                    <a:pt x="1870514" y="5075153"/>
                  </a:cubicBezTo>
                  <a:cubicBezTo>
                    <a:pt x="1877031" y="5068577"/>
                    <a:pt x="1870514" y="5055424"/>
                    <a:pt x="1877031" y="5042273"/>
                  </a:cubicBezTo>
                  <a:cubicBezTo>
                    <a:pt x="1877031" y="5035697"/>
                    <a:pt x="1890065" y="5029121"/>
                    <a:pt x="1890065" y="5022545"/>
                  </a:cubicBezTo>
                  <a:cubicBezTo>
                    <a:pt x="1896582" y="5009393"/>
                    <a:pt x="1896582" y="5009393"/>
                    <a:pt x="1903099" y="5002817"/>
                  </a:cubicBezTo>
                  <a:cubicBezTo>
                    <a:pt x="1909616" y="4996242"/>
                    <a:pt x="1916133" y="4989666"/>
                    <a:pt x="1922650" y="4983089"/>
                  </a:cubicBezTo>
                  <a:cubicBezTo>
                    <a:pt x="1929166" y="4969938"/>
                    <a:pt x="1909616" y="4950211"/>
                    <a:pt x="1896582" y="4937058"/>
                  </a:cubicBezTo>
                  <a:cubicBezTo>
                    <a:pt x="1883548" y="4917332"/>
                    <a:pt x="1883548" y="4904179"/>
                    <a:pt x="1896582" y="4884452"/>
                  </a:cubicBezTo>
                  <a:cubicBezTo>
                    <a:pt x="1909616" y="4871300"/>
                    <a:pt x="1929166" y="4871300"/>
                    <a:pt x="1935684" y="4858148"/>
                  </a:cubicBezTo>
                  <a:cubicBezTo>
                    <a:pt x="1942201" y="4851573"/>
                    <a:pt x="1935684" y="4838421"/>
                    <a:pt x="1935684" y="4825269"/>
                  </a:cubicBezTo>
                  <a:cubicBezTo>
                    <a:pt x="1935684" y="4818693"/>
                    <a:pt x="1942201" y="4812117"/>
                    <a:pt x="1948717" y="4805541"/>
                  </a:cubicBezTo>
                  <a:cubicBezTo>
                    <a:pt x="1948717" y="4798966"/>
                    <a:pt x="1942201" y="4792389"/>
                    <a:pt x="1948717" y="4792389"/>
                  </a:cubicBezTo>
                  <a:cubicBezTo>
                    <a:pt x="1948717" y="4785813"/>
                    <a:pt x="1968268" y="4792389"/>
                    <a:pt x="1968268" y="4785813"/>
                  </a:cubicBezTo>
                  <a:cubicBezTo>
                    <a:pt x="1974786" y="4779237"/>
                    <a:pt x="1955235" y="4772662"/>
                    <a:pt x="1948717" y="4766086"/>
                  </a:cubicBezTo>
                  <a:cubicBezTo>
                    <a:pt x="1935684" y="4759510"/>
                    <a:pt x="1942201" y="4739782"/>
                    <a:pt x="1955235" y="4733206"/>
                  </a:cubicBezTo>
                  <a:cubicBezTo>
                    <a:pt x="1961752" y="4726631"/>
                    <a:pt x="1974786" y="4733206"/>
                    <a:pt x="1981303" y="4726631"/>
                  </a:cubicBezTo>
                  <a:cubicBezTo>
                    <a:pt x="2000854" y="4726631"/>
                    <a:pt x="2026921" y="4700327"/>
                    <a:pt x="2013888" y="4674023"/>
                  </a:cubicBezTo>
                  <a:cubicBezTo>
                    <a:pt x="2013855" y="4673990"/>
                    <a:pt x="2007414" y="4667492"/>
                    <a:pt x="2007370" y="4667447"/>
                  </a:cubicBezTo>
                  <a:lnTo>
                    <a:pt x="2003094" y="4657070"/>
                  </a:lnTo>
                  <a:cubicBezTo>
                    <a:pt x="2003705" y="4650596"/>
                    <a:pt x="2017146" y="4654295"/>
                    <a:pt x="2026921" y="4654295"/>
                  </a:cubicBezTo>
                  <a:cubicBezTo>
                    <a:pt x="2039956" y="4647720"/>
                    <a:pt x="2059507" y="4634567"/>
                    <a:pt x="2072541" y="4634567"/>
                  </a:cubicBezTo>
                  <a:cubicBezTo>
                    <a:pt x="2092092" y="4634567"/>
                    <a:pt x="2105125" y="4634567"/>
                    <a:pt x="2118159" y="4627991"/>
                  </a:cubicBezTo>
                  <a:cubicBezTo>
                    <a:pt x="2131194" y="4621416"/>
                    <a:pt x="2137710" y="4608264"/>
                    <a:pt x="2144227" y="4595112"/>
                  </a:cubicBezTo>
                  <a:cubicBezTo>
                    <a:pt x="2150745" y="4588536"/>
                    <a:pt x="2157261" y="4581960"/>
                    <a:pt x="2150745" y="4568809"/>
                  </a:cubicBezTo>
                  <a:cubicBezTo>
                    <a:pt x="2150745" y="4562233"/>
                    <a:pt x="2137710" y="4555656"/>
                    <a:pt x="2131194" y="4549081"/>
                  </a:cubicBezTo>
                  <a:cubicBezTo>
                    <a:pt x="2131194" y="4535929"/>
                    <a:pt x="2137710" y="4529353"/>
                    <a:pt x="2137710" y="4522778"/>
                  </a:cubicBezTo>
                  <a:cubicBezTo>
                    <a:pt x="2131194" y="4509625"/>
                    <a:pt x="2111643" y="4509625"/>
                    <a:pt x="2105125" y="4496474"/>
                  </a:cubicBezTo>
                  <a:cubicBezTo>
                    <a:pt x="2098608" y="4483322"/>
                    <a:pt x="2092092" y="4470170"/>
                    <a:pt x="2092092" y="4457018"/>
                  </a:cubicBezTo>
                  <a:cubicBezTo>
                    <a:pt x="2092092" y="4437290"/>
                    <a:pt x="2105125" y="4437290"/>
                    <a:pt x="2118159" y="4450443"/>
                  </a:cubicBezTo>
                  <a:cubicBezTo>
                    <a:pt x="2124676" y="4463594"/>
                    <a:pt x="2124676" y="4483322"/>
                    <a:pt x="2137710" y="4489898"/>
                  </a:cubicBezTo>
                  <a:cubicBezTo>
                    <a:pt x="2144227" y="4503049"/>
                    <a:pt x="2157261" y="4509625"/>
                    <a:pt x="2170296" y="4503049"/>
                  </a:cubicBezTo>
                  <a:cubicBezTo>
                    <a:pt x="2176812" y="4503049"/>
                    <a:pt x="2183330" y="4496474"/>
                    <a:pt x="2189847" y="4503049"/>
                  </a:cubicBezTo>
                  <a:cubicBezTo>
                    <a:pt x="2196363" y="4503049"/>
                    <a:pt x="2202881" y="4503049"/>
                    <a:pt x="2209398" y="4503049"/>
                  </a:cubicBezTo>
                  <a:cubicBezTo>
                    <a:pt x="2215914" y="4503049"/>
                    <a:pt x="2235465" y="4476745"/>
                    <a:pt x="2248500" y="4457018"/>
                  </a:cubicBezTo>
                  <a:cubicBezTo>
                    <a:pt x="2255016" y="4443867"/>
                    <a:pt x="2261534" y="4437290"/>
                    <a:pt x="2261534" y="4430714"/>
                  </a:cubicBezTo>
                  <a:cubicBezTo>
                    <a:pt x="2261534" y="4417563"/>
                    <a:pt x="2255016" y="4417563"/>
                    <a:pt x="2255016" y="4410987"/>
                  </a:cubicBezTo>
                  <a:cubicBezTo>
                    <a:pt x="2261534" y="4404411"/>
                    <a:pt x="2274567" y="4391259"/>
                    <a:pt x="2274567" y="4384683"/>
                  </a:cubicBezTo>
                  <a:cubicBezTo>
                    <a:pt x="2281085" y="4378107"/>
                    <a:pt x="2287601" y="4364956"/>
                    <a:pt x="2300636" y="4358379"/>
                  </a:cubicBezTo>
                  <a:cubicBezTo>
                    <a:pt x="2300667" y="4358379"/>
                    <a:pt x="2307169" y="4358379"/>
                    <a:pt x="2313669" y="4358379"/>
                  </a:cubicBezTo>
                  <a:cubicBezTo>
                    <a:pt x="2326703" y="4351805"/>
                    <a:pt x="2326703" y="4338653"/>
                    <a:pt x="2326703" y="4332077"/>
                  </a:cubicBezTo>
                  <a:cubicBezTo>
                    <a:pt x="2333220" y="4318925"/>
                    <a:pt x="2339738" y="4312349"/>
                    <a:pt x="2352771" y="4299198"/>
                  </a:cubicBezTo>
                  <a:cubicBezTo>
                    <a:pt x="2385356" y="4266318"/>
                    <a:pt x="2352771" y="4233438"/>
                    <a:pt x="2359289" y="4193983"/>
                  </a:cubicBezTo>
                  <a:cubicBezTo>
                    <a:pt x="2359289" y="4185809"/>
                    <a:pt x="2363764" y="4178764"/>
                    <a:pt x="2370764" y="4172762"/>
                  </a:cubicBezTo>
                  <a:close/>
                  <a:moveTo>
                    <a:pt x="1355050" y="3792279"/>
                  </a:moveTo>
                  <a:cubicBezTo>
                    <a:pt x="1318697" y="4184868"/>
                    <a:pt x="1335670" y="4583698"/>
                    <a:pt x="1401311" y="4894132"/>
                  </a:cubicBezTo>
                  <a:cubicBezTo>
                    <a:pt x="1035189" y="4679816"/>
                    <a:pt x="728470" y="4374217"/>
                    <a:pt x="510450" y="4008440"/>
                  </a:cubicBezTo>
                  <a:cubicBezTo>
                    <a:pt x="587420" y="3990259"/>
                    <a:pt x="643285" y="3920314"/>
                    <a:pt x="643285" y="3837320"/>
                  </a:cubicBezTo>
                  <a:lnTo>
                    <a:pt x="642841" y="3832916"/>
                  </a:lnTo>
                  <a:cubicBezTo>
                    <a:pt x="917344" y="3821669"/>
                    <a:pt x="1147515" y="3811703"/>
                    <a:pt x="1355050" y="3792279"/>
                  </a:cubicBezTo>
                  <a:close/>
                  <a:moveTo>
                    <a:pt x="1652544" y="3757744"/>
                  </a:moveTo>
                  <a:cubicBezTo>
                    <a:pt x="1655053" y="3760042"/>
                    <a:pt x="1655453" y="3763094"/>
                    <a:pt x="1655453" y="3766550"/>
                  </a:cubicBezTo>
                  <a:cubicBezTo>
                    <a:pt x="1655453" y="3773126"/>
                    <a:pt x="1655453" y="3779702"/>
                    <a:pt x="1655453" y="3792854"/>
                  </a:cubicBezTo>
                  <a:cubicBezTo>
                    <a:pt x="1655453" y="3806005"/>
                    <a:pt x="1661970" y="3838885"/>
                    <a:pt x="1675004" y="3845461"/>
                  </a:cubicBezTo>
                  <a:cubicBezTo>
                    <a:pt x="1681521" y="3852036"/>
                    <a:pt x="1694555" y="3858612"/>
                    <a:pt x="1707589" y="3858612"/>
                  </a:cubicBezTo>
                  <a:cubicBezTo>
                    <a:pt x="1720624" y="3865188"/>
                    <a:pt x="1740175" y="3871764"/>
                    <a:pt x="1753208" y="3884915"/>
                  </a:cubicBezTo>
                  <a:cubicBezTo>
                    <a:pt x="1766242" y="3898068"/>
                    <a:pt x="1779276" y="3904643"/>
                    <a:pt x="1792310" y="3917795"/>
                  </a:cubicBezTo>
                  <a:cubicBezTo>
                    <a:pt x="1798827" y="3924370"/>
                    <a:pt x="1798827" y="3937523"/>
                    <a:pt x="1805344" y="3950674"/>
                  </a:cubicBezTo>
                  <a:cubicBezTo>
                    <a:pt x="1811861" y="3963826"/>
                    <a:pt x="1811861" y="3983554"/>
                    <a:pt x="1811861" y="4003281"/>
                  </a:cubicBezTo>
                  <a:cubicBezTo>
                    <a:pt x="1811861" y="4009857"/>
                    <a:pt x="1805344" y="4016434"/>
                    <a:pt x="1805344" y="4029585"/>
                  </a:cubicBezTo>
                  <a:cubicBezTo>
                    <a:pt x="1805344" y="4036161"/>
                    <a:pt x="1811861" y="4042737"/>
                    <a:pt x="1805344" y="4049312"/>
                  </a:cubicBezTo>
                  <a:cubicBezTo>
                    <a:pt x="1805344" y="4055889"/>
                    <a:pt x="1805344" y="4069041"/>
                    <a:pt x="1805344" y="4075616"/>
                  </a:cubicBezTo>
                  <a:cubicBezTo>
                    <a:pt x="1805344" y="4095345"/>
                    <a:pt x="1792310" y="4108496"/>
                    <a:pt x="1792310" y="4128223"/>
                  </a:cubicBezTo>
                  <a:cubicBezTo>
                    <a:pt x="1792310" y="4147952"/>
                    <a:pt x="1798827" y="4161103"/>
                    <a:pt x="1798827" y="4174255"/>
                  </a:cubicBezTo>
                  <a:cubicBezTo>
                    <a:pt x="1792310" y="4187407"/>
                    <a:pt x="1785793" y="4193983"/>
                    <a:pt x="1792310" y="4213711"/>
                  </a:cubicBezTo>
                  <a:cubicBezTo>
                    <a:pt x="1792310" y="4220287"/>
                    <a:pt x="1792310" y="4226863"/>
                    <a:pt x="1792310" y="4240014"/>
                  </a:cubicBezTo>
                  <a:cubicBezTo>
                    <a:pt x="1792310" y="4246590"/>
                    <a:pt x="1785793" y="4253166"/>
                    <a:pt x="1785793" y="4266318"/>
                  </a:cubicBezTo>
                  <a:cubicBezTo>
                    <a:pt x="1785793" y="4272894"/>
                    <a:pt x="1779276" y="4286045"/>
                    <a:pt x="1779276" y="4292622"/>
                  </a:cubicBezTo>
                  <a:cubicBezTo>
                    <a:pt x="1779276" y="4299198"/>
                    <a:pt x="1772759" y="4312349"/>
                    <a:pt x="1772759" y="4318925"/>
                  </a:cubicBezTo>
                  <a:cubicBezTo>
                    <a:pt x="1779276" y="4325502"/>
                    <a:pt x="1779276" y="4332077"/>
                    <a:pt x="1779276" y="4345229"/>
                  </a:cubicBezTo>
                  <a:cubicBezTo>
                    <a:pt x="1779276" y="4351805"/>
                    <a:pt x="1772759" y="4358379"/>
                    <a:pt x="1772759" y="4371532"/>
                  </a:cubicBezTo>
                  <a:cubicBezTo>
                    <a:pt x="1772759" y="4384683"/>
                    <a:pt x="1779276" y="4391259"/>
                    <a:pt x="1785793" y="4397835"/>
                  </a:cubicBezTo>
                  <a:cubicBezTo>
                    <a:pt x="1798827" y="4424139"/>
                    <a:pt x="1766242" y="4450443"/>
                    <a:pt x="1759726" y="4476745"/>
                  </a:cubicBezTo>
                  <a:cubicBezTo>
                    <a:pt x="1753208" y="4496474"/>
                    <a:pt x="1746691" y="4516201"/>
                    <a:pt x="1746691" y="4535929"/>
                  </a:cubicBezTo>
                  <a:cubicBezTo>
                    <a:pt x="1746691" y="4555656"/>
                    <a:pt x="1740175" y="4575385"/>
                    <a:pt x="1733657" y="4588536"/>
                  </a:cubicBezTo>
                  <a:cubicBezTo>
                    <a:pt x="1727140" y="4601689"/>
                    <a:pt x="1733657" y="4608264"/>
                    <a:pt x="1740175" y="4621416"/>
                  </a:cubicBezTo>
                  <a:cubicBezTo>
                    <a:pt x="1746691" y="4634567"/>
                    <a:pt x="1746691" y="4647720"/>
                    <a:pt x="1746691" y="4660871"/>
                  </a:cubicBezTo>
                  <a:cubicBezTo>
                    <a:pt x="1746691" y="4687175"/>
                    <a:pt x="1733657" y="4700327"/>
                    <a:pt x="1733657" y="4720055"/>
                  </a:cubicBezTo>
                  <a:cubicBezTo>
                    <a:pt x="1733657" y="4726631"/>
                    <a:pt x="1733657" y="4739782"/>
                    <a:pt x="1733657" y="4746358"/>
                  </a:cubicBezTo>
                  <a:cubicBezTo>
                    <a:pt x="1733657" y="4752933"/>
                    <a:pt x="1740175" y="4752933"/>
                    <a:pt x="1746691" y="4759510"/>
                  </a:cubicBezTo>
                  <a:cubicBezTo>
                    <a:pt x="1746691" y="4766086"/>
                    <a:pt x="1746691" y="4772662"/>
                    <a:pt x="1746691" y="4779237"/>
                  </a:cubicBezTo>
                  <a:cubicBezTo>
                    <a:pt x="1746691" y="4792389"/>
                    <a:pt x="1746691" y="4798966"/>
                    <a:pt x="1740175" y="4812117"/>
                  </a:cubicBezTo>
                  <a:cubicBezTo>
                    <a:pt x="1740175" y="4825269"/>
                    <a:pt x="1746691" y="4831844"/>
                    <a:pt x="1740175" y="4844997"/>
                  </a:cubicBezTo>
                  <a:cubicBezTo>
                    <a:pt x="1733657" y="4851573"/>
                    <a:pt x="1720624" y="4858148"/>
                    <a:pt x="1720624" y="4871300"/>
                  </a:cubicBezTo>
                  <a:cubicBezTo>
                    <a:pt x="1714106" y="4891028"/>
                    <a:pt x="1733657" y="4910755"/>
                    <a:pt x="1727140" y="4937058"/>
                  </a:cubicBezTo>
                  <a:cubicBezTo>
                    <a:pt x="1720624" y="4956786"/>
                    <a:pt x="1707589" y="4976513"/>
                    <a:pt x="1707589" y="5002817"/>
                  </a:cubicBezTo>
                  <a:lnTo>
                    <a:pt x="1707589" y="5049786"/>
                  </a:lnTo>
                  <a:cubicBezTo>
                    <a:pt x="1614691" y="5010873"/>
                    <a:pt x="1524588" y="4966540"/>
                    <a:pt x="1438672" y="4915414"/>
                  </a:cubicBezTo>
                  <a:cubicBezTo>
                    <a:pt x="1373926" y="4570463"/>
                    <a:pt x="1359286" y="4168496"/>
                    <a:pt x="1393222" y="3789064"/>
                  </a:cubicBezTo>
                  <a:cubicBezTo>
                    <a:pt x="1483207" y="3781329"/>
                    <a:pt x="1569036" y="3771076"/>
                    <a:pt x="1652544" y="3757744"/>
                  </a:cubicBezTo>
                  <a:close/>
                  <a:moveTo>
                    <a:pt x="462309" y="3730640"/>
                  </a:moveTo>
                  <a:cubicBezTo>
                    <a:pt x="521227" y="3730640"/>
                    <a:pt x="568989" y="3778402"/>
                    <a:pt x="568989" y="3837320"/>
                  </a:cubicBezTo>
                  <a:cubicBezTo>
                    <a:pt x="568989" y="3896238"/>
                    <a:pt x="521227" y="3944000"/>
                    <a:pt x="462309" y="3944000"/>
                  </a:cubicBezTo>
                  <a:cubicBezTo>
                    <a:pt x="403391" y="3944000"/>
                    <a:pt x="355629" y="3896238"/>
                    <a:pt x="355629" y="3837320"/>
                  </a:cubicBezTo>
                  <a:cubicBezTo>
                    <a:pt x="355629" y="3778402"/>
                    <a:pt x="403391" y="3730640"/>
                    <a:pt x="462309" y="3730640"/>
                  </a:cubicBezTo>
                  <a:close/>
                  <a:moveTo>
                    <a:pt x="1548737" y="3047311"/>
                  </a:moveTo>
                  <a:cubicBezTo>
                    <a:pt x="1557698" y="3046490"/>
                    <a:pt x="1567474" y="3046490"/>
                    <a:pt x="1577249" y="3049777"/>
                  </a:cubicBezTo>
                  <a:cubicBezTo>
                    <a:pt x="1583766" y="3049777"/>
                    <a:pt x="1596800" y="3056353"/>
                    <a:pt x="1596800" y="3069505"/>
                  </a:cubicBezTo>
                  <a:cubicBezTo>
                    <a:pt x="1603317" y="3082657"/>
                    <a:pt x="1596800" y="3089233"/>
                    <a:pt x="1609834" y="3102384"/>
                  </a:cubicBezTo>
                  <a:cubicBezTo>
                    <a:pt x="1635902" y="3122113"/>
                    <a:pt x="1622868" y="3154992"/>
                    <a:pt x="1616351" y="3187871"/>
                  </a:cubicBezTo>
                  <a:cubicBezTo>
                    <a:pt x="1609834" y="3201023"/>
                    <a:pt x="1609834" y="3214175"/>
                    <a:pt x="1609834" y="3227326"/>
                  </a:cubicBezTo>
                  <a:cubicBezTo>
                    <a:pt x="1609834" y="3240479"/>
                    <a:pt x="1609834" y="3247055"/>
                    <a:pt x="1616351" y="3260206"/>
                  </a:cubicBezTo>
                  <a:cubicBezTo>
                    <a:pt x="1616351" y="3279934"/>
                    <a:pt x="1609834" y="3286510"/>
                    <a:pt x="1603317" y="3299661"/>
                  </a:cubicBezTo>
                  <a:cubicBezTo>
                    <a:pt x="1583766" y="3339117"/>
                    <a:pt x="1557698" y="3365420"/>
                    <a:pt x="1538147" y="3398299"/>
                  </a:cubicBezTo>
                  <a:cubicBezTo>
                    <a:pt x="1525113" y="3424602"/>
                    <a:pt x="1525113" y="3464058"/>
                    <a:pt x="1525113" y="3490362"/>
                  </a:cubicBezTo>
                  <a:cubicBezTo>
                    <a:pt x="1531630" y="3536393"/>
                    <a:pt x="1551181" y="3562697"/>
                    <a:pt x="1583766" y="3595577"/>
                  </a:cubicBezTo>
                  <a:cubicBezTo>
                    <a:pt x="1609834" y="3621880"/>
                    <a:pt x="1609834" y="3654759"/>
                    <a:pt x="1622868" y="3687639"/>
                  </a:cubicBezTo>
                  <a:cubicBezTo>
                    <a:pt x="1622868" y="3698979"/>
                    <a:pt x="1627713" y="3710319"/>
                    <a:pt x="1633395" y="3721575"/>
                  </a:cubicBezTo>
                  <a:cubicBezTo>
                    <a:pt x="1554127" y="3733626"/>
                    <a:pt x="1475050" y="3742859"/>
                    <a:pt x="1396120" y="3750408"/>
                  </a:cubicBezTo>
                  <a:cubicBezTo>
                    <a:pt x="1419231" y="3497496"/>
                    <a:pt x="1464221" y="3255901"/>
                    <a:pt x="1529413" y="3049328"/>
                  </a:cubicBezTo>
                  <a:cubicBezTo>
                    <a:pt x="1535093" y="3049122"/>
                    <a:pt x="1541661" y="3047961"/>
                    <a:pt x="1548737" y="3047311"/>
                  </a:cubicBezTo>
                  <a:close/>
                  <a:moveTo>
                    <a:pt x="4959037" y="3018772"/>
                  </a:moveTo>
                  <a:cubicBezTo>
                    <a:pt x="5036068" y="3082842"/>
                    <a:pt x="5119464" y="3152676"/>
                    <a:pt x="5164978" y="3191039"/>
                  </a:cubicBezTo>
                  <a:cubicBezTo>
                    <a:pt x="5117274" y="3435339"/>
                    <a:pt x="5034215" y="3666859"/>
                    <a:pt x="4921641" y="3880239"/>
                  </a:cubicBezTo>
                  <a:cubicBezTo>
                    <a:pt x="4921663" y="3879397"/>
                    <a:pt x="4921504" y="3878583"/>
                    <a:pt x="4921340" y="3877761"/>
                  </a:cubicBezTo>
                  <a:cubicBezTo>
                    <a:pt x="4921340" y="3864581"/>
                    <a:pt x="4921340" y="3857991"/>
                    <a:pt x="4921340" y="3844812"/>
                  </a:cubicBezTo>
                  <a:cubicBezTo>
                    <a:pt x="4927904" y="3831632"/>
                    <a:pt x="4927904" y="3818452"/>
                    <a:pt x="4914775" y="3811861"/>
                  </a:cubicBezTo>
                  <a:cubicBezTo>
                    <a:pt x="4911492" y="3808567"/>
                    <a:pt x="4904928" y="3805271"/>
                    <a:pt x="4898363" y="3803624"/>
                  </a:cubicBezTo>
                  <a:lnTo>
                    <a:pt x="4881952" y="3805271"/>
                  </a:lnTo>
                  <a:cubicBezTo>
                    <a:pt x="4868823" y="3805271"/>
                    <a:pt x="4868823" y="3818452"/>
                    <a:pt x="4862259" y="3825043"/>
                  </a:cubicBezTo>
                  <a:cubicBezTo>
                    <a:pt x="4855694" y="3831632"/>
                    <a:pt x="4855694" y="3838222"/>
                    <a:pt x="4842565" y="3851401"/>
                  </a:cubicBezTo>
                  <a:cubicBezTo>
                    <a:pt x="4822871" y="3864581"/>
                    <a:pt x="4783485" y="3871170"/>
                    <a:pt x="4776921" y="3897530"/>
                  </a:cubicBezTo>
                  <a:cubicBezTo>
                    <a:pt x="4763791" y="3917299"/>
                    <a:pt x="4776921" y="3937070"/>
                    <a:pt x="4776921" y="3956840"/>
                  </a:cubicBezTo>
                  <a:cubicBezTo>
                    <a:pt x="4783485" y="3983198"/>
                    <a:pt x="4783485" y="3996378"/>
                    <a:pt x="4763791" y="4016148"/>
                  </a:cubicBezTo>
                  <a:cubicBezTo>
                    <a:pt x="4750662" y="4029328"/>
                    <a:pt x="4737533" y="4055687"/>
                    <a:pt x="4737533" y="4075457"/>
                  </a:cubicBezTo>
                  <a:cubicBezTo>
                    <a:pt x="4737533" y="4101816"/>
                    <a:pt x="4750662" y="4108406"/>
                    <a:pt x="4763791" y="4128177"/>
                  </a:cubicBezTo>
                  <a:lnTo>
                    <a:pt x="4764599" y="4141159"/>
                  </a:lnTo>
                  <a:cubicBezTo>
                    <a:pt x="4409659" y="4660202"/>
                    <a:pt x="3869165" y="5039746"/>
                    <a:pt x="3239606" y="5181785"/>
                  </a:cubicBezTo>
                  <a:cubicBezTo>
                    <a:pt x="3108766" y="5065135"/>
                    <a:pt x="2983320" y="4952596"/>
                    <a:pt x="2908718" y="4857038"/>
                  </a:cubicBezTo>
                  <a:cubicBezTo>
                    <a:pt x="2945305" y="4824885"/>
                    <a:pt x="2967686" y="4777581"/>
                    <a:pt x="2967686" y="4725050"/>
                  </a:cubicBezTo>
                  <a:cubicBezTo>
                    <a:pt x="2967686" y="4625100"/>
                    <a:pt x="2886661" y="4544075"/>
                    <a:pt x="2786711" y="4544075"/>
                  </a:cubicBezTo>
                  <a:cubicBezTo>
                    <a:pt x="2754908" y="4544075"/>
                    <a:pt x="2725020" y="4552279"/>
                    <a:pt x="2700350" y="4569029"/>
                  </a:cubicBezTo>
                  <a:cubicBezTo>
                    <a:pt x="2586648" y="4431561"/>
                    <a:pt x="2493149" y="4288531"/>
                    <a:pt x="2402215" y="4149788"/>
                  </a:cubicBezTo>
                  <a:cubicBezTo>
                    <a:pt x="2403109" y="4149153"/>
                    <a:pt x="2404015" y="4148553"/>
                    <a:pt x="2404907" y="4147952"/>
                  </a:cubicBezTo>
                  <a:cubicBezTo>
                    <a:pt x="2411424" y="4141376"/>
                    <a:pt x="2424458" y="4134800"/>
                    <a:pt x="2437493" y="4121648"/>
                  </a:cubicBezTo>
                  <a:cubicBezTo>
                    <a:pt x="2444009" y="4121648"/>
                    <a:pt x="2444009" y="4115072"/>
                    <a:pt x="2450526" y="4108496"/>
                  </a:cubicBezTo>
                  <a:cubicBezTo>
                    <a:pt x="2470077" y="4101920"/>
                    <a:pt x="2496145" y="4088768"/>
                    <a:pt x="2515696" y="4082192"/>
                  </a:cubicBezTo>
                  <a:cubicBezTo>
                    <a:pt x="2528730" y="4075616"/>
                    <a:pt x="2548281" y="4075616"/>
                    <a:pt x="2554798" y="4055889"/>
                  </a:cubicBezTo>
                  <a:cubicBezTo>
                    <a:pt x="2554798" y="4049312"/>
                    <a:pt x="2554798" y="4036161"/>
                    <a:pt x="2554798" y="4029585"/>
                  </a:cubicBezTo>
                  <a:cubicBezTo>
                    <a:pt x="2554798" y="4016434"/>
                    <a:pt x="2561315" y="4009857"/>
                    <a:pt x="2567832" y="4003281"/>
                  </a:cubicBezTo>
                  <a:cubicBezTo>
                    <a:pt x="2574349" y="3996706"/>
                    <a:pt x="2587383" y="3983554"/>
                    <a:pt x="2593900" y="3970402"/>
                  </a:cubicBezTo>
                  <a:cubicBezTo>
                    <a:pt x="2600417" y="3957250"/>
                    <a:pt x="2600417" y="3950674"/>
                    <a:pt x="2600417" y="3930946"/>
                  </a:cubicBezTo>
                  <a:cubicBezTo>
                    <a:pt x="2593900" y="3924370"/>
                    <a:pt x="2600417" y="3917795"/>
                    <a:pt x="2606934" y="3904643"/>
                  </a:cubicBezTo>
                  <a:cubicBezTo>
                    <a:pt x="2613451" y="3891491"/>
                    <a:pt x="2613451" y="3871764"/>
                    <a:pt x="2613451" y="3858612"/>
                  </a:cubicBezTo>
                  <a:cubicBezTo>
                    <a:pt x="2613451" y="3838885"/>
                    <a:pt x="2600417" y="3825733"/>
                    <a:pt x="2600417" y="3806005"/>
                  </a:cubicBezTo>
                  <a:cubicBezTo>
                    <a:pt x="2600417" y="3792854"/>
                    <a:pt x="2600417" y="3786278"/>
                    <a:pt x="2606934" y="3773126"/>
                  </a:cubicBezTo>
                  <a:cubicBezTo>
                    <a:pt x="2613451" y="3766550"/>
                    <a:pt x="2619968" y="3753398"/>
                    <a:pt x="2626484" y="3746823"/>
                  </a:cubicBezTo>
                  <a:cubicBezTo>
                    <a:pt x="2633002" y="3746823"/>
                    <a:pt x="2639519" y="3746823"/>
                    <a:pt x="2652553" y="3740247"/>
                  </a:cubicBezTo>
                  <a:cubicBezTo>
                    <a:pt x="2659070" y="3727094"/>
                    <a:pt x="2665587" y="3713943"/>
                    <a:pt x="2672104" y="3694215"/>
                  </a:cubicBezTo>
                  <a:cubicBezTo>
                    <a:pt x="2678621" y="3687639"/>
                    <a:pt x="2678621" y="3681063"/>
                    <a:pt x="2685138" y="3674487"/>
                  </a:cubicBezTo>
                  <a:cubicBezTo>
                    <a:pt x="2685138" y="3667912"/>
                    <a:pt x="2691655" y="3661335"/>
                    <a:pt x="2698172" y="3661335"/>
                  </a:cubicBezTo>
                  <a:cubicBezTo>
                    <a:pt x="2711206" y="3654759"/>
                    <a:pt x="2717723" y="3641608"/>
                    <a:pt x="2724240" y="3635032"/>
                  </a:cubicBezTo>
                  <a:cubicBezTo>
                    <a:pt x="2728341" y="3622620"/>
                    <a:pt x="2732441" y="3607604"/>
                    <a:pt x="2731974" y="3591553"/>
                  </a:cubicBezTo>
                  <a:cubicBezTo>
                    <a:pt x="3176757" y="3492724"/>
                    <a:pt x="3530895" y="3400733"/>
                    <a:pt x="3875196" y="3278576"/>
                  </a:cubicBezTo>
                  <a:cubicBezTo>
                    <a:pt x="3874963" y="3303286"/>
                    <a:pt x="3869564" y="3328899"/>
                    <a:pt x="3864973" y="3352065"/>
                  </a:cubicBezTo>
                  <a:cubicBezTo>
                    <a:pt x="3858454" y="3378381"/>
                    <a:pt x="3871492" y="3417855"/>
                    <a:pt x="3891049" y="3444172"/>
                  </a:cubicBezTo>
                  <a:cubicBezTo>
                    <a:pt x="3910607" y="3470487"/>
                    <a:pt x="3936683" y="3490224"/>
                    <a:pt x="3949721" y="3516541"/>
                  </a:cubicBezTo>
                  <a:cubicBezTo>
                    <a:pt x="3962759" y="3529699"/>
                    <a:pt x="3969279" y="3549436"/>
                    <a:pt x="3969279" y="3562594"/>
                  </a:cubicBezTo>
                  <a:cubicBezTo>
                    <a:pt x="3969279" y="3575752"/>
                    <a:pt x="3969279" y="3582331"/>
                    <a:pt x="3975798" y="3588911"/>
                  </a:cubicBezTo>
                  <a:cubicBezTo>
                    <a:pt x="3975798" y="3621805"/>
                    <a:pt x="3956240" y="3641542"/>
                    <a:pt x="3975798" y="3667858"/>
                  </a:cubicBezTo>
                  <a:cubicBezTo>
                    <a:pt x="4008392" y="3713913"/>
                    <a:pt x="3956240" y="3773124"/>
                    <a:pt x="3943201" y="3819177"/>
                  </a:cubicBezTo>
                  <a:cubicBezTo>
                    <a:pt x="3936683" y="3852073"/>
                    <a:pt x="3923645" y="3898126"/>
                    <a:pt x="3943201" y="3924442"/>
                  </a:cubicBezTo>
                  <a:cubicBezTo>
                    <a:pt x="3949721" y="3931021"/>
                    <a:pt x="3962759" y="3937600"/>
                    <a:pt x="3969279" y="3944179"/>
                  </a:cubicBezTo>
                  <a:cubicBezTo>
                    <a:pt x="3982316" y="3963916"/>
                    <a:pt x="3982316" y="3983653"/>
                    <a:pt x="3988835" y="3996811"/>
                  </a:cubicBezTo>
                  <a:cubicBezTo>
                    <a:pt x="3995355" y="4009970"/>
                    <a:pt x="3995355" y="4029707"/>
                    <a:pt x="3995355" y="4042865"/>
                  </a:cubicBezTo>
                  <a:cubicBezTo>
                    <a:pt x="4001874" y="4062601"/>
                    <a:pt x="4014912" y="4069180"/>
                    <a:pt x="4021431" y="4088918"/>
                  </a:cubicBezTo>
                  <a:cubicBezTo>
                    <a:pt x="4027950" y="4141550"/>
                    <a:pt x="4014912" y="4187605"/>
                    <a:pt x="4034470" y="4233657"/>
                  </a:cubicBezTo>
                  <a:cubicBezTo>
                    <a:pt x="4047507" y="4259974"/>
                    <a:pt x="4060546" y="4286290"/>
                    <a:pt x="4073584" y="4312606"/>
                  </a:cubicBezTo>
                  <a:cubicBezTo>
                    <a:pt x="4086622" y="4325764"/>
                    <a:pt x="4093141" y="4338923"/>
                    <a:pt x="4093141" y="4358660"/>
                  </a:cubicBezTo>
                  <a:cubicBezTo>
                    <a:pt x="4099661" y="4384975"/>
                    <a:pt x="4086622" y="4417870"/>
                    <a:pt x="4086622" y="4444187"/>
                  </a:cubicBezTo>
                  <a:cubicBezTo>
                    <a:pt x="4093141" y="4483661"/>
                    <a:pt x="4125737" y="4483661"/>
                    <a:pt x="4158332" y="4470503"/>
                  </a:cubicBezTo>
                  <a:cubicBezTo>
                    <a:pt x="4177889" y="4463924"/>
                    <a:pt x="4197447" y="4457345"/>
                    <a:pt x="4223523" y="4457345"/>
                  </a:cubicBezTo>
                  <a:cubicBezTo>
                    <a:pt x="4262638" y="4463924"/>
                    <a:pt x="4308271" y="4470503"/>
                    <a:pt x="4340866" y="4450766"/>
                  </a:cubicBezTo>
                  <a:cubicBezTo>
                    <a:pt x="4360424" y="4437608"/>
                    <a:pt x="4379981" y="4411291"/>
                    <a:pt x="4393020" y="4398133"/>
                  </a:cubicBezTo>
                  <a:cubicBezTo>
                    <a:pt x="4406057" y="4384975"/>
                    <a:pt x="4406057" y="4365239"/>
                    <a:pt x="4412577" y="4352081"/>
                  </a:cubicBezTo>
                  <a:cubicBezTo>
                    <a:pt x="4425615" y="4312606"/>
                    <a:pt x="4471248" y="4299448"/>
                    <a:pt x="4484287" y="4259974"/>
                  </a:cubicBezTo>
                  <a:cubicBezTo>
                    <a:pt x="4490806" y="4240236"/>
                    <a:pt x="4490806" y="4220500"/>
                    <a:pt x="4490806" y="4200763"/>
                  </a:cubicBezTo>
                  <a:cubicBezTo>
                    <a:pt x="4503845" y="4174446"/>
                    <a:pt x="4536439" y="4167866"/>
                    <a:pt x="4542959" y="4134971"/>
                  </a:cubicBezTo>
                  <a:cubicBezTo>
                    <a:pt x="4549478" y="4108655"/>
                    <a:pt x="4575554" y="4049444"/>
                    <a:pt x="4549478" y="4023128"/>
                  </a:cubicBezTo>
                  <a:cubicBezTo>
                    <a:pt x="4536439" y="4009970"/>
                    <a:pt x="4523402" y="4009970"/>
                    <a:pt x="4529921" y="3990232"/>
                  </a:cubicBezTo>
                  <a:cubicBezTo>
                    <a:pt x="4536439" y="3970495"/>
                    <a:pt x="4555997" y="3957337"/>
                    <a:pt x="4575554" y="3944179"/>
                  </a:cubicBezTo>
                  <a:cubicBezTo>
                    <a:pt x="4601630" y="3931021"/>
                    <a:pt x="4627707" y="3931021"/>
                    <a:pt x="4647264" y="3904704"/>
                  </a:cubicBezTo>
                  <a:cubicBezTo>
                    <a:pt x="4666822" y="3884968"/>
                    <a:pt x="4666822" y="3858652"/>
                    <a:pt x="4673340" y="3832335"/>
                  </a:cubicBezTo>
                  <a:cubicBezTo>
                    <a:pt x="4673340" y="3799440"/>
                    <a:pt x="4686379" y="3773124"/>
                    <a:pt x="4692898" y="3740229"/>
                  </a:cubicBezTo>
                  <a:cubicBezTo>
                    <a:pt x="4692898" y="3713913"/>
                    <a:pt x="4686379" y="3681017"/>
                    <a:pt x="4679860" y="3648121"/>
                  </a:cubicBezTo>
                  <a:cubicBezTo>
                    <a:pt x="4666822" y="3621805"/>
                    <a:pt x="4660303" y="3588911"/>
                    <a:pt x="4653784" y="3569173"/>
                  </a:cubicBezTo>
                  <a:cubicBezTo>
                    <a:pt x="4647264" y="3556015"/>
                    <a:pt x="4640745" y="3542857"/>
                    <a:pt x="4640745" y="3529699"/>
                  </a:cubicBezTo>
                  <a:cubicBezTo>
                    <a:pt x="4640745" y="3509962"/>
                    <a:pt x="4647264" y="3483645"/>
                    <a:pt x="4653784" y="3463908"/>
                  </a:cubicBezTo>
                  <a:cubicBezTo>
                    <a:pt x="4660303" y="3450751"/>
                    <a:pt x="4673340" y="3450751"/>
                    <a:pt x="4679860" y="3437593"/>
                  </a:cubicBezTo>
                  <a:cubicBezTo>
                    <a:pt x="4686379" y="3431014"/>
                    <a:pt x="4686379" y="3417855"/>
                    <a:pt x="4692898" y="3411276"/>
                  </a:cubicBezTo>
                  <a:cubicBezTo>
                    <a:pt x="4705936" y="3391539"/>
                    <a:pt x="4725494" y="3378381"/>
                    <a:pt x="4745051" y="3358644"/>
                  </a:cubicBezTo>
                  <a:cubicBezTo>
                    <a:pt x="4764609" y="3338907"/>
                    <a:pt x="4784165" y="3312591"/>
                    <a:pt x="4803722" y="3286275"/>
                  </a:cubicBezTo>
                  <a:cubicBezTo>
                    <a:pt x="4810242" y="3273117"/>
                    <a:pt x="4810242" y="3259959"/>
                    <a:pt x="4816761" y="3253379"/>
                  </a:cubicBezTo>
                  <a:cubicBezTo>
                    <a:pt x="4836318" y="3220483"/>
                    <a:pt x="4875433" y="3207325"/>
                    <a:pt x="4901509" y="3181009"/>
                  </a:cubicBezTo>
                  <a:cubicBezTo>
                    <a:pt x="4914547" y="3161271"/>
                    <a:pt x="4914547" y="3148114"/>
                    <a:pt x="4914547" y="3128377"/>
                  </a:cubicBezTo>
                  <a:cubicBezTo>
                    <a:pt x="4914547" y="3102061"/>
                    <a:pt x="4921067" y="3088903"/>
                    <a:pt x="4934104" y="3062586"/>
                  </a:cubicBezTo>
                  <a:cubicBezTo>
                    <a:pt x="4940361" y="3049959"/>
                    <a:pt x="4952621" y="3037332"/>
                    <a:pt x="4959037" y="3018772"/>
                  </a:cubicBezTo>
                  <a:close/>
                  <a:moveTo>
                    <a:pt x="4803016" y="2890192"/>
                  </a:moveTo>
                  <a:cubicBezTo>
                    <a:pt x="4820668" y="2904312"/>
                    <a:pt x="4850472" y="2928768"/>
                    <a:pt x="4886057" y="2958205"/>
                  </a:cubicBezTo>
                  <a:cubicBezTo>
                    <a:pt x="4885178" y="2960096"/>
                    <a:pt x="4883838" y="2961998"/>
                    <a:pt x="4881952" y="2963901"/>
                  </a:cubicBezTo>
                  <a:cubicBezTo>
                    <a:pt x="4862395" y="2970480"/>
                    <a:pt x="4842837" y="2963901"/>
                    <a:pt x="4823280" y="2963901"/>
                  </a:cubicBezTo>
                  <a:cubicBezTo>
                    <a:pt x="4816761" y="2963901"/>
                    <a:pt x="4803722" y="2963901"/>
                    <a:pt x="4790685" y="2963901"/>
                  </a:cubicBezTo>
                  <a:cubicBezTo>
                    <a:pt x="4777646" y="2957322"/>
                    <a:pt x="4777646" y="2950743"/>
                    <a:pt x="4771127" y="2937585"/>
                  </a:cubicBezTo>
                  <a:lnTo>
                    <a:pt x="4760609" y="2920658"/>
                  </a:lnTo>
                  <a:cubicBezTo>
                    <a:pt x="4777292" y="2914129"/>
                    <a:pt x="4791700" y="2903704"/>
                    <a:pt x="4803016" y="2890192"/>
                  </a:cubicBezTo>
                  <a:close/>
                  <a:moveTo>
                    <a:pt x="1665982" y="2869710"/>
                  </a:moveTo>
                  <a:lnTo>
                    <a:pt x="1719532" y="2981006"/>
                  </a:lnTo>
                  <a:cubicBezTo>
                    <a:pt x="1715881" y="2980234"/>
                    <a:pt x="1712131" y="2981727"/>
                    <a:pt x="1707589" y="2984018"/>
                  </a:cubicBezTo>
                  <a:cubicBezTo>
                    <a:pt x="1694555" y="2990594"/>
                    <a:pt x="1681521" y="2997170"/>
                    <a:pt x="1675004" y="3010322"/>
                  </a:cubicBezTo>
                  <a:cubicBezTo>
                    <a:pt x="1668487" y="3023473"/>
                    <a:pt x="1668487" y="3043202"/>
                    <a:pt x="1655453" y="3049777"/>
                  </a:cubicBezTo>
                  <a:cubicBezTo>
                    <a:pt x="1648936" y="3056353"/>
                    <a:pt x="1629385" y="3056353"/>
                    <a:pt x="1622868" y="3049777"/>
                  </a:cubicBezTo>
                  <a:cubicBezTo>
                    <a:pt x="1609834" y="3043202"/>
                    <a:pt x="1596800" y="3030049"/>
                    <a:pt x="1583766" y="3023473"/>
                  </a:cubicBezTo>
                  <a:cubicBezTo>
                    <a:pt x="1568052" y="3018188"/>
                    <a:pt x="1552337" y="3025647"/>
                    <a:pt x="1536433" y="3027828"/>
                  </a:cubicBezTo>
                  <a:cubicBezTo>
                    <a:pt x="1552912" y="2974808"/>
                    <a:pt x="1571420" y="2924407"/>
                    <a:pt x="1591463" y="2876899"/>
                  </a:cubicBezTo>
                  <a:cubicBezTo>
                    <a:pt x="1598560" y="2878655"/>
                    <a:pt x="1605895" y="2879104"/>
                    <a:pt x="1613334" y="2879104"/>
                  </a:cubicBezTo>
                  <a:close/>
                  <a:moveTo>
                    <a:pt x="4676169" y="2656661"/>
                  </a:moveTo>
                  <a:cubicBezTo>
                    <a:pt x="4735087" y="2656661"/>
                    <a:pt x="4782849" y="2704423"/>
                    <a:pt x="4782849" y="2763341"/>
                  </a:cubicBezTo>
                  <a:cubicBezTo>
                    <a:pt x="4782849" y="2822259"/>
                    <a:pt x="4735087" y="2870021"/>
                    <a:pt x="4676169" y="2870021"/>
                  </a:cubicBezTo>
                  <a:cubicBezTo>
                    <a:pt x="4617251" y="2870021"/>
                    <a:pt x="4569489" y="2822259"/>
                    <a:pt x="4569489" y="2763341"/>
                  </a:cubicBezTo>
                  <a:cubicBezTo>
                    <a:pt x="4569489" y="2704423"/>
                    <a:pt x="4617251" y="2656661"/>
                    <a:pt x="4676169" y="2656661"/>
                  </a:cubicBezTo>
                  <a:close/>
                  <a:moveTo>
                    <a:pt x="1617042" y="2589226"/>
                  </a:moveTo>
                  <a:cubicBezTo>
                    <a:pt x="1675960" y="2589226"/>
                    <a:pt x="1723722" y="2636988"/>
                    <a:pt x="1723722" y="2695906"/>
                  </a:cubicBezTo>
                  <a:cubicBezTo>
                    <a:pt x="1723722" y="2749566"/>
                    <a:pt x="1684105" y="2793972"/>
                    <a:pt x="1632240" y="2799518"/>
                  </a:cubicBezTo>
                  <a:cubicBezTo>
                    <a:pt x="1632429" y="2799976"/>
                    <a:pt x="1632643" y="2800422"/>
                    <a:pt x="1632858" y="2800867"/>
                  </a:cubicBezTo>
                  <a:cubicBezTo>
                    <a:pt x="1626799" y="2804172"/>
                    <a:pt x="1620141" y="2804809"/>
                    <a:pt x="1613334" y="2804809"/>
                  </a:cubicBezTo>
                  <a:cubicBezTo>
                    <a:pt x="1554416" y="2804809"/>
                    <a:pt x="1506654" y="2757047"/>
                    <a:pt x="1506654" y="2698129"/>
                  </a:cubicBezTo>
                  <a:cubicBezTo>
                    <a:pt x="1506654" y="2672937"/>
                    <a:pt x="1515386" y="2649784"/>
                    <a:pt x="1532562" y="2633889"/>
                  </a:cubicBezTo>
                  <a:cubicBezTo>
                    <a:pt x="1535652" y="2626501"/>
                    <a:pt x="1540931" y="2620754"/>
                    <a:pt x="1547520" y="2616486"/>
                  </a:cubicBezTo>
                  <a:cubicBezTo>
                    <a:pt x="1547628" y="2616155"/>
                    <a:pt x="1547856" y="2615990"/>
                    <a:pt x="1548086" y="2615827"/>
                  </a:cubicBezTo>
                  <a:lnTo>
                    <a:pt x="1548183" y="2616039"/>
                  </a:lnTo>
                  <a:cubicBezTo>
                    <a:pt x="1566071" y="2598980"/>
                    <a:pt x="1590417" y="2589226"/>
                    <a:pt x="1617042" y="2589226"/>
                  </a:cubicBezTo>
                  <a:close/>
                  <a:moveTo>
                    <a:pt x="4515253" y="2367675"/>
                  </a:moveTo>
                  <a:lnTo>
                    <a:pt x="4542959" y="2371787"/>
                  </a:lnTo>
                  <a:cubicBezTo>
                    <a:pt x="4555997" y="2384945"/>
                    <a:pt x="4575554" y="2404682"/>
                    <a:pt x="4582073" y="2424420"/>
                  </a:cubicBezTo>
                  <a:cubicBezTo>
                    <a:pt x="4588593" y="2437577"/>
                    <a:pt x="4588593" y="2450735"/>
                    <a:pt x="4601630" y="2470472"/>
                  </a:cubicBezTo>
                  <a:cubicBezTo>
                    <a:pt x="4608149" y="2483630"/>
                    <a:pt x="4614669" y="2490209"/>
                    <a:pt x="4621188" y="2516526"/>
                  </a:cubicBezTo>
                  <a:cubicBezTo>
                    <a:pt x="4627707" y="2536263"/>
                    <a:pt x="4634227" y="2549421"/>
                    <a:pt x="4647264" y="2562579"/>
                  </a:cubicBezTo>
                  <a:lnTo>
                    <a:pt x="4656263" y="2584373"/>
                  </a:lnTo>
                  <a:cubicBezTo>
                    <a:pt x="4634524" y="2585839"/>
                    <a:pt x="4614034" y="2592033"/>
                    <a:pt x="4596205" y="2603007"/>
                  </a:cubicBezTo>
                  <a:cubicBezTo>
                    <a:pt x="4582714" y="2584182"/>
                    <a:pt x="4569671" y="2564502"/>
                    <a:pt x="4562516" y="2542842"/>
                  </a:cubicBezTo>
                  <a:cubicBezTo>
                    <a:pt x="4555997" y="2529684"/>
                    <a:pt x="4562516" y="2503368"/>
                    <a:pt x="4555997" y="2483630"/>
                  </a:cubicBezTo>
                  <a:cubicBezTo>
                    <a:pt x="4549478" y="2470472"/>
                    <a:pt x="4536439" y="2450735"/>
                    <a:pt x="4529921" y="2430998"/>
                  </a:cubicBezTo>
                  <a:cubicBezTo>
                    <a:pt x="4523402" y="2424420"/>
                    <a:pt x="4490806" y="2391524"/>
                    <a:pt x="4497325" y="2378366"/>
                  </a:cubicBezTo>
                  <a:cubicBezTo>
                    <a:pt x="4497325" y="2368498"/>
                    <a:pt x="4505474" y="2366853"/>
                    <a:pt x="4515253" y="2367675"/>
                  </a:cubicBezTo>
                  <a:close/>
                  <a:moveTo>
                    <a:pt x="4920455" y="2321621"/>
                  </a:moveTo>
                  <a:cubicBezTo>
                    <a:pt x="4927178" y="2321210"/>
                    <a:pt x="4934105" y="2322444"/>
                    <a:pt x="4940624" y="2325733"/>
                  </a:cubicBezTo>
                  <a:cubicBezTo>
                    <a:pt x="4953662" y="2345471"/>
                    <a:pt x="4953662" y="2371787"/>
                    <a:pt x="4966700" y="2391524"/>
                  </a:cubicBezTo>
                  <a:cubicBezTo>
                    <a:pt x="4979738" y="2424420"/>
                    <a:pt x="5005814" y="2424420"/>
                    <a:pt x="5038410" y="2424420"/>
                  </a:cubicBezTo>
                  <a:cubicBezTo>
                    <a:pt x="5071005" y="2424420"/>
                    <a:pt x="5090563" y="2424420"/>
                    <a:pt x="5116639" y="2450735"/>
                  </a:cubicBezTo>
                  <a:cubicBezTo>
                    <a:pt x="5129677" y="2463893"/>
                    <a:pt x="5142716" y="2483630"/>
                    <a:pt x="5168792" y="2483630"/>
                  </a:cubicBezTo>
                  <a:cubicBezTo>
                    <a:pt x="5178342" y="2488449"/>
                    <a:pt x="5191389" y="2489738"/>
                    <a:pt x="5205269" y="2493172"/>
                  </a:cubicBezTo>
                  <a:cubicBezTo>
                    <a:pt x="5212550" y="2557094"/>
                    <a:pt x="5214977" y="2621868"/>
                    <a:pt x="5214977" y="2687211"/>
                  </a:cubicBezTo>
                  <a:cubicBezTo>
                    <a:pt x="5214977" y="2843611"/>
                    <a:pt x="5201071" y="2996733"/>
                    <a:pt x="5173973" y="3145285"/>
                  </a:cubicBezTo>
                  <a:lnTo>
                    <a:pt x="4979683" y="2983744"/>
                  </a:lnTo>
                  <a:cubicBezTo>
                    <a:pt x="4979703" y="2983709"/>
                    <a:pt x="4979721" y="2983674"/>
                    <a:pt x="4979738" y="2983638"/>
                  </a:cubicBezTo>
                  <a:cubicBezTo>
                    <a:pt x="4979738" y="2970480"/>
                    <a:pt x="4992777" y="2944164"/>
                    <a:pt x="4986258" y="2931006"/>
                  </a:cubicBezTo>
                  <a:cubicBezTo>
                    <a:pt x="4979738" y="2917847"/>
                    <a:pt x="4966700" y="2924427"/>
                    <a:pt x="4960181" y="2931006"/>
                  </a:cubicBezTo>
                  <a:cubicBezTo>
                    <a:pt x="4950715" y="2940560"/>
                    <a:pt x="4944685" y="2943177"/>
                    <a:pt x="4934541" y="2946211"/>
                  </a:cubicBezTo>
                  <a:lnTo>
                    <a:pt x="4855832" y="2880769"/>
                  </a:lnTo>
                  <a:cubicBezTo>
                    <a:pt x="4860129" y="2879037"/>
                    <a:pt x="4864521" y="2878373"/>
                    <a:pt x="4868913" y="2878373"/>
                  </a:cubicBezTo>
                  <a:cubicBezTo>
                    <a:pt x="4888471" y="2871794"/>
                    <a:pt x="4908028" y="2878373"/>
                    <a:pt x="4927586" y="2871794"/>
                  </a:cubicBezTo>
                  <a:cubicBezTo>
                    <a:pt x="4934104" y="2865216"/>
                    <a:pt x="4934104" y="2845479"/>
                    <a:pt x="4947143" y="2838900"/>
                  </a:cubicBezTo>
                  <a:cubicBezTo>
                    <a:pt x="4960181" y="2832320"/>
                    <a:pt x="4979738" y="2845479"/>
                    <a:pt x="4992777" y="2825741"/>
                  </a:cubicBezTo>
                  <a:cubicBezTo>
                    <a:pt x="4999295" y="2819162"/>
                    <a:pt x="4992777" y="2799425"/>
                    <a:pt x="4999295" y="2792846"/>
                  </a:cubicBezTo>
                  <a:cubicBezTo>
                    <a:pt x="5005814" y="2766530"/>
                    <a:pt x="5044929" y="2759951"/>
                    <a:pt x="5064486" y="2746792"/>
                  </a:cubicBezTo>
                  <a:cubicBezTo>
                    <a:pt x="5077525" y="2746792"/>
                    <a:pt x="5090563" y="2733633"/>
                    <a:pt x="5103601" y="2733633"/>
                  </a:cubicBezTo>
                  <a:cubicBezTo>
                    <a:pt x="5116639" y="2727054"/>
                    <a:pt x="5136196" y="2720475"/>
                    <a:pt x="5149235" y="2713897"/>
                  </a:cubicBezTo>
                  <a:cubicBezTo>
                    <a:pt x="5168792" y="2700739"/>
                    <a:pt x="5175311" y="2667843"/>
                    <a:pt x="5175311" y="2648106"/>
                  </a:cubicBezTo>
                  <a:cubicBezTo>
                    <a:pt x="5181830" y="2621790"/>
                    <a:pt x="5188350" y="2595474"/>
                    <a:pt x="5175311" y="2569157"/>
                  </a:cubicBezTo>
                  <a:cubicBezTo>
                    <a:pt x="5162273" y="2542842"/>
                    <a:pt x="5136196" y="2542842"/>
                    <a:pt x="5123159" y="2523105"/>
                  </a:cubicBezTo>
                  <a:cubicBezTo>
                    <a:pt x="5110120" y="2509947"/>
                    <a:pt x="5110120" y="2496788"/>
                    <a:pt x="5090563" y="2503368"/>
                  </a:cubicBezTo>
                  <a:cubicBezTo>
                    <a:pt x="5071005" y="2503368"/>
                    <a:pt x="5077525" y="2542842"/>
                    <a:pt x="5051449" y="2549421"/>
                  </a:cubicBezTo>
                  <a:cubicBezTo>
                    <a:pt x="5025372" y="2562579"/>
                    <a:pt x="4979738" y="2529684"/>
                    <a:pt x="4960181" y="2516526"/>
                  </a:cubicBezTo>
                  <a:cubicBezTo>
                    <a:pt x="4947143" y="2503368"/>
                    <a:pt x="4940624" y="2490209"/>
                    <a:pt x="4934104" y="2477051"/>
                  </a:cubicBezTo>
                  <a:cubicBezTo>
                    <a:pt x="4934104" y="2463893"/>
                    <a:pt x="4934104" y="2450735"/>
                    <a:pt x="4934104" y="2437577"/>
                  </a:cubicBezTo>
                  <a:cubicBezTo>
                    <a:pt x="4927586" y="2417840"/>
                    <a:pt x="4914547" y="2404682"/>
                    <a:pt x="4901509" y="2391524"/>
                  </a:cubicBezTo>
                  <a:cubicBezTo>
                    <a:pt x="4888471" y="2384945"/>
                    <a:pt x="4888471" y="2371787"/>
                    <a:pt x="4881952" y="2358629"/>
                  </a:cubicBezTo>
                  <a:cubicBezTo>
                    <a:pt x="4881952" y="2338891"/>
                    <a:pt x="4900287" y="2322855"/>
                    <a:pt x="4920455" y="2321621"/>
                  </a:cubicBezTo>
                  <a:close/>
                  <a:moveTo>
                    <a:pt x="1362188" y="2313278"/>
                  </a:moveTo>
                  <a:cubicBezTo>
                    <a:pt x="1387194" y="2313278"/>
                    <a:pt x="1408361" y="2317151"/>
                    <a:pt x="1427105" y="2333107"/>
                  </a:cubicBezTo>
                  <a:cubicBezTo>
                    <a:pt x="1457852" y="2407444"/>
                    <a:pt x="1488228" y="2478997"/>
                    <a:pt x="1518593" y="2548209"/>
                  </a:cubicBezTo>
                  <a:cubicBezTo>
                    <a:pt x="1507316" y="2551717"/>
                    <a:pt x="1498450" y="2558846"/>
                    <a:pt x="1490360" y="2566793"/>
                  </a:cubicBezTo>
                  <a:cubicBezTo>
                    <a:pt x="1485963" y="2565735"/>
                    <a:pt x="1481621" y="2565994"/>
                    <a:pt x="1478640" y="2569036"/>
                  </a:cubicBezTo>
                  <a:cubicBezTo>
                    <a:pt x="1465611" y="2569036"/>
                    <a:pt x="1459098" y="2569036"/>
                    <a:pt x="1459098" y="2575688"/>
                  </a:cubicBezTo>
                  <a:cubicBezTo>
                    <a:pt x="1450534" y="2588806"/>
                    <a:pt x="1461672" y="2590427"/>
                    <a:pt x="1472152" y="2589758"/>
                  </a:cubicBezTo>
                  <a:cubicBezTo>
                    <a:pt x="1446308" y="2618446"/>
                    <a:pt x="1432359" y="2656658"/>
                    <a:pt x="1432359" y="2698129"/>
                  </a:cubicBezTo>
                  <a:cubicBezTo>
                    <a:pt x="1432359" y="2778081"/>
                    <a:pt x="1484204" y="2845923"/>
                    <a:pt x="1556377" y="2869069"/>
                  </a:cubicBezTo>
                  <a:lnTo>
                    <a:pt x="1501687" y="3028094"/>
                  </a:lnTo>
                  <a:cubicBezTo>
                    <a:pt x="1493723" y="3026583"/>
                    <a:pt x="1485837" y="3023298"/>
                    <a:pt x="1479494" y="3016898"/>
                  </a:cubicBezTo>
                  <a:cubicBezTo>
                    <a:pt x="1472978" y="3003746"/>
                    <a:pt x="1472978" y="2984018"/>
                    <a:pt x="1472978" y="2970867"/>
                  </a:cubicBezTo>
                  <a:cubicBezTo>
                    <a:pt x="1466460" y="2957714"/>
                    <a:pt x="1459943" y="2951138"/>
                    <a:pt x="1453427" y="2937987"/>
                  </a:cubicBezTo>
                  <a:cubicBezTo>
                    <a:pt x="1446909" y="2931411"/>
                    <a:pt x="1446909" y="2911683"/>
                    <a:pt x="1446909" y="2898531"/>
                  </a:cubicBezTo>
                  <a:cubicBezTo>
                    <a:pt x="1446909" y="2872228"/>
                    <a:pt x="1453427" y="2852501"/>
                    <a:pt x="1440392" y="2826197"/>
                  </a:cubicBezTo>
                  <a:cubicBezTo>
                    <a:pt x="1433876" y="2819622"/>
                    <a:pt x="1427358" y="2806470"/>
                    <a:pt x="1420841" y="2806470"/>
                  </a:cubicBezTo>
                  <a:cubicBezTo>
                    <a:pt x="1401290" y="2799893"/>
                    <a:pt x="1388256" y="2806470"/>
                    <a:pt x="1375223" y="2806470"/>
                  </a:cubicBezTo>
                  <a:cubicBezTo>
                    <a:pt x="1362188" y="2813046"/>
                    <a:pt x="1349154" y="2813046"/>
                    <a:pt x="1336121" y="2813046"/>
                  </a:cubicBezTo>
                  <a:cubicBezTo>
                    <a:pt x="1323086" y="2813046"/>
                    <a:pt x="1310052" y="2806470"/>
                    <a:pt x="1316569" y="2793318"/>
                  </a:cubicBezTo>
                  <a:cubicBezTo>
                    <a:pt x="1329603" y="2780166"/>
                    <a:pt x="1342637" y="2767015"/>
                    <a:pt x="1342637" y="2753862"/>
                  </a:cubicBezTo>
                  <a:cubicBezTo>
                    <a:pt x="1349154" y="2740711"/>
                    <a:pt x="1342637" y="2740711"/>
                    <a:pt x="1336121" y="2727559"/>
                  </a:cubicBezTo>
                  <a:cubicBezTo>
                    <a:pt x="1336076" y="2727481"/>
                    <a:pt x="1329623" y="2714407"/>
                    <a:pt x="1336121" y="2714407"/>
                  </a:cubicBezTo>
                  <a:cubicBezTo>
                    <a:pt x="1336168" y="2714459"/>
                    <a:pt x="1342559" y="2720904"/>
                    <a:pt x="1342637" y="2720983"/>
                  </a:cubicBezTo>
                  <a:cubicBezTo>
                    <a:pt x="1349154" y="2720983"/>
                    <a:pt x="1355672" y="2720983"/>
                    <a:pt x="1362188" y="2720983"/>
                  </a:cubicBezTo>
                  <a:cubicBezTo>
                    <a:pt x="1362188" y="2714407"/>
                    <a:pt x="1355672" y="2701255"/>
                    <a:pt x="1362188" y="2694680"/>
                  </a:cubicBezTo>
                  <a:cubicBezTo>
                    <a:pt x="1362188" y="2688104"/>
                    <a:pt x="1362188" y="2674951"/>
                    <a:pt x="1368705" y="2668376"/>
                  </a:cubicBezTo>
                  <a:cubicBezTo>
                    <a:pt x="1368705" y="2655224"/>
                    <a:pt x="1375223" y="2642072"/>
                    <a:pt x="1368705" y="2628920"/>
                  </a:cubicBezTo>
                  <a:cubicBezTo>
                    <a:pt x="1362188" y="2622345"/>
                    <a:pt x="1349154" y="2615769"/>
                    <a:pt x="1342637" y="2615769"/>
                  </a:cubicBezTo>
                  <a:cubicBezTo>
                    <a:pt x="1323086" y="2615769"/>
                    <a:pt x="1303536" y="2628920"/>
                    <a:pt x="1290501" y="2642072"/>
                  </a:cubicBezTo>
                  <a:cubicBezTo>
                    <a:pt x="1277467" y="2655224"/>
                    <a:pt x="1270950" y="2674951"/>
                    <a:pt x="1264434" y="2688104"/>
                  </a:cubicBezTo>
                  <a:cubicBezTo>
                    <a:pt x="1251399" y="2707831"/>
                    <a:pt x="1218814" y="2714407"/>
                    <a:pt x="1199263" y="2720983"/>
                  </a:cubicBezTo>
                  <a:cubicBezTo>
                    <a:pt x="1186230" y="2720983"/>
                    <a:pt x="1173195" y="2727559"/>
                    <a:pt x="1160161" y="2727559"/>
                  </a:cubicBezTo>
                  <a:cubicBezTo>
                    <a:pt x="1147128" y="2720983"/>
                    <a:pt x="1147128" y="2701255"/>
                    <a:pt x="1140610" y="2688104"/>
                  </a:cubicBezTo>
                  <a:cubicBezTo>
                    <a:pt x="1134093" y="2681527"/>
                    <a:pt x="1127577" y="2668376"/>
                    <a:pt x="1121059" y="2661800"/>
                  </a:cubicBezTo>
                  <a:cubicBezTo>
                    <a:pt x="1101508" y="2642072"/>
                    <a:pt x="1094992" y="2602616"/>
                    <a:pt x="1094992" y="2576313"/>
                  </a:cubicBezTo>
                  <a:cubicBezTo>
                    <a:pt x="1094992" y="2556585"/>
                    <a:pt x="1094992" y="2536858"/>
                    <a:pt x="1101508" y="2523705"/>
                  </a:cubicBezTo>
                  <a:cubicBezTo>
                    <a:pt x="1101508" y="2510554"/>
                    <a:pt x="1108026" y="2503978"/>
                    <a:pt x="1108026" y="2490827"/>
                  </a:cubicBezTo>
                  <a:cubicBezTo>
                    <a:pt x="1108026" y="2477674"/>
                    <a:pt x="1108026" y="2464523"/>
                    <a:pt x="1108026" y="2444795"/>
                  </a:cubicBezTo>
                  <a:cubicBezTo>
                    <a:pt x="1114543" y="2425067"/>
                    <a:pt x="1121059" y="2411916"/>
                    <a:pt x="1134093" y="2392188"/>
                  </a:cubicBezTo>
                  <a:cubicBezTo>
                    <a:pt x="1134188" y="2392094"/>
                    <a:pt x="1140610" y="2385567"/>
                    <a:pt x="1140610" y="2379037"/>
                  </a:cubicBezTo>
                  <a:cubicBezTo>
                    <a:pt x="1147128" y="2372462"/>
                    <a:pt x="1166679" y="2365885"/>
                    <a:pt x="1173195" y="2359309"/>
                  </a:cubicBezTo>
                  <a:cubicBezTo>
                    <a:pt x="1192746" y="2352733"/>
                    <a:pt x="1218814" y="2333006"/>
                    <a:pt x="1238365" y="2339582"/>
                  </a:cubicBezTo>
                  <a:cubicBezTo>
                    <a:pt x="1264434" y="2339582"/>
                    <a:pt x="1283985" y="2365885"/>
                    <a:pt x="1310052" y="2359309"/>
                  </a:cubicBezTo>
                  <a:cubicBezTo>
                    <a:pt x="1323086" y="2352733"/>
                    <a:pt x="1316569" y="2339582"/>
                    <a:pt x="1316569" y="2333006"/>
                  </a:cubicBezTo>
                  <a:cubicBezTo>
                    <a:pt x="1323086" y="2319854"/>
                    <a:pt x="1349154" y="2319854"/>
                    <a:pt x="1362188" y="2313278"/>
                  </a:cubicBezTo>
                  <a:close/>
                  <a:moveTo>
                    <a:pt x="3205841" y="1867153"/>
                  </a:moveTo>
                  <a:lnTo>
                    <a:pt x="3397286" y="1964191"/>
                  </a:lnTo>
                  <a:cubicBezTo>
                    <a:pt x="3387349" y="1974607"/>
                    <a:pt x="3383586" y="1985694"/>
                    <a:pt x="3389078" y="1996780"/>
                  </a:cubicBezTo>
                  <a:cubicBezTo>
                    <a:pt x="3389078" y="2023097"/>
                    <a:pt x="3402117" y="2055992"/>
                    <a:pt x="3421674" y="2069150"/>
                  </a:cubicBezTo>
                  <a:cubicBezTo>
                    <a:pt x="3434712" y="2069150"/>
                    <a:pt x="3447751" y="2075729"/>
                    <a:pt x="3454269" y="2075729"/>
                  </a:cubicBezTo>
                  <a:cubicBezTo>
                    <a:pt x="3467308" y="2088888"/>
                    <a:pt x="3480346" y="2095467"/>
                    <a:pt x="3499903" y="2095467"/>
                  </a:cubicBezTo>
                  <a:cubicBezTo>
                    <a:pt x="3512942" y="2095467"/>
                    <a:pt x="3519460" y="2088888"/>
                    <a:pt x="3532499" y="2088888"/>
                  </a:cubicBezTo>
                  <a:cubicBezTo>
                    <a:pt x="3545537" y="2088888"/>
                    <a:pt x="3552057" y="2102046"/>
                    <a:pt x="3565094" y="2095467"/>
                  </a:cubicBezTo>
                  <a:cubicBezTo>
                    <a:pt x="3578133" y="2095467"/>
                    <a:pt x="3584651" y="2088888"/>
                    <a:pt x="3591170" y="2075729"/>
                  </a:cubicBezTo>
                  <a:lnTo>
                    <a:pt x="3594690" y="2066849"/>
                  </a:lnTo>
                  <a:lnTo>
                    <a:pt x="3669022" y="2107375"/>
                  </a:lnTo>
                  <a:cubicBezTo>
                    <a:pt x="3660251" y="2109916"/>
                    <a:pt x="3652162" y="2115094"/>
                    <a:pt x="3643324" y="2121783"/>
                  </a:cubicBezTo>
                  <a:cubicBezTo>
                    <a:pt x="3610728" y="2141519"/>
                    <a:pt x="3591170" y="2161256"/>
                    <a:pt x="3558575" y="2148098"/>
                  </a:cubicBezTo>
                  <a:cubicBezTo>
                    <a:pt x="3539018" y="2141519"/>
                    <a:pt x="3539018" y="2148098"/>
                    <a:pt x="3519460" y="2148098"/>
                  </a:cubicBezTo>
                  <a:cubicBezTo>
                    <a:pt x="3506423" y="2148098"/>
                    <a:pt x="3499903" y="2128361"/>
                    <a:pt x="3486865" y="2128361"/>
                  </a:cubicBezTo>
                  <a:cubicBezTo>
                    <a:pt x="3447751" y="2134940"/>
                    <a:pt x="3467308" y="2167835"/>
                    <a:pt x="3460789" y="2187573"/>
                  </a:cubicBezTo>
                  <a:cubicBezTo>
                    <a:pt x="3458220" y="2195351"/>
                    <a:pt x="3451601" y="2200064"/>
                    <a:pt x="3443526" y="2203296"/>
                  </a:cubicBezTo>
                  <a:cubicBezTo>
                    <a:pt x="3365505" y="2086791"/>
                    <a:pt x="3286717" y="1974433"/>
                    <a:pt x="3205841" y="1867153"/>
                  </a:cubicBezTo>
                  <a:close/>
                  <a:moveTo>
                    <a:pt x="3969279" y="1786252"/>
                  </a:moveTo>
                  <a:cubicBezTo>
                    <a:pt x="3982316" y="1792831"/>
                    <a:pt x="3988835" y="1799410"/>
                    <a:pt x="3995355" y="1805989"/>
                  </a:cubicBezTo>
                  <a:cubicBezTo>
                    <a:pt x="4001874" y="1819147"/>
                    <a:pt x="4008392" y="1832305"/>
                    <a:pt x="4021431" y="1838885"/>
                  </a:cubicBezTo>
                  <a:cubicBezTo>
                    <a:pt x="4034470" y="1858621"/>
                    <a:pt x="4054026" y="1871779"/>
                    <a:pt x="4073584" y="1878358"/>
                  </a:cubicBezTo>
                  <a:cubicBezTo>
                    <a:pt x="4086622" y="1884937"/>
                    <a:pt x="4106180" y="1891516"/>
                    <a:pt x="4119217" y="1898095"/>
                  </a:cubicBezTo>
                  <a:cubicBezTo>
                    <a:pt x="4125737" y="1904674"/>
                    <a:pt x="4132256" y="1911253"/>
                    <a:pt x="4138775" y="1924412"/>
                  </a:cubicBezTo>
                  <a:cubicBezTo>
                    <a:pt x="4138775" y="1937570"/>
                    <a:pt x="4138775" y="1950728"/>
                    <a:pt x="4138775" y="1970465"/>
                  </a:cubicBezTo>
                  <a:cubicBezTo>
                    <a:pt x="4145294" y="1983623"/>
                    <a:pt x="4151813" y="1996780"/>
                    <a:pt x="4164851" y="2009939"/>
                  </a:cubicBezTo>
                  <a:cubicBezTo>
                    <a:pt x="4171371" y="2016518"/>
                    <a:pt x="4171371" y="2016518"/>
                    <a:pt x="4177889" y="2023097"/>
                  </a:cubicBezTo>
                  <a:cubicBezTo>
                    <a:pt x="4184408" y="2029676"/>
                    <a:pt x="4184408" y="2029676"/>
                    <a:pt x="4190928" y="2036255"/>
                  </a:cubicBezTo>
                  <a:cubicBezTo>
                    <a:pt x="4197447" y="2042834"/>
                    <a:pt x="4217004" y="2042834"/>
                    <a:pt x="4217004" y="2049413"/>
                  </a:cubicBezTo>
                  <a:cubicBezTo>
                    <a:pt x="4223516" y="2062553"/>
                    <a:pt x="4204024" y="2056011"/>
                    <a:pt x="4203966" y="2055992"/>
                  </a:cubicBezTo>
                  <a:cubicBezTo>
                    <a:pt x="4190928" y="2055992"/>
                    <a:pt x="4190928" y="2069150"/>
                    <a:pt x="4197447" y="2075729"/>
                  </a:cubicBezTo>
                  <a:cubicBezTo>
                    <a:pt x="4197447" y="2088888"/>
                    <a:pt x="4210486" y="2095467"/>
                    <a:pt x="4223523" y="2095467"/>
                  </a:cubicBezTo>
                  <a:cubicBezTo>
                    <a:pt x="4236562" y="2095467"/>
                    <a:pt x="4236562" y="2088888"/>
                    <a:pt x="4236562" y="2082308"/>
                  </a:cubicBezTo>
                  <a:cubicBezTo>
                    <a:pt x="4236562" y="2062571"/>
                    <a:pt x="4243080" y="2062571"/>
                    <a:pt x="4256119" y="2062571"/>
                  </a:cubicBezTo>
                  <a:cubicBezTo>
                    <a:pt x="4262638" y="2062571"/>
                    <a:pt x="4269157" y="2049413"/>
                    <a:pt x="4262638" y="2036255"/>
                  </a:cubicBezTo>
                  <a:cubicBezTo>
                    <a:pt x="4262638" y="2029676"/>
                    <a:pt x="4256119" y="2023097"/>
                    <a:pt x="4249599" y="2016518"/>
                  </a:cubicBezTo>
                  <a:cubicBezTo>
                    <a:pt x="4243080" y="2009939"/>
                    <a:pt x="4236562" y="2003360"/>
                    <a:pt x="4236562" y="1990201"/>
                  </a:cubicBezTo>
                  <a:cubicBezTo>
                    <a:pt x="4243080" y="1983623"/>
                    <a:pt x="4256119" y="1983623"/>
                    <a:pt x="4262638" y="1983623"/>
                  </a:cubicBezTo>
                  <a:cubicBezTo>
                    <a:pt x="4269157" y="1977044"/>
                    <a:pt x="4269157" y="1977044"/>
                    <a:pt x="4275675" y="1977044"/>
                  </a:cubicBezTo>
                  <a:cubicBezTo>
                    <a:pt x="4275675" y="1970465"/>
                    <a:pt x="4275675" y="1963886"/>
                    <a:pt x="4275675" y="1957307"/>
                  </a:cubicBezTo>
                  <a:cubicBezTo>
                    <a:pt x="4282195" y="1950728"/>
                    <a:pt x="4288714" y="1950728"/>
                    <a:pt x="4295233" y="1950728"/>
                  </a:cubicBezTo>
                  <a:cubicBezTo>
                    <a:pt x="4301753" y="1950728"/>
                    <a:pt x="4301753" y="1950728"/>
                    <a:pt x="4308271" y="1950728"/>
                  </a:cubicBezTo>
                  <a:cubicBezTo>
                    <a:pt x="4321310" y="1957307"/>
                    <a:pt x="4321310" y="1957307"/>
                    <a:pt x="4327829" y="1970465"/>
                  </a:cubicBezTo>
                  <a:cubicBezTo>
                    <a:pt x="4334348" y="1983623"/>
                    <a:pt x="4340866" y="1996780"/>
                    <a:pt x="4340866" y="2009939"/>
                  </a:cubicBezTo>
                  <a:cubicBezTo>
                    <a:pt x="4340866" y="2036255"/>
                    <a:pt x="4334348" y="2055992"/>
                    <a:pt x="4353905" y="2082308"/>
                  </a:cubicBezTo>
                  <a:cubicBezTo>
                    <a:pt x="4360424" y="2088888"/>
                    <a:pt x="4373462" y="2088888"/>
                    <a:pt x="4379981" y="2095467"/>
                  </a:cubicBezTo>
                  <a:cubicBezTo>
                    <a:pt x="4386500" y="2102046"/>
                    <a:pt x="4393020" y="2121783"/>
                    <a:pt x="4406057" y="2128361"/>
                  </a:cubicBezTo>
                  <a:cubicBezTo>
                    <a:pt x="4425615" y="2141519"/>
                    <a:pt x="4432135" y="2115204"/>
                    <a:pt x="4451691" y="2115204"/>
                  </a:cubicBezTo>
                  <a:cubicBezTo>
                    <a:pt x="4471248" y="2102046"/>
                    <a:pt x="4477768" y="2121783"/>
                    <a:pt x="4490806" y="2128361"/>
                  </a:cubicBezTo>
                  <a:cubicBezTo>
                    <a:pt x="4510363" y="2134940"/>
                    <a:pt x="4542959" y="2128361"/>
                    <a:pt x="4549478" y="2121783"/>
                  </a:cubicBezTo>
                  <a:cubicBezTo>
                    <a:pt x="4555997" y="2115204"/>
                    <a:pt x="4569036" y="2088888"/>
                    <a:pt x="4582073" y="2108625"/>
                  </a:cubicBezTo>
                  <a:cubicBezTo>
                    <a:pt x="4608149" y="2134940"/>
                    <a:pt x="4549478" y="2187573"/>
                    <a:pt x="4555997" y="2220468"/>
                  </a:cubicBezTo>
                  <a:cubicBezTo>
                    <a:pt x="4555997" y="2233627"/>
                    <a:pt x="4569036" y="2253365"/>
                    <a:pt x="4549478" y="2266523"/>
                  </a:cubicBezTo>
                  <a:cubicBezTo>
                    <a:pt x="4529921" y="2273102"/>
                    <a:pt x="4503845" y="2266523"/>
                    <a:pt x="4484287" y="2273102"/>
                  </a:cubicBezTo>
                  <a:cubicBezTo>
                    <a:pt x="4471248" y="2273102"/>
                    <a:pt x="4458211" y="2279681"/>
                    <a:pt x="4445172" y="2286259"/>
                  </a:cubicBezTo>
                  <a:cubicBezTo>
                    <a:pt x="4425615" y="2299417"/>
                    <a:pt x="4412577" y="2292838"/>
                    <a:pt x="4393020" y="2286259"/>
                  </a:cubicBezTo>
                  <a:cubicBezTo>
                    <a:pt x="4386500" y="2279681"/>
                    <a:pt x="4379981" y="2279681"/>
                    <a:pt x="4373462" y="2279681"/>
                  </a:cubicBezTo>
                  <a:cubicBezTo>
                    <a:pt x="4366944" y="2279681"/>
                    <a:pt x="4366944" y="2286259"/>
                    <a:pt x="4360424" y="2286259"/>
                  </a:cubicBezTo>
                  <a:cubicBezTo>
                    <a:pt x="4353905" y="2292838"/>
                    <a:pt x="4353905" y="2286259"/>
                    <a:pt x="4340866" y="2286259"/>
                  </a:cubicBezTo>
                  <a:cubicBezTo>
                    <a:pt x="4314790" y="2286259"/>
                    <a:pt x="4288714" y="2292838"/>
                    <a:pt x="4262638" y="2273102"/>
                  </a:cubicBezTo>
                  <a:cubicBezTo>
                    <a:pt x="4243080" y="2253365"/>
                    <a:pt x="4223523" y="2233627"/>
                    <a:pt x="4197447" y="2233627"/>
                  </a:cubicBezTo>
                  <a:cubicBezTo>
                    <a:pt x="4177889" y="2240206"/>
                    <a:pt x="4158332" y="2246785"/>
                    <a:pt x="4151813" y="2273102"/>
                  </a:cubicBezTo>
                  <a:cubicBezTo>
                    <a:pt x="4151813" y="2286259"/>
                    <a:pt x="4158332" y="2305996"/>
                    <a:pt x="4138775" y="2312575"/>
                  </a:cubicBezTo>
                  <a:cubicBezTo>
                    <a:pt x="4119217" y="2325733"/>
                    <a:pt x="4060546" y="2305996"/>
                    <a:pt x="4047507" y="2286259"/>
                  </a:cubicBezTo>
                  <a:cubicBezTo>
                    <a:pt x="4027950" y="2266523"/>
                    <a:pt x="4008392" y="2253365"/>
                    <a:pt x="3975798" y="2246785"/>
                  </a:cubicBezTo>
                  <a:cubicBezTo>
                    <a:pt x="3949721" y="2240206"/>
                    <a:pt x="3917125" y="2227047"/>
                    <a:pt x="3904088" y="2200731"/>
                  </a:cubicBezTo>
                  <a:cubicBezTo>
                    <a:pt x="3891049" y="2167835"/>
                    <a:pt x="3936683" y="2108625"/>
                    <a:pt x="3897568" y="2082308"/>
                  </a:cubicBezTo>
                  <a:cubicBezTo>
                    <a:pt x="3871492" y="2075729"/>
                    <a:pt x="3838897" y="2075729"/>
                    <a:pt x="3819339" y="2088888"/>
                  </a:cubicBezTo>
                  <a:cubicBezTo>
                    <a:pt x="3791156" y="2094577"/>
                    <a:pt x="3762972" y="2100265"/>
                    <a:pt x="3734942" y="2095918"/>
                  </a:cubicBezTo>
                  <a:lnTo>
                    <a:pt x="3629942" y="2039026"/>
                  </a:lnTo>
                  <a:cubicBezTo>
                    <a:pt x="3634400" y="2034399"/>
                    <a:pt x="3636805" y="2028748"/>
                    <a:pt x="3636805" y="2023097"/>
                  </a:cubicBezTo>
                  <a:cubicBezTo>
                    <a:pt x="3643324" y="2009939"/>
                    <a:pt x="3636805" y="1996780"/>
                    <a:pt x="3643324" y="1977044"/>
                  </a:cubicBezTo>
                  <a:cubicBezTo>
                    <a:pt x="3656361" y="1963886"/>
                    <a:pt x="3662881" y="1937570"/>
                    <a:pt x="3682439" y="1930991"/>
                  </a:cubicBezTo>
                  <a:cubicBezTo>
                    <a:pt x="3688957" y="1924412"/>
                    <a:pt x="3715033" y="1917832"/>
                    <a:pt x="3721552" y="1911253"/>
                  </a:cubicBezTo>
                  <a:cubicBezTo>
                    <a:pt x="3728072" y="1891516"/>
                    <a:pt x="3715033" y="1871779"/>
                    <a:pt x="3728072" y="1858621"/>
                  </a:cubicBezTo>
                  <a:cubicBezTo>
                    <a:pt x="3734591" y="1852042"/>
                    <a:pt x="3747630" y="1852042"/>
                    <a:pt x="3760667" y="1852042"/>
                  </a:cubicBezTo>
                  <a:cubicBezTo>
                    <a:pt x="3767186" y="1852042"/>
                    <a:pt x="3780225" y="1858621"/>
                    <a:pt x="3793263" y="1858621"/>
                  </a:cubicBezTo>
                  <a:cubicBezTo>
                    <a:pt x="3799782" y="1865200"/>
                    <a:pt x="3806301" y="1858621"/>
                    <a:pt x="3819339" y="1852042"/>
                  </a:cubicBezTo>
                  <a:cubicBezTo>
                    <a:pt x="3825858" y="1845464"/>
                    <a:pt x="3838897" y="1832305"/>
                    <a:pt x="3845416" y="1825726"/>
                  </a:cubicBezTo>
                  <a:cubicBezTo>
                    <a:pt x="3851934" y="1819147"/>
                    <a:pt x="3858454" y="1819147"/>
                    <a:pt x="3871492" y="1819147"/>
                  </a:cubicBezTo>
                  <a:cubicBezTo>
                    <a:pt x="3891049" y="1819147"/>
                    <a:pt x="3904088" y="1838885"/>
                    <a:pt x="3910607" y="1852042"/>
                  </a:cubicBezTo>
                  <a:cubicBezTo>
                    <a:pt x="3910607" y="1865200"/>
                    <a:pt x="3917125" y="1871779"/>
                    <a:pt x="3923645" y="1884937"/>
                  </a:cubicBezTo>
                  <a:cubicBezTo>
                    <a:pt x="3923645" y="1891516"/>
                    <a:pt x="3930164" y="1898095"/>
                    <a:pt x="3936683" y="1904674"/>
                  </a:cubicBezTo>
                  <a:cubicBezTo>
                    <a:pt x="3949721" y="1917832"/>
                    <a:pt x="3969279" y="1930991"/>
                    <a:pt x="3982316" y="1937570"/>
                  </a:cubicBezTo>
                  <a:cubicBezTo>
                    <a:pt x="4008392" y="1944149"/>
                    <a:pt x="4021431" y="1950728"/>
                    <a:pt x="4034470" y="1977044"/>
                  </a:cubicBezTo>
                  <a:cubicBezTo>
                    <a:pt x="4040989" y="1990201"/>
                    <a:pt x="4047507" y="2003360"/>
                    <a:pt x="4047507" y="2023097"/>
                  </a:cubicBezTo>
                  <a:cubicBezTo>
                    <a:pt x="4047481" y="2023126"/>
                    <a:pt x="4040989" y="2029691"/>
                    <a:pt x="4040989" y="2036255"/>
                  </a:cubicBezTo>
                  <a:cubicBezTo>
                    <a:pt x="4040989" y="2042799"/>
                    <a:pt x="4040989" y="2049341"/>
                    <a:pt x="4040989" y="2049413"/>
                  </a:cubicBezTo>
                  <a:cubicBezTo>
                    <a:pt x="4034470" y="2055992"/>
                    <a:pt x="4027950" y="2055992"/>
                    <a:pt x="4021431" y="2055992"/>
                  </a:cubicBezTo>
                  <a:cubicBezTo>
                    <a:pt x="4008392" y="2055992"/>
                    <a:pt x="4001874" y="2049413"/>
                    <a:pt x="3988835" y="2049413"/>
                  </a:cubicBezTo>
                  <a:cubicBezTo>
                    <a:pt x="3969279" y="2055992"/>
                    <a:pt x="3969279" y="2069150"/>
                    <a:pt x="3982316" y="2082308"/>
                  </a:cubicBezTo>
                  <a:cubicBezTo>
                    <a:pt x="3988835" y="2088888"/>
                    <a:pt x="3995355" y="2088888"/>
                    <a:pt x="4001874" y="2088888"/>
                  </a:cubicBezTo>
                  <a:cubicBezTo>
                    <a:pt x="4008392" y="2095467"/>
                    <a:pt x="4014912" y="2095467"/>
                    <a:pt x="4021431" y="2088888"/>
                  </a:cubicBezTo>
                  <a:cubicBezTo>
                    <a:pt x="4027950" y="2082308"/>
                    <a:pt x="4027950" y="2075729"/>
                    <a:pt x="4034470" y="2069150"/>
                  </a:cubicBezTo>
                  <a:cubicBezTo>
                    <a:pt x="4040989" y="2062571"/>
                    <a:pt x="4047507" y="2062571"/>
                    <a:pt x="4054026" y="2055992"/>
                  </a:cubicBezTo>
                  <a:cubicBezTo>
                    <a:pt x="4054026" y="2055966"/>
                    <a:pt x="4054026" y="2049444"/>
                    <a:pt x="4054026" y="2049413"/>
                  </a:cubicBezTo>
                  <a:cubicBezTo>
                    <a:pt x="4060546" y="2042834"/>
                    <a:pt x="4060546" y="2042834"/>
                    <a:pt x="4067065" y="2036255"/>
                  </a:cubicBezTo>
                  <a:cubicBezTo>
                    <a:pt x="4067124" y="2036200"/>
                    <a:pt x="4073584" y="2029656"/>
                    <a:pt x="4073584" y="2023097"/>
                  </a:cubicBezTo>
                  <a:cubicBezTo>
                    <a:pt x="4080103" y="2009939"/>
                    <a:pt x="4080103" y="2009939"/>
                    <a:pt x="4073584" y="1996780"/>
                  </a:cubicBezTo>
                  <a:cubicBezTo>
                    <a:pt x="4067065" y="1990201"/>
                    <a:pt x="4067065" y="1977044"/>
                    <a:pt x="4073584" y="1970465"/>
                  </a:cubicBezTo>
                  <a:cubicBezTo>
                    <a:pt x="4080103" y="1957307"/>
                    <a:pt x="4099661" y="1983623"/>
                    <a:pt x="4106180" y="1977044"/>
                  </a:cubicBezTo>
                  <a:cubicBezTo>
                    <a:pt x="4119217" y="1970465"/>
                    <a:pt x="4093141" y="1950728"/>
                    <a:pt x="4086622" y="1944149"/>
                  </a:cubicBezTo>
                  <a:cubicBezTo>
                    <a:pt x="4080103" y="1944149"/>
                    <a:pt x="4073584" y="1944149"/>
                    <a:pt x="4060546" y="1937570"/>
                  </a:cubicBezTo>
                  <a:cubicBezTo>
                    <a:pt x="4054026" y="1930991"/>
                    <a:pt x="4054026" y="1924412"/>
                    <a:pt x="4047507" y="1917832"/>
                  </a:cubicBezTo>
                  <a:cubicBezTo>
                    <a:pt x="4027950" y="1904674"/>
                    <a:pt x="4008392" y="1898095"/>
                    <a:pt x="3995355" y="1884937"/>
                  </a:cubicBezTo>
                  <a:cubicBezTo>
                    <a:pt x="3988835" y="1871779"/>
                    <a:pt x="3982316" y="1865200"/>
                    <a:pt x="3975798" y="1852042"/>
                  </a:cubicBezTo>
                  <a:cubicBezTo>
                    <a:pt x="3969279" y="1838885"/>
                    <a:pt x="3962759" y="1832305"/>
                    <a:pt x="3956240" y="1825726"/>
                  </a:cubicBezTo>
                  <a:cubicBezTo>
                    <a:pt x="3949721" y="1805989"/>
                    <a:pt x="3949721" y="1786252"/>
                    <a:pt x="3969279" y="1786252"/>
                  </a:cubicBezTo>
                  <a:close/>
                  <a:moveTo>
                    <a:pt x="410146" y="1579357"/>
                  </a:moveTo>
                  <a:cubicBezTo>
                    <a:pt x="424264" y="1582970"/>
                    <a:pt x="437263" y="1590915"/>
                    <a:pt x="443292" y="1603081"/>
                  </a:cubicBezTo>
                  <a:cubicBezTo>
                    <a:pt x="449809" y="1616233"/>
                    <a:pt x="443292" y="1642537"/>
                    <a:pt x="430259" y="1649113"/>
                  </a:cubicBezTo>
                  <a:cubicBezTo>
                    <a:pt x="417224" y="1655688"/>
                    <a:pt x="397673" y="1649113"/>
                    <a:pt x="384639" y="1649113"/>
                  </a:cubicBezTo>
                  <a:cubicBezTo>
                    <a:pt x="365088" y="1655688"/>
                    <a:pt x="365088" y="1681992"/>
                    <a:pt x="365088" y="1695144"/>
                  </a:cubicBezTo>
                  <a:cubicBezTo>
                    <a:pt x="365088" y="1721448"/>
                    <a:pt x="384639" y="1741175"/>
                    <a:pt x="404190" y="1754327"/>
                  </a:cubicBezTo>
                  <a:cubicBezTo>
                    <a:pt x="417224" y="1767479"/>
                    <a:pt x="423741" y="1787207"/>
                    <a:pt x="423741" y="1800359"/>
                  </a:cubicBezTo>
                  <a:cubicBezTo>
                    <a:pt x="430258" y="1839814"/>
                    <a:pt x="423741" y="1879269"/>
                    <a:pt x="417224" y="1918724"/>
                  </a:cubicBezTo>
                  <a:cubicBezTo>
                    <a:pt x="417224" y="1938451"/>
                    <a:pt x="417224" y="1958179"/>
                    <a:pt x="417224" y="1977906"/>
                  </a:cubicBezTo>
                  <a:cubicBezTo>
                    <a:pt x="430258" y="2004210"/>
                    <a:pt x="443292" y="2030514"/>
                    <a:pt x="449810" y="2063394"/>
                  </a:cubicBezTo>
                  <a:cubicBezTo>
                    <a:pt x="456326" y="2076545"/>
                    <a:pt x="462843" y="2089697"/>
                    <a:pt x="469360" y="2109425"/>
                  </a:cubicBezTo>
                  <a:cubicBezTo>
                    <a:pt x="475877" y="2122577"/>
                    <a:pt x="482394" y="2142305"/>
                    <a:pt x="488911" y="2155456"/>
                  </a:cubicBezTo>
                  <a:cubicBezTo>
                    <a:pt x="501945" y="2175183"/>
                    <a:pt x="521496" y="2201487"/>
                    <a:pt x="541047" y="2214639"/>
                  </a:cubicBezTo>
                  <a:cubicBezTo>
                    <a:pt x="560598" y="2234367"/>
                    <a:pt x="586666" y="2240943"/>
                    <a:pt x="606217" y="2267247"/>
                  </a:cubicBezTo>
                  <a:cubicBezTo>
                    <a:pt x="612734" y="2280398"/>
                    <a:pt x="619251" y="2300127"/>
                    <a:pt x="625768" y="2313278"/>
                  </a:cubicBezTo>
                  <a:cubicBezTo>
                    <a:pt x="638802" y="2333006"/>
                    <a:pt x="651836" y="2346158"/>
                    <a:pt x="658353" y="2365885"/>
                  </a:cubicBezTo>
                  <a:cubicBezTo>
                    <a:pt x="671387" y="2379037"/>
                    <a:pt x="658353" y="2392188"/>
                    <a:pt x="658353" y="2405339"/>
                  </a:cubicBezTo>
                  <a:cubicBezTo>
                    <a:pt x="651836" y="2425067"/>
                    <a:pt x="677904" y="2438219"/>
                    <a:pt x="684421" y="2444795"/>
                  </a:cubicBezTo>
                  <a:cubicBezTo>
                    <a:pt x="697455" y="2457947"/>
                    <a:pt x="710489" y="2471099"/>
                    <a:pt x="717006" y="2484250"/>
                  </a:cubicBezTo>
                  <a:cubicBezTo>
                    <a:pt x="730040" y="2497403"/>
                    <a:pt x="736557" y="2517130"/>
                    <a:pt x="743074" y="2536858"/>
                  </a:cubicBezTo>
                  <a:cubicBezTo>
                    <a:pt x="743074" y="2543434"/>
                    <a:pt x="749591" y="2556585"/>
                    <a:pt x="762625" y="2556585"/>
                  </a:cubicBezTo>
                  <a:cubicBezTo>
                    <a:pt x="775658" y="2556585"/>
                    <a:pt x="775658" y="2543434"/>
                    <a:pt x="775658" y="2536858"/>
                  </a:cubicBezTo>
                  <a:cubicBezTo>
                    <a:pt x="775658" y="2530282"/>
                    <a:pt x="769142" y="2517130"/>
                    <a:pt x="762625" y="2510554"/>
                  </a:cubicBezTo>
                  <a:cubicBezTo>
                    <a:pt x="756108" y="2503978"/>
                    <a:pt x="749591" y="2490827"/>
                    <a:pt x="743074" y="2477674"/>
                  </a:cubicBezTo>
                  <a:cubicBezTo>
                    <a:pt x="736557" y="2471099"/>
                    <a:pt x="730040" y="2464523"/>
                    <a:pt x="723523" y="2451371"/>
                  </a:cubicBezTo>
                  <a:cubicBezTo>
                    <a:pt x="710489" y="2438219"/>
                    <a:pt x="703972" y="2425067"/>
                    <a:pt x="697455" y="2405339"/>
                  </a:cubicBezTo>
                  <a:cubicBezTo>
                    <a:pt x="690938" y="2385613"/>
                    <a:pt x="677904" y="2372462"/>
                    <a:pt x="677904" y="2352733"/>
                  </a:cubicBezTo>
                  <a:cubicBezTo>
                    <a:pt x="671387" y="2339582"/>
                    <a:pt x="671387" y="2326429"/>
                    <a:pt x="671387" y="2306702"/>
                  </a:cubicBezTo>
                  <a:cubicBezTo>
                    <a:pt x="671387" y="2286974"/>
                    <a:pt x="690938" y="2280398"/>
                    <a:pt x="710489" y="2293551"/>
                  </a:cubicBezTo>
                  <a:cubicBezTo>
                    <a:pt x="723523" y="2306702"/>
                    <a:pt x="730040" y="2326429"/>
                    <a:pt x="736557" y="2339582"/>
                  </a:cubicBezTo>
                  <a:cubicBezTo>
                    <a:pt x="749591" y="2352733"/>
                    <a:pt x="762625" y="2372462"/>
                    <a:pt x="775658" y="2392188"/>
                  </a:cubicBezTo>
                  <a:cubicBezTo>
                    <a:pt x="801727" y="2438219"/>
                    <a:pt x="821278" y="2484250"/>
                    <a:pt x="847346" y="2530282"/>
                  </a:cubicBezTo>
                  <a:cubicBezTo>
                    <a:pt x="853862" y="2536858"/>
                    <a:pt x="866897" y="2550009"/>
                    <a:pt x="873414" y="2556585"/>
                  </a:cubicBezTo>
                  <a:cubicBezTo>
                    <a:pt x="879931" y="2569738"/>
                    <a:pt x="879931" y="2569738"/>
                    <a:pt x="886448" y="2582889"/>
                  </a:cubicBezTo>
                  <a:cubicBezTo>
                    <a:pt x="892964" y="2596041"/>
                    <a:pt x="899482" y="2602616"/>
                    <a:pt x="899482" y="2615769"/>
                  </a:cubicBezTo>
                  <a:cubicBezTo>
                    <a:pt x="905999" y="2635496"/>
                    <a:pt x="899482" y="2655224"/>
                    <a:pt x="899482" y="2674951"/>
                  </a:cubicBezTo>
                  <a:cubicBezTo>
                    <a:pt x="905999" y="2688104"/>
                    <a:pt x="912515" y="2714407"/>
                    <a:pt x="925550" y="2727559"/>
                  </a:cubicBezTo>
                  <a:cubicBezTo>
                    <a:pt x="938584" y="2740711"/>
                    <a:pt x="951617" y="2740711"/>
                    <a:pt x="971168" y="2747287"/>
                  </a:cubicBezTo>
                  <a:cubicBezTo>
                    <a:pt x="977686" y="2753862"/>
                    <a:pt x="984202" y="2767015"/>
                    <a:pt x="997237" y="2767015"/>
                  </a:cubicBezTo>
                  <a:cubicBezTo>
                    <a:pt x="1003753" y="2773591"/>
                    <a:pt x="1016788" y="2767015"/>
                    <a:pt x="1023304" y="2773591"/>
                  </a:cubicBezTo>
                  <a:cubicBezTo>
                    <a:pt x="1029822" y="2780166"/>
                    <a:pt x="1029822" y="2786742"/>
                    <a:pt x="1036339" y="2786742"/>
                  </a:cubicBezTo>
                  <a:cubicBezTo>
                    <a:pt x="1049373" y="2799893"/>
                    <a:pt x="1055890" y="2813046"/>
                    <a:pt x="1075441" y="2819622"/>
                  </a:cubicBezTo>
                  <a:cubicBezTo>
                    <a:pt x="1094992" y="2826197"/>
                    <a:pt x="1127577" y="2826197"/>
                    <a:pt x="1147128" y="2819622"/>
                  </a:cubicBezTo>
                  <a:cubicBezTo>
                    <a:pt x="1166679" y="2813046"/>
                    <a:pt x="1186230" y="2806470"/>
                    <a:pt x="1205781" y="2813046"/>
                  </a:cubicBezTo>
                  <a:cubicBezTo>
                    <a:pt x="1218814" y="2819622"/>
                    <a:pt x="1225332" y="2832773"/>
                    <a:pt x="1238365" y="2839349"/>
                  </a:cubicBezTo>
                  <a:cubicBezTo>
                    <a:pt x="1257916" y="2852501"/>
                    <a:pt x="1264434" y="2878803"/>
                    <a:pt x="1283985" y="2885380"/>
                  </a:cubicBezTo>
                  <a:cubicBezTo>
                    <a:pt x="1290501" y="2891956"/>
                    <a:pt x="1297018" y="2891956"/>
                    <a:pt x="1303536" y="2891956"/>
                  </a:cubicBezTo>
                  <a:cubicBezTo>
                    <a:pt x="1329603" y="2898531"/>
                    <a:pt x="1342637" y="2905107"/>
                    <a:pt x="1355672" y="2918259"/>
                  </a:cubicBezTo>
                  <a:cubicBezTo>
                    <a:pt x="1381739" y="2937987"/>
                    <a:pt x="1375223" y="2977442"/>
                    <a:pt x="1388256" y="2997170"/>
                  </a:cubicBezTo>
                  <a:cubicBezTo>
                    <a:pt x="1401290" y="3010322"/>
                    <a:pt x="1414325" y="3010322"/>
                    <a:pt x="1427358" y="3016898"/>
                  </a:cubicBezTo>
                  <a:cubicBezTo>
                    <a:pt x="1440392" y="3023473"/>
                    <a:pt x="1440392" y="3043202"/>
                    <a:pt x="1459943" y="3049777"/>
                  </a:cubicBezTo>
                  <a:cubicBezTo>
                    <a:pt x="1466770" y="3056665"/>
                    <a:pt x="1478960" y="3058142"/>
                    <a:pt x="1491811" y="3056810"/>
                  </a:cubicBezTo>
                  <a:cubicBezTo>
                    <a:pt x="1426327" y="3270386"/>
                    <a:pt x="1381963" y="3510108"/>
                    <a:pt x="1357836" y="3753401"/>
                  </a:cubicBezTo>
                  <a:cubicBezTo>
                    <a:pt x="1117675" y="3775787"/>
                    <a:pt x="878695" y="3783528"/>
                    <a:pt x="637311" y="3793448"/>
                  </a:cubicBezTo>
                  <a:cubicBezTo>
                    <a:pt x="618234" y="3714625"/>
                    <a:pt x="547078" y="3656345"/>
                    <a:pt x="462310" y="3656345"/>
                  </a:cubicBezTo>
                  <a:cubicBezTo>
                    <a:pt x="419997" y="3656345"/>
                    <a:pt x="381076" y="3670866"/>
                    <a:pt x="351902" y="3696785"/>
                  </a:cubicBezTo>
                  <a:cubicBezTo>
                    <a:pt x="218267" y="3387537"/>
                    <a:pt x="145086" y="3045999"/>
                    <a:pt x="145086" y="2687211"/>
                  </a:cubicBezTo>
                  <a:cubicBezTo>
                    <a:pt x="145086" y="2290103"/>
                    <a:pt x="234735" y="1914126"/>
                    <a:pt x="397422" y="1580084"/>
                  </a:cubicBezTo>
                  <a:cubicBezTo>
                    <a:pt x="401797" y="1577616"/>
                    <a:pt x="406020" y="1578301"/>
                    <a:pt x="410146" y="1579357"/>
                  </a:cubicBezTo>
                  <a:close/>
                  <a:moveTo>
                    <a:pt x="2361829" y="1500921"/>
                  </a:moveTo>
                  <a:cubicBezTo>
                    <a:pt x="2617943" y="1597474"/>
                    <a:pt x="2874306" y="1707071"/>
                    <a:pt x="3120312" y="1825613"/>
                  </a:cubicBezTo>
                  <a:cubicBezTo>
                    <a:pt x="3225381" y="1963374"/>
                    <a:pt x="3319732" y="2097659"/>
                    <a:pt x="3407681" y="2222306"/>
                  </a:cubicBezTo>
                  <a:cubicBezTo>
                    <a:pt x="3382328" y="2248433"/>
                    <a:pt x="3376041" y="2293428"/>
                    <a:pt x="3376041" y="2325733"/>
                  </a:cubicBezTo>
                  <a:cubicBezTo>
                    <a:pt x="3376041" y="2358629"/>
                    <a:pt x="3363002" y="2384945"/>
                    <a:pt x="3343445" y="2404682"/>
                  </a:cubicBezTo>
                  <a:cubicBezTo>
                    <a:pt x="3310850" y="2430998"/>
                    <a:pt x="3284774" y="2437577"/>
                    <a:pt x="3271735" y="2470472"/>
                  </a:cubicBezTo>
                  <a:cubicBezTo>
                    <a:pt x="3258696" y="2496788"/>
                    <a:pt x="3258696" y="2516526"/>
                    <a:pt x="3232620" y="2536263"/>
                  </a:cubicBezTo>
                  <a:cubicBezTo>
                    <a:pt x="3219583" y="2549421"/>
                    <a:pt x="3213063" y="2556000"/>
                    <a:pt x="3206544" y="2569157"/>
                  </a:cubicBezTo>
                  <a:cubicBezTo>
                    <a:pt x="3206544" y="2602053"/>
                    <a:pt x="3186987" y="2621790"/>
                    <a:pt x="3200025" y="2648106"/>
                  </a:cubicBezTo>
                  <a:cubicBezTo>
                    <a:pt x="3213063" y="2661264"/>
                    <a:pt x="3206544" y="2681002"/>
                    <a:pt x="3213063" y="2694160"/>
                  </a:cubicBezTo>
                  <a:cubicBezTo>
                    <a:pt x="3213063" y="2707318"/>
                    <a:pt x="3219583" y="2720475"/>
                    <a:pt x="3219583" y="2740212"/>
                  </a:cubicBezTo>
                  <a:cubicBezTo>
                    <a:pt x="3219583" y="2759951"/>
                    <a:pt x="3206544" y="2773109"/>
                    <a:pt x="3200025" y="2792846"/>
                  </a:cubicBezTo>
                  <a:cubicBezTo>
                    <a:pt x="3193505" y="2812583"/>
                    <a:pt x="3186987" y="2852058"/>
                    <a:pt x="3193505" y="2871794"/>
                  </a:cubicBezTo>
                  <a:cubicBezTo>
                    <a:pt x="3193505" y="2911268"/>
                    <a:pt x="3232620" y="2931006"/>
                    <a:pt x="3245659" y="2957322"/>
                  </a:cubicBezTo>
                  <a:cubicBezTo>
                    <a:pt x="3278254" y="3003375"/>
                    <a:pt x="3291292" y="3095482"/>
                    <a:pt x="3343445" y="3128377"/>
                  </a:cubicBezTo>
                  <a:cubicBezTo>
                    <a:pt x="3382560" y="3148114"/>
                    <a:pt x="3434712" y="3181009"/>
                    <a:pt x="3480346" y="3161271"/>
                  </a:cubicBezTo>
                  <a:cubicBezTo>
                    <a:pt x="3506423" y="3154693"/>
                    <a:pt x="3525979" y="3148114"/>
                    <a:pt x="3558575" y="3148114"/>
                  </a:cubicBezTo>
                  <a:cubicBezTo>
                    <a:pt x="3565094" y="3141535"/>
                    <a:pt x="3578133" y="3141535"/>
                    <a:pt x="3584651" y="3141535"/>
                  </a:cubicBezTo>
                  <a:cubicBezTo>
                    <a:pt x="3591170" y="3141535"/>
                    <a:pt x="3604209" y="3148114"/>
                    <a:pt x="3610728" y="3154693"/>
                  </a:cubicBezTo>
                  <a:cubicBezTo>
                    <a:pt x="3643324" y="3161271"/>
                    <a:pt x="3669400" y="3141535"/>
                    <a:pt x="3695476" y="3134956"/>
                  </a:cubicBezTo>
                  <a:cubicBezTo>
                    <a:pt x="3708515" y="3128377"/>
                    <a:pt x="3728072" y="3128377"/>
                    <a:pt x="3734591" y="3128377"/>
                  </a:cubicBezTo>
                  <a:cubicBezTo>
                    <a:pt x="3754148" y="3128377"/>
                    <a:pt x="3754148" y="3134956"/>
                    <a:pt x="3767186" y="3141535"/>
                  </a:cubicBezTo>
                  <a:cubicBezTo>
                    <a:pt x="3786743" y="3154693"/>
                    <a:pt x="3799782" y="3167850"/>
                    <a:pt x="3819339" y="3174430"/>
                  </a:cubicBezTo>
                  <a:cubicBezTo>
                    <a:pt x="3855486" y="3186590"/>
                    <a:pt x="3870755" y="3211392"/>
                    <a:pt x="3873949" y="3241281"/>
                  </a:cubicBezTo>
                  <a:cubicBezTo>
                    <a:pt x="3461883" y="3377852"/>
                    <a:pt x="3090069" y="3470887"/>
                    <a:pt x="2724694" y="3553798"/>
                  </a:cubicBezTo>
                  <a:lnTo>
                    <a:pt x="2717723" y="3536393"/>
                  </a:lnTo>
                  <a:cubicBezTo>
                    <a:pt x="2711206" y="3523242"/>
                    <a:pt x="2698172" y="3516666"/>
                    <a:pt x="2691655" y="3510090"/>
                  </a:cubicBezTo>
                  <a:cubicBezTo>
                    <a:pt x="2672104" y="3496938"/>
                    <a:pt x="2652553" y="3477210"/>
                    <a:pt x="2633002" y="3464058"/>
                  </a:cubicBezTo>
                  <a:cubicBezTo>
                    <a:pt x="2613451" y="3450906"/>
                    <a:pt x="2593900" y="3444331"/>
                    <a:pt x="2574349" y="3437755"/>
                  </a:cubicBezTo>
                  <a:cubicBezTo>
                    <a:pt x="2561315" y="3437755"/>
                    <a:pt x="2541764" y="3437755"/>
                    <a:pt x="2528730" y="3437755"/>
                  </a:cubicBezTo>
                  <a:cubicBezTo>
                    <a:pt x="2509179" y="3431179"/>
                    <a:pt x="2489628" y="3424602"/>
                    <a:pt x="2476594" y="3404875"/>
                  </a:cubicBezTo>
                  <a:cubicBezTo>
                    <a:pt x="2470077" y="3391724"/>
                    <a:pt x="2463560" y="3391724"/>
                    <a:pt x="2450526" y="3385147"/>
                  </a:cubicBezTo>
                  <a:cubicBezTo>
                    <a:pt x="2437493" y="3378571"/>
                    <a:pt x="2430975" y="3365420"/>
                    <a:pt x="2417942" y="3365420"/>
                  </a:cubicBezTo>
                  <a:cubicBezTo>
                    <a:pt x="2404907" y="3365420"/>
                    <a:pt x="2398391" y="3365420"/>
                    <a:pt x="2385356" y="3365420"/>
                  </a:cubicBezTo>
                  <a:cubicBezTo>
                    <a:pt x="2372322" y="3358844"/>
                    <a:pt x="2365805" y="3345693"/>
                    <a:pt x="2352771" y="3339117"/>
                  </a:cubicBezTo>
                  <a:cubicBezTo>
                    <a:pt x="2333220" y="3325965"/>
                    <a:pt x="2320187" y="3306237"/>
                    <a:pt x="2313669" y="3286510"/>
                  </a:cubicBezTo>
                  <a:cubicBezTo>
                    <a:pt x="2307152" y="3273359"/>
                    <a:pt x="2300636" y="3253630"/>
                    <a:pt x="2294118" y="3240479"/>
                  </a:cubicBezTo>
                  <a:cubicBezTo>
                    <a:pt x="2287601" y="3214175"/>
                    <a:pt x="2274567" y="3168144"/>
                    <a:pt x="2241983" y="3161568"/>
                  </a:cubicBezTo>
                  <a:cubicBezTo>
                    <a:pt x="2228949" y="3154992"/>
                    <a:pt x="2215914" y="3141840"/>
                    <a:pt x="2202881" y="3135264"/>
                  </a:cubicBezTo>
                  <a:cubicBezTo>
                    <a:pt x="2183330" y="3128688"/>
                    <a:pt x="2163778" y="3122113"/>
                    <a:pt x="2144227" y="3115537"/>
                  </a:cubicBezTo>
                  <a:cubicBezTo>
                    <a:pt x="2105125" y="3102384"/>
                    <a:pt x="2066023" y="3069505"/>
                    <a:pt x="2039956" y="3036625"/>
                  </a:cubicBezTo>
                  <a:cubicBezTo>
                    <a:pt x="2033439" y="3023473"/>
                    <a:pt x="2020405" y="3003746"/>
                    <a:pt x="2007370" y="2997170"/>
                  </a:cubicBezTo>
                  <a:cubicBezTo>
                    <a:pt x="1994337" y="2990594"/>
                    <a:pt x="1974786" y="2990594"/>
                    <a:pt x="1955235" y="2984018"/>
                  </a:cubicBezTo>
                  <a:cubicBezTo>
                    <a:pt x="1935684" y="2977442"/>
                    <a:pt x="1909616" y="2977442"/>
                    <a:pt x="1890065" y="2977442"/>
                  </a:cubicBezTo>
                  <a:cubicBezTo>
                    <a:pt x="1870514" y="2977442"/>
                    <a:pt x="1844446" y="2984018"/>
                    <a:pt x="1824895" y="2977442"/>
                  </a:cubicBezTo>
                  <a:cubicBezTo>
                    <a:pt x="1811861" y="2977442"/>
                    <a:pt x="1798827" y="2977442"/>
                    <a:pt x="1785793" y="2977442"/>
                  </a:cubicBezTo>
                  <a:cubicBezTo>
                    <a:pt x="1779307" y="2977442"/>
                    <a:pt x="1772819" y="2983959"/>
                    <a:pt x="1772759" y="2984018"/>
                  </a:cubicBezTo>
                  <a:cubicBezTo>
                    <a:pt x="1772759" y="2990565"/>
                    <a:pt x="1772759" y="2997110"/>
                    <a:pt x="1772759" y="2997170"/>
                  </a:cubicBezTo>
                  <a:lnTo>
                    <a:pt x="1772759" y="2999378"/>
                  </a:lnTo>
                  <a:cubicBezTo>
                    <a:pt x="1748087" y="2950273"/>
                    <a:pt x="1724475" y="2901467"/>
                    <a:pt x="1702560" y="2852555"/>
                  </a:cubicBezTo>
                  <a:cubicBezTo>
                    <a:pt x="1748596" y="2828936"/>
                    <a:pt x="1781151" y="2784418"/>
                    <a:pt x="1790909" y="2731861"/>
                  </a:cubicBezTo>
                  <a:cubicBezTo>
                    <a:pt x="1800866" y="2734739"/>
                    <a:pt x="1811233" y="2737995"/>
                    <a:pt x="1819190" y="2734009"/>
                  </a:cubicBezTo>
                  <a:cubicBezTo>
                    <a:pt x="1832327" y="2727427"/>
                    <a:pt x="1832327" y="2714265"/>
                    <a:pt x="1825758" y="2707683"/>
                  </a:cubicBezTo>
                  <a:cubicBezTo>
                    <a:pt x="1819190" y="2694520"/>
                    <a:pt x="1806051" y="2684647"/>
                    <a:pt x="1792914" y="2681356"/>
                  </a:cubicBezTo>
                  <a:lnTo>
                    <a:pt x="1792619" y="2681363"/>
                  </a:lnTo>
                  <a:cubicBezTo>
                    <a:pt x="1788577" y="2632255"/>
                    <a:pt x="1764691" y="2588846"/>
                    <a:pt x="1728105" y="2560069"/>
                  </a:cubicBezTo>
                  <a:cubicBezTo>
                    <a:pt x="1835327" y="2282920"/>
                    <a:pt x="2009805" y="1984326"/>
                    <a:pt x="2218953" y="1692434"/>
                  </a:cubicBezTo>
                  <a:cubicBezTo>
                    <a:pt x="2222347" y="1692216"/>
                    <a:pt x="2225642" y="1693181"/>
                    <a:pt x="2229144" y="1694355"/>
                  </a:cubicBezTo>
                  <a:cubicBezTo>
                    <a:pt x="2242273" y="1694355"/>
                    <a:pt x="2248838" y="1707556"/>
                    <a:pt x="2261967" y="1707556"/>
                  </a:cubicBezTo>
                  <a:cubicBezTo>
                    <a:pt x="2275096" y="1707556"/>
                    <a:pt x="2288225" y="1707556"/>
                    <a:pt x="2294790" y="1694355"/>
                  </a:cubicBezTo>
                  <a:cubicBezTo>
                    <a:pt x="2301354" y="1674555"/>
                    <a:pt x="2288225" y="1667954"/>
                    <a:pt x="2275096" y="1654754"/>
                  </a:cubicBezTo>
                  <a:lnTo>
                    <a:pt x="2258691" y="1638260"/>
                  </a:lnTo>
                  <a:close/>
                  <a:moveTo>
                    <a:pt x="2113689" y="1410315"/>
                  </a:moveTo>
                  <a:cubicBezTo>
                    <a:pt x="2182975" y="1433311"/>
                    <a:pt x="2252144" y="1458468"/>
                    <a:pt x="2321184" y="1485101"/>
                  </a:cubicBezTo>
                  <a:cubicBezTo>
                    <a:pt x="2289129" y="1525509"/>
                    <a:pt x="2258980" y="1566814"/>
                    <a:pt x="2229636" y="1608083"/>
                  </a:cubicBezTo>
                  <a:cubicBezTo>
                    <a:pt x="2225516" y="1606903"/>
                    <a:pt x="2220973" y="1606891"/>
                    <a:pt x="2216015" y="1608553"/>
                  </a:cubicBezTo>
                  <a:cubicBezTo>
                    <a:pt x="2209450" y="1608553"/>
                    <a:pt x="2209450" y="1615153"/>
                    <a:pt x="2202886" y="1615153"/>
                  </a:cubicBezTo>
                  <a:cubicBezTo>
                    <a:pt x="2196321" y="1615153"/>
                    <a:pt x="2183192" y="1615153"/>
                    <a:pt x="2183192" y="1608553"/>
                  </a:cubicBezTo>
                  <a:cubicBezTo>
                    <a:pt x="2176629" y="1601952"/>
                    <a:pt x="2183192" y="1595352"/>
                    <a:pt x="2183192" y="1582152"/>
                  </a:cubicBezTo>
                  <a:cubicBezTo>
                    <a:pt x="2189757" y="1575551"/>
                    <a:pt x="2189757" y="1562351"/>
                    <a:pt x="2196321" y="1549151"/>
                  </a:cubicBezTo>
                  <a:cubicBezTo>
                    <a:pt x="2196321" y="1542550"/>
                    <a:pt x="2196321" y="1529349"/>
                    <a:pt x="2189757" y="1529349"/>
                  </a:cubicBezTo>
                  <a:cubicBezTo>
                    <a:pt x="2183192" y="1529349"/>
                    <a:pt x="2183192" y="1529349"/>
                    <a:pt x="2176629" y="1529349"/>
                  </a:cubicBezTo>
                  <a:cubicBezTo>
                    <a:pt x="2163500" y="1529349"/>
                    <a:pt x="2163500" y="1555750"/>
                    <a:pt x="2163500" y="1568951"/>
                  </a:cubicBezTo>
                  <a:cubicBezTo>
                    <a:pt x="2156935" y="1601952"/>
                    <a:pt x="2110983" y="1621752"/>
                    <a:pt x="2110983" y="1648154"/>
                  </a:cubicBezTo>
                  <a:cubicBezTo>
                    <a:pt x="2116956" y="1684186"/>
                    <a:pt x="2144667" y="1692897"/>
                    <a:pt x="2169460" y="1692884"/>
                  </a:cubicBezTo>
                  <a:cubicBezTo>
                    <a:pt x="1961170" y="1988840"/>
                    <a:pt x="1796647" y="2279991"/>
                    <a:pt x="1692801" y="2537872"/>
                  </a:cubicBezTo>
                  <a:cubicBezTo>
                    <a:pt x="1669542" y="2523926"/>
                    <a:pt x="1642229" y="2517154"/>
                    <a:pt x="1613334" y="2517154"/>
                  </a:cubicBezTo>
                  <a:lnTo>
                    <a:pt x="1554453" y="2528627"/>
                  </a:lnTo>
                  <a:lnTo>
                    <a:pt x="1534460" y="2483231"/>
                  </a:lnTo>
                  <a:cubicBezTo>
                    <a:pt x="1551181" y="2481709"/>
                    <a:pt x="1551181" y="2455131"/>
                    <a:pt x="1551181" y="2438219"/>
                  </a:cubicBezTo>
                  <a:cubicBezTo>
                    <a:pt x="1544664" y="2411916"/>
                    <a:pt x="1531630" y="2392188"/>
                    <a:pt x="1525113" y="2365885"/>
                  </a:cubicBezTo>
                  <a:cubicBezTo>
                    <a:pt x="1512079" y="2339582"/>
                    <a:pt x="1512079" y="2313278"/>
                    <a:pt x="1525113" y="2286974"/>
                  </a:cubicBezTo>
                  <a:cubicBezTo>
                    <a:pt x="1538147" y="2260671"/>
                    <a:pt x="1564215" y="2240943"/>
                    <a:pt x="1583766" y="2221216"/>
                  </a:cubicBezTo>
                  <a:cubicBezTo>
                    <a:pt x="1596800" y="2201487"/>
                    <a:pt x="1616351" y="2194912"/>
                    <a:pt x="1629385" y="2175183"/>
                  </a:cubicBezTo>
                  <a:cubicBezTo>
                    <a:pt x="1635902" y="2162032"/>
                    <a:pt x="1642419" y="2148881"/>
                    <a:pt x="1642419" y="2135728"/>
                  </a:cubicBezTo>
                  <a:cubicBezTo>
                    <a:pt x="1642419" y="2129152"/>
                    <a:pt x="1635902" y="2122577"/>
                    <a:pt x="1635902" y="2116001"/>
                  </a:cubicBezTo>
                  <a:cubicBezTo>
                    <a:pt x="1635902" y="2102849"/>
                    <a:pt x="1635902" y="2096273"/>
                    <a:pt x="1635902" y="2089697"/>
                  </a:cubicBezTo>
                  <a:cubicBezTo>
                    <a:pt x="1635902" y="2069970"/>
                    <a:pt x="1629385" y="2050241"/>
                    <a:pt x="1635902" y="2030514"/>
                  </a:cubicBezTo>
                  <a:cubicBezTo>
                    <a:pt x="1635902" y="2023939"/>
                    <a:pt x="1648936" y="1997635"/>
                    <a:pt x="1655453" y="2010786"/>
                  </a:cubicBezTo>
                  <a:cubicBezTo>
                    <a:pt x="1661970" y="2017362"/>
                    <a:pt x="1661970" y="2023939"/>
                    <a:pt x="1655453" y="2030514"/>
                  </a:cubicBezTo>
                  <a:cubicBezTo>
                    <a:pt x="1655453" y="2037090"/>
                    <a:pt x="1655453" y="2043666"/>
                    <a:pt x="1661970" y="2050241"/>
                  </a:cubicBezTo>
                  <a:cubicBezTo>
                    <a:pt x="1668487" y="2056817"/>
                    <a:pt x="1681521" y="2063394"/>
                    <a:pt x="1688038" y="2050241"/>
                  </a:cubicBezTo>
                  <a:cubicBezTo>
                    <a:pt x="1688038" y="2043666"/>
                    <a:pt x="1688038" y="2030514"/>
                    <a:pt x="1688038" y="2017362"/>
                  </a:cubicBezTo>
                  <a:cubicBezTo>
                    <a:pt x="1688038" y="2010786"/>
                    <a:pt x="1688038" y="2010786"/>
                    <a:pt x="1688038" y="2004210"/>
                  </a:cubicBezTo>
                  <a:cubicBezTo>
                    <a:pt x="1694555" y="1991059"/>
                    <a:pt x="1707589" y="1984483"/>
                    <a:pt x="1714106" y="1977906"/>
                  </a:cubicBezTo>
                  <a:cubicBezTo>
                    <a:pt x="1714106" y="1971331"/>
                    <a:pt x="1714106" y="1964755"/>
                    <a:pt x="1720624" y="1958179"/>
                  </a:cubicBezTo>
                  <a:cubicBezTo>
                    <a:pt x="1720624" y="1951603"/>
                    <a:pt x="1727140" y="1945028"/>
                    <a:pt x="1733657" y="1938451"/>
                  </a:cubicBezTo>
                  <a:cubicBezTo>
                    <a:pt x="1753208" y="1912148"/>
                    <a:pt x="1772759" y="1885845"/>
                    <a:pt x="1792310" y="1859541"/>
                  </a:cubicBezTo>
                  <a:cubicBezTo>
                    <a:pt x="1805344" y="1846390"/>
                    <a:pt x="1837929" y="1820086"/>
                    <a:pt x="1857480" y="1820086"/>
                  </a:cubicBezTo>
                  <a:cubicBezTo>
                    <a:pt x="1870514" y="1813510"/>
                    <a:pt x="1883548" y="1820086"/>
                    <a:pt x="1890065" y="1806934"/>
                  </a:cubicBezTo>
                  <a:cubicBezTo>
                    <a:pt x="1896582" y="1793783"/>
                    <a:pt x="1890065" y="1793783"/>
                    <a:pt x="1903099" y="1787207"/>
                  </a:cubicBezTo>
                  <a:cubicBezTo>
                    <a:pt x="1909616" y="1780630"/>
                    <a:pt x="1948717" y="1767479"/>
                    <a:pt x="1948717" y="1787207"/>
                  </a:cubicBezTo>
                  <a:cubicBezTo>
                    <a:pt x="1942201" y="1793783"/>
                    <a:pt x="1935684" y="1800359"/>
                    <a:pt x="1929166" y="1806934"/>
                  </a:cubicBezTo>
                  <a:cubicBezTo>
                    <a:pt x="1922650" y="1813510"/>
                    <a:pt x="1916133" y="1820086"/>
                    <a:pt x="1922650" y="1833238"/>
                  </a:cubicBezTo>
                  <a:cubicBezTo>
                    <a:pt x="1929166" y="1839814"/>
                    <a:pt x="1942201" y="1846390"/>
                    <a:pt x="1955235" y="1846390"/>
                  </a:cubicBezTo>
                  <a:cubicBezTo>
                    <a:pt x="1968268" y="1846390"/>
                    <a:pt x="1974786" y="1839814"/>
                    <a:pt x="1987819" y="1826663"/>
                  </a:cubicBezTo>
                  <a:cubicBezTo>
                    <a:pt x="1994337" y="1820086"/>
                    <a:pt x="1994337" y="1806934"/>
                    <a:pt x="2007370" y="1800359"/>
                  </a:cubicBezTo>
                  <a:cubicBezTo>
                    <a:pt x="2013888" y="1800359"/>
                    <a:pt x="2033439" y="1787207"/>
                    <a:pt x="2039956" y="1780630"/>
                  </a:cubicBezTo>
                  <a:cubicBezTo>
                    <a:pt x="2052990" y="1760903"/>
                    <a:pt x="1994342" y="1767479"/>
                    <a:pt x="1987819" y="1767479"/>
                  </a:cubicBezTo>
                  <a:cubicBezTo>
                    <a:pt x="1974786" y="1760903"/>
                    <a:pt x="1955235" y="1741175"/>
                    <a:pt x="1955235" y="1728023"/>
                  </a:cubicBezTo>
                  <a:cubicBezTo>
                    <a:pt x="1948717" y="1708296"/>
                    <a:pt x="1955235" y="1695144"/>
                    <a:pt x="1942201" y="1688568"/>
                  </a:cubicBezTo>
                  <a:cubicBezTo>
                    <a:pt x="1935684" y="1681992"/>
                    <a:pt x="1929166" y="1681992"/>
                    <a:pt x="1922650" y="1675417"/>
                  </a:cubicBezTo>
                  <a:cubicBezTo>
                    <a:pt x="1919391" y="1672129"/>
                    <a:pt x="1917762" y="1668841"/>
                    <a:pt x="1918577" y="1666374"/>
                  </a:cubicBezTo>
                  <a:lnTo>
                    <a:pt x="1929166" y="1662264"/>
                  </a:lnTo>
                  <a:cubicBezTo>
                    <a:pt x="1935684" y="1655688"/>
                    <a:pt x="1942201" y="1662264"/>
                    <a:pt x="1948717" y="1655688"/>
                  </a:cubicBezTo>
                  <a:cubicBezTo>
                    <a:pt x="1955235" y="1649113"/>
                    <a:pt x="1961752" y="1642537"/>
                    <a:pt x="1955235" y="1629384"/>
                  </a:cubicBezTo>
                  <a:cubicBezTo>
                    <a:pt x="1948717" y="1609657"/>
                    <a:pt x="1929166" y="1609657"/>
                    <a:pt x="1909616" y="1616233"/>
                  </a:cubicBezTo>
                  <a:cubicBezTo>
                    <a:pt x="1909549" y="1616273"/>
                    <a:pt x="1896571" y="1622809"/>
                    <a:pt x="1890065" y="1622809"/>
                  </a:cubicBezTo>
                  <a:cubicBezTo>
                    <a:pt x="1877031" y="1629384"/>
                    <a:pt x="1857480" y="1642537"/>
                    <a:pt x="1844446" y="1655688"/>
                  </a:cubicBezTo>
                  <a:cubicBezTo>
                    <a:pt x="1844446" y="1662264"/>
                    <a:pt x="1837929" y="1668841"/>
                    <a:pt x="1831412" y="1668841"/>
                  </a:cubicBezTo>
                  <a:cubicBezTo>
                    <a:pt x="1824895" y="1662264"/>
                    <a:pt x="1831412" y="1649113"/>
                    <a:pt x="1837929" y="1642537"/>
                  </a:cubicBezTo>
                  <a:cubicBezTo>
                    <a:pt x="1844446" y="1635961"/>
                    <a:pt x="1850963" y="1622809"/>
                    <a:pt x="1857480" y="1616233"/>
                  </a:cubicBezTo>
                  <a:cubicBezTo>
                    <a:pt x="1877031" y="1596506"/>
                    <a:pt x="1896582" y="1583353"/>
                    <a:pt x="1916133" y="1583353"/>
                  </a:cubicBezTo>
                  <a:cubicBezTo>
                    <a:pt x="1929166" y="1576777"/>
                    <a:pt x="1935684" y="1576777"/>
                    <a:pt x="1942201" y="1576777"/>
                  </a:cubicBezTo>
                  <a:cubicBezTo>
                    <a:pt x="1968268" y="1576777"/>
                    <a:pt x="1987819" y="1583353"/>
                    <a:pt x="2007370" y="1576777"/>
                  </a:cubicBezTo>
                  <a:cubicBezTo>
                    <a:pt x="2026921" y="1576777"/>
                    <a:pt x="2046472" y="1583353"/>
                    <a:pt x="2059507" y="1576777"/>
                  </a:cubicBezTo>
                  <a:cubicBezTo>
                    <a:pt x="2066023" y="1576777"/>
                    <a:pt x="2072541" y="1570202"/>
                    <a:pt x="2079058" y="1570202"/>
                  </a:cubicBezTo>
                  <a:cubicBezTo>
                    <a:pt x="2092092" y="1563626"/>
                    <a:pt x="2098608" y="1557050"/>
                    <a:pt x="2105125" y="1550473"/>
                  </a:cubicBezTo>
                  <a:cubicBezTo>
                    <a:pt x="2118159" y="1543898"/>
                    <a:pt x="2111643" y="1530746"/>
                    <a:pt x="2118159" y="1524170"/>
                  </a:cubicBezTo>
                  <a:cubicBezTo>
                    <a:pt x="2137710" y="1497866"/>
                    <a:pt x="2170296" y="1530746"/>
                    <a:pt x="2189847" y="1511018"/>
                  </a:cubicBezTo>
                  <a:cubicBezTo>
                    <a:pt x="2202881" y="1504442"/>
                    <a:pt x="2209398" y="1484715"/>
                    <a:pt x="2209398" y="1471563"/>
                  </a:cubicBezTo>
                  <a:cubicBezTo>
                    <a:pt x="2202881" y="1458411"/>
                    <a:pt x="2196363" y="1458411"/>
                    <a:pt x="2189847" y="1451835"/>
                  </a:cubicBezTo>
                  <a:cubicBezTo>
                    <a:pt x="2176812" y="1451835"/>
                    <a:pt x="2176812" y="1445260"/>
                    <a:pt x="2163778" y="1445260"/>
                  </a:cubicBezTo>
                  <a:cubicBezTo>
                    <a:pt x="2157261" y="1445260"/>
                    <a:pt x="2150745" y="1451835"/>
                    <a:pt x="2144227" y="1451835"/>
                  </a:cubicBezTo>
                  <a:cubicBezTo>
                    <a:pt x="2124676" y="1464987"/>
                    <a:pt x="2111643" y="1471563"/>
                    <a:pt x="2098608" y="1471563"/>
                  </a:cubicBezTo>
                  <a:cubicBezTo>
                    <a:pt x="2085574" y="1471563"/>
                    <a:pt x="2072541" y="1458411"/>
                    <a:pt x="2079058" y="1445260"/>
                  </a:cubicBezTo>
                  <a:cubicBezTo>
                    <a:pt x="2079058" y="1432107"/>
                    <a:pt x="2098608" y="1432107"/>
                    <a:pt x="2105125" y="1418956"/>
                  </a:cubicBezTo>
                  <a:close/>
                  <a:moveTo>
                    <a:pt x="3448170" y="1384560"/>
                  </a:moveTo>
                  <a:cubicBezTo>
                    <a:pt x="3441579" y="1384560"/>
                    <a:pt x="3434988" y="1391217"/>
                    <a:pt x="3428397" y="1397877"/>
                  </a:cubicBezTo>
                  <a:cubicBezTo>
                    <a:pt x="3421807" y="1404535"/>
                    <a:pt x="3415216" y="1411193"/>
                    <a:pt x="3408625" y="1411193"/>
                  </a:cubicBezTo>
                  <a:cubicBezTo>
                    <a:pt x="3402034" y="1417852"/>
                    <a:pt x="3395444" y="1411193"/>
                    <a:pt x="3388852" y="1417852"/>
                  </a:cubicBezTo>
                  <a:cubicBezTo>
                    <a:pt x="3388852" y="1424511"/>
                    <a:pt x="3395444" y="1424511"/>
                    <a:pt x="3395444" y="1431168"/>
                  </a:cubicBezTo>
                  <a:cubicBezTo>
                    <a:pt x="3395444" y="1444486"/>
                    <a:pt x="3375670" y="1437826"/>
                    <a:pt x="3382261" y="1451143"/>
                  </a:cubicBezTo>
                  <a:cubicBezTo>
                    <a:pt x="3382261" y="1457802"/>
                    <a:pt x="3388852" y="1457802"/>
                    <a:pt x="3395444" y="1464461"/>
                  </a:cubicBezTo>
                  <a:cubicBezTo>
                    <a:pt x="3395444" y="1464562"/>
                    <a:pt x="3395444" y="1477800"/>
                    <a:pt x="3395444" y="1484437"/>
                  </a:cubicBezTo>
                  <a:cubicBezTo>
                    <a:pt x="3395444" y="1491095"/>
                    <a:pt x="3395444" y="1497753"/>
                    <a:pt x="3388852" y="1497753"/>
                  </a:cubicBezTo>
                  <a:cubicBezTo>
                    <a:pt x="3382314" y="1504359"/>
                    <a:pt x="3375774" y="1504412"/>
                    <a:pt x="3375670" y="1504412"/>
                  </a:cubicBezTo>
                  <a:cubicBezTo>
                    <a:pt x="3375670" y="1511071"/>
                    <a:pt x="3375670" y="1517728"/>
                    <a:pt x="3369079" y="1524387"/>
                  </a:cubicBezTo>
                  <a:lnTo>
                    <a:pt x="3369904" y="1530213"/>
                  </a:lnTo>
                  <a:cubicBezTo>
                    <a:pt x="3370728" y="1531046"/>
                    <a:pt x="3372375" y="1531046"/>
                    <a:pt x="3375670" y="1531046"/>
                  </a:cubicBezTo>
                  <a:lnTo>
                    <a:pt x="3378966" y="1536039"/>
                  </a:lnTo>
                  <a:lnTo>
                    <a:pt x="3382261" y="1531046"/>
                  </a:lnTo>
                  <a:cubicBezTo>
                    <a:pt x="3388852" y="1531046"/>
                    <a:pt x="3388852" y="1531046"/>
                    <a:pt x="3395444" y="1531046"/>
                  </a:cubicBezTo>
                  <a:cubicBezTo>
                    <a:pt x="3402034" y="1531046"/>
                    <a:pt x="3408625" y="1537703"/>
                    <a:pt x="3415216" y="1537703"/>
                  </a:cubicBezTo>
                  <a:cubicBezTo>
                    <a:pt x="3421807" y="1537703"/>
                    <a:pt x="3421807" y="1531046"/>
                    <a:pt x="3428397" y="1524387"/>
                  </a:cubicBezTo>
                  <a:cubicBezTo>
                    <a:pt x="3434988" y="1524387"/>
                    <a:pt x="3434988" y="1517728"/>
                    <a:pt x="3441579" y="1517728"/>
                  </a:cubicBezTo>
                  <a:cubicBezTo>
                    <a:pt x="3448170" y="1511071"/>
                    <a:pt x="3448170" y="1511071"/>
                    <a:pt x="3454762" y="1511071"/>
                  </a:cubicBezTo>
                  <a:cubicBezTo>
                    <a:pt x="3461292" y="1511071"/>
                    <a:pt x="3461352" y="1504532"/>
                    <a:pt x="3461352" y="1504412"/>
                  </a:cubicBezTo>
                  <a:cubicBezTo>
                    <a:pt x="3467943" y="1497753"/>
                    <a:pt x="3467943" y="1491095"/>
                    <a:pt x="3474534" y="1491095"/>
                  </a:cubicBezTo>
                  <a:cubicBezTo>
                    <a:pt x="3474534" y="1477777"/>
                    <a:pt x="3467943" y="1471120"/>
                    <a:pt x="3467943" y="1457803"/>
                  </a:cubicBezTo>
                  <a:cubicBezTo>
                    <a:pt x="3467943" y="1457768"/>
                    <a:pt x="3467943" y="1451190"/>
                    <a:pt x="3467943" y="1451143"/>
                  </a:cubicBezTo>
                  <a:cubicBezTo>
                    <a:pt x="3467943" y="1444548"/>
                    <a:pt x="3467943" y="1437954"/>
                    <a:pt x="3467943" y="1437826"/>
                  </a:cubicBezTo>
                  <a:cubicBezTo>
                    <a:pt x="3467943" y="1431168"/>
                    <a:pt x="3481125" y="1431168"/>
                    <a:pt x="3481125" y="1424511"/>
                  </a:cubicBezTo>
                  <a:cubicBezTo>
                    <a:pt x="3487715" y="1417852"/>
                    <a:pt x="3481125" y="1397880"/>
                    <a:pt x="3474534" y="1391217"/>
                  </a:cubicBezTo>
                  <a:cubicBezTo>
                    <a:pt x="3474534" y="1384560"/>
                    <a:pt x="3467943" y="1391217"/>
                    <a:pt x="3461352" y="1391217"/>
                  </a:cubicBezTo>
                  <a:cubicBezTo>
                    <a:pt x="3454762" y="1391217"/>
                    <a:pt x="3454762" y="1384560"/>
                    <a:pt x="3448170" y="1384560"/>
                  </a:cubicBezTo>
                  <a:close/>
                  <a:moveTo>
                    <a:pt x="3951501" y="1350565"/>
                  </a:moveTo>
                  <a:cubicBezTo>
                    <a:pt x="3940327" y="1346911"/>
                    <a:pt x="3929153" y="1357874"/>
                    <a:pt x="3929153" y="1372494"/>
                  </a:cubicBezTo>
                  <a:cubicBezTo>
                    <a:pt x="3929153" y="1385487"/>
                    <a:pt x="3935775" y="1398482"/>
                    <a:pt x="3949018" y="1391985"/>
                  </a:cubicBezTo>
                  <a:cubicBezTo>
                    <a:pt x="3962260" y="1391985"/>
                    <a:pt x="3962260" y="1372494"/>
                    <a:pt x="3962260" y="1359499"/>
                  </a:cubicBezTo>
                  <a:cubicBezTo>
                    <a:pt x="3958950" y="1354626"/>
                    <a:pt x="3955226" y="1351784"/>
                    <a:pt x="3951501" y="1350565"/>
                  </a:cubicBezTo>
                  <a:close/>
                  <a:moveTo>
                    <a:pt x="3538712" y="1228629"/>
                  </a:moveTo>
                  <a:cubicBezTo>
                    <a:pt x="3532126" y="1235193"/>
                    <a:pt x="3525540" y="1235193"/>
                    <a:pt x="3518953" y="1235193"/>
                  </a:cubicBezTo>
                  <a:cubicBezTo>
                    <a:pt x="3512368" y="1235193"/>
                    <a:pt x="3512368" y="1241756"/>
                    <a:pt x="3512368" y="1248320"/>
                  </a:cubicBezTo>
                  <a:cubicBezTo>
                    <a:pt x="3512368" y="1254883"/>
                    <a:pt x="3505781" y="1248320"/>
                    <a:pt x="3505781" y="1254883"/>
                  </a:cubicBezTo>
                  <a:cubicBezTo>
                    <a:pt x="3499196" y="1261446"/>
                    <a:pt x="3505781" y="1261446"/>
                    <a:pt x="3505781" y="1268009"/>
                  </a:cubicBezTo>
                  <a:cubicBezTo>
                    <a:pt x="3499247" y="1274523"/>
                    <a:pt x="3492713" y="1274572"/>
                    <a:pt x="3492610" y="1274572"/>
                  </a:cubicBezTo>
                  <a:cubicBezTo>
                    <a:pt x="3486024" y="1281136"/>
                    <a:pt x="3492610" y="1287700"/>
                    <a:pt x="3492610" y="1294263"/>
                  </a:cubicBezTo>
                  <a:cubicBezTo>
                    <a:pt x="3505781" y="1294263"/>
                    <a:pt x="3492610" y="1307391"/>
                    <a:pt x="3486024" y="1313952"/>
                  </a:cubicBezTo>
                  <a:cubicBezTo>
                    <a:pt x="3486024" y="1320516"/>
                    <a:pt x="3492610" y="1320516"/>
                    <a:pt x="3492610" y="1327079"/>
                  </a:cubicBezTo>
                  <a:cubicBezTo>
                    <a:pt x="3492610" y="1333643"/>
                    <a:pt x="3492610" y="1333643"/>
                    <a:pt x="3492610" y="1340207"/>
                  </a:cubicBezTo>
                  <a:cubicBezTo>
                    <a:pt x="3492610" y="1346732"/>
                    <a:pt x="3499119" y="1346770"/>
                    <a:pt x="3499196" y="1346770"/>
                  </a:cubicBezTo>
                  <a:cubicBezTo>
                    <a:pt x="3505781" y="1353334"/>
                    <a:pt x="3512368" y="1353334"/>
                    <a:pt x="3512368" y="1359898"/>
                  </a:cubicBezTo>
                  <a:cubicBezTo>
                    <a:pt x="3512342" y="1359923"/>
                    <a:pt x="3505795" y="1366473"/>
                    <a:pt x="3512368" y="1373023"/>
                  </a:cubicBezTo>
                  <a:cubicBezTo>
                    <a:pt x="3512368" y="1379586"/>
                    <a:pt x="3518953" y="1386150"/>
                    <a:pt x="3525540" y="1386150"/>
                  </a:cubicBezTo>
                  <a:cubicBezTo>
                    <a:pt x="3532126" y="1386150"/>
                    <a:pt x="3545298" y="1386150"/>
                    <a:pt x="3551884" y="1392714"/>
                  </a:cubicBezTo>
                  <a:cubicBezTo>
                    <a:pt x="3558470" y="1399277"/>
                    <a:pt x="3532126" y="1412405"/>
                    <a:pt x="3545298" y="1418967"/>
                  </a:cubicBezTo>
                  <a:cubicBezTo>
                    <a:pt x="3551884" y="1418967"/>
                    <a:pt x="3558470" y="1412405"/>
                    <a:pt x="3565055" y="1418967"/>
                  </a:cubicBezTo>
                  <a:cubicBezTo>
                    <a:pt x="3571642" y="1445221"/>
                    <a:pt x="3532126" y="1438657"/>
                    <a:pt x="3525540" y="1451784"/>
                  </a:cubicBezTo>
                  <a:cubicBezTo>
                    <a:pt x="3518953" y="1458348"/>
                    <a:pt x="3525540" y="1458348"/>
                    <a:pt x="3525540" y="1464912"/>
                  </a:cubicBezTo>
                  <a:cubicBezTo>
                    <a:pt x="3525540" y="1471474"/>
                    <a:pt x="3518953" y="1471474"/>
                    <a:pt x="3518953" y="1484601"/>
                  </a:cubicBezTo>
                  <a:cubicBezTo>
                    <a:pt x="3518953" y="1491164"/>
                    <a:pt x="3525540" y="1491164"/>
                    <a:pt x="3518953" y="1497728"/>
                  </a:cubicBezTo>
                  <a:cubicBezTo>
                    <a:pt x="3518953" y="1504291"/>
                    <a:pt x="3512368" y="1504291"/>
                    <a:pt x="3505781" y="1510855"/>
                  </a:cubicBezTo>
                  <a:cubicBezTo>
                    <a:pt x="3499196" y="1517419"/>
                    <a:pt x="3512368" y="1523981"/>
                    <a:pt x="3518953" y="1523981"/>
                  </a:cubicBezTo>
                  <a:cubicBezTo>
                    <a:pt x="3525540" y="1523981"/>
                    <a:pt x="3525540" y="1530544"/>
                    <a:pt x="3532126" y="1530544"/>
                  </a:cubicBezTo>
                  <a:cubicBezTo>
                    <a:pt x="3538712" y="1530544"/>
                    <a:pt x="3545298" y="1530544"/>
                    <a:pt x="3558470" y="1530544"/>
                  </a:cubicBezTo>
                  <a:cubicBezTo>
                    <a:pt x="3558504" y="1530578"/>
                    <a:pt x="3564964" y="1537017"/>
                    <a:pt x="3565055" y="1537108"/>
                  </a:cubicBezTo>
                  <a:cubicBezTo>
                    <a:pt x="3551884" y="1543671"/>
                    <a:pt x="3545298" y="1543671"/>
                    <a:pt x="3532126" y="1543671"/>
                  </a:cubicBezTo>
                  <a:cubicBezTo>
                    <a:pt x="3525540" y="1543671"/>
                    <a:pt x="3518953" y="1543671"/>
                    <a:pt x="3512368" y="1550235"/>
                  </a:cubicBezTo>
                  <a:cubicBezTo>
                    <a:pt x="3512368" y="1556798"/>
                    <a:pt x="3505781" y="1563362"/>
                    <a:pt x="3499196" y="1569926"/>
                  </a:cubicBezTo>
                  <a:cubicBezTo>
                    <a:pt x="3492610" y="1576488"/>
                    <a:pt x="3486024" y="1576488"/>
                    <a:pt x="3479438" y="1583052"/>
                  </a:cubicBezTo>
                  <a:cubicBezTo>
                    <a:pt x="3479438" y="1589615"/>
                    <a:pt x="3479438" y="1596178"/>
                    <a:pt x="3486024" y="1596178"/>
                  </a:cubicBezTo>
                  <a:cubicBezTo>
                    <a:pt x="3499196" y="1596178"/>
                    <a:pt x="3499196" y="1589615"/>
                    <a:pt x="3505781" y="1583052"/>
                  </a:cubicBezTo>
                  <a:cubicBezTo>
                    <a:pt x="3512368" y="1583052"/>
                    <a:pt x="3518953" y="1576488"/>
                    <a:pt x="3532126" y="1576488"/>
                  </a:cubicBezTo>
                  <a:cubicBezTo>
                    <a:pt x="3538712" y="1576488"/>
                    <a:pt x="3545298" y="1576488"/>
                    <a:pt x="3551884" y="1569926"/>
                  </a:cubicBezTo>
                  <a:cubicBezTo>
                    <a:pt x="3558470" y="1563362"/>
                    <a:pt x="3565055" y="1569926"/>
                    <a:pt x="3571642" y="1569926"/>
                  </a:cubicBezTo>
                  <a:cubicBezTo>
                    <a:pt x="3584814" y="1569926"/>
                    <a:pt x="3591399" y="1563362"/>
                    <a:pt x="3597986" y="1556798"/>
                  </a:cubicBezTo>
                  <a:cubicBezTo>
                    <a:pt x="3611157" y="1556798"/>
                    <a:pt x="3617744" y="1563362"/>
                    <a:pt x="3624329" y="1563362"/>
                  </a:cubicBezTo>
                  <a:cubicBezTo>
                    <a:pt x="3630916" y="1563362"/>
                    <a:pt x="3644088" y="1563362"/>
                    <a:pt x="3650673" y="1563362"/>
                  </a:cubicBezTo>
                  <a:cubicBezTo>
                    <a:pt x="3657260" y="1563362"/>
                    <a:pt x="3670431" y="1556798"/>
                    <a:pt x="3670431" y="1550235"/>
                  </a:cubicBezTo>
                  <a:cubicBezTo>
                    <a:pt x="3677018" y="1550235"/>
                    <a:pt x="3677018" y="1537108"/>
                    <a:pt x="3670431" y="1537108"/>
                  </a:cubicBezTo>
                  <a:cubicBezTo>
                    <a:pt x="3670329" y="1537108"/>
                    <a:pt x="3663797" y="1537058"/>
                    <a:pt x="3657260" y="1530544"/>
                  </a:cubicBezTo>
                  <a:cubicBezTo>
                    <a:pt x="3650707" y="1530544"/>
                    <a:pt x="3663715" y="1517550"/>
                    <a:pt x="3663846" y="1517419"/>
                  </a:cubicBezTo>
                  <a:cubicBezTo>
                    <a:pt x="3670431" y="1517419"/>
                    <a:pt x="3677018" y="1517419"/>
                    <a:pt x="3677018" y="1510855"/>
                  </a:cubicBezTo>
                  <a:cubicBezTo>
                    <a:pt x="3683603" y="1510855"/>
                    <a:pt x="3683603" y="1504291"/>
                    <a:pt x="3683603" y="1497728"/>
                  </a:cubicBezTo>
                  <a:cubicBezTo>
                    <a:pt x="3683603" y="1484600"/>
                    <a:pt x="3683603" y="1471474"/>
                    <a:pt x="3663846" y="1471474"/>
                  </a:cubicBezTo>
                  <a:cubicBezTo>
                    <a:pt x="3657260" y="1471474"/>
                    <a:pt x="3650673" y="1478037"/>
                    <a:pt x="3644088" y="1464912"/>
                  </a:cubicBezTo>
                  <a:cubicBezTo>
                    <a:pt x="3644088" y="1464808"/>
                    <a:pt x="3644088" y="1458467"/>
                    <a:pt x="3644088" y="1458348"/>
                  </a:cubicBezTo>
                  <a:cubicBezTo>
                    <a:pt x="3644088" y="1451784"/>
                    <a:pt x="3644088" y="1451784"/>
                    <a:pt x="3644088" y="1445221"/>
                  </a:cubicBezTo>
                  <a:cubicBezTo>
                    <a:pt x="3650673" y="1438657"/>
                    <a:pt x="3637501" y="1438657"/>
                    <a:pt x="3630916" y="1432093"/>
                  </a:cubicBezTo>
                  <a:cubicBezTo>
                    <a:pt x="3630916" y="1425530"/>
                    <a:pt x="3624329" y="1425530"/>
                    <a:pt x="3624329" y="1418967"/>
                  </a:cubicBezTo>
                  <a:cubicBezTo>
                    <a:pt x="3624329" y="1415686"/>
                    <a:pt x="3624329" y="1414045"/>
                    <a:pt x="3623506" y="1413224"/>
                  </a:cubicBezTo>
                  <a:lnTo>
                    <a:pt x="3617744" y="1412405"/>
                  </a:lnTo>
                  <a:cubicBezTo>
                    <a:pt x="3617744" y="1412327"/>
                    <a:pt x="3617702" y="1405841"/>
                    <a:pt x="3611157" y="1405841"/>
                  </a:cubicBezTo>
                  <a:cubicBezTo>
                    <a:pt x="3604572" y="1399277"/>
                    <a:pt x="3604572" y="1392714"/>
                    <a:pt x="3597986" y="1386150"/>
                  </a:cubicBezTo>
                  <a:cubicBezTo>
                    <a:pt x="3597986" y="1379586"/>
                    <a:pt x="3591399" y="1373023"/>
                    <a:pt x="3584814" y="1373023"/>
                  </a:cubicBezTo>
                  <a:cubicBezTo>
                    <a:pt x="3584814" y="1366459"/>
                    <a:pt x="3584814" y="1359898"/>
                    <a:pt x="3578227" y="1359898"/>
                  </a:cubicBezTo>
                  <a:cubicBezTo>
                    <a:pt x="3578227" y="1353334"/>
                    <a:pt x="3571642" y="1353334"/>
                    <a:pt x="3565055" y="1346770"/>
                  </a:cubicBezTo>
                  <a:cubicBezTo>
                    <a:pt x="3565055" y="1340207"/>
                    <a:pt x="3565055" y="1340207"/>
                    <a:pt x="3571642" y="1333643"/>
                  </a:cubicBezTo>
                  <a:cubicBezTo>
                    <a:pt x="3571642" y="1327079"/>
                    <a:pt x="3571642" y="1327079"/>
                    <a:pt x="3571642" y="1320516"/>
                  </a:cubicBezTo>
                  <a:cubicBezTo>
                    <a:pt x="3571642" y="1313952"/>
                    <a:pt x="3578227" y="1313952"/>
                    <a:pt x="3584814" y="1307391"/>
                  </a:cubicBezTo>
                  <a:cubicBezTo>
                    <a:pt x="3584870" y="1307336"/>
                    <a:pt x="3591399" y="1300809"/>
                    <a:pt x="3591399" y="1294263"/>
                  </a:cubicBezTo>
                  <a:cubicBezTo>
                    <a:pt x="3597986" y="1287700"/>
                    <a:pt x="3597986" y="1274573"/>
                    <a:pt x="3591399" y="1268009"/>
                  </a:cubicBezTo>
                  <a:cubicBezTo>
                    <a:pt x="3584814" y="1268009"/>
                    <a:pt x="3584814" y="1268009"/>
                    <a:pt x="3578227" y="1268009"/>
                  </a:cubicBezTo>
                  <a:cubicBezTo>
                    <a:pt x="3571642" y="1261446"/>
                    <a:pt x="3545298" y="1268009"/>
                    <a:pt x="3551884" y="1254883"/>
                  </a:cubicBezTo>
                  <a:cubicBezTo>
                    <a:pt x="3551884" y="1248341"/>
                    <a:pt x="3551884" y="1241799"/>
                    <a:pt x="3551884" y="1241756"/>
                  </a:cubicBezTo>
                  <a:cubicBezTo>
                    <a:pt x="3551884" y="1228629"/>
                    <a:pt x="3545298" y="1228629"/>
                    <a:pt x="3538712" y="1228629"/>
                  </a:cubicBezTo>
                  <a:close/>
                  <a:moveTo>
                    <a:pt x="2595194" y="1209200"/>
                  </a:moveTo>
                  <a:cubicBezTo>
                    <a:pt x="2774956" y="1389398"/>
                    <a:pt x="2930603" y="1575575"/>
                    <a:pt x="3068765" y="1756467"/>
                  </a:cubicBezTo>
                  <a:cubicBezTo>
                    <a:pt x="2842338" y="1649459"/>
                    <a:pt x="2611999" y="1553477"/>
                    <a:pt x="2385578" y="1469296"/>
                  </a:cubicBezTo>
                  <a:cubicBezTo>
                    <a:pt x="2452642" y="1380508"/>
                    <a:pt x="2523049" y="1293710"/>
                    <a:pt x="2595194" y="1209200"/>
                  </a:cubicBezTo>
                  <a:close/>
                  <a:moveTo>
                    <a:pt x="1181641" y="1140853"/>
                  </a:moveTo>
                  <a:cubicBezTo>
                    <a:pt x="1320700" y="1170169"/>
                    <a:pt x="1466250" y="1207103"/>
                    <a:pt x="1615702" y="1251029"/>
                  </a:cubicBezTo>
                  <a:cubicBezTo>
                    <a:pt x="1617687" y="1255287"/>
                    <a:pt x="1619302" y="1260515"/>
                    <a:pt x="1622868" y="1267711"/>
                  </a:cubicBezTo>
                  <a:cubicBezTo>
                    <a:pt x="1622868" y="1274286"/>
                    <a:pt x="1629385" y="1287439"/>
                    <a:pt x="1635902" y="1300590"/>
                  </a:cubicBezTo>
                  <a:cubicBezTo>
                    <a:pt x="1635902" y="1307166"/>
                    <a:pt x="1642419" y="1326894"/>
                    <a:pt x="1635902" y="1340046"/>
                  </a:cubicBezTo>
                  <a:cubicBezTo>
                    <a:pt x="1635902" y="1353197"/>
                    <a:pt x="1622868" y="1366350"/>
                    <a:pt x="1616351" y="1372926"/>
                  </a:cubicBezTo>
                  <a:cubicBezTo>
                    <a:pt x="1603317" y="1379501"/>
                    <a:pt x="1590283" y="1386077"/>
                    <a:pt x="1583766" y="1399228"/>
                  </a:cubicBezTo>
                  <a:cubicBezTo>
                    <a:pt x="1570732" y="1412380"/>
                    <a:pt x="1577249" y="1432107"/>
                    <a:pt x="1583766" y="1445260"/>
                  </a:cubicBezTo>
                  <a:cubicBezTo>
                    <a:pt x="1583766" y="1458411"/>
                    <a:pt x="1583766" y="1478139"/>
                    <a:pt x="1577249" y="1484715"/>
                  </a:cubicBezTo>
                  <a:cubicBezTo>
                    <a:pt x="1564215" y="1497866"/>
                    <a:pt x="1544664" y="1504442"/>
                    <a:pt x="1531630" y="1497866"/>
                  </a:cubicBezTo>
                  <a:cubicBezTo>
                    <a:pt x="1518596" y="1497866"/>
                    <a:pt x="1505562" y="1471563"/>
                    <a:pt x="1505562" y="1451835"/>
                  </a:cubicBezTo>
                  <a:cubicBezTo>
                    <a:pt x="1499045" y="1438683"/>
                    <a:pt x="1505562" y="1405804"/>
                    <a:pt x="1492529" y="1386077"/>
                  </a:cubicBezTo>
                  <a:cubicBezTo>
                    <a:pt x="1479494" y="1372926"/>
                    <a:pt x="1453427" y="1372926"/>
                    <a:pt x="1433876" y="1366350"/>
                  </a:cubicBezTo>
                  <a:cubicBezTo>
                    <a:pt x="1407807" y="1366350"/>
                    <a:pt x="1388256" y="1346622"/>
                    <a:pt x="1368705" y="1333470"/>
                  </a:cubicBezTo>
                  <a:cubicBezTo>
                    <a:pt x="1355672" y="1326894"/>
                    <a:pt x="1349154" y="1313742"/>
                    <a:pt x="1336121" y="1313742"/>
                  </a:cubicBezTo>
                  <a:cubicBezTo>
                    <a:pt x="1323086" y="1307166"/>
                    <a:pt x="1303536" y="1300590"/>
                    <a:pt x="1290501" y="1300590"/>
                  </a:cubicBezTo>
                  <a:cubicBezTo>
                    <a:pt x="1257916" y="1294015"/>
                    <a:pt x="1218814" y="1267711"/>
                    <a:pt x="1212297" y="1234831"/>
                  </a:cubicBezTo>
                  <a:cubicBezTo>
                    <a:pt x="1205781" y="1215104"/>
                    <a:pt x="1192746" y="1201951"/>
                    <a:pt x="1179712" y="1182224"/>
                  </a:cubicBezTo>
                  <a:cubicBezTo>
                    <a:pt x="1175799" y="1166431"/>
                    <a:pt x="1176585" y="1153008"/>
                    <a:pt x="1181641" y="1140853"/>
                  </a:cubicBezTo>
                  <a:close/>
                  <a:moveTo>
                    <a:pt x="1969953" y="1036885"/>
                  </a:moveTo>
                  <a:cubicBezTo>
                    <a:pt x="1965880" y="1039703"/>
                    <a:pt x="1963552" y="1050980"/>
                    <a:pt x="1968207" y="1050980"/>
                  </a:cubicBezTo>
                  <a:cubicBezTo>
                    <a:pt x="1980623" y="1064346"/>
                    <a:pt x="1986830" y="1044298"/>
                    <a:pt x="1980623" y="1037616"/>
                  </a:cubicBezTo>
                  <a:lnTo>
                    <a:pt x="1975191" y="1037616"/>
                  </a:lnTo>
                  <a:cubicBezTo>
                    <a:pt x="1972863" y="1035944"/>
                    <a:pt x="1971311" y="1035944"/>
                    <a:pt x="1969953" y="1036885"/>
                  </a:cubicBezTo>
                  <a:close/>
                  <a:moveTo>
                    <a:pt x="1427507" y="943107"/>
                  </a:moveTo>
                  <a:cubicBezTo>
                    <a:pt x="1422616" y="943920"/>
                    <a:pt x="1417725" y="945544"/>
                    <a:pt x="1414465" y="945544"/>
                  </a:cubicBezTo>
                  <a:cubicBezTo>
                    <a:pt x="1407943" y="945544"/>
                    <a:pt x="1407943" y="952040"/>
                    <a:pt x="1401423" y="952040"/>
                  </a:cubicBezTo>
                  <a:cubicBezTo>
                    <a:pt x="1394902" y="965035"/>
                    <a:pt x="1407943" y="971531"/>
                    <a:pt x="1407943" y="978029"/>
                  </a:cubicBezTo>
                  <a:cubicBezTo>
                    <a:pt x="1407943" y="991023"/>
                    <a:pt x="1401423" y="991023"/>
                    <a:pt x="1394902" y="997519"/>
                  </a:cubicBezTo>
                  <a:cubicBezTo>
                    <a:pt x="1368817" y="1010514"/>
                    <a:pt x="1414465" y="1036501"/>
                    <a:pt x="1427507" y="1023509"/>
                  </a:cubicBezTo>
                  <a:cubicBezTo>
                    <a:pt x="1447071" y="1010514"/>
                    <a:pt x="1427507" y="978029"/>
                    <a:pt x="1453592" y="978029"/>
                  </a:cubicBezTo>
                  <a:cubicBezTo>
                    <a:pt x="1460113" y="978029"/>
                    <a:pt x="1460113" y="1004018"/>
                    <a:pt x="1466635" y="1010514"/>
                  </a:cubicBezTo>
                  <a:cubicBezTo>
                    <a:pt x="1473156" y="1017011"/>
                    <a:pt x="1486198" y="1017011"/>
                    <a:pt x="1492719" y="1017011"/>
                  </a:cubicBezTo>
                  <a:cubicBezTo>
                    <a:pt x="1499216" y="1017011"/>
                    <a:pt x="1505712" y="1017011"/>
                    <a:pt x="1505762" y="1017011"/>
                  </a:cubicBezTo>
                  <a:cubicBezTo>
                    <a:pt x="1512274" y="1010523"/>
                    <a:pt x="1505779" y="997555"/>
                    <a:pt x="1505762" y="997519"/>
                  </a:cubicBezTo>
                  <a:cubicBezTo>
                    <a:pt x="1499263" y="991047"/>
                    <a:pt x="1492766" y="991023"/>
                    <a:pt x="1492719" y="991023"/>
                  </a:cubicBezTo>
                  <a:cubicBezTo>
                    <a:pt x="1486198" y="991023"/>
                    <a:pt x="1479677" y="984526"/>
                    <a:pt x="1473156" y="978029"/>
                  </a:cubicBezTo>
                  <a:cubicBezTo>
                    <a:pt x="1466635" y="965035"/>
                    <a:pt x="1453592" y="945544"/>
                    <a:pt x="1440550" y="945544"/>
                  </a:cubicBezTo>
                  <a:cubicBezTo>
                    <a:pt x="1437289" y="942295"/>
                    <a:pt x="1432398" y="942295"/>
                    <a:pt x="1427507" y="943107"/>
                  </a:cubicBezTo>
                  <a:close/>
                  <a:moveTo>
                    <a:pt x="988089" y="922670"/>
                  </a:moveTo>
                  <a:cubicBezTo>
                    <a:pt x="1047007" y="922670"/>
                    <a:pt x="1094769" y="970432"/>
                    <a:pt x="1094769" y="1029350"/>
                  </a:cubicBezTo>
                  <a:cubicBezTo>
                    <a:pt x="1094769" y="1088268"/>
                    <a:pt x="1047007" y="1136030"/>
                    <a:pt x="988089" y="1136030"/>
                  </a:cubicBezTo>
                  <a:cubicBezTo>
                    <a:pt x="929171" y="1136030"/>
                    <a:pt x="881409" y="1088268"/>
                    <a:pt x="881409" y="1029350"/>
                  </a:cubicBezTo>
                  <a:cubicBezTo>
                    <a:pt x="881409" y="970432"/>
                    <a:pt x="929171" y="922670"/>
                    <a:pt x="988089" y="922670"/>
                  </a:cubicBezTo>
                  <a:close/>
                  <a:moveTo>
                    <a:pt x="3224792" y="881963"/>
                  </a:moveTo>
                  <a:cubicBezTo>
                    <a:pt x="3222331" y="881127"/>
                    <a:pt x="3220690" y="881127"/>
                    <a:pt x="3220690" y="884470"/>
                  </a:cubicBezTo>
                  <a:cubicBezTo>
                    <a:pt x="3214146" y="884470"/>
                    <a:pt x="3214129" y="891116"/>
                    <a:pt x="3214129" y="891152"/>
                  </a:cubicBezTo>
                  <a:cubicBezTo>
                    <a:pt x="3207567" y="897835"/>
                    <a:pt x="3201005" y="891152"/>
                    <a:pt x="3194443" y="897835"/>
                  </a:cubicBezTo>
                  <a:cubicBezTo>
                    <a:pt x="3187882" y="897835"/>
                    <a:pt x="3187882" y="904517"/>
                    <a:pt x="3181319" y="904517"/>
                  </a:cubicBezTo>
                  <a:cubicBezTo>
                    <a:pt x="3174757" y="904517"/>
                    <a:pt x="3174757" y="897835"/>
                    <a:pt x="3168195" y="897835"/>
                  </a:cubicBezTo>
                  <a:cubicBezTo>
                    <a:pt x="3168170" y="897860"/>
                    <a:pt x="3161652" y="904499"/>
                    <a:pt x="3161634" y="904517"/>
                  </a:cubicBezTo>
                  <a:cubicBezTo>
                    <a:pt x="3155088" y="904517"/>
                    <a:pt x="3155072" y="897868"/>
                    <a:pt x="3155072" y="897835"/>
                  </a:cubicBezTo>
                  <a:cubicBezTo>
                    <a:pt x="3148510" y="891152"/>
                    <a:pt x="3148510" y="884470"/>
                    <a:pt x="3141948" y="891152"/>
                  </a:cubicBezTo>
                  <a:cubicBezTo>
                    <a:pt x="3141878" y="891230"/>
                    <a:pt x="3135387" y="897877"/>
                    <a:pt x="3135387" y="904517"/>
                  </a:cubicBezTo>
                  <a:lnTo>
                    <a:pt x="3128825" y="909529"/>
                  </a:lnTo>
                  <a:lnTo>
                    <a:pt x="3122262" y="904517"/>
                  </a:lnTo>
                  <a:cubicBezTo>
                    <a:pt x="3122262" y="904467"/>
                    <a:pt x="3122250" y="891165"/>
                    <a:pt x="3115700" y="897835"/>
                  </a:cubicBezTo>
                  <a:cubicBezTo>
                    <a:pt x="3109138" y="897835"/>
                    <a:pt x="3115700" y="911199"/>
                    <a:pt x="3109138" y="917882"/>
                  </a:cubicBezTo>
                  <a:cubicBezTo>
                    <a:pt x="3107498" y="921224"/>
                    <a:pt x="3105858" y="921224"/>
                    <a:pt x="3102577" y="924565"/>
                  </a:cubicBezTo>
                  <a:cubicBezTo>
                    <a:pt x="3096015" y="924565"/>
                    <a:pt x="3096015" y="931247"/>
                    <a:pt x="3082891" y="924565"/>
                  </a:cubicBezTo>
                  <a:cubicBezTo>
                    <a:pt x="3082891" y="924532"/>
                    <a:pt x="3082883" y="911191"/>
                    <a:pt x="3076330" y="904517"/>
                  </a:cubicBezTo>
                  <a:cubicBezTo>
                    <a:pt x="3069768" y="904517"/>
                    <a:pt x="3063205" y="904517"/>
                    <a:pt x="3056643" y="904517"/>
                  </a:cubicBezTo>
                  <a:cubicBezTo>
                    <a:pt x="3050082" y="911199"/>
                    <a:pt x="3050082" y="917882"/>
                    <a:pt x="3056643" y="924565"/>
                  </a:cubicBezTo>
                  <a:cubicBezTo>
                    <a:pt x="3056680" y="924583"/>
                    <a:pt x="3069759" y="931258"/>
                    <a:pt x="3063205" y="937931"/>
                  </a:cubicBezTo>
                  <a:cubicBezTo>
                    <a:pt x="3056643" y="944614"/>
                    <a:pt x="3050082" y="937931"/>
                    <a:pt x="3050082" y="944614"/>
                  </a:cubicBezTo>
                  <a:cubicBezTo>
                    <a:pt x="3043520" y="957979"/>
                    <a:pt x="3063205" y="957979"/>
                    <a:pt x="3069768" y="964662"/>
                  </a:cubicBezTo>
                  <a:cubicBezTo>
                    <a:pt x="3069853" y="964747"/>
                    <a:pt x="3076266" y="971280"/>
                    <a:pt x="3076330" y="971343"/>
                  </a:cubicBezTo>
                  <a:cubicBezTo>
                    <a:pt x="3076330" y="978026"/>
                    <a:pt x="3069768" y="978026"/>
                    <a:pt x="3063205" y="984709"/>
                  </a:cubicBezTo>
                  <a:lnTo>
                    <a:pt x="3063205" y="990557"/>
                  </a:lnTo>
                  <a:cubicBezTo>
                    <a:pt x="3069768" y="998075"/>
                    <a:pt x="3082891" y="991392"/>
                    <a:pt x="3089453" y="984709"/>
                  </a:cubicBezTo>
                  <a:cubicBezTo>
                    <a:pt x="3096015" y="984709"/>
                    <a:pt x="3096015" y="984709"/>
                    <a:pt x="3102577" y="991392"/>
                  </a:cubicBezTo>
                  <a:cubicBezTo>
                    <a:pt x="3109138" y="991392"/>
                    <a:pt x="3102577" y="998075"/>
                    <a:pt x="3109138" y="998075"/>
                  </a:cubicBezTo>
                  <a:cubicBezTo>
                    <a:pt x="3128825" y="1004757"/>
                    <a:pt x="3141948" y="1011440"/>
                    <a:pt x="3155072" y="1004757"/>
                  </a:cubicBezTo>
                  <a:cubicBezTo>
                    <a:pt x="3168195" y="1004757"/>
                    <a:pt x="3174757" y="991392"/>
                    <a:pt x="3194443" y="991392"/>
                  </a:cubicBezTo>
                  <a:cubicBezTo>
                    <a:pt x="3194493" y="991392"/>
                    <a:pt x="3200949" y="991392"/>
                    <a:pt x="3201005" y="991392"/>
                  </a:cubicBezTo>
                  <a:cubicBezTo>
                    <a:pt x="3214129" y="998075"/>
                    <a:pt x="3227252" y="991392"/>
                    <a:pt x="3233814" y="984709"/>
                  </a:cubicBezTo>
                  <a:cubicBezTo>
                    <a:pt x="3246937" y="978026"/>
                    <a:pt x="3260062" y="971343"/>
                    <a:pt x="3266624" y="957979"/>
                  </a:cubicBezTo>
                  <a:cubicBezTo>
                    <a:pt x="3266624" y="957954"/>
                    <a:pt x="3266624" y="951371"/>
                    <a:pt x="3266624" y="951296"/>
                  </a:cubicBezTo>
                  <a:cubicBezTo>
                    <a:pt x="3273174" y="944626"/>
                    <a:pt x="3279723" y="944614"/>
                    <a:pt x="3279747" y="944614"/>
                  </a:cubicBezTo>
                  <a:cubicBezTo>
                    <a:pt x="3286309" y="937931"/>
                    <a:pt x="3286309" y="924565"/>
                    <a:pt x="3279747" y="917882"/>
                  </a:cubicBezTo>
                  <a:cubicBezTo>
                    <a:pt x="3273186" y="904517"/>
                    <a:pt x="3253500" y="924565"/>
                    <a:pt x="3246937" y="904517"/>
                  </a:cubicBezTo>
                  <a:cubicBezTo>
                    <a:pt x="3240376" y="897835"/>
                    <a:pt x="3240376" y="891152"/>
                    <a:pt x="3233814" y="884470"/>
                  </a:cubicBezTo>
                  <a:cubicBezTo>
                    <a:pt x="3230534" y="884470"/>
                    <a:pt x="3227252" y="882799"/>
                    <a:pt x="3224792" y="881963"/>
                  </a:cubicBezTo>
                  <a:close/>
                  <a:moveTo>
                    <a:pt x="1669153" y="794253"/>
                  </a:moveTo>
                  <a:cubicBezTo>
                    <a:pt x="1650234" y="794253"/>
                    <a:pt x="1650234" y="827318"/>
                    <a:pt x="1662847" y="833930"/>
                  </a:cubicBezTo>
                  <a:cubicBezTo>
                    <a:pt x="1688073" y="847157"/>
                    <a:pt x="1694379" y="794253"/>
                    <a:pt x="1669153" y="794253"/>
                  </a:cubicBezTo>
                  <a:close/>
                  <a:moveTo>
                    <a:pt x="2917809" y="791328"/>
                  </a:moveTo>
                  <a:cubicBezTo>
                    <a:pt x="2803426" y="906978"/>
                    <a:pt x="2693404" y="1026752"/>
                    <a:pt x="2589740" y="1149249"/>
                  </a:cubicBezTo>
                  <a:cubicBezTo>
                    <a:pt x="2570891" y="1129184"/>
                    <a:pt x="2551153" y="1110170"/>
                    <a:pt x="2530315" y="1092458"/>
                  </a:cubicBezTo>
                  <a:cubicBezTo>
                    <a:pt x="2535975" y="1081630"/>
                    <a:pt x="2541271" y="1075704"/>
                    <a:pt x="2541271" y="1069778"/>
                  </a:cubicBezTo>
                  <a:cubicBezTo>
                    <a:pt x="2547784" y="1056632"/>
                    <a:pt x="2547784" y="1050059"/>
                    <a:pt x="2554299" y="1036912"/>
                  </a:cubicBezTo>
                  <a:cubicBezTo>
                    <a:pt x="2560812" y="1030340"/>
                    <a:pt x="2560812" y="1030340"/>
                    <a:pt x="2567327" y="1017193"/>
                  </a:cubicBezTo>
                  <a:cubicBezTo>
                    <a:pt x="2567327" y="1004047"/>
                    <a:pt x="2554299" y="984327"/>
                    <a:pt x="2560812" y="971181"/>
                  </a:cubicBezTo>
                  <a:cubicBezTo>
                    <a:pt x="2567327" y="958035"/>
                    <a:pt x="2593382" y="958035"/>
                    <a:pt x="2599896" y="951461"/>
                  </a:cubicBezTo>
                  <a:cubicBezTo>
                    <a:pt x="2612924" y="944888"/>
                    <a:pt x="2619438" y="938315"/>
                    <a:pt x="2619438" y="931742"/>
                  </a:cubicBezTo>
                  <a:cubicBezTo>
                    <a:pt x="2632466" y="912022"/>
                    <a:pt x="2632466" y="905450"/>
                    <a:pt x="2652007" y="905450"/>
                  </a:cubicBezTo>
                  <a:cubicBezTo>
                    <a:pt x="2671550" y="905450"/>
                    <a:pt x="2684578" y="912022"/>
                    <a:pt x="2704119" y="898876"/>
                  </a:cubicBezTo>
                  <a:cubicBezTo>
                    <a:pt x="2723661" y="892302"/>
                    <a:pt x="2730175" y="879157"/>
                    <a:pt x="2743203" y="866011"/>
                  </a:cubicBezTo>
                  <a:cubicBezTo>
                    <a:pt x="2743203" y="859438"/>
                    <a:pt x="2749717" y="852865"/>
                    <a:pt x="2756230" y="846292"/>
                  </a:cubicBezTo>
                  <a:cubicBezTo>
                    <a:pt x="2762745" y="839718"/>
                    <a:pt x="2775773" y="839718"/>
                    <a:pt x="2788801" y="833146"/>
                  </a:cubicBezTo>
                  <a:cubicBezTo>
                    <a:pt x="2795314" y="826572"/>
                    <a:pt x="2795314" y="819998"/>
                    <a:pt x="2801829" y="813426"/>
                  </a:cubicBezTo>
                  <a:cubicBezTo>
                    <a:pt x="2814856" y="793706"/>
                    <a:pt x="2847426" y="800280"/>
                    <a:pt x="2866968" y="800280"/>
                  </a:cubicBezTo>
                  <a:cubicBezTo>
                    <a:pt x="2883927" y="800280"/>
                    <a:pt x="2900886" y="796716"/>
                    <a:pt x="2917809" y="791328"/>
                  </a:cubicBezTo>
                  <a:close/>
                  <a:moveTo>
                    <a:pt x="1583467" y="713505"/>
                  </a:moveTo>
                  <a:cubicBezTo>
                    <a:pt x="1564430" y="713505"/>
                    <a:pt x="1545392" y="720465"/>
                    <a:pt x="1551738" y="734388"/>
                  </a:cubicBezTo>
                  <a:cubicBezTo>
                    <a:pt x="1551738" y="748311"/>
                    <a:pt x="1577121" y="755272"/>
                    <a:pt x="1583467" y="748311"/>
                  </a:cubicBezTo>
                  <a:cubicBezTo>
                    <a:pt x="1602503" y="741349"/>
                    <a:pt x="1608849" y="720465"/>
                    <a:pt x="1589812" y="713505"/>
                  </a:cubicBezTo>
                  <a:cubicBezTo>
                    <a:pt x="1589781" y="713505"/>
                    <a:pt x="1583519" y="713505"/>
                    <a:pt x="1583467" y="713505"/>
                  </a:cubicBezTo>
                  <a:close/>
                  <a:moveTo>
                    <a:pt x="1128374" y="667178"/>
                  </a:moveTo>
                  <a:cubicBezTo>
                    <a:pt x="1127577" y="671213"/>
                    <a:pt x="1127577" y="676056"/>
                    <a:pt x="1127577" y="682456"/>
                  </a:cubicBezTo>
                  <a:cubicBezTo>
                    <a:pt x="1121059" y="695608"/>
                    <a:pt x="1127577" y="702183"/>
                    <a:pt x="1134093" y="708760"/>
                  </a:cubicBezTo>
                  <a:cubicBezTo>
                    <a:pt x="1147128" y="715336"/>
                    <a:pt x="1160161" y="708760"/>
                    <a:pt x="1173195" y="708760"/>
                  </a:cubicBezTo>
                  <a:cubicBezTo>
                    <a:pt x="1179713" y="708760"/>
                    <a:pt x="1199263" y="715336"/>
                    <a:pt x="1199263" y="721912"/>
                  </a:cubicBezTo>
                  <a:lnTo>
                    <a:pt x="1203336" y="736707"/>
                  </a:lnTo>
                  <a:cubicBezTo>
                    <a:pt x="1202522" y="739996"/>
                    <a:pt x="1199263" y="741640"/>
                    <a:pt x="1192746" y="741640"/>
                  </a:cubicBezTo>
                  <a:cubicBezTo>
                    <a:pt x="1186230" y="748216"/>
                    <a:pt x="1173195" y="748216"/>
                    <a:pt x="1179712" y="761367"/>
                  </a:cubicBezTo>
                  <a:cubicBezTo>
                    <a:pt x="1179712" y="767943"/>
                    <a:pt x="1192744" y="774518"/>
                    <a:pt x="1192746" y="781095"/>
                  </a:cubicBezTo>
                  <a:cubicBezTo>
                    <a:pt x="1199263" y="794247"/>
                    <a:pt x="1153644" y="800822"/>
                    <a:pt x="1147128" y="813975"/>
                  </a:cubicBezTo>
                  <a:cubicBezTo>
                    <a:pt x="1147128" y="827126"/>
                    <a:pt x="1147128" y="840278"/>
                    <a:pt x="1147128" y="846853"/>
                  </a:cubicBezTo>
                  <a:cubicBezTo>
                    <a:pt x="1140610" y="853429"/>
                    <a:pt x="1127577" y="853429"/>
                    <a:pt x="1127577" y="846853"/>
                  </a:cubicBezTo>
                  <a:cubicBezTo>
                    <a:pt x="1108026" y="827126"/>
                    <a:pt x="1121059" y="794247"/>
                    <a:pt x="1094992" y="787671"/>
                  </a:cubicBezTo>
                  <a:cubicBezTo>
                    <a:pt x="1081957" y="787671"/>
                    <a:pt x="1075441" y="794247"/>
                    <a:pt x="1075441" y="807398"/>
                  </a:cubicBezTo>
                  <a:cubicBezTo>
                    <a:pt x="1068924" y="820551"/>
                    <a:pt x="1055890" y="833702"/>
                    <a:pt x="1036339" y="827126"/>
                  </a:cubicBezTo>
                  <a:cubicBezTo>
                    <a:pt x="1023304" y="827126"/>
                    <a:pt x="1016788" y="820551"/>
                    <a:pt x="997237" y="820551"/>
                  </a:cubicBezTo>
                  <a:cubicBezTo>
                    <a:pt x="990758" y="820551"/>
                    <a:pt x="984280" y="820551"/>
                    <a:pt x="984202" y="820551"/>
                  </a:cubicBezTo>
                  <a:cubicBezTo>
                    <a:pt x="975891" y="820551"/>
                    <a:pt x="970230" y="812529"/>
                    <a:pt x="964963" y="807183"/>
                  </a:cubicBezTo>
                  <a:lnTo>
                    <a:pt x="1050097" y="729092"/>
                  </a:lnTo>
                  <a:cubicBezTo>
                    <a:pt x="1044758" y="761820"/>
                    <a:pt x="1108476" y="794102"/>
                    <a:pt x="1134142" y="780977"/>
                  </a:cubicBezTo>
                  <a:cubicBezTo>
                    <a:pt x="1153617" y="774336"/>
                    <a:pt x="1147125" y="747776"/>
                    <a:pt x="1140634" y="734497"/>
                  </a:cubicBezTo>
                  <a:cubicBezTo>
                    <a:pt x="1140634" y="721217"/>
                    <a:pt x="1108177" y="714576"/>
                    <a:pt x="1101683" y="714576"/>
                  </a:cubicBezTo>
                  <a:cubicBezTo>
                    <a:pt x="1095191" y="714576"/>
                    <a:pt x="1095191" y="714576"/>
                    <a:pt x="1088701" y="707937"/>
                  </a:cubicBezTo>
                  <a:lnTo>
                    <a:pt x="1068188" y="712599"/>
                  </a:lnTo>
                  <a:close/>
                  <a:moveTo>
                    <a:pt x="2958163" y="609658"/>
                  </a:moveTo>
                  <a:cubicBezTo>
                    <a:pt x="2971191" y="609658"/>
                    <a:pt x="2997246" y="616232"/>
                    <a:pt x="3010274" y="622804"/>
                  </a:cubicBezTo>
                  <a:cubicBezTo>
                    <a:pt x="3016788" y="629378"/>
                    <a:pt x="3029816" y="635951"/>
                    <a:pt x="3036329" y="649097"/>
                  </a:cubicBezTo>
                  <a:lnTo>
                    <a:pt x="3047816" y="660688"/>
                  </a:lnTo>
                  <a:lnTo>
                    <a:pt x="3010204" y="695856"/>
                  </a:lnTo>
                  <a:cubicBezTo>
                    <a:pt x="3005124" y="697176"/>
                    <a:pt x="3000555" y="696778"/>
                    <a:pt x="2997246" y="695109"/>
                  </a:cubicBezTo>
                  <a:cubicBezTo>
                    <a:pt x="2984219" y="681963"/>
                    <a:pt x="2990732" y="668817"/>
                    <a:pt x="2984219" y="655671"/>
                  </a:cubicBezTo>
                  <a:cubicBezTo>
                    <a:pt x="2977705" y="649097"/>
                    <a:pt x="2964677" y="655671"/>
                    <a:pt x="2958163" y="655671"/>
                  </a:cubicBezTo>
                  <a:cubicBezTo>
                    <a:pt x="2958163" y="642524"/>
                    <a:pt x="2958163" y="642524"/>
                    <a:pt x="2951649" y="635951"/>
                  </a:cubicBezTo>
                  <a:cubicBezTo>
                    <a:pt x="2951649" y="629378"/>
                    <a:pt x="2938621" y="629378"/>
                    <a:pt x="2938621" y="622804"/>
                  </a:cubicBezTo>
                  <a:cubicBezTo>
                    <a:pt x="2938621" y="616232"/>
                    <a:pt x="2951649" y="609658"/>
                    <a:pt x="2958163" y="609658"/>
                  </a:cubicBezTo>
                  <a:close/>
                  <a:moveTo>
                    <a:pt x="1600752" y="502077"/>
                  </a:moveTo>
                  <a:cubicBezTo>
                    <a:pt x="1592605" y="501254"/>
                    <a:pt x="1582830" y="502899"/>
                    <a:pt x="1576313" y="502899"/>
                  </a:cubicBezTo>
                  <a:cubicBezTo>
                    <a:pt x="1563279" y="509481"/>
                    <a:pt x="1550246" y="516062"/>
                    <a:pt x="1537211" y="516062"/>
                  </a:cubicBezTo>
                  <a:cubicBezTo>
                    <a:pt x="1524178" y="516062"/>
                    <a:pt x="1517661" y="516062"/>
                    <a:pt x="1504627" y="516062"/>
                  </a:cubicBezTo>
                  <a:cubicBezTo>
                    <a:pt x="1478559" y="516062"/>
                    <a:pt x="1445975" y="516062"/>
                    <a:pt x="1432941" y="542388"/>
                  </a:cubicBezTo>
                  <a:cubicBezTo>
                    <a:pt x="1426424" y="548969"/>
                    <a:pt x="1432941" y="575294"/>
                    <a:pt x="1439459" y="588459"/>
                  </a:cubicBezTo>
                  <a:cubicBezTo>
                    <a:pt x="1439459" y="595040"/>
                    <a:pt x="1452492" y="621365"/>
                    <a:pt x="1439459" y="627947"/>
                  </a:cubicBezTo>
                  <a:cubicBezTo>
                    <a:pt x="1432941" y="634529"/>
                    <a:pt x="1413391" y="621365"/>
                    <a:pt x="1406873" y="614784"/>
                  </a:cubicBezTo>
                  <a:cubicBezTo>
                    <a:pt x="1400357" y="608203"/>
                    <a:pt x="1400357" y="588459"/>
                    <a:pt x="1400357" y="575294"/>
                  </a:cubicBezTo>
                  <a:cubicBezTo>
                    <a:pt x="1400357" y="555550"/>
                    <a:pt x="1413391" y="522643"/>
                    <a:pt x="1393840" y="509481"/>
                  </a:cubicBezTo>
                  <a:cubicBezTo>
                    <a:pt x="1374289" y="496318"/>
                    <a:pt x="1354738" y="516062"/>
                    <a:pt x="1348221" y="535807"/>
                  </a:cubicBezTo>
                  <a:cubicBezTo>
                    <a:pt x="1335187" y="548969"/>
                    <a:pt x="1328670" y="555550"/>
                    <a:pt x="1322154" y="575294"/>
                  </a:cubicBezTo>
                  <a:cubicBezTo>
                    <a:pt x="1315637" y="588459"/>
                    <a:pt x="1302603" y="608203"/>
                    <a:pt x="1322154" y="621365"/>
                  </a:cubicBezTo>
                  <a:cubicBezTo>
                    <a:pt x="1328670" y="627947"/>
                    <a:pt x="1335187" y="627947"/>
                    <a:pt x="1341705" y="641110"/>
                  </a:cubicBezTo>
                  <a:cubicBezTo>
                    <a:pt x="1348221" y="654273"/>
                    <a:pt x="1348221" y="667435"/>
                    <a:pt x="1361255" y="680598"/>
                  </a:cubicBezTo>
                  <a:cubicBezTo>
                    <a:pt x="1380806" y="693761"/>
                    <a:pt x="1393840" y="680598"/>
                    <a:pt x="1419908" y="680598"/>
                  </a:cubicBezTo>
                  <a:cubicBezTo>
                    <a:pt x="1426424" y="687180"/>
                    <a:pt x="1432941" y="687180"/>
                    <a:pt x="1439459" y="693761"/>
                  </a:cubicBezTo>
                  <a:cubicBezTo>
                    <a:pt x="1445975" y="693761"/>
                    <a:pt x="1452492" y="693761"/>
                    <a:pt x="1465526" y="700343"/>
                  </a:cubicBezTo>
                  <a:cubicBezTo>
                    <a:pt x="1472043" y="700343"/>
                    <a:pt x="1478559" y="700343"/>
                    <a:pt x="1485076" y="700343"/>
                  </a:cubicBezTo>
                  <a:cubicBezTo>
                    <a:pt x="1498110" y="700343"/>
                    <a:pt x="1504627" y="706924"/>
                    <a:pt x="1517661" y="706924"/>
                  </a:cubicBezTo>
                  <a:cubicBezTo>
                    <a:pt x="1530695" y="706924"/>
                    <a:pt x="1537211" y="693761"/>
                    <a:pt x="1550246" y="687180"/>
                  </a:cubicBezTo>
                  <a:cubicBezTo>
                    <a:pt x="1582830" y="680598"/>
                    <a:pt x="1615415" y="693761"/>
                    <a:pt x="1641483" y="700343"/>
                  </a:cubicBezTo>
                  <a:cubicBezTo>
                    <a:pt x="1687100" y="720087"/>
                    <a:pt x="1732719" y="766157"/>
                    <a:pt x="1739235" y="818809"/>
                  </a:cubicBezTo>
                  <a:cubicBezTo>
                    <a:pt x="1745753" y="845134"/>
                    <a:pt x="1732719" y="871460"/>
                    <a:pt x="1726202" y="891204"/>
                  </a:cubicBezTo>
                  <a:cubicBezTo>
                    <a:pt x="1726202" y="897785"/>
                    <a:pt x="1719686" y="910946"/>
                    <a:pt x="1719686" y="917530"/>
                  </a:cubicBezTo>
                  <a:cubicBezTo>
                    <a:pt x="1719739" y="917576"/>
                    <a:pt x="1726202" y="924130"/>
                    <a:pt x="1726202" y="930693"/>
                  </a:cubicBezTo>
                  <a:cubicBezTo>
                    <a:pt x="1726202" y="943855"/>
                    <a:pt x="1713168" y="957018"/>
                    <a:pt x="1700135" y="963600"/>
                  </a:cubicBezTo>
                  <a:cubicBezTo>
                    <a:pt x="1687100" y="970183"/>
                    <a:pt x="1661033" y="970183"/>
                    <a:pt x="1647999" y="970183"/>
                  </a:cubicBezTo>
                  <a:cubicBezTo>
                    <a:pt x="1634965" y="970183"/>
                    <a:pt x="1615415" y="963600"/>
                    <a:pt x="1602381" y="970183"/>
                  </a:cubicBezTo>
                  <a:cubicBezTo>
                    <a:pt x="1589347" y="983345"/>
                    <a:pt x="1602381" y="1009670"/>
                    <a:pt x="1615415" y="1016253"/>
                  </a:cubicBezTo>
                  <a:cubicBezTo>
                    <a:pt x="1641483" y="1035996"/>
                    <a:pt x="1687100" y="996508"/>
                    <a:pt x="1713168" y="1016253"/>
                  </a:cubicBezTo>
                  <a:cubicBezTo>
                    <a:pt x="1726202" y="1022834"/>
                    <a:pt x="1732719" y="1035996"/>
                    <a:pt x="1745753" y="1042578"/>
                  </a:cubicBezTo>
                  <a:cubicBezTo>
                    <a:pt x="1758786" y="1049159"/>
                    <a:pt x="1765304" y="1055740"/>
                    <a:pt x="1771821" y="1055740"/>
                  </a:cubicBezTo>
                  <a:cubicBezTo>
                    <a:pt x="1791372" y="1062322"/>
                    <a:pt x="1804405" y="1055740"/>
                    <a:pt x="1823956" y="1055740"/>
                  </a:cubicBezTo>
                  <a:cubicBezTo>
                    <a:pt x="1836989" y="1055740"/>
                    <a:pt x="1856540" y="1055740"/>
                    <a:pt x="1869575" y="1062322"/>
                  </a:cubicBezTo>
                  <a:cubicBezTo>
                    <a:pt x="1876091" y="1068904"/>
                    <a:pt x="1889124" y="1068904"/>
                    <a:pt x="1902159" y="1075485"/>
                  </a:cubicBezTo>
                  <a:cubicBezTo>
                    <a:pt x="1908675" y="1075485"/>
                    <a:pt x="1915192" y="1075485"/>
                    <a:pt x="1915192" y="1062322"/>
                  </a:cubicBezTo>
                  <a:cubicBezTo>
                    <a:pt x="1915192" y="1055740"/>
                    <a:pt x="1902159" y="1055740"/>
                    <a:pt x="1895642" y="1049159"/>
                  </a:cubicBezTo>
                  <a:cubicBezTo>
                    <a:pt x="1882608" y="1042578"/>
                    <a:pt x="1843507" y="1035996"/>
                    <a:pt x="1850024" y="1016253"/>
                  </a:cubicBezTo>
                  <a:cubicBezTo>
                    <a:pt x="1856540" y="1003089"/>
                    <a:pt x="1869575" y="1009670"/>
                    <a:pt x="1882608" y="1009670"/>
                  </a:cubicBezTo>
                  <a:cubicBezTo>
                    <a:pt x="1895642" y="1009670"/>
                    <a:pt x="1902159" y="1003089"/>
                    <a:pt x="1915192" y="1003089"/>
                  </a:cubicBezTo>
                  <a:cubicBezTo>
                    <a:pt x="1928226" y="996508"/>
                    <a:pt x="1941261" y="996508"/>
                    <a:pt x="1941261" y="983345"/>
                  </a:cubicBezTo>
                  <a:cubicBezTo>
                    <a:pt x="1941261" y="970183"/>
                    <a:pt x="1928226" y="957018"/>
                    <a:pt x="1921710" y="950437"/>
                  </a:cubicBezTo>
                  <a:cubicBezTo>
                    <a:pt x="1902159" y="943855"/>
                    <a:pt x="1869575" y="917530"/>
                    <a:pt x="1882608" y="891204"/>
                  </a:cubicBezTo>
                  <a:cubicBezTo>
                    <a:pt x="1889124" y="878042"/>
                    <a:pt x="1928226" y="891204"/>
                    <a:pt x="1941261" y="897786"/>
                  </a:cubicBezTo>
                  <a:cubicBezTo>
                    <a:pt x="1954294" y="910949"/>
                    <a:pt x="1973845" y="930693"/>
                    <a:pt x="1993396" y="930693"/>
                  </a:cubicBezTo>
                  <a:cubicBezTo>
                    <a:pt x="2019463" y="930693"/>
                    <a:pt x="2039013" y="904368"/>
                    <a:pt x="2045531" y="878042"/>
                  </a:cubicBezTo>
                  <a:cubicBezTo>
                    <a:pt x="2058564" y="851716"/>
                    <a:pt x="2039013" y="838553"/>
                    <a:pt x="2012946" y="838553"/>
                  </a:cubicBezTo>
                  <a:cubicBezTo>
                    <a:pt x="1993396" y="838553"/>
                    <a:pt x="1973845" y="838553"/>
                    <a:pt x="1947777" y="825390"/>
                  </a:cubicBezTo>
                  <a:cubicBezTo>
                    <a:pt x="1928226" y="818809"/>
                    <a:pt x="1908675" y="812228"/>
                    <a:pt x="1889124" y="799065"/>
                  </a:cubicBezTo>
                  <a:cubicBezTo>
                    <a:pt x="1869575" y="772738"/>
                    <a:pt x="1863057" y="739832"/>
                    <a:pt x="1850024" y="713505"/>
                  </a:cubicBezTo>
                  <a:cubicBezTo>
                    <a:pt x="1843507" y="693761"/>
                    <a:pt x="1830473" y="674017"/>
                    <a:pt x="1817439" y="660854"/>
                  </a:cubicBezTo>
                  <a:cubicBezTo>
                    <a:pt x="1804405" y="654273"/>
                    <a:pt x="1791372" y="647691"/>
                    <a:pt x="1778337" y="647691"/>
                  </a:cubicBezTo>
                  <a:cubicBezTo>
                    <a:pt x="1771821" y="641110"/>
                    <a:pt x="1765304" y="641110"/>
                    <a:pt x="1758786" y="641110"/>
                  </a:cubicBezTo>
                  <a:cubicBezTo>
                    <a:pt x="1758771" y="641094"/>
                    <a:pt x="1752340" y="634598"/>
                    <a:pt x="1752270" y="634529"/>
                  </a:cubicBezTo>
                  <a:cubicBezTo>
                    <a:pt x="1739235" y="627947"/>
                    <a:pt x="1732719" y="614784"/>
                    <a:pt x="1719686" y="595040"/>
                  </a:cubicBezTo>
                  <a:cubicBezTo>
                    <a:pt x="1706651" y="581877"/>
                    <a:pt x="1687100" y="581877"/>
                    <a:pt x="1674067" y="581877"/>
                  </a:cubicBezTo>
                  <a:cubicBezTo>
                    <a:pt x="1647999" y="575294"/>
                    <a:pt x="1576313" y="575294"/>
                    <a:pt x="1602381" y="535807"/>
                  </a:cubicBezTo>
                  <a:cubicBezTo>
                    <a:pt x="1608897" y="529225"/>
                    <a:pt x="1615415" y="522643"/>
                    <a:pt x="1615415" y="516062"/>
                  </a:cubicBezTo>
                  <a:cubicBezTo>
                    <a:pt x="1615415" y="506190"/>
                    <a:pt x="1608897" y="502899"/>
                    <a:pt x="1600752" y="502077"/>
                  </a:cubicBezTo>
                  <a:close/>
                  <a:moveTo>
                    <a:pt x="1473191" y="450839"/>
                  </a:moveTo>
                  <a:cubicBezTo>
                    <a:pt x="1479728" y="450839"/>
                    <a:pt x="1486265" y="463833"/>
                    <a:pt x="1492801" y="463833"/>
                  </a:cubicBezTo>
                  <a:cubicBezTo>
                    <a:pt x="1510749" y="469779"/>
                    <a:pt x="1545118" y="464841"/>
                    <a:pt x="1555152" y="453328"/>
                  </a:cubicBezTo>
                  <a:cubicBezTo>
                    <a:pt x="1817156" y="581451"/>
                    <a:pt x="2046164" y="732868"/>
                    <a:pt x="2248392" y="896876"/>
                  </a:cubicBezTo>
                  <a:cubicBezTo>
                    <a:pt x="2248144" y="897469"/>
                    <a:pt x="2248144" y="898130"/>
                    <a:pt x="2248144" y="898876"/>
                  </a:cubicBezTo>
                  <a:cubicBezTo>
                    <a:pt x="2248144" y="918596"/>
                    <a:pt x="2267685" y="925168"/>
                    <a:pt x="2274200" y="938315"/>
                  </a:cubicBezTo>
                  <a:cubicBezTo>
                    <a:pt x="2274200" y="944888"/>
                    <a:pt x="2274200" y="951461"/>
                    <a:pt x="2280713" y="958035"/>
                  </a:cubicBezTo>
                  <a:cubicBezTo>
                    <a:pt x="2287228" y="971181"/>
                    <a:pt x="2287228" y="964607"/>
                    <a:pt x="2300255" y="971181"/>
                  </a:cubicBezTo>
                  <a:cubicBezTo>
                    <a:pt x="2303512" y="971181"/>
                    <a:pt x="2306769" y="971181"/>
                    <a:pt x="2308398" y="972824"/>
                  </a:cubicBezTo>
                  <a:lnTo>
                    <a:pt x="2306769" y="984327"/>
                  </a:lnTo>
                  <a:cubicBezTo>
                    <a:pt x="2306769" y="990901"/>
                    <a:pt x="2293741" y="984327"/>
                    <a:pt x="2293741" y="997473"/>
                  </a:cubicBezTo>
                  <a:cubicBezTo>
                    <a:pt x="2293741" y="1004030"/>
                    <a:pt x="2306702" y="1017125"/>
                    <a:pt x="2306769" y="1017193"/>
                  </a:cubicBezTo>
                  <a:cubicBezTo>
                    <a:pt x="2313243" y="1023726"/>
                    <a:pt x="2319717" y="1023766"/>
                    <a:pt x="2319797" y="1023766"/>
                  </a:cubicBezTo>
                  <a:cubicBezTo>
                    <a:pt x="2326311" y="1030340"/>
                    <a:pt x="2319797" y="1043486"/>
                    <a:pt x="2326311" y="1043486"/>
                  </a:cubicBezTo>
                  <a:cubicBezTo>
                    <a:pt x="2332825" y="1063206"/>
                    <a:pt x="2345853" y="1056632"/>
                    <a:pt x="2358880" y="1063206"/>
                  </a:cubicBezTo>
                  <a:cubicBezTo>
                    <a:pt x="2371908" y="1063206"/>
                    <a:pt x="2371908" y="1082924"/>
                    <a:pt x="2378423" y="1089497"/>
                  </a:cubicBezTo>
                  <a:cubicBezTo>
                    <a:pt x="2384936" y="1109216"/>
                    <a:pt x="2397964" y="1122362"/>
                    <a:pt x="2417506" y="1122362"/>
                  </a:cubicBezTo>
                  <a:cubicBezTo>
                    <a:pt x="2430534" y="1122362"/>
                    <a:pt x="2430534" y="1115790"/>
                    <a:pt x="2443561" y="1122362"/>
                  </a:cubicBezTo>
                  <a:cubicBezTo>
                    <a:pt x="2456589" y="1128936"/>
                    <a:pt x="2463104" y="1135510"/>
                    <a:pt x="2476131" y="1148656"/>
                  </a:cubicBezTo>
                  <a:cubicBezTo>
                    <a:pt x="2482645" y="1155228"/>
                    <a:pt x="2495673" y="1161802"/>
                    <a:pt x="2502187" y="1161802"/>
                  </a:cubicBezTo>
                  <a:cubicBezTo>
                    <a:pt x="2508701" y="1155228"/>
                    <a:pt x="2508701" y="1148656"/>
                    <a:pt x="2508701" y="1142082"/>
                  </a:cubicBezTo>
                  <a:lnTo>
                    <a:pt x="2517444" y="1133259"/>
                  </a:lnTo>
                  <a:lnTo>
                    <a:pt x="2564596" y="1177954"/>
                  </a:lnTo>
                  <a:cubicBezTo>
                    <a:pt x="2487464" y="1268743"/>
                    <a:pt x="2413642" y="1360723"/>
                    <a:pt x="2344538" y="1453727"/>
                  </a:cubicBezTo>
                  <a:cubicBezTo>
                    <a:pt x="2244363" y="1415184"/>
                    <a:pt x="2144762" y="1379803"/>
                    <a:pt x="2046472" y="1347605"/>
                  </a:cubicBezTo>
                  <a:cubicBezTo>
                    <a:pt x="2046472" y="1342893"/>
                    <a:pt x="2046472" y="1338182"/>
                    <a:pt x="2046472" y="1333470"/>
                  </a:cubicBezTo>
                  <a:cubicBezTo>
                    <a:pt x="2039956" y="1320318"/>
                    <a:pt x="2033439" y="1313742"/>
                    <a:pt x="2033439" y="1307166"/>
                  </a:cubicBezTo>
                  <a:cubicBezTo>
                    <a:pt x="2033439" y="1294015"/>
                    <a:pt x="2033439" y="1287439"/>
                    <a:pt x="2026921" y="1274286"/>
                  </a:cubicBezTo>
                  <a:cubicBezTo>
                    <a:pt x="2026921" y="1261135"/>
                    <a:pt x="2026921" y="1254559"/>
                    <a:pt x="2020405" y="1247984"/>
                  </a:cubicBezTo>
                  <a:cubicBezTo>
                    <a:pt x="2013888" y="1234831"/>
                    <a:pt x="1994337" y="1228255"/>
                    <a:pt x="1987819" y="1215104"/>
                  </a:cubicBezTo>
                  <a:cubicBezTo>
                    <a:pt x="1974786" y="1201951"/>
                    <a:pt x="1981303" y="1195376"/>
                    <a:pt x="1974786" y="1182224"/>
                  </a:cubicBezTo>
                  <a:cubicBezTo>
                    <a:pt x="1968268" y="1169073"/>
                    <a:pt x="1955235" y="1155920"/>
                    <a:pt x="1942201" y="1169073"/>
                  </a:cubicBezTo>
                  <a:cubicBezTo>
                    <a:pt x="1935684" y="1175648"/>
                    <a:pt x="1929166" y="1188800"/>
                    <a:pt x="1922650" y="1195376"/>
                  </a:cubicBezTo>
                  <a:cubicBezTo>
                    <a:pt x="1909616" y="1215104"/>
                    <a:pt x="1883548" y="1215104"/>
                    <a:pt x="1863997" y="1208528"/>
                  </a:cubicBezTo>
                  <a:cubicBezTo>
                    <a:pt x="1844446" y="1201951"/>
                    <a:pt x="1831412" y="1182224"/>
                    <a:pt x="1824895" y="1162496"/>
                  </a:cubicBezTo>
                  <a:cubicBezTo>
                    <a:pt x="1824895" y="1142769"/>
                    <a:pt x="1824895" y="1123040"/>
                    <a:pt x="1805344" y="1109889"/>
                  </a:cubicBezTo>
                  <a:cubicBezTo>
                    <a:pt x="1792310" y="1096738"/>
                    <a:pt x="1772759" y="1090162"/>
                    <a:pt x="1753208" y="1077009"/>
                  </a:cubicBezTo>
                  <a:cubicBezTo>
                    <a:pt x="1746691" y="1063858"/>
                    <a:pt x="1733657" y="1050706"/>
                    <a:pt x="1720624" y="1044130"/>
                  </a:cubicBezTo>
                  <a:cubicBezTo>
                    <a:pt x="1701072" y="1044130"/>
                    <a:pt x="1681521" y="1050706"/>
                    <a:pt x="1668487" y="1063858"/>
                  </a:cubicBezTo>
                  <a:cubicBezTo>
                    <a:pt x="1655453" y="1070434"/>
                    <a:pt x="1635902" y="1063858"/>
                    <a:pt x="1622868" y="1070434"/>
                  </a:cubicBezTo>
                  <a:cubicBezTo>
                    <a:pt x="1596800" y="1077009"/>
                    <a:pt x="1616351" y="1109889"/>
                    <a:pt x="1609834" y="1129617"/>
                  </a:cubicBezTo>
                  <a:cubicBezTo>
                    <a:pt x="1609834" y="1136193"/>
                    <a:pt x="1603317" y="1136193"/>
                    <a:pt x="1603317" y="1142769"/>
                  </a:cubicBezTo>
                  <a:cubicBezTo>
                    <a:pt x="1609834" y="1149344"/>
                    <a:pt x="1609834" y="1149344"/>
                    <a:pt x="1616351" y="1155920"/>
                  </a:cubicBezTo>
                  <a:cubicBezTo>
                    <a:pt x="1616351" y="1162496"/>
                    <a:pt x="1609834" y="1175648"/>
                    <a:pt x="1603317" y="1182224"/>
                  </a:cubicBezTo>
                  <a:cubicBezTo>
                    <a:pt x="1598146" y="1187442"/>
                    <a:pt x="1584769" y="1192660"/>
                    <a:pt x="1581417" y="1202381"/>
                  </a:cubicBezTo>
                  <a:cubicBezTo>
                    <a:pt x="1448623" y="1163631"/>
                    <a:pt x="1321528" y="1130745"/>
                    <a:pt x="1202361" y="1103854"/>
                  </a:cubicBezTo>
                  <a:cubicBezTo>
                    <a:pt x="1209628" y="1093304"/>
                    <a:pt x="1215701" y="1088445"/>
                    <a:pt x="1225332" y="1083585"/>
                  </a:cubicBezTo>
                  <a:cubicBezTo>
                    <a:pt x="1238365" y="1077009"/>
                    <a:pt x="1244883" y="1063858"/>
                    <a:pt x="1257916" y="1057282"/>
                  </a:cubicBezTo>
                  <a:cubicBezTo>
                    <a:pt x="1264434" y="1044130"/>
                    <a:pt x="1264434" y="1030978"/>
                    <a:pt x="1270950" y="1024402"/>
                  </a:cubicBezTo>
                  <a:cubicBezTo>
                    <a:pt x="1277467" y="1017827"/>
                    <a:pt x="1283985" y="1017827"/>
                    <a:pt x="1290501" y="1011251"/>
                  </a:cubicBezTo>
                  <a:cubicBezTo>
                    <a:pt x="1303536" y="1004674"/>
                    <a:pt x="1323086" y="998098"/>
                    <a:pt x="1342637" y="991523"/>
                  </a:cubicBezTo>
                  <a:cubicBezTo>
                    <a:pt x="1349154" y="984947"/>
                    <a:pt x="1355672" y="984947"/>
                    <a:pt x="1355672" y="978371"/>
                  </a:cubicBezTo>
                  <a:cubicBezTo>
                    <a:pt x="1355672" y="971796"/>
                    <a:pt x="1349154" y="958643"/>
                    <a:pt x="1349154" y="952067"/>
                  </a:cubicBezTo>
                  <a:cubicBezTo>
                    <a:pt x="1336121" y="945492"/>
                    <a:pt x="1329603" y="945492"/>
                    <a:pt x="1316569" y="945492"/>
                  </a:cubicBezTo>
                  <a:cubicBezTo>
                    <a:pt x="1310052" y="945492"/>
                    <a:pt x="1283985" y="945492"/>
                    <a:pt x="1290501" y="925763"/>
                  </a:cubicBezTo>
                  <a:cubicBezTo>
                    <a:pt x="1297018" y="912612"/>
                    <a:pt x="1323084" y="919188"/>
                    <a:pt x="1336121" y="919188"/>
                  </a:cubicBezTo>
                  <a:cubicBezTo>
                    <a:pt x="1342637" y="925763"/>
                    <a:pt x="1355672" y="932340"/>
                    <a:pt x="1368705" y="932340"/>
                  </a:cubicBezTo>
                  <a:cubicBezTo>
                    <a:pt x="1388256" y="925763"/>
                    <a:pt x="1381739" y="899460"/>
                    <a:pt x="1401290" y="892884"/>
                  </a:cubicBezTo>
                  <a:cubicBezTo>
                    <a:pt x="1414325" y="892885"/>
                    <a:pt x="1414325" y="892885"/>
                    <a:pt x="1427358" y="899460"/>
                  </a:cubicBezTo>
                  <a:cubicBezTo>
                    <a:pt x="1440392" y="906036"/>
                    <a:pt x="1466460" y="886308"/>
                    <a:pt x="1479494" y="879732"/>
                  </a:cubicBezTo>
                  <a:cubicBezTo>
                    <a:pt x="1499045" y="873156"/>
                    <a:pt x="1512079" y="866581"/>
                    <a:pt x="1531630" y="866581"/>
                  </a:cubicBezTo>
                  <a:cubicBezTo>
                    <a:pt x="1544664" y="860005"/>
                    <a:pt x="1551181" y="853429"/>
                    <a:pt x="1544664" y="840278"/>
                  </a:cubicBezTo>
                  <a:cubicBezTo>
                    <a:pt x="1544664" y="820551"/>
                    <a:pt x="1531630" y="820551"/>
                    <a:pt x="1518596" y="807398"/>
                  </a:cubicBezTo>
                  <a:cubicBezTo>
                    <a:pt x="1518596" y="800851"/>
                    <a:pt x="1518596" y="794305"/>
                    <a:pt x="1518596" y="794247"/>
                  </a:cubicBezTo>
                  <a:cubicBezTo>
                    <a:pt x="1518596" y="781095"/>
                    <a:pt x="1512079" y="774518"/>
                    <a:pt x="1518596" y="767943"/>
                  </a:cubicBezTo>
                  <a:cubicBezTo>
                    <a:pt x="1518596" y="761367"/>
                    <a:pt x="1525113" y="754791"/>
                    <a:pt x="1518596" y="748216"/>
                  </a:cubicBezTo>
                  <a:cubicBezTo>
                    <a:pt x="1518596" y="741640"/>
                    <a:pt x="1505562" y="741640"/>
                    <a:pt x="1499045" y="735063"/>
                  </a:cubicBezTo>
                  <a:cubicBezTo>
                    <a:pt x="1492529" y="728487"/>
                    <a:pt x="1492529" y="721912"/>
                    <a:pt x="1479494" y="721912"/>
                  </a:cubicBezTo>
                  <a:cubicBezTo>
                    <a:pt x="1466460" y="715336"/>
                    <a:pt x="1453427" y="715336"/>
                    <a:pt x="1440392" y="721912"/>
                  </a:cubicBezTo>
                  <a:cubicBezTo>
                    <a:pt x="1427358" y="721912"/>
                    <a:pt x="1420841" y="728487"/>
                    <a:pt x="1427358" y="741640"/>
                  </a:cubicBezTo>
                  <a:cubicBezTo>
                    <a:pt x="1427358" y="748216"/>
                    <a:pt x="1446909" y="754791"/>
                    <a:pt x="1440392" y="767943"/>
                  </a:cubicBezTo>
                  <a:cubicBezTo>
                    <a:pt x="1433907" y="767943"/>
                    <a:pt x="1427420" y="767943"/>
                    <a:pt x="1427358" y="767943"/>
                  </a:cubicBezTo>
                  <a:cubicBezTo>
                    <a:pt x="1420841" y="767943"/>
                    <a:pt x="1420841" y="774518"/>
                    <a:pt x="1414325" y="781095"/>
                  </a:cubicBezTo>
                  <a:cubicBezTo>
                    <a:pt x="1414325" y="787671"/>
                    <a:pt x="1420841" y="794247"/>
                    <a:pt x="1414325" y="800822"/>
                  </a:cubicBezTo>
                  <a:cubicBezTo>
                    <a:pt x="1414325" y="807398"/>
                    <a:pt x="1414325" y="813975"/>
                    <a:pt x="1407807" y="813975"/>
                  </a:cubicBezTo>
                  <a:cubicBezTo>
                    <a:pt x="1401290" y="827126"/>
                    <a:pt x="1388256" y="846853"/>
                    <a:pt x="1375223" y="846853"/>
                  </a:cubicBezTo>
                  <a:cubicBezTo>
                    <a:pt x="1362188" y="846853"/>
                    <a:pt x="1355672" y="840278"/>
                    <a:pt x="1355672" y="827126"/>
                  </a:cubicBezTo>
                  <a:cubicBezTo>
                    <a:pt x="1342637" y="807398"/>
                    <a:pt x="1349154" y="787671"/>
                    <a:pt x="1349154" y="767943"/>
                  </a:cubicBezTo>
                  <a:cubicBezTo>
                    <a:pt x="1349154" y="754791"/>
                    <a:pt x="1336121" y="735063"/>
                    <a:pt x="1323086" y="748216"/>
                  </a:cubicBezTo>
                  <a:cubicBezTo>
                    <a:pt x="1310052" y="754791"/>
                    <a:pt x="1323086" y="800822"/>
                    <a:pt x="1297019" y="787671"/>
                  </a:cubicBezTo>
                  <a:cubicBezTo>
                    <a:pt x="1290501" y="781095"/>
                    <a:pt x="1290501" y="774518"/>
                    <a:pt x="1283985" y="767943"/>
                  </a:cubicBezTo>
                  <a:cubicBezTo>
                    <a:pt x="1283985" y="754791"/>
                    <a:pt x="1283985" y="748216"/>
                    <a:pt x="1270950" y="741640"/>
                  </a:cubicBezTo>
                  <a:cubicBezTo>
                    <a:pt x="1257916" y="741640"/>
                    <a:pt x="1251399" y="728487"/>
                    <a:pt x="1251399" y="721912"/>
                  </a:cubicBezTo>
                  <a:cubicBezTo>
                    <a:pt x="1244883" y="715336"/>
                    <a:pt x="1244883" y="715336"/>
                    <a:pt x="1244883" y="708760"/>
                  </a:cubicBezTo>
                  <a:cubicBezTo>
                    <a:pt x="1244883" y="702230"/>
                    <a:pt x="1251308" y="695700"/>
                    <a:pt x="1251399" y="695608"/>
                  </a:cubicBezTo>
                  <a:cubicBezTo>
                    <a:pt x="1251399" y="689032"/>
                    <a:pt x="1244883" y="695608"/>
                    <a:pt x="1238365" y="689032"/>
                  </a:cubicBezTo>
                  <a:cubicBezTo>
                    <a:pt x="1238365" y="688966"/>
                    <a:pt x="1238407" y="682456"/>
                    <a:pt x="1244883" y="682456"/>
                  </a:cubicBezTo>
                  <a:cubicBezTo>
                    <a:pt x="1244916" y="682490"/>
                    <a:pt x="1251416" y="689018"/>
                    <a:pt x="1257916" y="682456"/>
                  </a:cubicBezTo>
                  <a:cubicBezTo>
                    <a:pt x="1264434" y="675880"/>
                    <a:pt x="1264434" y="669305"/>
                    <a:pt x="1257916" y="662728"/>
                  </a:cubicBezTo>
                  <a:cubicBezTo>
                    <a:pt x="1251399" y="656152"/>
                    <a:pt x="1238365" y="656152"/>
                    <a:pt x="1225332" y="649576"/>
                  </a:cubicBezTo>
                  <a:cubicBezTo>
                    <a:pt x="1218814" y="643001"/>
                    <a:pt x="1212297" y="636425"/>
                    <a:pt x="1199263" y="629849"/>
                  </a:cubicBezTo>
                  <a:lnTo>
                    <a:pt x="1191096" y="619842"/>
                  </a:lnTo>
                  <a:cubicBezTo>
                    <a:pt x="1266574" y="560992"/>
                    <a:pt x="1346933" y="508634"/>
                    <a:pt x="1431148" y="462521"/>
                  </a:cubicBezTo>
                  <a:cubicBezTo>
                    <a:pt x="1436385" y="465947"/>
                    <a:pt x="1443536" y="466330"/>
                    <a:pt x="1453581" y="463833"/>
                  </a:cubicBezTo>
                  <a:cubicBezTo>
                    <a:pt x="1460118" y="457335"/>
                    <a:pt x="1466655" y="450839"/>
                    <a:pt x="1473191" y="450839"/>
                  </a:cubicBezTo>
                  <a:close/>
                  <a:moveTo>
                    <a:pt x="1777745" y="298724"/>
                  </a:moveTo>
                  <a:cubicBezTo>
                    <a:pt x="1779996" y="305951"/>
                    <a:pt x="1785271" y="311547"/>
                    <a:pt x="1792168" y="313867"/>
                  </a:cubicBezTo>
                  <a:cubicBezTo>
                    <a:pt x="1811710" y="327013"/>
                    <a:pt x="1831252" y="320441"/>
                    <a:pt x="1844279" y="313867"/>
                  </a:cubicBezTo>
                  <a:cubicBezTo>
                    <a:pt x="1850794" y="307294"/>
                    <a:pt x="1857307" y="307294"/>
                    <a:pt x="1863822" y="307294"/>
                  </a:cubicBezTo>
                  <a:cubicBezTo>
                    <a:pt x="1870335" y="307294"/>
                    <a:pt x="1883363" y="307294"/>
                    <a:pt x="1889878" y="307294"/>
                  </a:cubicBezTo>
                  <a:cubicBezTo>
                    <a:pt x="1896391" y="307294"/>
                    <a:pt x="1909419" y="313867"/>
                    <a:pt x="1902904" y="320441"/>
                  </a:cubicBezTo>
                  <a:cubicBezTo>
                    <a:pt x="1902904" y="340158"/>
                    <a:pt x="1863822" y="327013"/>
                    <a:pt x="1850794" y="333587"/>
                  </a:cubicBezTo>
                  <a:cubicBezTo>
                    <a:pt x="1831252" y="333587"/>
                    <a:pt x="1805196" y="333587"/>
                    <a:pt x="1792168" y="353306"/>
                  </a:cubicBezTo>
                  <a:cubicBezTo>
                    <a:pt x="1785655" y="366452"/>
                    <a:pt x="1798682" y="379598"/>
                    <a:pt x="1811710" y="386171"/>
                  </a:cubicBezTo>
                  <a:cubicBezTo>
                    <a:pt x="1824738" y="392744"/>
                    <a:pt x="1837766" y="399317"/>
                    <a:pt x="1857307" y="399317"/>
                  </a:cubicBezTo>
                  <a:cubicBezTo>
                    <a:pt x="1870335" y="392744"/>
                    <a:pt x="1883363" y="379598"/>
                    <a:pt x="1896391" y="373025"/>
                  </a:cubicBezTo>
                  <a:cubicBezTo>
                    <a:pt x="1941988" y="359878"/>
                    <a:pt x="1994100" y="373025"/>
                    <a:pt x="2033183" y="386171"/>
                  </a:cubicBezTo>
                  <a:cubicBezTo>
                    <a:pt x="2052726" y="392744"/>
                    <a:pt x="2072267" y="399317"/>
                    <a:pt x="2085295" y="412464"/>
                  </a:cubicBezTo>
                  <a:cubicBezTo>
                    <a:pt x="2104837" y="419037"/>
                    <a:pt x="2117865" y="432183"/>
                    <a:pt x="2130893" y="438757"/>
                  </a:cubicBezTo>
                  <a:cubicBezTo>
                    <a:pt x="2150434" y="451903"/>
                    <a:pt x="2163462" y="471622"/>
                    <a:pt x="2176490" y="491342"/>
                  </a:cubicBezTo>
                  <a:cubicBezTo>
                    <a:pt x="2189518" y="517634"/>
                    <a:pt x="2215574" y="543926"/>
                    <a:pt x="2202546" y="576792"/>
                  </a:cubicBezTo>
                  <a:cubicBezTo>
                    <a:pt x="2196032" y="583366"/>
                    <a:pt x="2189518" y="583366"/>
                    <a:pt x="2189518" y="589938"/>
                  </a:cubicBezTo>
                  <a:cubicBezTo>
                    <a:pt x="2189518" y="609658"/>
                    <a:pt x="2202546" y="609658"/>
                    <a:pt x="2215574" y="609658"/>
                  </a:cubicBezTo>
                  <a:cubicBezTo>
                    <a:pt x="2241629" y="609658"/>
                    <a:pt x="2280713" y="609658"/>
                    <a:pt x="2293741" y="635951"/>
                  </a:cubicBezTo>
                  <a:cubicBezTo>
                    <a:pt x="2293741" y="649097"/>
                    <a:pt x="2293741" y="662243"/>
                    <a:pt x="2287228" y="662243"/>
                  </a:cubicBezTo>
                  <a:cubicBezTo>
                    <a:pt x="2274200" y="668817"/>
                    <a:pt x="2261172" y="655671"/>
                    <a:pt x="2254657" y="655671"/>
                  </a:cubicBezTo>
                  <a:cubicBezTo>
                    <a:pt x="2241629" y="655671"/>
                    <a:pt x="2215574" y="649097"/>
                    <a:pt x="2209060" y="662243"/>
                  </a:cubicBezTo>
                  <a:cubicBezTo>
                    <a:pt x="2202546" y="675389"/>
                    <a:pt x="2215574" y="675389"/>
                    <a:pt x="2222088" y="681963"/>
                  </a:cubicBezTo>
                  <a:cubicBezTo>
                    <a:pt x="2228602" y="681963"/>
                    <a:pt x="2228602" y="688537"/>
                    <a:pt x="2235116" y="695109"/>
                  </a:cubicBezTo>
                  <a:cubicBezTo>
                    <a:pt x="2234979" y="695149"/>
                    <a:pt x="2209060" y="701698"/>
                    <a:pt x="2209060" y="708255"/>
                  </a:cubicBezTo>
                  <a:cubicBezTo>
                    <a:pt x="2209060" y="721401"/>
                    <a:pt x="2222088" y="721401"/>
                    <a:pt x="2222088" y="734547"/>
                  </a:cubicBezTo>
                  <a:cubicBezTo>
                    <a:pt x="2228602" y="741121"/>
                    <a:pt x="2215574" y="741121"/>
                    <a:pt x="2215574" y="754267"/>
                  </a:cubicBezTo>
                  <a:cubicBezTo>
                    <a:pt x="2215574" y="760841"/>
                    <a:pt x="2235116" y="767413"/>
                    <a:pt x="2241629" y="767413"/>
                  </a:cubicBezTo>
                  <a:cubicBezTo>
                    <a:pt x="2280713" y="760841"/>
                    <a:pt x="2241629" y="714828"/>
                    <a:pt x="2254657" y="701682"/>
                  </a:cubicBezTo>
                  <a:cubicBezTo>
                    <a:pt x="2274200" y="681963"/>
                    <a:pt x="2332825" y="708255"/>
                    <a:pt x="2345853" y="714828"/>
                  </a:cubicBezTo>
                  <a:cubicBezTo>
                    <a:pt x="2365395" y="721401"/>
                    <a:pt x="2365395" y="741121"/>
                    <a:pt x="2352367" y="754267"/>
                  </a:cubicBezTo>
                  <a:cubicBezTo>
                    <a:pt x="2339339" y="767413"/>
                    <a:pt x="2326311" y="767413"/>
                    <a:pt x="2319797" y="787133"/>
                  </a:cubicBezTo>
                  <a:cubicBezTo>
                    <a:pt x="2319797" y="800280"/>
                    <a:pt x="2313283" y="806852"/>
                    <a:pt x="2306769" y="813426"/>
                  </a:cubicBezTo>
                  <a:cubicBezTo>
                    <a:pt x="2287228" y="819998"/>
                    <a:pt x="2274200" y="813426"/>
                    <a:pt x="2261172" y="819998"/>
                  </a:cubicBezTo>
                  <a:cubicBezTo>
                    <a:pt x="2254657" y="819998"/>
                    <a:pt x="2248144" y="826572"/>
                    <a:pt x="2241629" y="833146"/>
                  </a:cubicBezTo>
                  <a:cubicBezTo>
                    <a:pt x="2241629" y="846292"/>
                    <a:pt x="2248144" y="846292"/>
                    <a:pt x="2254657" y="852865"/>
                  </a:cubicBezTo>
                  <a:lnTo>
                    <a:pt x="2254657" y="854402"/>
                  </a:lnTo>
                  <a:cubicBezTo>
                    <a:pt x="2030443" y="673237"/>
                    <a:pt x="1790845" y="523986"/>
                    <a:pt x="1532172" y="408254"/>
                  </a:cubicBezTo>
                  <a:lnTo>
                    <a:pt x="1563400" y="393072"/>
                  </a:lnTo>
                  <a:cubicBezTo>
                    <a:pt x="1563537" y="393150"/>
                    <a:pt x="1563677" y="393221"/>
                    <a:pt x="1563818" y="393292"/>
                  </a:cubicBezTo>
                  <a:lnTo>
                    <a:pt x="1571320" y="389221"/>
                  </a:lnTo>
                  <a:cubicBezTo>
                    <a:pt x="1637311" y="353400"/>
                    <a:pt x="1706271" y="323188"/>
                    <a:pt x="1777745" y="298724"/>
                  </a:cubicBezTo>
                  <a:close/>
                  <a:moveTo>
                    <a:pt x="3557306" y="287696"/>
                  </a:moveTo>
                  <a:cubicBezTo>
                    <a:pt x="3811168" y="380958"/>
                    <a:pt x="4045360" y="515441"/>
                    <a:pt x="4252506" y="682887"/>
                  </a:cubicBezTo>
                  <a:cubicBezTo>
                    <a:pt x="4246666" y="683314"/>
                    <a:pt x="4240452" y="680970"/>
                    <a:pt x="4236562" y="680970"/>
                  </a:cubicBezTo>
                  <a:cubicBezTo>
                    <a:pt x="4197447" y="674391"/>
                    <a:pt x="4217004" y="713866"/>
                    <a:pt x="4184408" y="727024"/>
                  </a:cubicBezTo>
                  <a:cubicBezTo>
                    <a:pt x="4164851" y="733603"/>
                    <a:pt x="4119217" y="727024"/>
                    <a:pt x="4112698" y="759919"/>
                  </a:cubicBezTo>
                  <a:cubicBezTo>
                    <a:pt x="4112698" y="766499"/>
                    <a:pt x="4112698" y="779657"/>
                    <a:pt x="4106180" y="786235"/>
                  </a:cubicBezTo>
                  <a:cubicBezTo>
                    <a:pt x="4099661" y="799393"/>
                    <a:pt x="4086622" y="792814"/>
                    <a:pt x="4073584" y="792814"/>
                  </a:cubicBezTo>
                  <a:cubicBezTo>
                    <a:pt x="4067065" y="805972"/>
                    <a:pt x="4080103" y="805972"/>
                    <a:pt x="4086622" y="812551"/>
                  </a:cubicBezTo>
                  <a:cubicBezTo>
                    <a:pt x="4093141" y="838867"/>
                    <a:pt x="4073584" y="825709"/>
                    <a:pt x="4060546" y="832288"/>
                  </a:cubicBezTo>
                  <a:cubicBezTo>
                    <a:pt x="4047507" y="838867"/>
                    <a:pt x="4060546" y="845447"/>
                    <a:pt x="4060546" y="852027"/>
                  </a:cubicBezTo>
                  <a:cubicBezTo>
                    <a:pt x="4060546" y="878343"/>
                    <a:pt x="4034470" y="858606"/>
                    <a:pt x="4021431" y="858606"/>
                  </a:cubicBezTo>
                  <a:cubicBezTo>
                    <a:pt x="3982316" y="858606"/>
                    <a:pt x="4034469" y="904657"/>
                    <a:pt x="4027950" y="911238"/>
                  </a:cubicBezTo>
                  <a:cubicBezTo>
                    <a:pt x="4008392" y="930976"/>
                    <a:pt x="3988835" y="891501"/>
                    <a:pt x="3969279" y="917817"/>
                  </a:cubicBezTo>
                  <a:cubicBezTo>
                    <a:pt x="3962759" y="930976"/>
                    <a:pt x="3956240" y="950712"/>
                    <a:pt x="3943201" y="963870"/>
                  </a:cubicBezTo>
                  <a:cubicBezTo>
                    <a:pt x="3938313" y="973739"/>
                    <a:pt x="3922422" y="976206"/>
                    <a:pt x="3925783" y="982374"/>
                  </a:cubicBezTo>
                  <a:lnTo>
                    <a:pt x="3936683" y="990186"/>
                  </a:lnTo>
                  <a:cubicBezTo>
                    <a:pt x="3943201" y="996765"/>
                    <a:pt x="3956240" y="1003344"/>
                    <a:pt x="3943201" y="1009923"/>
                  </a:cubicBezTo>
                  <a:cubicBezTo>
                    <a:pt x="3930164" y="1009923"/>
                    <a:pt x="3910607" y="1003344"/>
                    <a:pt x="3897568" y="1003344"/>
                  </a:cubicBezTo>
                  <a:cubicBezTo>
                    <a:pt x="3891049" y="996765"/>
                    <a:pt x="3878010" y="996765"/>
                    <a:pt x="3871492" y="1003344"/>
                  </a:cubicBezTo>
                  <a:cubicBezTo>
                    <a:pt x="3864973" y="1016503"/>
                    <a:pt x="3878010" y="1023082"/>
                    <a:pt x="3871492" y="1029661"/>
                  </a:cubicBezTo>
                  <a:cubicBezTo>
                    <a:pt x="3871492" y="1055977"/>
                    <a:pt x="3825858" y="1029661"/>
                    <a:pt x="3819339" y="1055977"/>
                  </a:cubicBezTo>
                  <a:cubicBezTo>
                    <a:pt x="3819339" y="1062556"/>
                    <a:pt x="3825858" y="1075714"/>
                    <a:pt x="3819339" y="1082292"/>
                  </a:cubicBezTo>
                  <a:cubicBezTo>
                    <a:pt x="3812821" y="1095451"/>
                    <a:pt x="3793263" y="1088871"/>
                    <a:pt x="3780225" y="1095451"/>
                  </a:cubicBezTo>
                  <a:lnTo>
                    <a:pt x="3769631" y="1097095"/>
                  </a:lnTo>
                  <a:lnTo>
                    <a:pt x="3773706" y="1108609"/>
                  </a:lnTo>
                  <a:cubicBezTo>
                    <a:pt x="3773744" y="1108609"/>
                    <a:pt x="3780225" y="1108629"/>
                    <a:pt x="3780225" y="1115188"/>
                  </a:cubicBezTo>
                  <a:cubicBezTo>
                    <a:pt x="3773706" y="1121767"/>
                    <a:pt x="3773706" y="1115188"/>
                    <a:pt x="3767186" y="1121767"/>
                  </a:cubicBezTo>
                  <a:cubicBezTo>
                    <a:pt x="3767186" y="1125056"/>
                    <a:pt x="3765556" y="1125056"/>
                    <a:pt x="3764741" y="1125879"/>
                  </a:cubicBezTo>
                  <a:lnTo>
                    <a:pt x="3767186" y="1134925"/>
                  </a:lnTo>
                  <a:cubicBezTo>
                    <a:pt x="3767252" y="1134925"/>
                    <a:pt x="3773749" y="1134961"/>
                    <a:pt x="3780225" y="1141504"/>
                  </a:cubicBezTo>
                  <a:cubicBezTo>
                    <a:pt x="3786743" y="1154662"/>
                    <a:pt x="3780225" y="1148083"/>
                    <a:pt x="3773706" y="1161241"/>
                  </a:cubicBezTo>
                  <a:cubicBezTo>
                    <a:pt x="3760667" y="1174399"/>
                    <a:pt x="3793263" y="1167820"/>
                    <a:pt x="3799782" y="1174399"/>
                  </a:cubicBezTo>
                  <a:cubicBezTo>
                    <a:pt x="3819339" y="1194137"/>
                    <a:pt x="3767186" y="1194137"/>
                    <a:pt x="3773706" y="1213874"/>
                  </a:cubicBezTo>
                  <a:cubicBezTo>
                    <a:pt x="3778595" y="1223743"/>
                    <a:pt x="3798152" y="1215107"/>
                    <a:pt x="3802125" y="1221274"/>
                  </a:cubicBezTo>
                  <a:lnTo>
                    <a:pt x="3799782" y="1233610"/>
                  </a:lnTo>
                  <a:cubicBezTo>
                    <a:pt x="3793263" y="1240189"/>
                    <a:pt x="3786743" y="1240189"/>
                    <a:pt x="3786743" y="1246768"/>
                  </a:cubicBezTo>
                  <a:cubicBezTo>
                    <a:pt x="3786743" y="1266506"/>
                    <a:pt x="3799782" y="1253347"/>
                    <a:pt x="3806301" y="1253347"/>
                  </a:cubicBezTo>
                  <a:cubicBezTo>
                    <a:pt x="3819339" y="1259926"/>
                    <a:pt x="3806301" y="1286243"/>
                    <a:pt x="3825858" y="1279664"/>
                  </a:cubicBezTo>
                  <a:cubicBezTo>
                    <a:pt x="3845416" y="1279664"/>
                    <a:pt x="3838897" y="1253347"/>
                    <a:pt x="3858454" y="1253347"/>
                  </a:cubicBezTo>
                  <a:cubicBezTo>
                    <a:pt x="3864973" y="1253347"/>
                    <a:pt x="3871492" y="1259926"/>
                    <a:pt x="3878010" y="1253347"/>
                  </a:cubicBezTo>
                  <a:cubicBezTo>
                    <a:pt x="3884530" y="1253347"/>
                    <a:pt x="3884530" y="1240189"/>
                    <a:pt x="3891049" y="1233610"/>
                  </a:cubicBezTo>
                  <a:cubicBezTo>
                    <a:pt x="3904088" y="1227031"/>
                    <a:pt x="3910607" y="1240187"/>
                    <a:pt x="3917125" y="1240189"/>
                  </a:cubicBezTo>
                  <a:cubicBezTo>
                    <a:pt x="3930164" y="1240189"/>
                    <a:pt x="3936683" y="1227031"/>
                    <a:pt x="3943201" y="1240189"/>
                  </a:cubicBezTo>
                  <a:cubicBezTo>
                    <a:pt x="3943201" y="1259926"/>
                    <a:pt x="3923645" y="1273085"/>
                    <a:pt x="3936683" y="1286243"/>
                  </a:cubicBezTo>
                  <a:cubicBezTo>
                    <a:pt x="3949721" y="1299402"/>
                    <a:pt x="3975798" y="1305981"/>
                    <a:pt x="3988835" y="1312560"/>
                  </a:cubicBezTo>
                  <a:lnTo>
                    <a:pt x="3996067" y="1323251"/>
                  </a:lnTo>
                  <a:cubicBezTo>
                    <a:pt x="3996985" y="1330653"/>
                    <a:pt x="3982316" y="1330653"/>
                    <a:pt x="3982316" y="1345455"/>
                  </a:cubicBezTo>
                  <a:cubicBezTo>
                    <a:pt x="3975798" y="1371772"/>
                    <a:pt x="4008392" y="1384929"/>
                    <a:pt x="4021431" y="1358614"/>
                  </a:cubicBezTo>
                  <a:cubicBezTo>
                    <a:pt x="4027950" y="1338876"/>
                    <a:pt x="4021431" y="1325718"/>
                    <a:pt x="4054026" y="1332297"/>
                  </a:cubicBezTo>
                  <a:cubicBezTo>
                    <a:pt x="4073584" y="1338876"/>
                    <a:pt x="4080103" y="1325718"/>
                    <a:pt x="4073584" y="1305981"/>
                  </a:cubicBezTo>
                  <a:cubicBezTo>
                    <a:pt x="4067065" y="1279664"/>
                    <a:pt x="4054026" y="1259926"/>
                    <a:pt x="4080103" y="1246768"/>
                  </a:cubicBezTo>
                  <a:cubicBezTo>
                    <a:pt x="4093141" y="1240189"/>
                    <a:pt x="4112698" y="1240189"/>
                    <a:pt x="4119217" y="1227031"/>
                  </a:cubicBezTo>
                  <a:cubicBezTo>
                    <a:pt x="4132256" y="1207295"/>
                    <a:pt x="4125737" y="1187558"/>
                    <a:pt x="4112698" y="1174399"/>
                  </a:cubicBezTo>
                  <a:cubicBezTo>
                    <a:pt x="4099661" y="1161241"/>
                    <a:pt x="4086622" y="1148083"/>
                    <a:pt x="4086622" y="1134925"/>
                  </a:cubicBezTo>
                  <a:cubicBezTo>
                    <a:pt x="4086622" y="1121767"/>
                    <a:pt x="4099661" y="1108609"/>
                    <a:pt x="4099661" y="1095451"/>
                  </a:cubicBezTo>
                  <a:cubicBezTo>
                    <a:pt x="4099661" y="1082292"/>
                    <a:pt x="4093141" y="1062556"/>
                    <a:pt x="4106180" y="1049398"/>
                  </a:cubicBezTo>
                  <a:cubicBezTo>
                    <a:pt x="4112698" y="1042819"/>
                    <a:pt x="4125737" y="1049398"/>
                    <a:pt x="4125737" y="1029661"/>
                  </a:cubicBezTo>
                  <a:cubicBezTo>
                    <a:pt x="4132256" y="1023082"/>
                    <a:pt x="4125737" y="1016503"/>
                    <a:pt x="4138775" y="1009923"/>
                  </a:cubicBezTo>
                  <a:cubicBezTo>
                    <a:pt x="4158332" y="996765"/>
                    <a:pt x="4171371" y="1009923"/>
                    <a:pt x="4184408" y="983607"/>
                  </a:cubicBezTo>
                  <a:cubicBezTo>
                    <a:pt x="4190928" y="970449"/>
                    <a:pt x="4203966" y="950712"/>
                    <a:pt x="4203966" y="930976"/>
                  </a:cubicBezTo>
                  <a:cubicBezTo>
                    <a:pt x="4210486" y="911238"/>
                    <a:pt x="4236562" y="898080"/>
                    <a:pt x="4256119" y="904659"/>
                  </a:cubicBezTo>
                  <a:cubicBezTo>
                    <a:pt x="4269157" y="904659"/>
                    <a:pt x="4269157" y="917817"/>
                    <a:pt x="4269157" y="930976"/>
                  </a:cubicBezTo>
                  <a:cubicBezTo>
                    <a:pt x="4269157" y="937544"/>
                    <a:pt x="4269157" y="944112"/>
                    <a:pt x="4269157" y="944133"/>
                  </a:cubicBezTo>
                  <a:cubicBezTo>
                    <a:pt x="4275675" y="950712"/>
                    <a:pt x="4275675" y="957291"/>
                    <a:pt x="4275675" y="963870"/>
                  </a:cubicBezTo>
                  <a:cubicBezTo>
                    <a:pt x="4275675" y="977028"/>
                    <a:pt x="4256119" y="983607"/>
                    <a:pt x="4249599" y="983607"/>
                  </a:cubicBezTo>
                  <a:cubicBezTo>
                    <a:pt x="4230042" y="996765"/>
                    <a:pt x="4217004" y="1003344"/>
                    <a:pt x="4210486" y="1016503"/>
                  </a:cubicBezTo>
                  <a:cubicBezTo>
                    <a:pt x="4203966" y="1023082"/>
                    <a:pt x="4203966" y="1029661"/>
                    <a:pt x="4203966" y="1036240"/>
                  </a:cubicBezTo>
                  <a:cubicBezTo>
                    <a:pt x="4197447" y="1055977"/>
                    <a:pt x="4210486" y="1069135"/>
                    <a:pt x="4210486" y="1088871"/>
                  </a:cubicBezTo>
                  <a:cubicBezTo>
                    <a:pt x="4217004" y="1102030"/>
                    <a:pt x="4223523" y="1108609"/>
                    <a:pt x="4223523" y="1121767"/>
                  </a:cubicBezTo>
                  <a:cubicBezTo>
                    <a:pt x="4236562" y="1134925"/>
                    <a:pt x="4230042" y="1154662"/>
                    <a:pt x="4243080" y="1167820"/>
                  </a:cubicBezTo>
                  <a:cubicBezTo>
                    <a:pt x="4256119" y="1174399"/>
                    <a:pt x="4269157" y="1174399"/>
                    <a:pt x="4282195" y="1167820"/>
                  </a:cubicBezTo>
                  <a:cubicBezTo>
                    <a:pt x="4295233" y="1154662"/>
                    <a:pt x="4308271" y="1141504"/>
                    <a:pt x="4327829" y="1141504"/>
                  </a:cubicBezTo>
                  <a:cubicBezTo>
                    <a:pt x="4340866" y="1141504"/>
                    <a:pt x="4347386" y="1154662"/>
                    <a:pt x="4353905" y="1154662"/>
                  </a:cubicBezTo>
                  <a:cubicBezTo>
                    <a:pt x="4366944" y="1161241"/>
                    <a:pt x="4373462" y="1154662"/>
                    <a:pt x="4386500" y="1154662"/>
                  </a:cubicBezTo>
                  <a:cubicBezTo>
                    <a:pt x="4399539" y="1161241"/>
                    <a:pt x="4419096" y="1180979"/>
                    <a:pt x="4393020" y="1187558"/>
                  </a:cubicBezTo>
                  <a:cubicBezTo>
                    <a:pt x="4379981" y="1194137"/>
                    <a:pt x="4366944" y="1187558"/>
                    <a:pt x="4353905" y="1187558"/>
                  </a:cubicBezTo>
                  <a:cubicBezTo>
                    <a:pt x="4334348" y="1187558"/>
                    <a:pt x="4334348" y="1200716"/>
                    <a:pt x="4321310" y="1200716"/>
                  </a:cubicBezTo>
                  <a:cubicBezTo>
                    <a:pt x="4301753" y="1207295"/>
                    <a:pt x="4288714" y="1187558"/>
                    <a:pt x="4269157" y="1200716"/>
                  </a:cubicBezTo>
                  <a:cubicBezTo>
                    <a:pt x="4230042" y="1227031"/>
                    <a:pt x="4288714" y="1259926"/>
                    <a:pt x="4262638" y="1286243"/>
                  </a:cubicBezTo>
                  <a:cubicBezTo>
                    <a:pt x="4249599" y="1305981"/>
                    <a:pt x="4236562" y="1279664"/>
                    <a:pt x="4230042" y="1273085"/>
                  </a:cubicBezTo>
                  <a:cubicBezTo>
                    <a:pt x="4210486" y="1266506"/>
                    <a:pt x="4190928" y="1279664"/>
                    <a:pt x="4190928" y="1292823"/>
                  </a:cubicBezTo>
                  <a:cubicBezTo>
                    <a:pt x="4184408" y="1312560"/>
                    <a:pt x="4197447" y="1325718"/>
                    <a:pt x="4190928" y="1345455"/>
                  </a:cubicBezTo>
                  <a:cubicBezTo>
                    <a:pt x="4190928" y="1352035"/>
                    <a:pt x="4184408" y="1352035"/>
                    <a:pt x="4177889" y="1358614"/>
                  </a:cubicBezTo>
                  <a:cubicBezTo>
                    <a:pt x="4177889" y="1371772"/>
                    <a:pt x="4184408" y="1371772"/>
                    <a:pt x="4184408" y="1378351"/>
                  </a:cubicBezTo>
                  <a:cubicBezTo>
                    <a:pt x="4177889" y="1391508"/>
                    <a:pt x="4171371" y="1384929"/>
                    <a:pt x="4164851" y="1391508"/>
                  </a:cubicBezTo>
                  <a:cubicBezTo>
                    <a:pt x="4145294" y="1391508"/>
                    <a:pt x="4151813" y="1404666"/>
                    <a:pt x="4145294" y="1411245"/>
                  </a:cubicBezTo>
                  <a:cubicBezTo>
                    <a:pt x="4132256" y="1430983"/>
                    <a:pt x="4112698" y="1424403"/>
                    <a:pt x="4093141" y="1424403"/>
                  </a:cubicBezTo>
                  <a:cubicBezTo>
                    <a:pt x="4067065" y="1424403"/>
                    <a:pt x="4054026" y="1430983"/>
                    <a:pt x="4027950" y="1444141"/>
                  </a:cubicBezTo>
                  <a:cubicBezTo>
                    <a:pt x="4001874" y="1450720"/>
                    <a:pt x="3988835" y="1430983"/>
                    <a:pt x="3969279" y="1430983"/>
                  </a:cubicBezTo>
                  <a:lnTo>
                    <a:pt x="3959805" y="1429338"/>
                  </a:lnTo>
                  <a:cubicBezTo>
                    <a:pt x="3954610" y="1430571"/>
                    <a:pt x="3959500" y="1439206"/>
                    <a:pt x="3949721" y="1444141"/>
                  </a:cubicBezTo>
                  <a:cubicBezTo>
                    <a:pt x="3936683" y="1450720"/>
                    <a:pt x="3930164" y="1444141"/>
                    <a:pt x="3923645" y="1437562"/>
                  </a:cubicBezTo>
                  <a:cubicBezTo>
                    <a:pt x="3917125" y="1437562"/>
                    <a:pt x="3910607" y="1430983"/>
                    <a:pt x="3904088" y="1424403"/>
                  </a:cubicBezTo>
                  <a:cubicBezTo>
                    <a:pt x="3884530" y="1404666"/>
                    <a:pt x="3910607" y="1398087"/>
                    <a:pt x="3904088" y="1384929"/>
                  </a:cubicBezTo>
                  <a:cubicBezTo>
                    <a:pt x="3904088" y="1365193"/>
                    <a:pt x="3897568" y="1365193"/>
                    <a:pt x="3904088" y="1352035"/>
                  </a:cubicBezTo>
                  <a:cubicBezTo>
                    <a:pt x="3904088" y="1345456"/>
                    <a:pt x="3904088" y="1338876"/>
                    <a:pt x="3904088" y="1332297"/>
                  </a:cubicBezTo>
                  <a:cubicBezTo>
                    <a:pt x="3904088" y="1325718"/>
                    <a:pt x="3904088" y="1319139"/>
                    <a:pt x="3904088" y="1305981"/>
                  </a:cubicBezTo>
                  <a:cubicBezTo>
                    <a:pt x="3910607" y="1299402"/>
                    <a:pt x="3917125" y="1266506"/>
                    <a:pt x="3897568" y="1279664"/>
                  </a:cubicBezTo>
                  <a:cubicBezTo>
                    <a:pt x="3884530" y="1279664"/>
                    <a:pt x="3891049" y="1292823"/>
                    <a:pt x="3884530" y="1292823"/>
                  </a:cubicBezTo>
                  <a:cubicBezTo>
                    <a:pt x="3878010" y="1299402"/>
                    <a:pt x="3871492" y="1292823"/>
                    <a:pt x="3864973" y="1292823"/>
                  </a:cubicBezTo>
                  <a:cubicBezTo>
                    <a:pt x="3851934" y="1305981"/>
                    <a:pt x="3884530" y="1312560"/>
                    <a:pt x="3884530" y="1319139"/>
                  </a:cubicBezTo>
                  <a:cubicBezTo>
                    <a:pt x="3871492" y="1325718"/>
                    <a:pt x="3825858" y="1325718"/>
                    <a:pt x="3838897" y="1352035"/>
                  </a:cubicBezTo>
                  <a:cubicBezTo>
                    <a:pt x="3845416" y="1358614"/>
                    <a:pt x="3851934" y="1358614"/>
                    <a:pt x="3858454" y="1365193"/>
                  </a:cubicBezTo>
                  <a:cubicBezTo>
                    <a:pt x="3858454" y="1378351"/>
                    <a:pt x="3851934" y="1378351"/>
                    <a:pt x="3851934" y="1384929"/>
                  </a:cubicBezTo>
                  <a:cubicBezTo>
                    <a:pt x="3845416" y="1404666"/>
                    <a:pt x="3871492" y="1417824"/>
                    <a:pt x="3878010" y="1430983"/>
                  </a:cubicBezTo>
                  <a:cubicBezTo>
                    <a:pt x="3884530" y="1463878"/>
                    <a:pt x="3858454" y="1457299"/>
                    <a:pt x="3838897" y="1463878"/>
                  </a:cubicBezTo>
                  <a:cubicBezTo>
                    <a:pt x="3838816" y="1463970"/>
                    <a:pt x="3832336" y="1470457"/>
                    <a:pt x="3825858" y="1470457"/>
                  </a:cubicBezTo>
                  <a:cubicBezTo>
                    <a:pt x="3819339" y="1477036"/>
                    <a:pt x="3812821" y="1470457"/>
                    <a:pt x="3806301" y="1470457"/>
                  </a:cubicBezTo>
                  <a:cubicBezTo>
                    <a:pt x="3786743" y="1470457"/>
                    <a:pt x="3773706" y="1477036"/>
                    <a:pt x="3760667" y="1490194"/>
                  </a:cubicBezTo>
                  <a:cubicBezTo>
                    <a:pt x="3754148" y="1509932"/>
                    <a:pt x="3760667" y="1523090"/>
                    <a:pt x="3754148" y="1536248"/>
                  </a:cubicBezTo>
                  <a:cubicBezTo>
                    <a:pt x="3741110" y="1555984"/>
                    <a:pt x="3715033" y="1555984"/>
                    <a:pt x="3695476" y="1549405"/>
                  </a:cubicBezTo>
                  <a:cubicBezTo>
                    <a:pt x="3682439" y="1549405"/>
                    <a:pt x="3669400" y="1549405"/>
                    <a:pt x="3669400" y="1569142"/>
                  </a:cubicBezTo>
                  <a:cubicBezTo>
                    <a:pt x="3669400" y="1582300"/>
                    <a:pt x="3682439" y="1588880"/>
                    <a:pt x="3675919" y="1602038"/>
                  </a:cubicBezTo>
                  <a:cubicBezTo>
                    <a:pt x="3675919" y="1615196"/>
                    <a:pt x="3656361" y="1615196"/>
                    <a:pt x="3643324" y="1615196"/>
                  </a:cubicBezTo>
                  <a:cubicBezTo>
                    <a:pt x="3630285" y="1615196"/>
                    <a:pt x="3623766" y="1602038"/>
                    <a:pt x="3610728" y="1602038"/>
                  </a:cubicBezTo>
                  <a:lnTo>
                    <a:pt x="3597791" y="1601525"/>
                  </a:lnTo>
                  <a:cubicBezTo>
                    <a:pt x="3590763" y="1604917"/>
                    <a:pt x="3599320" y="1618485"/>
                    <a:pt x="3604209" y="1628354"/>
                  </a:cubicBezTo>
                  <a:cubicBezTo>
                    <a:pt x="3610728" y="1648091"/>
                    <a:pt x="3584651" y="1641512"/>
                    <a:pt x="3571614" y="1641512"/>
                  </a:cubicBezTo>
                  <a:cubicBezTo>
                    <a:pt x="3552057" y="1648091"/>
                    <a:pt x="3512942" y="1634933"/>
                    <a:pt x="3512942" y="1661249"/>
                  </a:cubicBezTo>
                  <a:cubicBezTo>
                    <a:pt x="3512942" y="1680987"/>
                    <a:pt x="3539018" y="1680987"/>
                    <a:pt x="3558575" y="1687566"/>
                  </a:cubicBezTo>
                  <a:cubicBezTo>
                    <a:pt x="3578133" y="1694144"/>
                    <a:pt x="3565094" y="1720460"/>
                    <a:pt x="3584651" y="1733618"/>
                  </a:cubicBezTo>
                  <a:cubicBezTo>
                    <a:pt x="3604209" y="1746776"/>
                    <a:pt x="3643324" y="1746776"/>
                    <a:pt x="3623766" y="1779673"/>
                  </a:cubicBezTo>
                  <a:cubicBezTo>
                    <a:pt x="3617248" y="1792831"/>
                    <a:pt x="3610728" y="1792831"/>
                    <a:pt x="3604209" y="1805989"/>
                  </a:cubicBezTo>
                  <a:cubicBezTo>
                    <a:pt x="3604209" y="1819147"/>
                    <a:pt x="3604209" y="1832305"/>
                    <a:pt x="3597690" y="1845464"/>
                  </a:cubicBezTo>
                  <a:cubicBezTo>
                    <a:pt x="3584651" y="1865200"/>
                    <a:pt x="3552057" y="1865200"/>
                    <a:pt x="3532499" y="1865200"/>
                  </a:cubicBezTo>
                  <a:cubicBezTo>
                    <a:pt x="3519460" y="1865200"/>
                    <a:pt x="3499903" y="1865200"/>
                    <a:pt x="3486865" y="1858621"/>
                  </a:cubicBezTo>
                  <a:cubicBezTo>
                    <a:pt x="3480346" y="1858621"/>
                    <a:pt x="3473827" y="1858621"/>
                    <a:pt x="3467308" y="1852042"/>
                  </a:cubicBezTo>
                  <a:cubicBezTo>
                    <a:pt x="3460789" y="1852042"/>
                    <a:pt x="3454269" y="1838885"/>
                    <a:pt x="3441232" y="1838885"/>
                  </a:cubicBezTo>
                  <a:cubicBezTo>
                    <a:pt x="3441232" y="1845412"/>
                    <a:pt x="3434813" y="1845464"/>
                    <a:pt x="3434712" y="1845464"/>
                  </a:cubicBezTo>
                  <a:cubicBezTo>
                    <a:pt x="3428193" y="1852042"/>
                    <a:pt x="3428193" y="1852042"/>
                    <a:pt x="3421674" y="1852042"/>
                  </a:cubicBezTo>
                  <a:cubicBezTo>
                    <a:pt x="3402117" y="1858621"/>
                    <a:pt x="3389078" y="1865200"/>
                    <a:pt x="3395598" y="1884937"/>
                  </a:cubicBezTo>
                  <a:cubicBezTo>
                    <a:pt x="3395598" y="1898118"/>
                    <a:pt x="3400504" y="1909648"/>
                    <a:pt x="3403757" y="1921183"/>
                  </a:cubicBezTo>
                  <a:cubicBezTo>
                    <a:pt x="3320375" y="1876527"/>
                    <a:pt x="3235444" y="1834223"/>
                    <a:pt x="3149778" y="1793573"/>
                  </a:cubicBezTo>
                  <a:cubicBezTo>
                    <a:pt x="2980614" y="1567631"/>
                    <a:pt x="2804454" y="1362742"/>
                    <a:pt x="2619351" y="1179859"/>
                  </a:cubicBezTo>
                  <a:cubicBezTo>
                    <a:pt x="2753619" y="1021941"/>
                    <a:pt x="2892903" y="871760"/>
                    <a:pt x="3030556" y="734085"/>
                  </a:cubicBezTo>
                  <a:cubicBezTo>
                    <a:pt x="3040441" y="729182"/>
                    <a:pt x="3050069" y="724133"/>
                    <a:pt x="3048173" y="715826"/>
                  </a:cubicBezTo>
                  <a:cubicBezTo>
                    <a:pt x="3126733" y="636926"/>
                    <a:pt x="3204874" y="562436"/>
                    <a:pt x="3281289" y="493209"/>
                  </a:cubicBezTo>
                  <a:cubicBezTo>
                    <a:pt x="3309736" y="518570"/>
                    <a:pt x="3347477" y="532145"/>
                    <a:pt x="3388389" y="532145"/>
                  </a:cubicBezTo>
                  <a:cubicBezTo>
                    <a:pt x="3488339" y="532145"/>
                    <a:pt x="3569364" y="451120"/>
                    <a:pt x="3569364" y="351170"/>
                  </a:cubicBezTo>
                  <a:cubicBezTo>
                    <a:pt x="3569364" y="328760"/>
                    <a:pt x="3565291" y="307301"/>
                    <a:pt x="3557306" y="287696"/>
                  </a:cubicBezTo>
                  <a:close/>
                  <a:moveTo>
                    <a:pt x="3388389" y="244490"/>
                  </a:moveTo>
                  <a:cubicBezTo>
                    <a:pt x="3447307" y="244490"/>
                    <a:pt x="3495069" y="292252"/>
                    <a:pt x="3495069" y="351170"/>
                  </a:cubicBezTo>
                  <a:cubicBezTo>
                    <a:pt x="3495069" y="410088"/>
                    <a:pt x="3447307" y="457850"/>
                    <a:pt x="3388389" y="457850"/>
                  </a:cubicBezTo>
                  <a:cubicBezTo>
                    <a:pt x="3329471" y="457850"/>
                    <a:pt x="3281709" y="410088"/>
                    <a:pt x="3281709" y="351170"/>
                  </a:cubicBezTo>
                  <a:cubicBezTo>
                    <a:pt x="3281709" y="292252"/>
                    <a:pt x="3329471" y="244490"/>
                    <a:pt x="3388389" y="244490"/>
                  </a:cubicBezTo>
                  <a:close/>
                  <a:moveTo>
                    <a:pt x="3158941" y="175915"/>
                  </a:moveTo>
                  <a:lnTo>
                    <a:pt x="3161140" y="176253"/>
                  </a:lnTo>
                  <a:cubicBezTo>
                    <a:pt x="3173468" y="182408"/>
                    <a:pt x="3179977" y="182575"/>
                    <a:pt x="3192664" y="188977"/>
                  </a:cubicBezTo>
                  <a:lnTo>
                    <a:pt x="3207130" y="185048"/>
                  </a:lnTo>
                  <a:lnTo>
                    <a:pt x="3287899" y="204674"/>
                  </a:lnTo>
                  <a:cubicBezTo>
                    <a:pt x="3238540" y="234542"/>
                    <a:pt x="3207414" y="289221"/>
                    <a:pt x="3207414" y="351170"/>
                  </a:cubicBezTo>
                  <a:cubicBezTo>
                    <a:pt x="3207414" y="396588"/>
                    <a:pt x="3224145" y="438098"/>
                    <a:pt x="3253289" y="468561"/>
                  </a:cubicBezTo>
                  <a:lnTo>
                    <a:pt x="3067844" y="641960"/>
                  </a:lnTo>
                  <a:cubicBezTo>
                    <a:pt x="3066253" y="639853"/>
                    <a:pt x="3064319" y="637902"/>
                    <a:pt x="3062385" y="635951"/>
                  </a:cubicBezTo>
                  <a:cubicBezTo>
                    <a:pt x="3062385" y="622804"/>
                    <a:pt x="3062385" y="616232"/>
                    <a:pt x="3068900" y="609658"/>
                  </a:cubicBezTo>
                  <a:cubicBezTo>
                    <a:pt x="3075413" y="596512"/>
                    <a:pt x="3075413" y="576792"/>
                    <a:pt x="3062385" y="563646"/>
                  </a:cubicBezTo>
                  <a:cubicBezTo>
                    <a:pt x="3055872" y="557073"/>
                    <a:pt x="3042844" y="557073"/>
                    <a:pt x="3049357" y="543926"/>
                  </a:cubicBezTo>
                  <a:cubicBezTo>
                    <a:pt x="3068900" y="537353"/>
                    <a:pt x="3094955" y="543926"/>
                    <a:pt x="3107983" y="543926"/>
                  </a:cubicBezTo>
                  <a:cubicBezTo>
                    <a:pt x="3114497" y="537353"/>
                    <a:pt x="3121011" y="537353"/>
                    <a:pt x="3121011" y="530780"/>
                  </a:cubicBezTo>
                  <a:cubicBezTo>
                    <a:pt x="3121011" y="517634"/>
                    <a:pt x="3114497" y="517634"/>
                    <a:pt x="3101469" y="517634"/>
                  </a:cubicBezTo>
                  <a:cubicBezTo>
                    <a:pt x="3094955" y="511062"/>
                    <a:pt x="3075413" y="511062"/>
                    <a:pt x="3068900" y="497915"/>
                  </a:cubicBezTo>
                  <a:lnTo>
                    <a:pt x="3062182" y="486515"/>
                  </a:lnTo>
                  <a:cubicBezTo>
                    <a:pt x="3066456" y="478196"/>
                    <a:pt x="3098212" y="478196"/>
                    <a:pt x="3107983" y="478196"/>
                  </a:cubicBezTo>
                  <a:cubicBezTo>
                    <a:pt x="3114497" y="478196"/>
                    <a:pt x="3140553" y="491342"/>
                    <a:pt x="3140553" y="478196"/>
                  </a:cubicBezTo>
                  <a:cubicBezTo>
                    <a:pt x="3147067" y="465049"/>
                    <a:pt x="3107983" y="465049"/>
                    <a:pt x="3114497" y="445329"/>
                  </a:cubicBezTo>
                  <a:cubicBezTo>
                    <a:pt x="3121011" y="432183"/>
                    <a:pt x="3147067" y="425611"/>
                    <a:pt x="3140553" y="405891"/>
                  </a:cubicBezTo>
                  <a:cubicBezTo>
                    <a:pt x="3127525" y="386171"/>
                    <a:pt x="3094955" y="405891"/>
                    <a:pt x="3088441" y="386171"/>
                  </a:cubicBezTo>
                  <a:cubicBezTo>
                    <a:pt x="3081928" y="366452"/>
                    <a:pt x="3081928" y="346732"/>
                    <a:pt x="3107983" y="353306"/>
                  </a:cubicBezTo>
                  <a:cubicBezTo>
                    <a:pt x="3121011" y="353306"/>
                    <a:pt x="3166608" y="392744"/>
                    <a:pt x="3179636" y="373025"/>
                  </a:cubicBezTo>
                  <a:cubicBezTo>
                    <a:pt x="3192664" y="353306"/>
                    <a:pt x="3166608" y="333587"/>
                    <a:pt x="3153580" y="333587"/>
                  </a:cubicBezTo>
                  <a:cubicBezTo>
                    <a:pt x="3147067" y="333587"/>
                    <a:pt x="3140553" y="333587"/>
                    <a:pt x="3140553" y="327013"/>
                  </a:cubicBezTo>
                  <a:cubicBezTo>
                    <a:pt x="3134039" y="320441"/>
                    <a:pt x="3140553" y="320441"/>
                    <a:pt x="3134039" y="313867"/>
                  </a:cubicBezTo>
                  <a:cubicBezTo>
                    <a:pt x="3134039" y="300721"/>
                    <a:pt x="3114497" y="300721"/>
                    <a:pt x="3114497" y="287574"/>
                  </a:cubicBezTo>
                  <a:cubicBezTo>
                    <a:pt x="3114497" y="274429"/>
                    <a:pt x="3127525" y="267856"/>
                    <a:pt x="3134039" y="267856"/>
                  </a:cubicBezTo>
                  <a:cubicBezTo>
                    <a:pt x="3140553" y="261282"/>
                    <a:pt x="3147067" y="254708"/>
                    <a:pt x="3147067" y="241562"/>
                  </a:cubicBezTo>
                  <a:cubicBezTo>
                    <a:pt x="3153580" y="221843"/>
                    <a:pt x="3153580" y="228416"/>
                    <a:pt x="3166608" y="221843"/>
                  </a:cubicBezTo>
                  <a:cubicBezTo>
                    <a:pt x="3186151" y="215269"/>
                    <a:pt x="3179636" y="202123"/>
                    <a:pt x="3166608" y="188977"/>
                  </a:cubicBezTo>
                  <a:cubicBezTo>
                    <a:pt x="3166475" y="188977"/>
                    <a:pt x="3147067" y="188960"/>
                    <a:pt x="3147067" y="182403"/>
                  </a:cubicBezTo>
                  <a:cubicBezTo>
                    <a:pt x="3140919" y="176200"/>
                    <a:pt x="3152179" y="175851"/>
                    <a:pt x="3158941" y="175915"/>
                  </a:cubicBezTo>
                  <a:close/>
                  <a:moveTo>
                    <a:pt x="2680032" y="66572"/>
                  </a:moveTo>
                  <a:cubicBezTo>
                    <a:pt x="1236658" y="66572"/>
                    <a:pt x="66572" y="1236658"/>
                    <a:pt x="66572" y="2680032"/>
                  </a:cubicBezTo>
                  <a:cubicBezTo>
                    <a:pt x="66572" y="4123405"/>
                    <a:pt x="1236658" y="5293491"/>
                    <a:pt x="2680032" y="5293491"/>
                  </a:cubicBezTo>
                  <a:cubicBezTo>
                    <a:pt x="4123405" y="5293491"/>
                    <a:pt x="5293491" y="4123405"/>
                    <a:pt x="5293491" y="2680032"/>
                  </a:cubicBezTo>
                  <a:cubicBezTo>
                    <a:pt x="5293491" y="1508205"/>
                    <a:pt x="4522256" y="516510"/>
                    <a:pt x="3459646" y="184965"/>
                  </a:cubicBezTo>
                  <a:cubicBezTo>
                    <a:pt x="3445024" y="178486"/>
                    <a:pt x="3429326" y="174068"/>
                    <a:pt x="3412820" y="172658"/>
                  </a:cubicBezTo>
                  <a:cubicBezTo>
                    <a:pt x="3180691" y="102972"/>
                    <a:pt x="2934612" y="66572"/>
                    <a:pt x="2680032" y="66572"/>
                  </a:cubicBezTo>
                  <a:close/>
                  <a:moveTo>
                    <a:pt x="2680032" y="0"/>
                  </a:moveTo>
                  <a:cubicBezTo>
                    <a:pt x="4160172" y="0"/>
                    <a:pt x="5360063" y="1199890"/>
                    <a:pt x="5360063" y="2680032"/>
                  </a:cubicBezTo>
                  <a:cubicBezTo>
                    <a:pt x="5360063" y="4160172"/>
                    <a:pt x="4160172" y="5360063"/>
                    <a:pt x="2680032" y="5360063"/>
                  </a:cubicBezTo>
                  <a:cubicBezTo>
                    <a:pt x="1199890" y="5360063"/>
                    <a:pt x="0" y="4160172"/>
                    <a:pt x="0" y="2680032"/>
                  </a:cubicBezTo>
                  <a:cubicBezTo>
                    <a:pt x="0" y="1199890"/>
                    <a:pt x="1199890" y="0"/>
                    <a:pt x="268003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a:p>
          </p:txBody>
        </p:sp>
        <p:sp>
          <p:nvSpPr>
            <p:cNvPr id="27" name="Freeform 26"/>
            <p:cNvSpPr/>
            <p:nvPr/>
          </p:nvSpPr>
          <p:spPr>
            <a:xfrm>
              <a:off x="-287810" y="4361614"/>
              <a:ext cx="355654" cy="911219"/>
            </a:xfrm>
            <a:custGeom>
              <a:avLst/>
              <a:gdLst>
                <a:gd name="connsiteX0" fmla="*/ 118796 w 452140"/>
                <a:gd name="connsiteY0" fmla="*/ 213409 h 1158424"/>
                <a:gd name="connsiteX1" fmla="*/ 333343 w 452140"/>
                <a:gd name="connsiteY1" fmla="*/ 213409 h 1158424"/>
                <a:gd name="connsiteX2" fmla="*/ 444784 w 452140"/>
                <a:gd name="connsiteY2" fmla="*/ 287095 h 1158424"/>
                <a:gd name="connsiteX3" fmla="*/ 449951 w 452140"/>
                <a:gd name="connsiteY3" fmla="*/ 303591 h 1158424"/>
                <a:gd name="connsiteX4" fmla="*/ 452140 w 452140"/>
                <a:gd name="connsiteY4" fmla="*/ 325301 h 1158424"/>
                <a:gd name="connsiteX5" fmla="*/ 452140 w 452140"/>
                <a:gd name="connsiteY5" fmla="*/ 332205 h 1158424"/>
                <a:gd name="connsiteX6" fmla="*/ 452140 w 452140"/>
                <a:gd name="connsiteY6" fmla="*/ 364807 h 1158424"/>
                <a:gd name="connsiteX7" fmla="*/ 452140 w 452140"/>
                <a:gd name="connsiteY7" fmla="*/ 633253 h 1158424"/>
                <a:gd name="connsiteX8" fmla="*/ 409478 w 452140"/>
                <a:gd name="connsiteY8" fmla="*/ 675915 h 1158424"/>
                <a:gd name="connsiteX9" fmla="*/ 366816 w 452140"/>
                <a:gd name="connsiteY9" fmla="*/ 633253 h 1158424"/>
                <a:gd name="connsiteX10" fmla="*/ 366816 w 452140"/>
                <a:gd name="connsiteY10" fmla="*/ 478231 h 1158424"/>
                <a:gd name="connsiteX11" fmla="*/ 366363 w 452140"/>
                <a:gd name="connsiteY11" fmla="*/ 478344 h 1158424"/>
                <a:gd name="connsiteX12" fmla="*/ 366363 w 452140"/>
                <a:gd name="connsiteY12" fmla="*/ 363643 h 1158424"/>
                <a:gd name="connsiteX13" fmla="*/ 364558 w 452140"/>
                <a:gd name="connsiteY13" fmla="*/ 361838 h 1158424"/>
                <a:gd name="connsiteX14" fmla="*/ 346505 w 452140"/>
                <a:gd name="connsiteY14" fmla="*/ 361838 h 1158424"/>
                <a:gd name="connsiteX15" fmla="*/ 344699 w 452140"/>
                <a:gd name="connsiteY15" fmla="*/ 363643 h 1158424"/>
                <a:gd name="connsiteX16" fmla="*/ 345052 w 452140"/>
                <a:gd name="connsiteY16" fmla="*/ 470080 h 1158424"/>
                <a:gd name="connsiteX17" fmla="*/ 345052 w 452140"/>
                <a:gd name="connsiteY17" fmla="*/ 1105097 h 1158424"/>
                <a:gd name="connsiteX18" fmla="*/ 291725 w 452140"/>
                <a:gd name="connsiteY18" fmla="*/ 1158424 h 1158424"/>
                <a:gd name="connsiteX19" fmla="*/ 238397 w 452140"/>
                <a:gd name="connsiteY19" fmla="*/ 1105097 h 1158424"/>
                <a:gd name="connsiteX20" fmla="*/ 238397 w 452140"/>
                <a:gd name="connsiteY20" fmla="*/ 703825 h 1158424"/>
                <a:gd name="connsiteX21" fmla="*/ 238044 w 452140"/>
                <a:gd name="connsiteY21" fmla="*/ 673190 h 1158424"/>
                <a:gd name="connsiteX22" fmla="*/ 236460 w 452140"/>
                <a:gd name="connsiteY22" fmla="*/ 671606 h 1158424"/>
                <a:gd name="connsiteX23" fmla="*/ 216791 w 452140"/>
                <a:gd name="connsiteY23" fmla="*/ 671606 h 1158424"/>
                <a:gd name="connsiteX24" fmla="*/ 215207 w 452140"/>
                <a:gd name="connsiteY24" fmla="*/ 673190 h 1158424"/>
                <a:gd name="connsiteX25" fmla="*/ 215207 w 452140"/>
                <a:gd name="connsiteY25" fmla="*/ 703825 h 1158424"/>
                <a:gd name="connsiteX26" fmla="*/ 215075 w 452140"/>
                <a:gd name="connsiteY26" fmla="*/ 1105097 h 1158424"/>
                <a:gd name="connsiteX27" fmla="*/ 161747 w 452140"/>
                <a:gd name="connsiteY27" fmla="*/ 1158424 h 1158424"/>
                <a:gd name="connsiteX28" fmla="*/ 108419 w 452140"/>
                <a:gd name="connsiteY28" fmla="*/ 1105097 h 1158424"/>
                <a:gd name="connsiteX29" fmla="*/ 108419 w 452140"/>
                <a:gd name="connsiteY29" fmla="*/ 482815 h 1158424"/>
                <a:gd name="connsiteX30" fmla="*/ 106756 w 452140"/>
                <a:gd name="connsiteY30" fmla="*/ 363616 h 1158424"/>
                <a:gd name="connsiteX31" fmla="*/ 104978 w 452140"/>
                <a:gd name="connsiteY31" fmla="*/ 361838 h 1158424"/>
                <a:gd name="connsiteX32" fmla="*/ 87202 w 452140"/>
                <a:gd name="connsiteY32" fmla="*/ 361838 h 1158424"/>
                <a:gd name="connsiteX33" fmla="*/ 85425 w 452140"/>
                <a:gd name="connsiteY33" fmla="*/ 363616 h 1158424"/>
                <a:gd name="connsiteX34" fmla="*/ 85425 w 452140"/>
                <a:gd name="connsiteY34" fmla="*/ 478256 h 1158424"/>
                <a:gd name="connsiteX35" fmla="*/ 85324 w 452140"/>
                <a:gd name="connsiteY35" fmla="*/ 478231 h 1158424"/>
                <a:gd name="connsiteX36" fmla="*/ 85324 w 452140"/>
                <a:gd name="connsiteY36" fmla="*/ 633253 h 1158424"/>
                <a:gd name="connsiteX37" fmla="*/ 42662 w 452140"/>
                <a:gd name="connsiteY37" fmla="*/ 675915 h 1158424"/>
                <a:gd name="connsiteX38" fmla="*/ 0 w 452140"/>
                <a:gd name="connsiteY38" fmla="*/ 633253 h 1158424"/>
                <a:gd name="connsiteX39" fmla="*/ 0 w 452140"/>
                <a:gd name="connsiteY39" fmla="*/ 364807 h 1158424"/>
                <a:gd name="connsiteX40" fmla="*/ 0 w 452140"/>
                <a:gd name="connsiteY40" fmla="*/ 332205 h 1158424"/>
                <a:gd name="connsiteX41" fmla="*/ 0 w 452140"/>
                <a:gd name="connsiteY41" fmla="*/ 325301 h 1158424"/>
                <a:gd name="connsiteX42" fmla="*/ 4216 w 452140"/>
                <a:gd name="connsiteY42" fmla="*/ 296223 h 1158424"/>
                <a:gd name="connsiteX43" fmla="*/ 6801 w 452140"/>
                <a:gd name="connsiteY43" fmla="*/ 287651 h 1158424"/>
                <a:gd name="connsiteX44" fmla="*/ 118796 w 452140"/>
                <a:gd name="connsiteY44" fmla="*/ 213409 h 1158424"/>
                <a:gd name="connsiteX45" fmla="*/ 226070 w 452140"/>
                <a:gd name="connsiteY45" fmla="*/ 0 h 1158424"/>
                <a:gd name="connsiteX46" fmla="*/ 320148 w 452140"/>
                <a:gd name="connsiteY46" fmla="*/ 94078 h 1158424"/>
                <a:gd name="connsiteX47" fmla="*/ 226070 w 452140"/>
                <a:gd name="connsiteY47" fmla="*/ 188156 h 1158424"/>
                <a:gd name="connsiteX48" fmla="*/ 131992 w 452140"/>
                <a:gd name="connsiteY48" fmla="*/ 94078 h 1158424"/>
                <a:gd name="connsiteX49" fmla="*/ 226070 w 452140"/>
                <a:gd name="connsiteY49" fmla="*/ 0 h 115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52140" h="1158424">
                  <a:moveTo>
                    <a:pt x="118796" y="213409"/>
                  </a:moveTo>
                  <a:lnTo>
                    <a:pt x="333343" y="213409"/>
                  </a:lnTo>
                  <a:cubicBezTo>
                    <a:pt x="383585" y="213409"/>
                    <a:pt x="427652" y="242931"/>
                    <a:pt x="444784" y="287095"/>
                  </a:cubicBezTo>
                  <a:cubicBezTo>
                    <a:pt x="448077" y="292832"/>
                    <a:pt x="448628" y="298458"/>
                    <a:pt x="449951" y="303591"/>
                  </a:cubicBezTo>
                  <a:lnTo>
                    <a:pt x="452140" y="325301"/>
                  </a:lnTo>
                  <a:lnTo>
                    <a:pt x="452140" y="332205"/>
                  </a:lnTo>
                  <a:lnTo>
                    <a:pt x="452140" y="364807"/>
                  </a:lnTo>
                  <a:lnTo>
                    <a:pt x="452140" y="633253"/>
                  </a:lnTo>
                  <a:cubicBezTo>
                    <a:pt x="452140" y="656815"/>
                    <a:pt x="433039" y="675915"/>
                    <a:pt x="409478" y="675915"/>
                  </a:cubicBezTo>
                  <a:cubicBezTo>
                    <a:pt x="385916" y="675915"/>
                    <a:pt x="366816" y="656815"/>
                    <a:pt x="366816" y="633253"/>
                  </a:cubicBezTo>
                  <a:lnTo>
                    <a:pt x="366816" y="478231"/>
                  </a:lnTo>
                  <a:lnTo>
                    <a:pt x="366363" y="478344"/>
                  </a:lnTo>
                  <a:lnTo>
                    <a:pt x="366363" y="363643"/>
                  </a:lnTo>
                  <a:cubicBezTo>
                    <a:pt x="366363" y="362646"/>
                    <a:pt x="365555" y="361838"/>
                    <a:pt x="364558" y="361838"/>
                  </a:cubicBezTo>
                  <a:lnTo>
                    <a:pt x="346505" y="361838"/>
                  </a:lnTo>
                  <a:cubicBezTo>
                    <a:pt x="345507" y="361838"/>
                    <a:pt x="344699" y="362646"/>
                    <a:pt x="344699" y="363643"/>
                  </a:cubicBezTo>
                  <a:cubicBezTo>
                    <a:pt x="344817" y="399122"/>
                    <a:pt x="344935" y="434601"/>
                    <a:pt x="345052" y="470080"/>
                  </a:cubicBezTo>
                  <a:lnTo>
                    <a:pt x="345052" y="1105097"/>
                  </a:lnTo>
                  <a:cubicBezTo>
                    <a:pt x="345052" y="1134549"/>
                    <a:pt x="321177" y="1158424"/>
                    <a:pt x="291725" y="1158424"/>
                  </a:cubicBezTo>
                  <a:cubicBezTo>
                    <a:pt x="262273" y="1158424"/>
                    <a:pt x="238397" y="1134549"/>
                    <a:pt x="238397" y="1105097"/>
                  </a:cubicBezTo>
                  <a:lnTo>
                    <a:pt x="238397" y="703825"/>
                  </a:lnTo>
                  <a:cubicBezTo>
                    <a:pt x="238279" y="693614"/>
                    <a:pt x="238162" y="683402"/>
                    <a:pt x="238044" y="673190"/>
                  </a:cubicBezTo>
                  <a:cubicBezTo>
                    <a:pt x="238044" y="672315"/>
                    <a:pt x="237335" y="671606"/>
                    <a:pt x="236460" y="671606"/>
                  </a:cubicBezTo>
                  <a:lnTo>
                    <a:pt x="216791" y="671606"/>
                  </a:lnTo>
                  <a:cubicBezTo>
                    <a:pt x="215916" y="671606"/>
                    <a:pt x="215207" y="672315"/>
                    <a:pt x="215207" y="673190"/>
                  </a:cubicBezTo>
                  <a:lnTo>
                    <a:pt x="215207" y="703825"/>
                  </a:lnTo>
                  <a:cubicBezTo>
                    <a:pt x="215163" y="837582"/>
                    <a:pt x="215119" y="971339"/>
                    <a:pt x="215075" y="1105097"/>
                  </a:cubicBezTo>
                  <a:cubicBezTo>
                    <a:pt x="215075" y="1134549"/>
                    <a:pt x="191199" y="1158424"/>
                    <a:pt x="161747" y="1158424"/>
                  </a:cubicBezTo>
                  <a:cubicBezTo>
                    <a:pt x="132295" y="1158424"/>
                    <a:pt x="108419" y="1134549"/>
                    <a:pt x="108419" y="1105097"/>
                  </a:cubicBezTo>
                  <a:lnTo>
                    <a:pt x="108419" y="482815"/>
                  </a:lnTo>
                  <a:cubicBezTo>
                    <a:pt x="107864" y="443082"/>
                    <a:pt x="107310" y="403349"/>
                    <a:pt x="106756" y="363616"/>
                  </a:cubicBezTo>
                  <a:cubicBezTo>
                    <a:pt x="106756" y="362634"/>
                    <a:pt x="105960" y="361838"/>
                    <a:pt x="104978" y="361838"/>
                  </a:cubicBezTo>
                  <a:lnTo>
                    <a:pt x="87202" y="361838"/>
                  </a:lnTo>
                  <a:cubicBezTo>
                    <a:pt x="86220" y="361838"/>
                    <a:pt x="85425" y="362634"/>
                    <a:pt x="85425" y="363616"/>
                  </a:cubicBezTo>
                  <a:lnTo>
                    <a:pt x="85425" y="478256"/>
                  </a:lnTo>
                  <a:cubicBezTo>
                    <a:pt x="85389" y="478253"/>
                    <a:pt x="85357" y="478242"/>
                    <a:pt x="85324" y="478231"/>
                  </a:cubicBezTo>
                  <a:lnTo>
                    <a:pt x="85324" y="633253"/>
                  </a:lnTo>
                  <a:cubicBezTo>
                    <a:pt x="85324" y="656815"/>
                    <a:pt x="66224" y="675915"/>
                    <a:pt x="42662" y="675915"/>
                  </a:cubicBezTo>
                  <a:cubicBezTo>
                    <a:pt x="19101" y="675915"/>
                    <a:pt x="0" y="656815"/>
                    <a:pt x="0" y="633253"/>
                  </a:cubicBezTo>
                  <a:lnTo>
                    <a:pt x="0" y="364807"/>
                  </a:lnTo>
                  <a:lnTo>
                    <a:pt x="0" y="332205"/>
                  </a:lnTo>
                  <a:lnTo>
                    <a:pt x="0" y="325301"/>
                  </a:lnTo>
                  <a:cubicBezTo>
                    <a:pt x="0" y="315209"/>
                    <a:pt x="1313" y="305424"/>
                    <a:pt x="4216" y="296223"/>
                  </a:cubicBezTo>
                  <a:cubicBezTo>
                    <a:pt x="5008" y="293390"/>
                    <a:pt x="4919" y="289851"/>
                    <a:pt x="6801" y="287651"/>
                  </a:cubicBezTo>
                  <a:cubicBezTo>
                    <a:pt x="23933" y="243486"/>
                    <a:pt x="68555" y="213409"/>
                    <a:pt x="118796" y="213409"/>
                  </a:cubicBezTo>
                  <a:close/>
                  <a:moveTo>
                    <a:pt x="226070" y="0"/>
                  </a:moveTo>
                  <a:cubicBezTo>
                    <a:pt x="278028" y="0"/>
                    <a:pt x="320148" y="42120"/>
                    <a:pt x="320148" y="94078"/>
                  </a:cubicBezTo>
                  <a:cubicBezTo>
                    <a:pt x="320148" y="146036"/>
                    <a:pt x="278028" y="188156"/>
                    <a:pt x="226070" y="188156"/>
                  </a:cubicBezTo>
                  <a:cubicBezTo>
                    <a:pt x="174112" y="188156"/>
                    <a:pt x="131992" y="146036"/>
                    <a:pt x="131992" y="94078"/>
                  </a:cubicBezTo>
                  <a:cubicBezTo>
                    <a:pt x="131992" y="42120"/>
                    <a:pt x="174112" y="0"/>
                    <a:pt x="226070" y="0"/>
                  </a:cubicBezTo>
                  <a:close/>
                </a:path>
              </a:pathLst>
            </a:custGeom>
            <a:gr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a:p>
          </p:txBody>
        </p:sp>
        <p:sp>
          <p:nvSpPr>
            <p:cNvPr id="28" name="Freeform 27"/>
            <p:cNvSpPr/>
            <p:nvPr/>
          </p:nvSpPr>
          <p:spPr>
            <a:xfrm>
              <a:off x="190706" y="4183614"/>
              <a:ext cx="729520" cy="580130"/>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9" name="Freeform 28"/>
            <p:cNvSpPr/>
            <p:nvPr/>
          </p:nvSpPr>
          <p:spPr bwMode="auto">
            <a:xfrm>
              <a:off x="139508" y="4876088"/>
              <a:ext cx="780718" cy="517955"/>
            </a:xfrm>
            <a:custGeom>
              <a:avLst/>
              <a:gdLst/>
              <a:ahLst/>
              <a:cxnLst/>
              <a:rect l="l" t="t" r="r" b="b"/>
              <a:pathLst>
                <a:path w="6450949" h="4324350">
                  <a:moveTo>
                    <a:pt x="652849" y="2906737"/>
                  </a:moveTo>
                  <a:lnTo>
                    <a:pt x="3530185" y="3604337"/>
                  </a:lnTo>
                  <a:cubicBezTo>
                    <a:pt x="3530212" y="3608651"/>
                    <a:pt x="3535898" y="3609750"/>
                    <a:pt x="3539176" y="3612840"/>
                  </a:cubicBezTo>
                  <a:cubicBezTo>
                    <a:pt x="3539258" y="3615882"/>
                    <a:pt x="3539340" y="3618923"/>
                    <a:pt x="3539423" y="3621964"/>
                  </a:cubicBezTo>
                  <a:cubicBezTo>
                    <a:pt x="3539450" y="3626380"/>
                    <a:pt x="3533865" y="3631912"/>
                    <a:pt x="3532119" y="3637119"/>
                  </a:cubicBezTo>
                  <a:lnTo>
                    <a:pt x="3431629" y="3615019"/>
                  </a:lnTo>
                  <a:lnTo>
                    <a:pt x="3332848" y="3623566"/>
                  </a:lnTo>
                  <a:lnTo>
                    <a:pt x="3298489" y="3585107"/>
                  </a:lnTo>
                  <a:lnTo>
                    <a:pt x="3216885" y="3576562"/>
                  </a:lnTo>
                  <a:lnTo>
                    <a:pt x="3182525" y="3559470"/>
                  </a:lnTo>
                  <a:lnTo>
                    <a:pt x="3105216" y="3559470"/>
                  </a:lnTo>
                  <a:lnTo>
                    <a:pt x="3057974" y="3525285"/>
                  </a:lnTo>
                  <a:lnTo>
                    <a:pt x="2993550" y="3533830"/>
                  </a:lnTo>
                  <a:lnTo>
                    <a:pt x="2937716" y="3508192"/>
                  </a:lnTo>
                  <a:lnTo>
                    <a:pt x="2860407" y="3508192"/>
                  </a:lnTo>
                  <a:lnTo>
                    <a:pt x="2834639" y="3478281"/>
                  </a:lnTo>
                  <a:lnTo>
                    <a:pt x="2731561" y="3474008"/>
                  </a:lnTo>
                  <a:lnTo>
                    <a:pt x="2710085" y="3448369"/>
                  </a:lnTo>
                  <a:lnTo>
                    <a:pt x="2607007" y="3448369"/>
                  </a:lnTo>
                  <a:lnTo>
                    <a:pt x="2585533" y="3422731"/>
                  </a:lnTo>
                  <a:lnTo>
                    <a:pt x="2499635" y="3422731"/>
                  </a:lnTo>
                  <a:lnTo>
                    <a:pt x="2456686" y="3384274"/>
                  </a:lnTo>
                  <a:lnTo>
                    <a:pt x="2375083" y="3388546"/>
                  </a:lnTo>
                  <a:lnTo>
                    <a:pt x="2345018" y="3362907"/>
                  </a:lnTo>
                  <a:lnTo>
                    <a:pt x="2246235" y="3354362"/>
                  </a:lnTo>
                  <a:lnTo>
                    <a:pt x="2216172" y="3328723"/>
                  </a:lnTo>
                  <a:lnTo>
                    <a:pt x="2130274" y="3328723"/>
                  </a:lnTo>
                  <a:lnTo>
                    <a:pt x="2095914" y="3303085"/>
                  </a:lnTo>
                  <a:lnTo>
                    <a:pt x="2018605" y="3303085"/>
                  </a:lnTo>
                  <a:lnTo>
                    <a:pt x="1984246" y="3273173"/>
                  </a:lnTo>
                  <a:lnTo>
                    <a:pt x="1898348" y="3273173"/>
                  </a:lnTo>
                  <a:lnTo>
                    <a:pt x="1868283" y="3238989"/>
                  </a:lnTo>
                  <a:lnTo>
                    <a:pt x="1778091" y="3243261"/>
                  </a:lnTo>
                  <a:lnTo>
                    <a:pt x="1748026" y="3217624"/>
                  </a:lnTo>
                  <a:lnTo>
                    <a:pt x="1662127" y="3217624"/>
                  </a:lnTo>
                  <a:lnTo>
                    <a:pt x="1606294" y="3187712"/>
                  </a:lnTo>
                  <a:lnTo>
                    <a:pt x="1533281" y="3183439"/>
                  </a:lnTo>
                  <a:lnTo>
                    <a:pt x="1498922" y="3162074"/>
                  </a:lnTo>
                  <a:lnTo>
                    <a:pt x="1425909" y="3162074"/>
                  </a:lnTo>
                  <a:lnTo>
                    <a:pt x="1382959" y="3123615"/>
                  </a:lnTo>
                  <a:lnTo>
                    <a:pt x="1288472" y="3132162"/>
                  </a:lnTo>
                  <a:lnTo>
                    <a:pt x="1262701" y="3102250"/>
                  </a:lnTo>
                  <a:lnTo>
                    <a:pt x="1185394" y="3097977"/>
                  </a:lnTo>
                  <a:lnTo>
                    <a:pt x="1151035" y="3076613"/>
                  </a:lnTo>
                  <a:lnTo>
                    <a:pt x="1069432" y="3076613"/>
                  </a:lnTo>
                  <a:lnTo>
                    <a:pt x="1017893" y="3046700"/>
                  </a:lnTo>
                  <a:lnTo>
                    <a:pt x="953468" y="3050973"/>
                  </a:lnTo>
                  <a:lnTo>
                    <a:pt x="910520" y="3012516"/>
                  </a:lnTo>
                  <a:lnTo>
                    <a:pt x="828917" y="3016789"/>
                  </a:lnTo>
                  <a:lnTo>
                    <a:pt x="807443" y="2986877"/>
                  </a:lnTo>
                  <a:lnTo>
                    <a:pt x="721544" y="2982604"/>
                  </a:lnTo>
                  <a:lnTo>
                    <a:pt x="652697" y="2910081"/>
                  </a:lnTo>
                  <a:cubicBezTo>
                    <a:pt x="652741" y="2910041"/>
                    <a:pt x="652782" y="2910002"/>
                    <a:pt x="652826" y="2909963"/>
                  </a:cubicBezTo>
                  <a:cubicBezTo>
                    <a:pt x="652833" y="2908888"/>
                    <a:pt x="652842" y="2907813"/>
                    <a:pt x="652849" y="2906737"/>
                  </a:cubicBezTo>
                  <a:close/>
                  <a:moveTo>
                    <a:pt x="2486750" y="2033983"/>
                  </a:moveTo>
                  <a:lnTo>
                    <a:pt x="3079447" y="2042528"/>
                  </a:lnTo>
                  <a:cubicBezTo>
                    <a:pt x="3080880" y="2361584"/>
                    <a:pt x="3082310" y="2680640"/>
                    <a:pt x="3083742" y="2999696"/>
                  </a:cubicBezTo>
                  <a:lnTo>
                    <a:pt x="2362198" y="2884323"/>
                  </a:lnTo>
                  <a:lnTo>
                    <a:pt x="2491046" y="2854413"/>
                  </a:lnTo>
                  <a:close/>
                  <a:moveTo>
                    <a:pt x="4569781" y="2029709"/>
                  </a:moveTo>
                  <a:lnTo>
                    <a:pt x="3964197" y="2042528"/>
                  </a:lnTo>
                  <a:cubicBezTo>
                    <a:pt x="3965630" y="2370131"/>
                    <a:pt x="3967061" y="2697733"/>
                    <a:pt x="3968494" y="3025336"/>
                  </a:cubicBezTo>
                  <a:lnTo>
                    <a:pt x="4659973" y="2892870"/>
                  </a:lnTo>
                  <a:lnTo>
                    <a:pt x="4578370" y="2858686"/>
                  </a:lnTo>
                  <a:cubicBezTo>
                    <a:pt x="4575508" y="2582359"/>
                    <a:pt x="4572643" y="2306034"/>
                    <a:pt x="4569781" y="2029709"/>
                  </a:cubicBezTo>
                  <a:close/>
                  <a:moveTo>
                    <a:pt x="962059" y="2021163"/>
                  </a:moveTo>
                  <a:lnTo>
                    <a:pt x="1395844" y="2025436"/>
                  </a:lnTo>
                  <a:cubicBezTo>
                    <a:pt x="1392980" y="2261880"/>
                    <a:pt x="1390118" y="2498323"/>
                    <a:pt x="1387254" y="2734767"/>
                  </a:cubicBezTo>
                  <a:lnTo>
                    <a:pt x="889044" y="2645031"/>
                  </a:lnTo>
                  <a:lnTo>
                    <a:pt x="966354" y="2615121"/>
                  </a:lnTo>
                  <a:cubicBezTo>
                    <a:pt x="964921" y="2417136"/>
                    <a:pt x="963491" y="2219148"/>
                    <a:pt x="962059" y="2021163"/>
                  </a:cubicBezTo>
                  <a:close/>
                  <a:moveTo>
                    <a:pt x="3929838" y="1982706"/>
                  </a:moveTo>
                  <a:lnTo>
                    <a:pt x="4724398" y="1982706"/>
                  </a:lnTo>
                  <a:cubicBezTo>
                    <a:pt x="4722966" y="2297488"/>
                    <a:pt x="4721533" y="2612272"/>
                    <a:pt x="4720102" y="2927055"/>
                  </a:cubicBezTo>
                  <a:lnTo>
                    <a:pt x="3934135" y="3089431"/>
                  </a:lnTo>
                  <a:cubicBezTo>
                    <a:pt x="3932703" y="2720522"/>
                    <a:pt x="3931271" y="2351614"/>
                    <a:pt x="3929838" y="1982706"/>
                  </a:cubicBezTo>
                  <a:close/>
                  <a:moveTo>
                    <a:pt x="841801" y="1974159"/>
                  </a:moveTo>
                  <a:cubicBezTo>
                    <a:pt x="840370" y="2212026"/>
                    <a:pt x="843232" y="2449895"/>
                    <a:pt x="846096" y="2687762"/>
                  </a:cubicBezTo>
                  <a:lnTo>
                    <a:pt x="1434498" y="2786044"/>
                  </a:lnTo>
                  <a:lnTo>
                    <a:pt x="1451677" y="1974159"/>
                  </a:lnTo>
                  <a:close/>
                  <a:moveTo>
                    <a:pt x="2319248" y="1969885"/>
                  </a:moveTo>
                  <a:cubicBezTo>
                    <a:pt x="2317816" y="2287516"/>
                    <a:pt x="2316383" y="2605149"/>
                    <a:pt x="2314952" y="2922781"/>
                  </a:cubicBezTo>
                  <a:lnTo>
                    <a:pt x="3126690" y="3068064"/>
                  </a:lnTo>
                  <a:lnTo>
                    <a:pt x="3135279" y="1974158"/>
                  </a:lnTo>
                  <a:close/>
                  <a:moveTo>
                    <a:pt x="5832482" y="1922882"/>
                  </a:moveTo>
                  <a:lnTo>
                    <a:pt x="5879727" y="1922882"/>
                  </a:lnTo>
                  <a:lnTo>
                    <a:pt x="5892612" y="3025336"/>
                  </a:lnTo>
                  <a:lnTo>
                    <a:pt x="5338568" y="3144982"/>
                  </a:lnTo>
                  <a:lnTo>
                    <a:pt x="5823893" y="3008244"/>
                  </a:lnTo>
                  <a:cubicBezTo>
                    <a:pt x="5826756" y="2646456"/>
                    <a:pt x="5829620" y="2284670"/>
                    <a:pt x="5832482" y="1922882"/>
                  </a:cubicBezTo>
                  <a:close/>
                  <a:moveTo>
                    <a:pt x="794557" y="1922882"/>
                  </a:moveTo>
                  <a:lnTo>
                    <a:pt x="1494627" y="1927155"/>
                  </a:lnTo>
                  <a:lnTo>
                    <a:pt x="1494627" y="2850138"/>
                  </a:lnTo>
                  <a:lnTo>
                    <a:pt x="803146" y="2721947"/>
                  </a:lnTo>
                  <a:cubicBezTo>
                    <a:pt x="800284" y="2458441"/>
                    <a:pt x="797420" y="2194936"/>
                    <a:pt x="794557" y="1922882"/>
                  </a:cubicBezTo>
                  <a:close/>
                  <a:moveTo>
                    <a:pt x="3191113" y="1910060"/>
                  </a:moveTo>
                  <a:cubicBezTo>
                    <a:pt x="3192544" y="2331670"/>
                    <a:pt x="3193977" y="2753280"/>
                    <a:pt x="3195408" y="3174890"/>
                  </a:cubicBezTo>
                  <a:lnTo>
                    <a:pt x="2233349" y="2982603"/>
                  </a:lnTo>
                  <a:lnTo>
                    <a:pt x="2246233" y="1922881"/>
                  </a:lnTo>
                  <a:close/>
                  <a:moveTo>
                    <a:pt x="3839646" y="1892970"/>
                  </a:moveTo>
                  <a:cubicBezTo>
                    <a:pt x="3843940" y="2321702"/>
                    <a:pt x="3848237" y="2750434"/>
                    <a:pt x="3852530" y="3179166"/>
                  </a:cubicBezTo>
                  <a:lnTo>
                    <a:pt x="4814590" y="2995424"/>
                  </a:lnTo>
                  <a:cubicBezTo>
                    <a:pt x="4811725" y="2637911"/>
                    <a:pt x="4808863" y="2280396"/>
                    <a:pt x="4806000" y="1922882"/>
                  </a:cubicBezTo>
                  <a:close/>
                  <a:moveTo>
                    <a:pt x="5952740" y="1854513"/>
                  </a:moveTo>
                  <a:lnTo>
                    <a:pt x="5282735" y="1871605"/>
                  </a:lnTo>
                  <a:cubicBezTo>
                    <a:pt x="5285598" y="2333097"/>
                    <a:pt x="5288461" y="2794589"/>
                    <a:pt x="5291325" y="3256081"/>
                  </a:cubicBezTo>
                  <a:lnTo>
                    <a:pt x="5957035" y="3076613"/>
                  </a:lnTo>
                  <a:cubicBezTo>
                    <a:pt x="5955603" y="2669245"/>
                    <a:pt x="5954173" y="2261880"/>
                    <a:pt x="5952740" y="1854513"/>
                  </a:cubicBezTo>
                  <a:close/>
                  <a:moveTo>
                    <a:pt x="1962772" y="508494"/>
                  </a:moveTo>
                  <a:lnTo>
                    <a:pt x="700068" y="1636586"/>
                  </a:lnTo>
                  <a:lnTo>
                    <a:pt x="724578" y="1637805"/>
                  </a:lnTo>
                  <a:lnTo>
                    <a:pt x="844385" y="1635385"/>
                  </a:lnTo>
                  <a:lnTo>
                    <a:pt x="2027196" y="551226"/>
                  </a:lnTo>
                  <a:close/>
                  <a:moveTo>
                    <a:pt x="1924118" y="346119"/>
                  </a:moveTo>
                  <a:lnTo>
                    <a:pt x="3641590" y="1637264"/>
                  </a:lnTo>
                  <a:lnTo>
                    <a:pt x="3640627" y="1637237"/>
                  </a:lnTo>
                  <a:lnTo>
                    <a:pt x="3614477" y="1620760"/>
                  </a:lnTo>
                  <a:lnTo>
                    <a:pt x="3635816" y="1637108"/>
                  </a:lnTo>
                  <a:lnTo>
                    <a:pt x="3640627" y="1637237"/>
                  </a:lnTo>
                  <a:lnTo>
                    <a:pt x="3646375" y="1640861"/>
                  </a:lnTo>
                  <a:lnTo>
                    <a:pt x="3641590" y="1637264"/>
                  </a:lnTo>
                  <a:lnTo>
                    <a:pt x="6167487" y="1704955"/>
                  </a:lnTo>
                  <a:lnTo>
                    <a:pt x="6201845" y="2880050"/>
                  </a:lnTo>
                  <a:lnTo>
                    <a:pt x="6403704" y="2922782"/>
                  </a:lnTo>
                  <a:lnTo>
                    <a:pt x="6450949" y="3213351"/>
                  </a:lnTo>
                  <a:lnTo>
                    <a:pt x="5115233" y="3683388"/>
                  </a:lnTo>
                  <a:lnTo>
                    <a:pt x="3173935" y="4324350"/>
                  </a:lnTo>
                  <a:lnTo>
                    <a:pt x="0" y="3157799"/>
                  </a:lnTo>
                  <a:lnTo>
                    <a:pt x="0" y="3046700"/>
                  </a:lnTo>
                  <a:lnTo>
                    <a:pt x="592696" y="2922782"/>
                  </a:lnTo>
                  <a:cubicBezTo>
                    <a:pt x="591264" y="2516840"/>
                    <a:pt x="589834" y="2110898"/>
                    <a:pt x="588401" y="1704955"/>
                  </a:cubicBezTo>
                  <a:lnTo>
                    <a:pt x="661415" y="1704955"/>
                  </a:lnTo>
                  <a:cubicBezTo>
                    <a:pt x="658560" y="2105549"/>
                    <a:pt x="655704" y="2506143"/>
                    <a:pt x="652849" y="2906737"/>
                  </a:cubicBezTo>
                  <a:lnTo>
                    <a:pt x="648529" y="2905690"/>
                  </a:lnTo>
                  <a:lnTo>
                    <a:pt x="652697" y="2910081"/>
                  </a:lnTo>
                  <a:lnTo>
                    <a:pt x="601287" y="2956967"/>
                  </a:lnTo>
                  <a:lnTo>
                    <a:pt x="90193" y="3080885"/>
                  </a:lnTo>
                  <a:lnTo>
                    <a:pt x="3178231" y="4132061"/>
                  </a:lnTo>
                  <a:lnTo>
                    <a:pt x="4850329" y="3620451"/>
                  </a:lnTo>
                  <a:lnTo>
                    <a:pt x="4822437" y="3619790"/>
                  </a:lnTo>
                  <a:lnTo>
                    <a:pt x="3530413" y="3640659"/>
                  </a:lnTo>
                  <a:lnTo>
                    <a:pt x="3532119" y="3637119"/>
                  </a:lnTo>
                  <a:lnTo>
                    <a:pt x="3537582" y="3638320"/>
                  </a:lnTo>
                  <a:lnTo>
                    <a:pt x="3543071" y="3616523"/>
                  </a:lnTo>
                  <a:cubicBezTo>
                    <a:pt x="3543057" y="3614358"/>
                    <a:pt x="3541618" y="3613003"/>
                    <a:pt x="3539176" y="3612840"/>
                  </a:cubicBezTo>
                  <a:cubicBezTo>
                    <a:pt x="3539119" y="3610718"/>
                    <a:pt x="3539062" y="3608596"/>
                    <a:pt x="3539004" y="3606474"/>
                  </a:cubicBezTo>
                  <a:cubicBezTo>
                    <a:pt x="3539102" y="3605157"/>
                    <a:pt x="3539202" y="3603840"/>
                    <a:pt x="3539301" y="3602523"/>
                  </a:cubicBezTo>
                  <a:cubicBezTo>
                    <a:pt x="3535090" y="2930733"/>
                    <a:pt x="3524168" y="2234652"/>
                    <a:pt x="3519940" y="1562774"/>
                  </a:cubicBezTo>
                  <a:lnTo>
                    <a:pt x="3516485" y="1559718"/>
                  </a:lnTo>
                  <a:lnTo>
                    <a:pt x="383225" y="1701172"/>
                  </a:lnTo>
                  <a:close/>
                  <a:moveTo>
                    <a:pt x="3547592" y="0"/>
                  </a:moveTo>
                  <a:lnTo>
                    <a:pt x="3547592" y="474310"/>
                  </a:lnTo>
                  <a:lnTo>
                    <a:pt x="4453818" y="534133"/>
                  </a:lnTo>
                  <a:lnTo>
                    <a:pt x="6425180" y="1615221"/>
                  </a:lnTo>
                  <a:lnTo>
                    <a:pt x="3689324" y="1516940"/>
                  </a:lnTo>
                  <a:lnTo>
                    <a:pt x="2070144" y="311934"/>
                  </a:lnTo>
                  <a:lnTo>
                    <a:pt x="3053678" y="397395"/>
                  </a:lnTo>
                  <a:cubicBezTo>
                    <a:pt x="3052245" y="269202"/>
                    <a:pt x="3050815" y="141010"/>
                    <a:pt x="3049383" y="1281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30" name="Freeform 73"/>
          <p:cNvSpPr>
            <a:spLocks noChangeAspect="1" noEditPoints="1"/>
          </p:cNvSpPr>
          <p:nvPr/>
        </p:nvSpPr>
        <p:spPr bwMode="black">
          <a:xfrm>
            <a:off x="9528973" y="3332435"/>
            <a:ext cx="925661" cy="893603"/>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pPr marL="0" marR="0" lvl="0" indent="0" defTabSz="91424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31" name="Freeform 30"/>
          <p:cNvSpPr>
            <a:spLocks noChangeAspect="1"/>
          </p:cNvSpPr>
          <p:nvPr/>
        </p:nvSpPr>
        <p:spPr bwMode="auto">
          <a:xfrm>
            <a:off x="5557304" y="3580393"/>
            <a:ext cx="1034577" cy="627249"/>
          </a:xfrm>
          <a:custGeom>
            <a:avLst/>
            <a:gdLst/>
            <a:ahLst/>
            <a:cxnLst/>
            <a:rect l="l" t="t" r="r" b="b"/>
            <a:pathLst>
              <a:path w="5246824" h="3181073">
                <a:moveTo>
                  <a:pt x="3735445" y="1121019"/>
                </a:moveTo>
                <a:cubicBezTo>
                  <a:pt x="4182142" y="1131526"/>
                  <a:pt x="4061877" y="1376195"/>
                  <a:pt x="4077497" y="1517293"/>
                </a:cubicBezTo>
                <a:cubicBezTo>
                  <a:pt x="4205571" y="1536806"/>
                  <a:pt x="4104048" y="1718431"/>
                  <a:pt x="4054068" y="1737945"/>
                </a:cubicBezTo>
                <a:cubicBezTo>
                  <a:pt x="4025955" y="1799487"/>
                  <a:pt x="3990812" y="1855965"/>
                  <a:pt x="3969727" y="1922572"/>
                </a:cubicBezTo>
                <a:lnTo>
                  <a:pt x="3967668" y="2088035"/>
                </a:lnTo>
                <a:cubicBezTo>
                  <a:pt x="4003538" y="2104933"/>
                  <a:pt x="4038513" y="2106213"/>
                  <a:pt x="4086820" y="2117581"/>
                </a:cubicBezTo>
                <a:cubicBezTo>
                  <a:pt x="4135128" y="2128948"/>
                  <a:pt x="4568184" y="2210801"/>
                  <a:pt x="4581245" y="2510322"/>
                </a:cubicBezTo>
                <a:cubicBezTo>
                  <a:pt x="4593591" y="2632786"/>
                  <a:pt x="4589468" y="2749118"/>
                  <a:pt x="4578859" y="2859218"/>
                </a:cubicBezTo>
                <a:lnTo>
                  <a:pt x="3801770" y="2858677"/>
                </a:lnTo>
                <a:cubicBezTo>
                  <a:pt x="3802502" y="2787752"/>
                  <a:pt x="3799437" y="2715169"/>
                  <a:pt x="3791954" y="2640940"/>
                </a:cubicBezTo>
                <a:cubicBezTo>
                  <a:pt x="3779735" y="2360730"/>
                  <a:pt x="3499101" y="2219631"/>
                  <a:pt x="3301043" y="2154424"/>
                </a:cubicBezTo>
                <a:cubicBezTo>
                  <a:pt x="3358735" y="2142280"/>
                  <a:pt x="3413196" y="2132840"/>
                  <a:pt x="3454407" y="2118009"/>
                </a:cubicBezTo>
                <a:cubicBezTo>
                  <a:pt x="3488241" y="2106029"/>
                  <a:pt x="3529557" y="2100195"/>
                  <a:pt x="3558509" y="2086370"/>
                </a:cubicBezTo>
                <a:lnTo>
                  <a:pt x="3562077" y="1925923"/>
                </a:lnTo>
                <a:cubicBezTo>
                  <a:pt x="3543530" y="1859877"/>
                  <a:pt x="3510925" y="1790481"/>
                  <a:pt x="3485349" y="1731190"/>
                </a:cubicBezTo>
                <a:cubicBezTo>
                  <a:pt x="3429708" y="1709425"/>
                  <a:pt x="3327795" y="1602102"/>
                  <a:pt x="3458993" y="1530802"/>
                </a:cubicBezTo>
                <a:cubicBezTo>
                  <a:pt x="3438688" y="1403214"/>
                  <a:pt x="3371528" y="1158545"/>
                  <a:pt x="3735445" y="1121019"/>
                </a:cubicBezTo>
                <a:close/>
                <a:moveTo>
                  <a:pt x="1511380" y="1121019"/>
                </a:moveTo>
                <a:cubicBezTo>
                  <a:pt x="1875297" y="1158545"/>
                  <a:pt x="1808137" y="1403214"/>
                  <a:pt x="1787833" y="1530802"/>
                </a:cubicBezTo>
                <a:cubicBezTo>
                  <a:pt x="1919030" y="1602102"/>
                  <a:pt x="1817117" y="1709425"/>
                  <a:pt x="1761476" y="1731190"/>
                </a:cubicBezTo>
                <a:cubicBezTo>
                  <a:pt x="1735900" y="1790481"/>
                  <a:pt x="1703295" y="1859877"/>
                  <a:pt x="1684749" y="1925923"/>
                </a:cubicBezTo>
                <a:lnTo>
                  <a:pt x="1688316" y="2086370"/>
                </a:lnTo>
                <a:cubicBezTo>
                  <a:pt x="1717268" y="2100195"/>
                  <a:pt x="1758585" y="2106029"/>
                  <a:pt x="1792418" y="2118009"/>
                </a:cubicBezTo>
                <a:cubicBezTo>
                  <a:pt x="1833629" y="2132840"/>
                  <a:pt x="1888090" y="2142280"/>
                  <a:pt x="1945782" y="2154424"/>
                </a:cubicBezTo>
                <a:cubicBezTo>
                  <a:pt x="1747724" y="2219631"/>
                  <a:pt x="1467090" y="2360730"/>
                  <a:pt x="1454871" y="2640940"/>
                </a:cubicBezTo>
                <a:cubicBezTo>
                  <a:pt x="1447388" y="2715169"/>
                  <a:pt x="1444323" y="2787752"/>
                  <a:pt x="1445055" y="2858677"/>
                </a:cubicBezTo>
                <a:lnTo>
                  <a:pt x="667966" y="2859218"/>
                </a:lnTo>
                <a:cubicBezTo>
                  <a:pt x="657357" y="2749118"/>
                  <a:pt x="653234" y="2632786"/>
                  <a:pt x="665580" y="2510322"/>
                </a:cubicBezTo>
                <a:cubicBezTo>
                  <a:pt x="678641" y="2210801"/>
                  <a:pt x="1111697" y="2128948"/>
                  <a:pt x="1160005" y="2117581"/>
                </a:cubicBezTo>
                <a:cubicBezTo>
                  <a:pt x="1208313" y="2106213"/>
                  <a:pt x="1243288" y="2104933"/>
                  <a:pt x="1279157" y="2088035"/>
                </a:cubicBezTo>
                <a:lnTo>
                  <a:pt x="1277099" y="1922572"/>
                </a:lnTo>
                <a:cubicBezTo>
                  <a:pt x="1256013" y="1855965"/>
                  <a:pt x="1220871" y="1799487"/>
                  <a:pt x="1192757" y="1737945"/>
                </a:cubicBezTo>
                <a:cubicBezTo>
                  <a:pt x="1142777" y="1718431"/>
                  <a:pt x="1041254" y="1536806"/>
                  <a:pt x="1169328" y="1517293"/>
                </a:cubicBezTo>
                <a:cubicBezTo>
                  <a:pt x="1184948" y="1376195"/>
                  <a:pt x="1064683" y="1131526"/>
                  <a:pt x="1511380" y="1121019"/>
                </a:cubicBezTo>
                <a:close/>
                <a:moveTo>
                  <a:pt x="2644025" y="804535"/>
                </a:moveTo>
                <a:cubicBezTo>
                  <a:pt x="3117058" y="855925"/>
                  <a:pt x="3029760" y="1190988"/>
                  <a:pt x="3003368" y="1365715"/>
                </a:cubicBezTo>
                <a:cubicBezTo>
                  <a:pt x="3173903" y="1463356"/>
                  <a:pt x="3041433" y="1610331"/>
                  <a:pt x="2969109" y="1640138"/>
                </a:cubicBezTo>
                <a:cubicBezTo>
                  <a:pt x="2935865" y="1721334"/>
                  <a:pt x="2895675" y="1820987"/>
                  <a:pt x="2871567" y="1911433"/>
                </a:cubicBezTo>
                <a:cubicBezTo>
                  <a:pt x="2872383" y="1983135"/>
                  <a:pt x="2873197" y="2054838"/>
                  <a:pt x="2874013" y="2126540"/>
                </a:cubicBezTo>
                <a:cubicBezTo>
                  <a:pt x="2911646" y="2145473"/>
                  <a:pt x="2965350" y="2153462"/>
                  <a:pt x="3009329" y="2169868"/>
                </a:cubicBezTo>
                <a:cubicBezTo>
                  <a:pt x="3222053" y="2221603"/>
                  <a:pt x="3720748" y="2225705"/>
                  <a:pt x="3725199" y="2704028"/>
                </a:cubicBezTo>
                <a:cubicBezTo>
                  <a:pt x="3737590" y="2865486"/>
                  <a:pt x="3727458" y="3021680"/>
                  <a:pt x="3731525" y="3179525"/>
                </a:cubicBezTo>
                <a:lnTo>
                  <a:pt x="1544046" y="3181073"/>
                </a:lnTo>
                <a:cubicBezTo>
                  <a:pt x="1548730" y="3030295"/>
                  <a:pt x="1528577" y="2874833"/>
                  <a:pt x="1544625" y="2707124"/>
                </a:cubicBezTo>
                <a:cubicBezTo>
                  <a:pt x="1524658" y="2213819"/>
                  <a:pt x="2124503" y="2184850"/>
                  <a:pt x="2187295" y="2169283"/>
                </a:cubicBezTo>
                <a:cubicBezTo>
                  <a:pt x="2250087" y="2153715"/>
                  <a:pt x="2295549" y="2151961"/>
                  <a:pt x="2342174" y="2128821"/>
                </a:cubicBezTo>
                <a:lnTo>
                  <a:pt x="2339498" y="1902226"/>
                </a:lnTo>
                <a:cubicBezTo>
                  <a:pt x="2312090" y="1811010"/>
                  <a:pt x="2266411" y="1733667"/>
                  <a:pt x="2229868" y="1649387"/>
                </a:cubicBezTo>
                <a:cubicBezTo>
                  <a:pt x="2164902" y="1622664"/>
                  <a:pt x="2032939" y="1373938"/>
                  <a:pt x="2199415" y="1347214"/>
                </a:cubicBezTo>
                <a:cubicBezTo>
                  <a:pt x="2219717" y="1153987"/>
                  <a:pt x="2063393" y="818925"/>
                  <a:pt x="2644025" y="804535"/>
                </a:cubicBezTo>
                <a:close/>
                <a:moveTo>
                  <a:pt x="2618959" y="4"/>
                </a:moveTo>
                <a:cubicBezTo>
                  <a:pt x="3113091" y="-895"/>
                  <a:pt x="3607459" y="147580"/>
                  <a:pt x="4040549" y="445541"/>
                </a:cubicBezTo>
                <a:cubicBezTo>
                  <a:pt x="4829951" y="988640"/>
                  <a:pt x="5288727" y="1942162"/>
                  <a:pt x="5243804" y="2946395"/>
                </a:cubicBezTo>
                <a:lnTo>
                  <a:pt x="4893772" y="2928408"/>
                </a:lnTo>
                <a:cubicBezTo>
                  <a:pt x="4932097" y="2053874"/>
                  <a:pt x="4538512" y="1223127"/>
                  <a:pt x="3860159" y="746736"/>
                </a:cubicBezTo>
                <a:cubicBezTo>
                  <a:pt x="3105483" y="216746"/>
                  <a:pt x="2133172" y="218542"/>
                  <a:pt x="1380169" y="751315"/>
                </a:cubicBezTo>
                <a:cubicBezTo>
                  <a:pt x="703569" y="1230031"/>
                  <a:pt x="312623" y="2061806"/>
                  <a:pt x="353389" y="2935887"/>
                </a:cubicBezTo>
                <a:lnTo>
                  <a:pt x="3419" y="2955027"/>
                </a:lnTo>
                <a:cubicBezTo>
                  <a:pt x="-44367" y="1951271"/>
                  <a:pt x="411365" y="996507"/>
                  <a:pt x="1198789" y="450712"/>
                </a:cubicBezTo>
                <a:cubicBezTo>
                  <a:pt x="1630932" y="151176"/>
                  <a:pt x="2124827" y="903"/>
                  <a:pt x="2618959" y="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802230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sz="8000" dirty="0">
                <a:solidFill>
                  <a:schemeClr val="tx1"/>
                </a:solidFill>
              </a:rPr>
              <a:t>Engage with Citizens</a:t>
            </a:r>
          </a:p>
        </p:txBody>
      </p:sp>
      <p:grpSp>
        <p:nvGrpSpPr>
          <p:cNvPr id="10" name="Group 9"/>
          <p:cNvGrpSpPr/>
          <p:nvPr/>
        </p:nvGrpSpPr>
        <p:grpSpPr>
          <a:xfrm>
            <a:off x="9808932" y="5173162"/>
            <a:ext cx="1876243" cy="1229378"/>
            <a:chOff x="-927099" y="4183614"/>
            <a:chExt cx="1847325" cy="1210430"/>
          </a:xfrm>
          <a:solidFill>
            <a:sysClr val="window" lastClr="FFFFFF"/>
          </a:solidFill>
        </p:grpSpPr>
        <p:sp>
          <p:nvSpPr>
            <p:cNvPr id="11" name="Round Same Side Corner Rectangle 2"/>
            <p:cNvSpPr/>
            <p:nvPr/>
          </p:nvSpPr>
          <p:spPr>
            <a:xfrm>
              <a:off x="-774700" y="4183614"/>
              <a:ext cx="275129" cy="513123"/>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grpFill/>
            <a:ln w="25400" cap="flat" cmpd="sng" algn="ctr">
              <a:noFill/>
              <a:prstDash val="solid"/>
            </a:ln>
            <a:effectLst/>
          </p:spPr>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12" name="Oval 13"/>
            <p:cNvSpPr/>
            <p:nvPr/>
          </p:nvSpPr>
          <p:spPr>
            <a:xfrm>
              <a:off x="-927099" y="4885774"/>
              <a:ext cx="508270" cy="508270"/>
            </a:xfrm>
            <a:custGeom>
              <a:avLst/>
              <a:gdLst/>
              <a:ahLst/>
              <a:cxnLst/>
              <a:rect l="l" t="t" r="r" b="b"/>
              <a:pathLst>
                <a:path w="5360063" h="5360063">
                  <a:moveTo>
                    <a:pt x="2786711" y="4616633"/>
                  </a:moveTo>
                  <a:cubicBezTo>
                    <a:pt x="2845629" y="4616633"/>
                    <a:pt x="2893391" y="4664395"/>
                    <a:pt x="2893391" y="4723313"/>
                  </a:cubicBezTo>
                  <a:lnTo>
                    <a:pt x="2893216" y="4724182"/>
                  </a:lnTo>
                  <a:cubicBezTo>
                    <a:pt x="2893390" y="4724470"/>
                    <a:pt x="2893391" y="4724760"/>
                    <a:pt x="2893391" y="4725050"/>
                  </a:cubicBezTo>
                  <a:cubicBezTo>
                    <a:pt x="2893391" y="4783968"/>
                    <a:pt x="2845629" y="4831730"/>
                    <a:pt x="2786711" y="4831730"/>
                  </a:cubicBezTo>
                  <a:cubicBezTo>
                    <a:pt x="2727793" y="4831730"/>
                    <a:pt x="2680031" y="4783968"/>
                    <a:pt x="2680031" y="4725050"/>
                  </a:cubicBezTo>
                  <a:lnTo>
                    <a:pt x="2680206" y="4724182"/>
                  </a:lnTo>
                  <a:cubicBezTo>
                    <a:pt x="2680032" y="4723893"/>
                    <a:pt x="2680031" y="4723603"/>
                    <a:pt x="2680031" y="4723313"/>
                  </a:cubicBezTo>
                  <a:cubicBezTo>
                    <a:pt x="2680031" y="4664395"/>
                    <a:pt x="2727793" y="4616633"/>
                    <a:pt x="2786711" y="4616633"/>
                  </a:cubicBezTo>
                  <a:close/>
                  <a:moveTo>
                    <a:pt x="2370764" y="4172762"/>
                  </a:moveTo>
                  <a:cubicBezTo>
                    <a:pt x="2473381" y="4329652"/>
                    <a:pt x="2563715" y="4465105"/>
                    <a:pt x="2670321" y="4589275"/>
                  </a:cubicBezTo>
                  <a:cubicBezTo>
                    <a:pt x="2630242" y="4620838"/>
                    <a:pt x="2605736" y="4670082"/>
                    <a:pt x="2605736" y="4725050"/>
                  </a:cubicBezTo>
                  <a:cubicBezTo>
                    <a:pt x="2605736" y="4825000"/>
                    <a:pt x="2686761" y="4906025"/>
                    <a:pt x="2786711" y="4906025"/>
                  </a:cubicBezTo>
                  <a:cubicBezTo>
                    <a:pt x="2819605" y="4906025"/>
                    <a:pt x="2850448" y="4897250"/>
                    <a:pt x="2875571" y="4879387"/>
                  </a:cubicBezTo>
                  <a:cubicBezTo>
                    <a:pt x="2979721" y="4999406"/>
                    <a:pt x="3106893" y="5113460"/>
                    <a:pt x="3196681" y="5191382"/>
                  </a:cubicBezTo>
                  <a:cubicBezTo>
                    <a:pt x="3030020" y="5227229"/>
                    <a:pt x="2857147" y="5245561"/>
                    <a:pt x="2680032" y="5245561"/>
                  </a:cubicBezTo>
                  <a:cubicBezTo>
                    <a:pt x="2385646" y="5245561"/>
                    <a:pt x="2102983" y="5194917"/>
                    <a:pt x="1841065" y="5099089"/>
                  </a:cubicBezTo>
                  <a:lnTo>
                    <a:pt x="1850963" y="5094880"/>
                  </a:lnTo>
                  <a:cubicBezTo>
                    <a:pt x="1850963" y="5089948"/>
                    <a:pt x="1839965" y="5073920"/>
                    <a:pt x="1842715" y="5071762"/>
                  </a:cubicBezTo>
                  <a:lnTo>
                    <a:pt x="1850963" y="5075153"/>
                  </a:lnTo>
                  <a:cubicBezTo>
                    <a:pt x="1857480" y="5081728"/>
                    <a:pt x="1863997" y="5088304"/>
                    <a:pt x="1870514" y="5075153"/>
                  </a:cubicBezTo>
                  <a:cubicBezTo>
                    <a:pt x="1877031" y="5068577"/>
                    <a:pt x="1870514" y="5055424"/>
                    <a:pt x="1877031" y="5042273"/>
                  </a:cubicBezTo>
                  <a:cubicBezTo>
                    <a:pt x="1877031" y="5035697"/>
                    <a:pt x="1890065" y="5029121"/>
                    <a:pt x="1890065" y="5022545"/>
                  </a:cubicBezTo>
                  <a:cubicBezTo>
                    <a:pt x="1896582" y="5009393"/>
                    <a:pt x="1896582" y="5009393"/>
                    <a:pt x="1903099" y="5002817"/>
                  </a:cubicBezTo>
                  <a:cubicBezTo>
                    <a:pt x="1909616" y="4996242"/>
                    <a:pt x="1916133" y="4989666"/>
                    <a:pt x="1922650" y="4983089"/>
                  </a:cubicBezTo>
                  <a:cubicBezTo>
                    <a:pt x="1929166" y="4969938"/>
                    <a:pt x="1909616" y="4950211"/>
                    <a:pt x="1896582" y="4937058"/>
                  </a:cubicBezTo>
                  <a:cubicBezTo>
                    <a:pt x="1883548" y="4917332"/>
                    <a:pt x="1883548" y="4904179"/>
                    <a:pt x="1896582" y="4884452"/>
                  </a:cubicBezTo>
                  <a:cubicBezTo>
                    <a:pt x="1909616" y="4871300"/>
                    <a:pt x="1929166" y="4871300"/>
                    <a:pt x="1935684" y="4858148"/>
                  </a:cubicBezTo>
                  <a:cubicBezTo>
                    <a:pt x="1942201" y="4851573"/>
                    <a:pt x="1935684" y="4838421"/>
                    <a:pt x="1935684" y="4825269"/>
                  </a:cubicBezTo>
                  <a:cubicBezTo>
                    <a:pt x="1935684" y="4818693"/>
                    <a:pt x="1942201" y="4812117"/>
                    <a:pt x="1948717" y="4805541"/>
                  </a:cubicBezTo>
                  <a:cubicBezTo>
                    <a:pt x="1948717" y="4798966"/>
                    <a:pt x="1942201" y="4792389"/>
                    <a:pt x="1948717" y="4792389"/>
                  </a:cubicBezTo>
                  <a:cubicBezTo>
                    <a:pt x="1948717" y="4785813"/>
                    <a:pt x="1968268" y="4792389"/>
                    <a:pt x="1968268" y="4785813"/>
                  </a:cubicBezTo>
                  <a:cubicBezTo>
                    <a:pt x="1974786" y="4779237"/>
                    <a:pt x="1955235" y="4772662"/>
                    <a:pt x="1948717" y="4766086"/>
                  </a:cubicBezTo>
                  <a:cubicBezTo>
                    <a:pt x="1935684" y="4759510"/>
                    <a:pt x="1942201" y="4739782"/>
                    <a:pt x="1955235" y="4733206"/>
                  </a:cubicBezTo>
                  <a:cubicBezTo>
                    <a:pt x="1961752" y="4726631"/>
                    <a:pt x="1974786" y="4733206"/>
                    <a:pt x="1981303" y="4726631"/>
                  </a:cubicBezTo>
                  <a:cubicBezTo>
                    <a:pt x="2000854" y="4726631"/>
                    <a:pt x="2026921" y="4700327"/>
                    <a:pt x="2013888" y="4674023"/>
                  </a:cubicBezTo>
                  <a:cubicBezTo>
                    <a:pt x="2013855" y="4673990"/>
                    <a:pt x="2007414" y="4667492"/>
                    <a:pt x="2007370" y="4667447"/>
                  </a:cubicBezTo>
                  <a:lnTo>
                    <a:pt x="2003094" y="4657070"/>
                  </a:lnTo>
                  <a:cubicBezTo>
                    <a:pt x="2003705" y="4650596"/>
                    <a:pt x="2017146" y="4654295"/>
                    <a:pt x="2026921" y="4654295"/>
                  </a:cubicBezTo>
                  <a:cubicBezTo>
                    <a:pt x="2039956" y="4647720"/>
                    <a:pt x="2059507" y="4634567"/>
                    <a:pt x="2072541" y="4634567"/>
                  </a:cubicBezTo>
                  <a:cubicBezTo>
                    <a:pt x="2092092" y="4634567"/>
                    <a:pt x="2105125" y="4634567"/>
                    <a:pt x="2118159" y="4627991"/>
                  </a:cubicBezTo>
                  <a:cubicBezTo>
                    <a:pt x="2131194" y="4621416"/>
                    <a:pt x="2137710" y="4608264"/>
                    <a:pt x="2144227" y="4595112"/>
                  </a:cubicBezTo>
                  <a:cubicBezTo>
                    <a:pt x="2150745" y="4588536"/>
                    <a:pt x="2157261" y="4581960"/>
                    <a:pt x="2150745" y="4568809"/>
                  </a:cubicBezTo>
                  <a:cubicBezTo>
                    <a:pt x="2150745" y="4562233"/>
                    <a:pt x="2137710" y="4555656"/>
                    <a:pt x="2131194" y="4549081"/>
                  </a:cubicBezTo>
                  <a:cubicBezTo>
                    <a:pt x="2131194" y="4535929"/>
                    <a:pt x="2137710" y="4529353"/>
                    <a:pt x="2137710" y="4522778"/>
                  </a:cubicBezTo>
                  <a:cubicBezTo>
                    <a:pt x="2131194" y="4509625"/>
                    <a:pt x="2111643" y="4509625"/>
                    <a:pt x="2105125" y="4496474"/>
                  </a:cubicBezTo>
                  <a:cubicBezTo>
                    <a:pt x="2098608" y="4483322"/>
                    <a:pt x="2092092" y="4470170"/>
                    <a:pt x="2092092" y="4457018"/>
                  </a:cubicBezTo>
                  <a:cubicBezTo>
                    <a:pt x="2092092" y="4437290"/>
                    <a:pt x="2105125" y="4437290"/>
                    <a:pt x="2118159" y="4450443"/>
                  </a:cubicBezTo>
                  <a:cubicBezTo>
                    <a:pt x="2124676" y="4463594"/>
                    <a:pt x="2124676" y="4483322"/>
                    <a:pt x="2137710" y="4489898"/>
                  </a:cubicBezTo>
                  <a:cubicBezTo>
                    <a:pt x="2144227" y="4503049"/>
                    <a:pt x="2157261" y="4509625"/>
                    <a:pt x="2170296" y="4503049"/>
                  </a:cubicBezTo>
                  <a:cubicBezTo>
                    <a:pt x="2176812" y="4503049"/>
                    <a:pt x="2183330" y="4496474"/>
                    <a:pt x="2189847" y="4503049"/>
                  </a:cubicBezTo>
                  <a:cubicBezTo>
                    <a:pt x="2196363" y="4503049"/>
                    <a:pt x="2202881" y="4503049"/>
                    <a:pt x="2209398" y="4503049"/>
                  </a:cubicBezTo>
                  <a:cubicBezTo>
                    <a:pt x="2215914" y="4503049"/>
                    <a:pt x="2235465" y="4476745"/>
                    <a:pt x="2248500" y="4457018"/>
                  </a:cubicBezTo>
                  <a:cubicBezTo>
                    <a:pt x="2255016" y="4443867"/>
                    <a:pt x="2261534" y="4437290"/>
                    <a:pt x="2261534" y="4430714"/>
                  </a:cubicBezTo>
                  <a:cubicBezTo>
                    <a:pt x="2261534" y="4417563"/>
                    <a:pt x="2255016" y="4417563"/>
                    <a:pt x="2255016" y="4410987"/>
                  </a:cubicBezTo>
                  <a:cubicBezTo>
                    <a:pt x="2261534" y="4404411"/>
                    <a:pt x="2274567" y="4391259"/>
                    <a:pt x="2274567" y="4384683"/>
                  </a:cubicBezTo>
                  <a:cubicBezTo>
                    <a:pt x="2281085" y="4378107"/>
                    <a:pt x="2287601" y="4364956"/>
                    <a:pt x="2300636" y="4358379"/>
                  </a:cubicBezTo>
                  <a:cubicBezTo>
                    <a:pt x="2300667" y="4358379"/>
                    <a:pt x="2307169" y="4358379"/>
                    <a:pt x="2313669" y="4358379"/>
                  </a:cubicBezTo>
                  <a:cubicBezTo>
                    <a:pt x="2326703" y="4351805"/>
                    <a:pt x="2326703" y="4338653"/>
                    <a:pt x="2326703" y="4332077"/>
                  </a:cubicBezTo>
                  <a:cubicBezTo>
                    <a:pt x="2333220" y="4318925"/>
                    <a:pt x="2339738" y="4312349"/>
                    <a:pt x="2352771" y="4299198"/>
                  </a:cubicBezTo>
                  <a:cubicBezTo>
                    <a:pt x="2385356" y="4266318"/>
                    <a:pt x="2352771" y="4233438"/>
                    <a:pt x="2359289" y="4193983"/>
                  </a:cubicBezTo>
                  <a:cubicBezTo>
                    <a:pt x="2359289" y="4185809"/>
                    <a:pt x="2363764" y="4178764"/>
                    <a:pt x="2370764" y="4172762"/>
                  </a:cubicBezTo>
                  <a:close/>
                  <a:moveTo>
                    <a:pt x="1355050" y="3792279"/>
                  </a:moveTo>
                  <a:cubicBezTo>
                    <a:pt x="1318697" y="4184868"/>
                    <a:pt x="1335670" y="4583698"/>
                    <a:pt x="1401311" y="4894132"/>
                  </a:cubicBezTo>
                  <a:cubicBezTo>
                    <a:pt x="1035189" y="4679816"/>
                    <a:pt x="728470" y="4374217"/>
                    <a:pt x="510450" y="4008440"/>
                  </a:cubicBezTo>
                  <a:cubicBezTo>
                    <a:pt x="587420" y="3990259"/>
                    <a:pt x="643285" y="3920314"/>
                    <a:pt x="643285" y="3837320"/>
                  </a:cubicBezTo>
                  <a:lnTo>
                    <a:pt x="642841" y="3832916"/>
                  </a:lnTo>
                  <a:cubicBezTo>
                    <a:pt x="917344" y="3821669"/>
                    <a:pt x="1147515" y="3811703"/>
                    <a:pt x="1355050" y="3792279"/>
                  </a:cubicBezTo>
                  <a:close/>
                  <a:moveTo>
                    <a:pt x="1652544" y="3757744"/>
                  </a:moveTo>
                  <a:cubicBezTo>
                    <a:pt x="1655053" y="3760042"/>
                    <a:pt x="1655453" y="3763094"/>
                    <a:pt x="1655453" y="3766550"/>
                  </a:cubicBezTo>
                  <a:cubicBezTo>
                    <a:pt x="1655453" y="3773126"/>
                    <a:pt x="1655453" y="3779702"/>
                    <a:pt x="1655453" y="3792854"/>
                  </a:cubicBezTo>
                  <a:cubicBezTo>
                    <a:pt x="1655453" y="3806005"/>
                    <a:pt x="1661970" y="3838885"/>
                    <a:pt x="1675004" y="3845461"/>
                  </a:cubicBezTo>
                  <a:cubicBezTo>
                    <a:pt x="1681521" y="3852036"/>
                    <a:pt x="1694555" y="3858612"/>
                    <a:pt x="1707589" y="3858612"/>
                  </a:cubicBezTo>
                  <a:cubicBezTo>
                    <a:pt x="1720624" y="3865188"/>
                    <a:pt x="1740175" y="3871764"/>
                    <a:pt x="1753208" y="3884915"/>
                  </a:cubicBezTo>
                  <a:cubicBezTo>
                    <a:pt x="1766242" y="3898068"/>
                    <a:pt x="1779276" y="3904643"/>
                    <a:pt x="1792310" y="3917795"/>
                  </a:cubicBezTo>
                  <a:cubicBezTo>
                    <a:pt x="1798827" y="3924370"/>
                    <a:pt x="1798827" y="3937523"/>
                    <a:pt x="1805344" y="3950674"/>
                  </a:cubicBezTo>
                  <a:cubicBezTo>
                    <a:pt x="1811861" y="3963826"/>
                    <a:pt x="1811861" y="3983554"/>
                    <a:pt x="1811861" y="4003281"/>
                  </a:cubicBezTo>
                  <a:cubicBezTo>
                    <a:pt x="1811861" y="4009857"/>
                    <a:pt x="1805344" y="4016434"/>
                    <a:pt x="1805344" y="4029585"/>
                  </a:cubicBezTo>
                  <a:cubicBezTo>
                    <a:pt x="1805344" y="4036161"/>
                    <a:pt x="1811861" y="4042737"/>
                    <a:pt x="1805344" y="4049312"/>
                  </a:cubicBezTo>
                  <a:cubicBezTo>
                    <a:pt x="1805344" y="4055889"/>
                    <a:pt x="1805344" y="4069041"/>
                    <a:pt x="1805344" y="4075616"/>
                  </a:cubicBezTo>
                  <a:cubicBezTo>
                    <a:pt x="1805344" y="4095345"/>
                    <a:pt x="1792310" y="4108496"/>
                    <a:pt x="1792310" y="4128223"/>
                  </a:cubicBezTo>
                  <a:cubicBezTo>
                    <a:pt x="1792310" y="4147952"/>
                    <a:pt x="1798827" y="4161103"/>
                    <a:pt x="1798827" y="4174255"/>
                  </a:cubicBezTo>
                  <a:cubicBezTo>
                    <a:pt x="1792310" y="4187407"/>
                    <a:pt x="1785793" y="4193983"/>
                    <a:pt x="1792310" y="4213711"/>
                  </a:cubicBezTo>
                  <a:cubicBezTo>
                    <a:pt x="1792310" y="4220287"/>
                    <a:pt x="1792310" y="4226863"/>
                    <a:pt x="1792310" y="4240014"/>
                  </a:cubicBezTo>
                  <a:cubicBezTo>
                    <a:pt x="1792310" y="4246590"/>
                    <a:pt x="1785793" y="4253166"/>
                    <a:pt x="1785793" y="4266318"/>
                  </a:cubicBezTo>
                  <a:cubicBezTo>
                    <a:pt x="1785793" y="4272894"/>
                    <a:pt x="1779276" y="4286045"/>
                    <a:pt x="1779276" y="4292622"/>
                  </a:cubicBezTo>
                  <a:cubicBezTo>
                    <a:pt x="1779276" y="4299198"/>
                    <a:pt x="1772759" y="4312349"/>
                    <a:pt x="1772759" y="4318925"/>
                  </a:cubicBezTo>
                  <a:cubicBezTo>
                    <a:pt x="1779276" y="4325502"/>
                    <a:pt x="1779276" y="4332077"/>
                    <a:pt x="1779276" y="4345229"/>
                  </a:cubicBezTo>
                  <a:cubicBezTo>
                    <a:pt x="1779276" y="4351805"/>
                    <a:pt x="1772759" y="4358379"/>
                    <a:pt x="1772759" y="4371532"/>
                  </a:cubicBezTo>
                  <a:cubicBezTo>
                    <a:pt x="1772759" y="4384683"/>
                    <a:pt x="1779276" y="4391259"/>
                    <a:pt x="1785793" y="4397835"/>
                  </a:cubicBezTo>
                  <a:cubicBezTo>
                    <a:pt x="1798827" y="4424139"/>
                    <a:pt x="1766242" y="4450443"/>
                    <a:pt x="1759726" y="4476745"/>
                  </a:cubicBezTo>
                  <a:cubicBezTo>
                    <a:pt x="1753208" y="4496474"/>
                    <a:pt x="1746691" y="4516201"/>
                    <a:pt x="1746691" y="4535929"/>
                  </a:cubicBezTo>
                  <a:cubicBezTo>
                    <a:pt x="1746691" y="4555656"/>
                    <a:pt x="1740175" y="4575385"/>
                    <a:pt x="1733657" y="4588536"/>
                  </a:cubicBezTo>
                  <a:cubicBezTo>
                    <a:pt x="1727140" y="4601689"/>
                    <a:pt x="1733657" y="4608264"/>
                    <a:pt x="1740175" y="4621416"/>
                  </a:cubicBezTo>
                  <a:cubicBezTo>
                    <a:pt x="1746691" y="4634567"/>
                    <a:pt x="1746691" y="4647720"/>
                    <a:pt x="1746691" y="4660871"/>
                  </a:cubicBezTo>
                  <a:cubicBezTo>
                    <a:pt x="1746691" y="4687175"/>
                    <a:pt x="1733657" y="4700327"/>
                    <a:pt x="1733657" y="4720055"/>
                  </a:cubicBezTo>
                  <a:cubicBezTo>
                    <a:pt x="1733657" y="4726631"/>
                    <a:pt x="1733657" y="4739782"/>
                    <a:pt x="1733657" y="4746358"/>
                  </a:cubicBezTo>
                  <a:cubicBezTo>
                    <a:pt x="1733657" y="4752933"/>
                    <a:pt x="1740175" y="4752933"/>
                    <a:pt x="1746691" y="4759510"/>
                  </a:cubicBezTo>
                  <a:cubicBezTo>
                    <a:pt x="1746691" y="4766086"/>
                    <a:pt x="1746691" y="4772662"/>
                    <a:pt x="1746691" y="4779237"/>
                  </a:cubicBezTo>
                  <a:cubicBezTo>
                    <a:pt x="1746691" y="4792389"/>
                    <a:pt x="1746691" y="4798966"/>
                    <a:pt x="1740175" y="4812117"/>
                  </a:cubicBezTo>
                  <a:cubicBezTo>
                    <a:pt x="1740175" y="4825269"/>
                    <a:pt x="1746691" y="4831844"/>
                    <a:pt x="1740175" y="4844997"/>
                  </a:cubicBezTo>
                  <a:cubicBezTo>
                    <a:pt x="1733657" y="4851573"/>
                    <a:pt x="1720624" y="4858148"/>
                    <a:pt x="1720624" y="4871300"/>
                  </a:cubicBezTo>
                  <a:cubicBezTo>
                    <a:pt x="1714106" y="4891028"/>
                    <a:pt x="1733657" y="4910755"/>
                    <a:pt x="1727140" y="4937058"/>
                  </a:cubicBezTo>
                  <a:cubicBezTo>
                    <a:pt x="1720624" y="4956786"/>
                    <a:pt x="1707589" y="4976513"/>
                    <a:pt x="1707589" y="5002817"/>
                  </a:cubicBezTo>
                  <a:lnTo>
                    <a:pt x="1707589" y="5049786"/>
                  </a:lnTo>
                  <a:cubicBezTo>
                    <a:pt x="1614691" y="5010873"/>
                    <a:pt x="1524588" y="4966540"/>
                    <a:pt x="1438672" y="4915414"/>
                  </a:cubicBezTo>
                  <a:cubicBezTo>
                    <a:pt x="1373926" y="4570463"/>
                    <a:pt x="1359286" y="4168496"/>
                    <a:pt x="1393222" y="3789064"/>
                  </a:cubicBezTo>
                  <a:cubicBezTo>
                    <a:pt x="1483207" y="3781329"/>
                    <a:pt x="1569036" y="3771076"/>
                    <a:pt x="1652544" y="3757744"/>
                  </a:cubicBezTo>
                  <a:close/>
                  <a:moveTo>
                    <a:pt x="462309" y="3730640"/>
                  </a:moveTo>
                  <a:cubicBezTo>
                    <a:pt x="521227" y="3730640"/>
                    <a:pt x="568989" y="3778402"/>
                    <a:pt x="568989" y="3837320"/>
                  </a:cubicBezTo>
                  <a:cubicBezTo>
                    <a:pt x="568989" y="3896238"/>
                    <a:pt x="521227" y="3944000"/>
                    <a:pt x="462309" y="3944000"/>
                  </a:cubicBezTo>
                  <a:cubicBezTo>
                    <a:pt x="403391" y="3944000"/>
                    <a:pt x="355629" y="3896238"/>
                    <a:pt x="355629" y="3837320"/>
                  </a:cubicBezTo>
                  <a:cubicBezTo>
                    <a:pt x="355629" y="3778402"/>
                    <a:pt x="403391" y="3730640"/>
                    <a:pt x="462309" y="3730640"/>
                  </a:cubicBezTo>
                  <a:close/>
                  <a:moveTo>
                    <a:pt x="1548737" y="3047311"/>
                  </a:moveTo>
                  <a:cubicBezTo>
                    <a:pt x="1557698" y="3046490"/>
                    <a:pt x="1567474" y="3046490"/>
                    <a:pt x="1577249" y="3049777"/>
                  </a:cubicBezTo>
                  <a:cubicBezTo>
                    <a:pt x="1583766" y="3049777"/>
                    <a:pt x="1596800" y="3056353"/>
                    <a:pt x="1596800" y="3069505"/>
                  </a:cubicBezTo>
                  <a:cubicBezTo>
                    <a:pt x="1603317" y="3082657"/>
                    <a:pt x="1596800" y="3089233"/>
                    <a:pt x="1609834" y="3102384"/>
                  </a:cubicBezTo>
                  <a:cubicBezTo>
                    <a:pt x="1635902" y="3122113"/>
                    <a:pt x="1622868" y="3154992"/>
                    <a:pt x="1616351" y="3187871"/>
                  </a:cubicBezTo>
                  <a:cubicBezTo>
                    <a:pt x="1609834" y="3201023"/>
                    <a:pt x="1609834" y="3214175"/>
                    <a:pt x="1609834" y="3227326"/>
                  </a:cubicBezTo>
                  <a:cubicBezTo>
                    <a:pt x="1609834" y="3240479"/>
                    <a:pt x="1609834" y="3247055"/>
                    <a:pt x="1616351" y="3260206"/>
                  </a:cubicBezTo>
                  <a:cubicBezTo>
                    <a:pt x="1616351" y="3279934"/>
                    <a:pt x="1609834" y="3286510"/>
                    <a:pt x="1603317" y="3299661"/>
                  </a:cubicBezTo>
                  <a:cubicBezTo>
                    <a:pt x="1583766" y="3339117"/>
                    <a:pt x="1557698" y="3365420"/>
                    <a:pt x="1538147" y="3398299"/>
                  </a:cubicBezTo>
                  <a:cubicBezTo>
                    <a:pt x="1525113" y="3424602"/>
                    <a:pt x="1525113" y="3464058"/>
                    <a:pt x="1525113" y="3490362"/>
                  </a:cubicBezTo>
                  <a:cubicBezTo>
                    <a:pt x="1531630" y="3536393"/>
                    <a:pt x="1551181" y="3562697"/>
                    <a:pt x="1583766" y="3595577"/>
                  </a:cubicBezTo>
                  <a:cubicBezTo>
                    <a:pt x="1609834" y="3621880"/>
                    <a:pt x="1609834" y="3654759"/>
                    <a:pt x="1622868" y="3687639"/>
                  </a:cubicBezTo>
                  <a:cubicBezTo>
                    <a:pt x="1622868" y="3698979"/>
                    <a:pt x="1627713" y="3710319"/>
                    <a:pt x="1633395" y="3721575"/>
                  </a:cubicBezTo>
                  <a:cubicBezTo>
                    <a:pt x="1554127" y="3733626"/>
                    <a:pt x="1475050" y="3742859"/>
                    <a:pt x="1396120" y="3750408"/>
                  </a:cubicBezTo>
                  <a:cubicBezTo>
                    <a:pt x="1419231" y="3497496"/>
                    <a:pt x="1464221" y="3255901"/>
                    <a:pt x="1529413" y="3049328"/>
                  </a:cubicBezTo>
                  <a:cubicBezTo>
                    <a:pt x="1535093" y="3049122"/>
                    <a:pt x="1541661" y="3047961"/>
                    <a:pt x="1548737" y="3047311"/>
                  </a:cubicBezTo>
                  <a:close/>
                  <a:moveTo>
                    <a:pt x="4959037" y="3018772"/>
                  </a:moveTo>
                  <a:cubicBezTo>
                    <a:pt x="5036068" y="3082842"/>
                    <a:pt x="5119464" y="3152676"/>
                    <a:pt x="5164978" y="3191039"/>
                  </a:cubicBezTo>
                  <a:cubicBezTo>
                    <a:pt x="5117274" y="3435339"/>
                    <a:pt x="5034215" y="3666859"/>
                    <a:pt x="4921641" y="3880239"/>
                  </a:cubicBezTo>
                  <a:cubicBezTo>
                    <a:pt x="4921663" y="3879397"/>
                    <a:pt x="4921504" y="3878583"/>
                    <a:pt x="4921340" y="3877761"/>
                  </a:cubicBezTo>
                  <a:cubicBezTo>
                    <a:pt x="4921340" y="3864581"/>
                    <a:pt x="4921340" y="3857991"/>
                    <a:pt x="4921340" y="3844812"/>
                  </a:cubicBezTo>
                  <a:cubicBezTo>
                    <a:pt x="4927904" y="3831632"/>
                    <a:pt x="4927904" y="3818452"/>
                    <a:pt x="4914775" y="3811861"/>
                  </a:cubicBezTo>
                  <a:cubicBezTo>
                    <a:pt x="4911492" y="3808567"/>
                    <a:pt x="4904928" y="3805271"/>
                    <a:pt x="4898363" y="3803624"/>
                  </a:cubicBezTo>
                  <a:lnTo>
                    <a:pt x="4881952" y="3805271"/>
                  </a:lnTo>
                  <a:cubicBezTo>
                    <a:pt x="4868823" y="3805271"/>
                    <a:pt x="4868823" y="3818452"/>
                    <a:pt x="4862259" y="3825043"/>
                  </a:cubicBezTo>
                  <a:cubicBezTo>
                    <a:pt x="4855694" y="3831632"/>
                    <a:pt x="4855694" y="3838222"/>
                    <a:pt x="4842565" y="3851401"/>
                  </a:cubicBezTo>
                  <a:cubicBezTo>
                    <a:pt x="4822871" y="3864581"/>
                    <a:pt x="4783485" y="3871170"/>
                    <a:pt x="4776921" y="3897530"/>
                  </a:cubicBezTo>
                  <a:cubicBezTo>
                    <a:pt x="4763791" y="3917299"/>
                    <a:pt x="4776921" y="3937070"/>
                    <a:pt x="4776921" y="3956840"/>
                  </a:cubicBezTo>
                  <a:cubicBezTo>
                    <a:pt x="4783485" y="3983198"/>
                    <a:pt x="4783485" y="3996378"/>
                    <a:pt x="4763791" y="4016148"/>
                  </a:cubicBezTo>
                  <a:cubicBezTo>
                    <a:pt x="4750662" y="4029328"/>
                    <a:pt x="4737533" y="4055687"/>
                    <a:pt x="4737533" y="4075457"/>
                  </a:cubicBezTo>
                  <a:cubicBezTo>
                    <a:pt x="4737533" y="4101816"/>
                    <a:pt x="4750662" y="4108406"/>
                    <a:pt x="4763791" y="4128177"/>
                  </a:cubicBezTo>
                  <a:lnTo>
                    <a:pt x="4764599" y="4141159"/>
                  </a:lnTo>
                  <a:cubicBezTo>
                    <a:pt x="4409659" y="4660202"/>
                    <a:pt x="3869165" y="5039746"/>
                    <a:pt x="3239606" y="5181785"/>
                  </a:cubicBezTo>
                  <a:cubicBezTo>
                    <a:pt x="3108766" y="5065135"/>
                    <a:pt x="2983320" y="4952596"/>
                    <a:pt x="2908718" y="4857038"/>
                  </a:cubicBezTo>
                  <a:cubicBezTo>
                    <a:pt x="2945305" y="4824885"/>
                    <a:pt x="2967686" y="4777581"/>
                    <a:pt x="2967686" y="4725050"/>
                  </a:cubicBezTo>
                  <a:cubicBezTo>
                    <a:pt x="2967686" y="4625100"/>
                    <a:pt x="2886661" y="4544075"/>
                    <a:pt x="2786711" y="4544075"/>
                  </a:cubicBezTo>
                  <a:cubicBezTo>
                    <a:pt x="2754908" y="4544075"/>
                    <a:pt x="2725020" y="4552279"/>
                    <a:pt x="2700350" y="4569029"/>
                  </a:cubicBezTo>
                  <a:cubicBezTo>
                    <a:pt x="2586648" y="4431561"/>
                    <a:pt x="2493149" y="4288531"/>
                    <a:pt x="2402215" y="4149788"/>
                  </a:cubicBezTo>
                  <a:cubicBezTo>
                    <a:pt x="2403109" y="4149153"/>
                    <a:pt x="2404015" y="4148553"/>
                    <a:pt x="2404907" y="4147952"/>
                  </a:cubicBezTo>
                  <a:cubicBezTo>
                    <a:pt x="2411424" y="4141376"/>
                    <a:pt x="2424458" y="4134800"/>
                    <a:pt x="2437493" y="4121648"/>
                  </a:cubicBezTo>
                  <a:cubicBezTo>
                    <a:pt x="2444009" y="4121648"/>
                    <a:pt x="2444009" y="4115072"/>
                    <a:pt x="2450526" y="4108496"/>
                  </a:cubicBezTo>
                  <a:cubicBezTo>
                    <a:pt x="2470077" y="4101920"/>
                    <a:pt x="2496145" y="4088768"/>
                    <a:pt x="2515696" y="4082192"/>
                  </a:cubicBezTo>
                  <a:cubicBezTo>
                    <a:pt x="2528730" y="4075616"/>
                    <a:pt x="2548281" y="4075616"/>
                    <a:pt x="2554798" y="4055889"/>
                  </a:cubicBezTo>
                  <a:cubicBezTo>
                    <a:pt x="2554798" y="4049312"/>
                    <a:pt x="2554798" y="4036161"/>
                    <a:pt x="2554798" y="4029585"/>
                  </a:cubicBezTo>
                  <a:cubicBezTo>
                    <a:pt x="2554798" y="4016434"/>
                    <a:pt x="2561315" y="4009857"/>
                    <a:pt x="2567832" y="4003281"/>
                  </a:cubicBezTo>
                  <a:cubicBezTo>
                    <a:pt x="2574349" y="3996706"/>
                    <a:pt x="2587383" y="3983554"/>
                    <a:pt x="2593900" y="3970402"/>
                  </a:cubicBezTo>
                  <a:cubicBezTo>
                    <a:pt x="2600417" y="3957250"/>
                    <a:pt x="2600417" y="3950674"/>
                    <a:pt x="2600417" y="3930946"/>
                  </a:cubicBezTo>
                  <a:cubicBezTo>
                    <a:pt x="2593900" y="3924370"/>
                    <a:pt x="2600417" y="3917795"/>
                    <a:pt x="2606934" y="3904643"/>
                  </a:cubicBezTo>
                  <a:cubicBezTo>
                    <a:pt x="2613451" y="3891491"/>
                    <a:pt x="2613451" y="3871764"/>
                    <a:pt x="2613451" y="3858612"/>
                  </a:cubicBezTo>
                  <a:cubicBezTo>
                    <a:pt x="2613451" y="3838885"/>
                    <a:pt x="2600417" y="3825733"/>
                    <a:pt x="2600417" y="3806005"/>
                  </a:cubicBezTo>
                  <a:cubicBezTo>
                    <a:pt x="2600417" y="3792854"/>
                    <a:pt x="2600417" y="3786278"/>
                    <a:pt x="2606934" y="3773126"/>
                  </a:cubicBezTo>
                  <a:cubicBezTo>
                    <a:pt x="2613451" y="3766550"/>
                    <a:pt x="2619968" y="3753398"/>
                    <a:pt x="2626484" y="3746823"/>
                  </a:cubicBezTo>
                  <a:cubicBezTo>
                    <a:pt x="2633002" y="3746823"/>
                    <a:pt x="2639519" y="3746823"/>
                    <a:pt x="2652553" y="3740247"/>
                  </a:cubicBezTo>
                  <a:cubicBezTo>
                    <a:pt x="2659070" y="3727094"/>
                    <a:pt x="2665587" y="3713943"/>
                    <a:pt x="2672104" y="3694215"/>
                  </a:cubicBezTo>
                  <a:cubicBezTo>
                    <a:pt x="2678621" y="3687639"/>
                    <a:pt x="2678621" y="3681063"/>
                    <a:pt x="2685138" y="3674487"/>
                  </a:cubicBezTo>
                  <a:cubicBezTo>
                    <a:pt x="2685138" y="3667912"/>
                    <a:pt x="2691655" y="3661335"/>
                    <a:pt x="2698172" y="3661335"/>
                  </a:cubicBezTo>
                  <a:cubicBezTo>
                    <a:pt x="2711206" y="3654759"/>
                    <a:pt x="2717723" y="3641608"/>
                    <a:pt x="2724240" y="3635032"/>
                  </a:cubicBezTo>
                  <a:cubicBezTo>
                    <a:pt x="2728341" y="3622620"/>
                    <a:pt x="2732441" y="3607604"/>
                    <a:pt x="2731974" y="3591553"/>
                  </a:cubicBezTo>
                  <a:cubicBezTo>
                    <a:pt x="3176757" y="3492724"/>
                    <a:pt x="3530895" y="3400733"/>
                    <a:pt x="3875196" y="3278576"/>
                  </a:cubicBezTo>
                  <a:cubicBezTo>
                    <a:pt x="3874963" y="3303286"/>
                    <a:pt x="3869564" y="3328899"/>
                    <a:pt x="3864973" y="3352065"/>
                  </a:cubicBezTo>
                  <a:cubicBezTo>
                    <a:pt x="3858454" y="3378381"/>
                    <a:pt x="3871492" y="3417855"/>
                    <a:pt x="3891049" y="3444172"/>
                  </a:cubicBezTo>
                  <a:cubicBezTo>
                    <a:pt x="3910607" y="3470487"/>
                    <a:pt x="3936683" y="3490224"/>
                    <a:pt x="3949721" y="3516541"/>
                  </a:cubicBezTo>
                  <a:cubicBezTo>
                    <a:pt x="3962759" y="3529699"/>
                    <a:pt x="3969279" y="3549436"/>
                    <a:pt x="3969279" y="3562594"/>
                  </a:cubicBezTo>
                  <a:cubicBezTo>
                    <a:pt x="3969279" y="3575752"/>
                    <a:pt x="3969279" y="3582331"/>
                    <a:pt x="3975798" y="3588911"/>
                  </a:cubicBezTo>
                  <a:cubicBezTo>
                    <a:pt x="3975798" y="3621805"/>
                    <a:pt x="3956240" y="3641542"/>
                    <a:pt x="3975798" y="3667858"/>
                  </a:cubicBezTo>
                  <a:cubicBezTo>
                    <a:pt x="4008392" y="3713913"/>
                    <a:pt x="3956240" y="3773124"/>
                    <a:pt x="3943201" y="3819177"/>
                  </a:cubicBezTo>
                  <a:cubicBezTo>
                    <a:pt x="3936683" y="3852073"/>
                    <a:pt x="3923645" y="3898126"/>
                    <a:pt x="3943201" y="3924442"/>
                  </a:cubicBezTo>
                  <a:cubicBezTo>
                    <a:pt x="3949721" y="3931021"/>
                    <a:pt x="3962759" y="3937600"/>
                    <a:pt x="3969279" y="3944179"/>
                  </a:cubicBezTo>
                  <a:cubicBezTo>
                    <a:pt x="3982316" y="3963916"/>
                    <a:pt x="3982316" y="3983653"/>
                    <a:pt x="3988835" y="3996811"/>
                  </a:cubicBezTo>
                  <a:cubicBezTo>
                    <a:pt x="3995355" y="4009970"/>
                    <a:pt x="3995355" y="4029707"/>
                    <a:pt x="3995355" y="4042865"/>
                  </a:cubicBezTo>
                  <a:cubicBezTo>
                    <a:pt x="4001874" y="4062601"/>
                    <a:pt x="4014912" y="4069180"/>
                    <a:pt x="4021431" y="4088918"/>
                  </a:cubicBezTo>
                  <a:cubicBezTo>
                    <a:pt x="4027950" y="4141550"/>
                    <a:pt x="4014912" y="4187605"/>
                    <a:pt x="4034470" y="4233657"/>
                  </a:cubicBezTo>
                  <a:cubicBezTo>
                    <a:pt x="4047507" y="4259974"/>
                    <a:pt x="4060546" y="4286290"/>
                    <a:pt x="4073584" y="4312606"/>
                  </a:cubicBezTo>
                  <a:cubicBezTo>
                    <a:pt x="4086622" y="4325764"/>
                    <a:pt x="4093141" y="4338923"/>
                    <a:pt x="4093141" y="4358660"/>
                  </a:cubicBezTo>
                  <a:cubicBezTo>
                    <a:pt x="4099661" y="4384975"/>
                    <a:pt x="4086622" y="4417870"/>
                    <a:pt x="4086622" y="4444187"/>
                  </a:cubicBezTo>
                  <a:cubicBezTo>
                    <a:pt x="4093141" y="4483661"/>
                    <a:pt x="4125737" y="4483661"/>
                    <a:pt x="4158332" y="4470503"/>
                  </a:cubicBezTo>
                  <a:cubicBezTo>
                    <a:pt x="4177889" y="4463924"/>
                    <a:pt x="4197447" y="4457345"/>
                    <a:pt x="4223523" y="4457345"/>
                  </a:cubicBezTo>
                  <a:cubicBezTo>
                    <a:pt x="4262638" y="4463924"/>
                    <a:pt x="4308271" y="4470503"/>
                    <a:pt x="4340866" y="4450766"/>
                  </a:cubicBezTo>
                  <a:cubicBezTo>
                    <a:pt x="4360424" y="4437608"/>
                    <a:pt x="4379981" y="4411291"/>
                    <a:pt x="4393020" y="4398133"/>
                  </a:cubicBezTo>
                  <a:cubicBezTo>
                    <a:pt x="4406057" y="4384975"/>
                    <a:pt x="4406057" y="4365239"/>
                    <a:pt x="4412577" y="4352081"/>
                  </a:cubicBezTo>
                  <a:cubicBezTo>
                    <a:pt x="4425615" y="4312606"/>
                    <a:pt x="4471248" y="4299448"/>
                    <a:pt x="4484287" y="4259974"/>
                  </a:cubicBezTo>
                  <a:cubicBezTo>
                    <a:pt x="4490806" y="4240236"/>
                    <a:pt x="4490806" y="4220500"/>
                    <a:pt x="4490806" y="4200763"/>
                  </a:cubicBezTo>
                  <a:cubicBezTo>
                    <a:pt x="4503845" y="4174446"/>
                    <a:pt x="4536439" y="4167866"/>
                    <a:pt x="4542959" y="4134971"/>
                  </a:cubicBezTo>
                  <a:cubicBezTo>
                    <a:pt x="4549478" y="4108655"/>
                    <a:pt x="4575554" y="4049444"/>
                    <a:pt x="4549478" y="4023128"/>
                  </a:cubicBezTo>
                  <a:cubicBezTo>
                    <a:pt x="4536439" y="4009970"/>
                    <a:pt x="4523402" y="4009970"/>
                    <a:pt x="4529921" y="3990232"/>
                  </a:cubicBezTo>
                  <a:cubicBezTo>
                    <a:pt x="4536439" y="3970495"/>
                    <a:pt x="4555997" y="3957337"/>
                    <a:pt x="4575554" y="3944179"/>
                  </a:cubicBezTo>
                  <a:cubicBezTo>
                    <a:pt x="4601630" y="3931021"/>
                    <a:pt x="4627707" y="3931021"/>
                    <a:pt x="4647264" y="3904704"/>
                  </a:cubicBezTo>
                  <a:cubicBezTo>
                    <a:pt x="4666822" y="3884968"/>
                    <a:pt x="4666822" y="3858652"/>
                    <a:pt x="4673340" y="3832335"/>
                  </a:cubicBezTo>
                  <a:cubicBezTo>
                    <a:pt x="4673340" y="3799440"/>
                    <a:pt x="4686379" y="3773124"/>
                    <a:pt x="4692898" y="3740229"/>
                  </a:cubicBezTo>
                  <a:cubicBezTo>
                    <a:pt x="4692898" y="3713913"/>
                    <a:pt x="4686379" y="3681017"/>
                    <a:pt x="4679860" y="3648121"/>
                  </a:cubicBezTo>
                  <a:cubicBezTo>
                    <a:pt x="4666822" y="3621805"/>
                    <a:pt x="4660303" y="3588911"/>
                    <a:pt x="4653784" y="3569173"/>
                  </a:cubicBezTo>
                  <a:cubicBezTo>
                    <a:pt x="4647264" y="3556015"/>
                    <a:pt x="4640745" y="3542857"/>
                    <a:pt x="4640745" y="3529699"/>
                  </a:cubicBezTo>
                  <a:cubicBezTo>
                    <a:pt x="4640745" y="3509962"/>
                    <a:pt x="4647264" y="3483645"/>
                    <a:pt x="4653784" y="3463908"/>
                  </a:cubicBezTo>
                  <a:cubicBezTo>
                    <a:pt x="4660303" y="3450751"/>
                    <a:pt x="4673340" y="3450751"/>
                    <a:pt x="4679860" y="3437593"/>
                  </a:cubicBezTo>
                  <a:cubicBezTo>
                    <a:pt x="4686379" y="3431014"/>
                    <a:pt x="4686379" y="3417855"/>
                    <a:pt x="4692898" y="3411276"/>
                  </a:cubicBezTo>
                  <a:cubicBezTo>
                    <a:pt x="4705936" y="3391539"/>
                    <a:pt x="4725494" y="3378381"/>
                    <a:pt x="4745051" y="3358644"/>
                  </a:cubicBezTo>
                  <a:cubicBezTo>
                    <a:pt x="4764609" y="3338907"/>
                    <a:pt x="4784165" y="3312591"/>
                    <a:pt x="4803722" y="3286275"/>
                  </a:cubicBezTo>
                  <a:cubicBezTo>
                    <a:pt x="4810242" y="3273117"/>
                    <a:pt x="4810242" y="3259959"/>
                    <a:pt x="4816761" y="3253379"/>
                  </a:cubicBezTo>
                  <a:cubicBezTo>
                    <a:pt x="4836318" y="3220483"/>
                    <a:pt x="4875433" y="3207325"/>
                    <a:pt x="4901509" y="3181009"/>
                  </a:cubicBezTo>
                  <a:cubicBezTo>
                    <a:pt x="4914547" y="3161271"/>
                    <a:pt x="4914547" y="3148114"/>
                    <a:pt x="4914547" y="3128377"/>
                  </a:cubicBezTo>
                  <a:cubicBezTo>
                    <a:pt x="4914547" y="3102061"/>
                    <a:pt x="4921067" y="3088903"/>
                    <a:pt x="4934104" y="3062586"/>
                  </a:cubicBezTo>
                  <a:cubicBezTo>
                    <a:pt x="4940361" y="3049959"/>
                    <a:pt x="4952621" y="3037332"/>
                    <a:pt x="4959037" y="3018772"/>
                  </a:cubicBezTo>
                  <a:close/>
                  <a:moveTo>
                    <a:pt x="4803016" y="2890192"/>
                  </a:moveTo>
                  <a:cubicBezTo>
                    <a:pt x="4820668" y="2904312"/>
                    <a:pt x="4850472" y="2928768"/>
                    <a:pt x="4886057" y="2958205"/>
                  </a:cubicBezTo>
                  <a:cubicBezTo>
                    <a:pt x="4885178" y="2960096"/>
                    <a:pt x="4883838" y="2961998"/>
                    <a:pt x="4881952" y="2963901"/>
                  </a:cubicBezTo>
                  <a:cubicBezTo>
                    <a:pt x="4862395" y="2970480"/>
                    <a:pt x="4842837" y="2963901"/>
                    <a:pt x="4823280" y="2963901"/>
                  </a:cubicBezTo>
                  <a:cubicBezTo>
                    <a:pt x="4816761" y="2963901"/>
                    <a:pt x="4803722" y="2963901"/>
                    <a:pt x="4790685" y="2963901"/>
                  </a:cubicBezTo>
                  <a:cubicBezTo>
                    <a:pt x="4777646" y="2957322"/>
                    <a:pt x="4777646" y="2950743"/>
                    <a:pt x="4771127" y="2937585"/>
                  </a:cubicBezTo>
                  <a:lnTo>
                    <a:pt x="4760609" y="2920658"/>
                  </a:lnTo>
                  <a:cubicBezTo>
                    <a:pt x="4777292" y="2914129"/>
                    <a:pt x="4791700" y="2903704"/>
                    <a:pt x="4803016" y="2890192"/>
                  </a:cubicBezTo>
                  <a:close/>
                  <a:moveTo>
                    <a:pt x="1665982" y="2869710"/>
                  </a:moveTo>
                  <a:lnTo>
                    <a:pt x="1719532" y="2981006"/>
                  </a:lnTo>
                  <a:cubicBezTo>
                    <a:pt x="1715881" y="2980234"/>
                    <a:pt x="1712131" y="2981727"/>
                    <a:pt x="1707589" y="2984018"/>
                  </a:cubicBezTo>
                  <a:cubicBezTo>
                    <a:pt x="1694555" y="2990594"/>
                    <a:pt x="1681521" y="2997170"/>
                    <a:pt x="1675004" y="3010322"/>
                  </a:cubicBezTo>
                  <a:cubicBezTo>
                    <a:pt x="1668487" y="3023473"/>
                    <a:pt x="1668487" y="3043202"/>
                    <a:pt x="1655453" y="3049777"/>
                  </a:cubicBezTo>
                  <a:cubicBezTo>
                    <a:pt x="1648936" y="3056353"/>
                    <a:pt x="1629385" y="3056353"/>
                    <a:pt x="1622868" y="3049777"/>
                  </a:cubicBezTo>
                  <a:cubicBezTo>
                    <a:pt x="1609834" y="3043202"/>
                    <a:pt x="1596800" y="3030049"/>
                    <a:pt x="1583766" y="3023473"/>
                  </a:cubicBezTo>
                  <a:cubicBezTo>
                    <a:pt x="1568052" y="3018188"/>
                    <a:pt x="1552337" y="3025647"/>
                    <a:pt x="1536433" y="3027828"/>
                  </a:cubicBezTo>
                  <a:cubicBezTo>
                    <a:pt x="1552912" y="2974808"/>
                    <a:pt x="1571420" y="2924407"/>
                    <a:pt x="1591463" y="2876899"/>
                  </a:cubicBezTo>
                  <a:cubicBezTo>
                    <a:pt x="1598560" y="2878655"/>
                    <a:pt x="1605895" y="2879104"/>
                    <a:pt x="1613334" y="2879104"/>
                  </a:cubicBezTo>
                  <a:close/>
                  <a:moveTo>
                    <a:pt x="4676169" y="2656661"/>
                  </a:moveTo>
                  <a:cubicBezTo>
                    <a:pt x="4735087" y="2656661"/>
                    <a:pt x="4782849" y="2704423"/>
                    <a:pt x="4782849" y="2763341"/>
                  </a:cubicBezTo>
                  <a:cubicBezTo>
                    <a:pt x="4782849" y="2822259"/>
                    <a:pt x="4735087" y="2870021"/>
                    <a:pt x="4676169" y="2870021"/>
                  </a:cubicBezTo>
                  <a:cubicBezTo>
                    <a:pt x="4617251" y="2870021"/>
                    <a:pt x="4569489" y="2822259"/>
                    <a:pt x="4569489" y="2763341"/>
                  </a:cubicBezTo>
                  <a:cubicBezTo>
                    <a:pt x="4569489" y="2704423"/>
                    <a:pt x="4617251" y="2656661"/>
                    <a:pt x="4676169" y="2656661"/>
                  </a:cubicBezTo>
                  <a:close/>
                  <a:moveTo>
                    <a:pt x="1617042" y="2589226"/>
                  </a:moveTo>
                  <a:cubicBezTo>
                    <a:pt x="1675960" y="2589226"/>
                    <a:pt x="1723722" y="2636988"/>
                    <a:pt x="1723722" y="2695906"/>
                  </a:cubicBezTo>
                  <a:cubicBezTo>
                    <a:pt x="1723722" y="2749566"/>
                    <a:pt x="1684105" y="2793972"/>
                    <a:pt x="1632240" y="2799518"/>
                  </a:cubicBezTo>
                  <a:cubicBezTo>
                    <a:pt x="1632429" y="2799976"/>
                    <a:pt x="1632643" y="2800422"/>
                    <a:pt x="1632858" y="2800867"/>
                  </a:cubicBezTo>
                  <a:cubicBezTo>
                    <a:pt x="1626799" y="2804172"/>
                    <a:pt x="1620141" y="2804809"/>
                    <a:pt x="1613334" y="2804809"/>
                  </a:cubicBezTo>
                  <a:cubicBezTo>
                    <a:pt x="1554416" y="2804809"/>
                    <a:pt x="1506654" y="2757047"/>
                    <a:pt x="1506654" y="2698129"/>
                  </a:cubicBezTo>
                  <a:cubicBezTo>
                    <a:pt x="1506654" y="2672937"/>
                    <a:pt x="1515386" y="2649784"/>
                    <a:pt x="1532562" y="2633889"/>
                  </a:cubicBezTo>
                  <a:cubicBezTo>
                    <a:pt x="1535652" y="2626501"/>
                    <a:pt x="1540931" y="2620754"/>
                    <a:pt x="1547520" y="2616486"/>
                  </a:cubicBezTo>
                  <a:cubicBezTo>
                    <a:pt x="1547628" y="2616155"/>
                    <a:pt x="1547856" y="2615990"/>
                    <a:pt x="1548086" y="2615827"/>
                  </a:cubicBezTo>
                  <a:lnTo>
                    <a:pt x="1548183" y="2616039"/>
                  </a:lnTo>
                  <a:cubicBezTo>
                    <a:pt x="1566071" y="2598980"/>
                    <a:pt x="1590417" y="2589226"/>
                    <a:pt x="1617042" y="2589226"/>
                  </a:cubicBezTo>
                  <a:close/>
                  <a:moveTo>
                    <a:pt x="4515253" y="2367675"/>
                  </a:moveTo>
                  <a:lnTo>
                    <a:pt x="4542959" y="2371787"/>
                  </a:lnTo>
                  <a:cubicBezTo>
                    <a:pt x="4555997" y="2384945"/>
                    <a:pt x="4575554" y="2404682"/>
                    <a:pt x="4582073" y="2424420"/>
                  </a:cubicBezTo>
                  <a:cubicBezTo>
                    <a:pt x="4588593" y="2437577"/>
                    <a:pt x="4588593" y="2450735"/>
                    <a:pt x="4601630" y="2470472"/>
                  </a:cubicBezTo>
                  <a:cubicBezTo>
                    <a:pt x="4608149" y="2483630"/>
                    <a:pt x="4614669" y="2490209"/>
                    <a:pt x="4621188" y="2516526"/>
                  </a:cubicBezTo>
                  <a:cubicBezTo>
                    <a:pt x="4627707" y="2536263"/>
                    <a:pt x="4634227" y="2549421"/>
                    <a:pt x="4647264" y="2562579"/>
                  </a:cubicBezTo>
                  <a:lnTo>
                    <a:pt x="4656263" y="2584373"/>
                  </a:lnTo>
                  <a:cubicBezTo>
                    <a:pt x="4634524" y="2585839"/>
                    <a:pt x="4614034" y="2592033"/>
                    <a:pt x="4596205" y="2603007"/>
                  </a:cubicBezTo>
                  <a:cubicBezTo>
                    <a:pt x="4582714" y="2584182"/>
                    <a:pt x="4569671" y="2564502"/>
                    <a:pt x="4562516" y="2542842"/>
                  </a:cubicBezTo>
                  <a:cubicBezTo>
                    <a:pt x="4555997" y="2529684"/>
                    <a:pt x="4562516" y="2503368"/>
                    <a:pt x="4555997" y="2483630"/>
                  </a:cubicBezTo>
                  <a:cubicBezTo>
                    <a:pt x="4549478" y="2470472"/>
                    <a:pt x="4536439" y="2450735"/>
                    <a:pt x="4529921" y="2430998"/>
                  </a:cubicBezTo>
                  <a:cubicBezTo>
                    <a:pt x="4523402" y="2424420"/>
                    <a:pt x="4490806" y="2391524"/>
                    <a:pt x="4497325" y="2378366"/>
                  </a:cubicBezTo>
                  <a:cubicBezTo>
                    <a:pt x="4497325" y="2368498"/>
                    <a:pt x="4505474" y="2366853"/>
                    <a:pt x="4515253" y="2367675"/>
                  </a:cubicBezTo>
                  <a:close/>
                  <a:moveTo>
                    <a:pt x="4920455" y="2321621"/>
                  </a:moveTo>
                  <a:cubicBezTo>
                    <a:pt x="4927178" y="2321210"/>
                    <a:pt x="4934105" y="2322444"/>
                    <a:pt x="4940624" y="2325733"/>
                  </a:cubicBezTo>
                  <a:cubicBezTo>
                    <a:pt x="4953662" y="2345471"/>
                    <a:pt x="4953662" y="2371787"/>
                    <a:pt x="4966700" y="2391524"/>
                  </a:cubicBezTo>
                  <a:cubicBezTo>
                    <a:pt x="4979738" y="2424420"/>
                    <a:pt x="5005814" y="2424420"/>
                    <a:pt x="5038410" y="2424420"/>
                  </a:cubicBezTo>
                  <a:cubicBezTo>
                    <a:pt x="5071005" y="2424420"/>
                    <a:pt x="5090563" y="2424420"/>
                    <a:pt x="5116639" y="2450735"/>
                  </a:cubicBezTo>
                  <a:cubicBezTo>
                    <a:pt x="5129677" y="2463893"/>
                    <a:pt x="5142716" y="2483630"/>
                    <a:pt x="5168792" y="2483630"/>
                  </a:cubicBezTo>
                  <a:cubicBezTo>
                    <a:pt x="5178342" y="2488449"/>
                    <a:pt x="5191389" y="2489738"/>
                    <a:pt x="5205269" y="2493172"/>
                  </a:cubicBezTo>
                  <a:cubicBezTo>
                    <a:pt x="5212550" y="2557094"/>
                    <a:pt x="5214977" y="2621868"/>
                    <a:pt x="5214977" y="2687211"/>
                  </a:cubicBezTo>
                  <a:cubicBezTo>
                    <a:pt x="5214977" y="2843611"/>
                    <a:pt x="5201071" y="2996733"/>
                    <a:pt x="5173973" y="3145285"/>
                  </a:cubicBezTo>
                  <a:lnTo>
                    <a:pt x="4979683" y="2983744"/>
                  </a:lnTo>
                  <a:cubicBezTo>
                    <a:pt x="4979703" y="2983709"/>
                    <a:pt x="4979721" y="2983674"/>
                    <a:pt x="4979738" y="2983638"/>
                  </a:cubicBezTo>
                  <a:cubicBezTo>
                    <a:pt x="4979738" y="2970480"/>
                    <a:pt x="4992777" y="2944164"/>
                    <a:pt x="4986258" y="2931006"/>
                  </a:cubicBezTo>
                  <a:cubicBezTo>
                    <a:pt x="4979738" y="2917847"/>
                    <a:pt x="4966700" y="2924427"/>
                    <a:pt x="4960181" y="2931006"/>
                  </a:cubicBezTo>
                  <a:cubicBezTo>
                    <a:pt x="4950715" y="2940560"/>
                    <a:pt x="4944685" y="2943177"/>
                    <a:pt x="4934541" y="2946211"/>
                  </a:cubicBezTo>
                  <a:lnTo>
                    <a:pt x="4855832" y="2880769"/>
                  </a:lnTo>
                  <a:cubicBezTo>
                    <a:pt x="4860129" y="2879037"/>
                    <a:pt x="4864521" y="2878373"/>
                    <a:pt x="4868913" y="2878373"/>
                  </a:cubicBezTo>
                  <a:cubicBezTo>
                    <a:pt x="4888471" y="2871794"/>
                    <a:pt x="4908028" y="2878373"/>
                    <a:pt x="4927586" y="2871794"/>
                  </a:cubicBezTo>
                  <a:cubicBezTo>
                    <a:pt x="4934104" y="2865216"/>
                    <a:pt x="4934104" y="2845479"/>
                    <a:pt x="4947143" y="2838900"/>
                  </a:cubicBezTo>
                  <a:cubicBezTo>
                    <a:pt x="4960181" y="2832320"/>
                    <a:pt x="4979738" y="2845479"/>
                    <a:pt x="4992777" y="2825741"/>
                  </a:cubicBezTo>
                  <a:cubicBezTo>
                    <a:pt x="4999295" y="2819162"/>
                    <a:pt x="4992777" y="2799425"/>
                    <a:pt x="4999295" y="2792846"/>
                  </a:cubicBezTo>
                  <a:cubicBezTo>
                    <a:pt x="5005814" y="2766530"/>
                    <a:pt x="5044929" y="2759951"/>
                    <a:pt x="5064486" y="2746792"/>
                  </a:cubicBezTo>
                  <a:cubicBezTo>
                    <a:pt x="5077525" y="2746792"/>
                    <a:pt x="5090563" y="2733633"/>
                    <a:pt x="5103601" y="2733633"/>
                  </a:cubicBezTo>
                  <a:cubicBezTo>
                    <a:pt x="5116639" y="2727054"/>
                    <a:pt x="5136196" y="2720475"/>
                    <a:pt x="5149235" y="2713897"/>
                  </a:cubicBezTo>
                  <a:cubicBezTo>
                    <a:pt x="5168792" y="2700739"/>
                    <a:pt x="5175311" y="2667843"/>
                    <a:pt x="5175311" y="2648106"/>
                  </a:cubicBezTo>
                  <a:cubicBezTo>
                    <a:pt x="5181830" y="2621790"/>
                    <a:pt x="5188350" y="2595474"/>
                    <a:pt x="5175311" y="2569157"/>
                  </a:cubicBezTo>
                  <a:cubicBezTo>
                    <a:pt x="5162273" y="2542842"/>
                    <a:pt x="5136196" y="2542842"/>
                    <a:pt x="5123159" y="2523105"/>
                  </a:cubicBezTo>
                  <a:cubicBezTo>
                    <a:pt x="5110120" y="2509947"/>
                    <a:pt x="5110120" y="2496788"/>
                    <a:pt x="5090563" y="2503368"/>
                  </a:cubicBezTo>
                  <a:cubicBezTo>
                    <a:pt x="5071005" y="2503368"/>
                    <a:pt x="5077525" y="2542842"/>
                    <a:pt x="5051449" y="2549421"/>
                  </a:cubicBezTo>
                  <a:cubicBezTo>
                    <a:pt x="5025372" y="2562579"/>
                    <a:pt x="4979738" y="2529684"/>
                    <a:pt x="4960181" y="2516526"/>
                  </a:cubicBezTo>
                  <a:cubicBezTo>
                    <a:pt x="4947143" y="2503368"/>
                    <a:pt x="4940624" y="2490209"/>
                    <a:pt x="4934104" y="2477051"/>
                  </a:cubicBezTo>
                  <a:cubicBezTo>
                    <a:pt x="4934104" y="2463893"/>
                    <a:pt x="4934104" y="2450735"/>
                    <a:pt x="4934104" y="2437577"/>
                  </a:cubicBezTo>
                  <a:cubicBezTo>
                    <a:pt x="4927586" y="2417840"/>
                    <a:pt x="4914547" y="2404682"/>
                    <a:pt x="4901509" y="2391524"/>
                  </a:cubicBezTo>
                  <a:cubicBezTo>
                    <a:pt x="4888471" y="2384945"/>
                    <a:pt x="4888471" y="2371787"/>
                    <a:pt x="4881952" y="2358629"/>
                  </a:cubicBezTo>
                  <a:cubicBezTo>
                    <a:pt x="4881952" y="2338891"/>
                    <a:pt x="4900287" y="2322855"/>
                    <a:pt x="4920455" y="2321621"/>
                  </a:cubicBezTo>
                  <a:close/>
                  <a:moveTo>
                    <a:pt x="1362188" y="2313278"/>
                  </a:moveTo>
                  <a:cubicBezTo>
                    <a:pt x="1387194" y="2313278"/>
                    <a:pt x="1408361" y="2317151"/>
                    <a:pt x="1427105" y="2333107"/>
                  </a:cubicBezTo>
                  <a:cubicBezTo>
                    <a:pt x="1457852" y="2407444"/>
                    <a:pt x="1488228" y="2478997"/>
                    <a:pt x="1518593" y="2548209"/>
                  </a:cubicBezTo>
                  <a:cubicBezTo>
                    <a:pt x="1507316" y="2551717"/>
                    <a:pt x="1498450" y="2558846"/>
                    <a:pt x="1490360" y="2566793"/>
                  </a:cubicBezTo>
                  <a:cubicBezTo>
                    <a:pt x="1485963" y="2565735"/>
                    <a:pt x="1481621" y="2565994"/>
                    <a:pt x="1478640" y="2569036"/>
                  </a:cubicBezTo>
                  <a:cubicBezTo>
                    <a:pt x="1465611" y="2569036"/>
                    <a:pt x="1459098" y="2569036"/>
                    <a:pt x="1459098" y="2575688"/>
                  </a:cubicBezTo>
                  <a:cubicBezTo>
                    <a:pt x="1450534" y="2588806"/>
                    <a:pt x="1461672" y="2590427"/>
                    <a:pt x="1472152" y="2589758"/>
                  </a:cubicBezTo>
                  <a:cubicBezTo>
                    <a:pt x="1446308" y="2618446"/>
                    <a:pt x="1432359" y="2656658"/>
                    <a:pt x="1432359" y="2698129"/>
                  </a:cubicBezTo>
                  <a:cubicBezTo>
                    <a:pt x="1432359" y="2778081"/>
                    <a:pt x="1484204" y="2845923"/>
                    <a:pt x="1556377" y="2869069"/>
                  </a:cubicBezTo>
                  <a:lnTo>
                    <a:pt x="1501687" y="3028094"/>
                  </a:lnTo>
                  <a:cubicBezTo>
                    <a:pt x="1493723" y="3026583"/>
                    <a:pt x="1485837" y="3023298"/>
                    <a:pt x="1479494" y="3016898"/>
                  </a:cubicBezTo>
                  <a:cubicBezTo>
                    <a:pt x="1472978" y="3003746"/>
                    <a:pt x="1472978" y="2984018"/>
                    <a:pt x="1472978" y="2970867"/>
                  </a:cubicBezTo>
                  <a:cubicBezTo>
                    <a:pt x="1466460" y="2957714"/>
                    <a:pt x="1459943" y="2951138"/>
                    <a:pt x="1453427" y="2937987"/>
                  </a:cubicBezTo>
                  <a:cubicBezTo>
                    <a:pt x="1446909" y="2931411"/>
                    <a:pt x="1446909" y="2911683"/>
                    <a:pt x="1446909" y="2898531"/>
                  </a:cubicBezTo>
                  <a:cubicBezTo>
                    <a:pt x="1446909" y="2872228"/>
                    <a:pt x="1453427" y="2852501"/>
                    <a:pt x="1440392" y="2826197"/>
                  </a:cubicBezTo>
                  <a:cubicBezTo>
                    <a:pt x="1433876" y="2819622"/>
                    <a:pt x="1427358" y="2806470"/>
                    <a:pt x="1420841" y="2806470"/>
                  </a:cubicBezTo>
                  <a:cubicBezTo>
                    <a:pt x="1401290" y="2799893"/>
                    <a:pt x="1388256" y="2806470"/>
                    <a:pt x="1375223" y="2806470"/>
                  </a:cubicBezTo>
                  <a:cubicBezTo>
                    <a:pt x="1362188" y="2813046"/>
                    <a:pt x="1349154" y="2813046"/>
                    <a:pt x="1336121" y="2813046"/>
                  </a:cubicBezTo>
                  <a:cubicBezTo>
                    <a:pt x="1323086" y="2813046"/>
                    <a:pt x="1310052" y="2806470"/>
                    <a:pt x="1316569" y="2793318"/>
                  </a:cubicBezTo>
                  <a:cubicBezTo>
                    <a:pt x="1329603" y="2780166"/>
                    <a:pt x="1342637" y="2767015"/>
                    <a:pt x="1342637" y="2753862"/>
                  </a:cubicBezTo>
                  <a:cubicBezTo>
                    <a:pt x="1349154" y="2740711"/>
                    <a:pt x="1342637" y="2740711"/>
                    <a:pt x="1336121" y="2727559"/>
                  </a:cubicBezTo>
                  <a:cubicBezTo>
                    <a:pt x="1336076" y="2727481"/>
                    <a:pt x="1329623" y="2714407"/>
                    <a:pt x="1336121" y="2714407"/>
                  </a:cubicBezTo>
                  <a:cubicBezTo>
                    <a:pt x="1336168" y="2714459"/>
                    <a:pt x="1342559" y="2720904"/>
                    <a:pt x="1342637" y="2720983"/>
                  </a:cubicBezTo>
                  <a:cubicBezTo>
                    <a:pt x="1349154" y="2720983"/>
                    <a:pt x="1355672" y="2720983"/>
                    <a:pt x="1362188" y="2720983"/>
                  </a:cubicBezTo>
                  <a:cubicBezTo>
                    <a:pt x="1362188" y="2714407"/>
                    <a:pt x="1355672" y="2701255"/>
                    <a:pt x="1362188" y="2694680"/>
                  </a:cubicBezTo>
                  <a:cubicBezTo>
                    <a:pt x="1362188" y="2688104"/>
                    <a:pt x="1362188" y="2674951"/>
                    <a:pt x="1368705" y="2668376"/>
                  </a:cubicBezTo>
                  <a:cubicBezTo>
                    <a:pt x="1368705" y="2655224"/>
                    <a:pt x="1375223" y="2642072"/>
                    <a:pt x="1368705" y="2628920"/>
                  </a:cubicBezTo>
                  <a:cubicBezTo>
                    <a:pt x="1362188" y="2622345"/>
                    <a:pt x="1349154" y="2615769"/>
                    <a:pt x="1342637" y="2615769"/>
                  </a:cubicBezTo>
                  <a:cubicBezTo>
                    <a:pt x="1323086" y="2615769"/>
                    <a:pt x="1303536" y="2628920"/>
                    <a:pt x="1290501" y="2642072"/>
                  </a:cubicBezTo>
                  <a:cubicBezTo>
                    <a:pt x="1277467" y="2655224"/>
                    <a:pt x="1270950" y="2674951"/>
                    <a:pt x="1264434" y="2688104"/>
                  </a:cubicBezTo>
                  <a:cubicBezTo>
                    <a:pt x="1251399" y="2707831"/>
                    <a:pt x="1218814" y="2714407"/>
                    <a:pt x="1199263" y="2720983"/>
                  </a:cubicBezTo>
                  <a:cubicBezTo>
                    <a:pt x="1186230" y="2720983"/>
                    <a:pt x="1173195" y="2727559"/>
                    <a:pt x="1160161" y="2727559"/>
                  </a:cubicBezTo>
                  <a:cubicBezTo>
                    <a:pt x="1147128" y="2720983"/>
                    <a:pt x="1147128" y="2701255"/>
                    <a:pt x="1140610" y="2688104"/>
                  </a:cubicBezTo>
                  <a:cubicBezTo>
                    <a:pt x="1134093" y="2681527"/>
                    <a:pt x="1127577" y="2668376"/>
                    <a:pt x="1121059" y="2661800"/>
                  </a:cubicBezTo>
                  <a:cubicBezTo>
                    <a:pt x="1101508" y="2642072"/>
                    <a:pt x="1094992" y="2602616"/>
                    <a:pt x="1094992" y="2576313"/>
                  </a:cubicBezTo>
                  <a:cubicBezTo>
                    <a:pt x="1094992" y="2556585"/>
                    <a:pt x="1094992" y="2536858"/>
                    <a:pt x="1101508" y="2523705"/>
                  </a:cubicBezTo>
                  <a:cubicBezTo>
                    <a:pt x="1101508" y="2510554"/>
                    <a:pt x="1108026" y="2503978"/>
                    <a:pt x="1108026" y="2490827"/>
                  </a:cubicBezTo>
                  <a:cubicBezTo>
                    <a:pt x="1108026" y="2477674"/>
                    <a:pt x="1108026" y="2464523"/>
                    <a:pt x="1108026" y="2444795"/>
                  </a:cubicBezTo>
                  <a:cubicBezTo>
                    <a:pt x="1114543" y="2425067"/>
                    <a:pt x="1121059" y="2411916"/>
                    <a:pt x="1134093" y="2392188"/>
                  </a:cubicBezTo>
                  <a:cubicBezTo>
                    <a:pt x="1134188" y="2392094"/>
                    <a:pt x="1140610" y="2385567"/>
                    <a:pt x="1140610" y="2379037"/>
                  </a:cubicBezTo>
                  <a:cubicBezTo>
                    <a:pt x="1147128" y="2372462"/>
                    <a:pt x="1166679" y="2365885"/>
                    <a:pt x="1173195" y="2359309"/>
                  </a:cubicBezTo>
                  <a:cubicBezTo>
                    <a:pt x="1192746" y="2352733"/>
                    <a:pt x="1218814" y="2333006"/>
                    <a:pt x="1238365" y="2339582"/>
                  </a:cubicBezTo>
                  <a:cubicBezTo>
                    <a:pt x="1264434" y="2339582"/>
                    <a:pt x="1283985" y="2365885"/>
                    <a:pt x="1310052" y="2359309"/>
                  </a:cubicBezTo>
                  <a:cubicBezTo>
                    <a:pt x="1323086" y="2352733"/>
                    <a:pt x="1316569" y="2339582"/>
                    <a:pt x="1316569" y="2333006"/>
                  </a:cubicBezTo>
                  <a:cubicBezTo>
                    <a:pt x="1323086" y="2319854"/>
                    <a:pt x="1349154" y="2319854"/>
                    <a:pt x="1362188" y="2313278"/>
                  </a:cubicBezTo>
                  <a:close/>
                  <a:moveTo>
                    <a:pt x="3205841" y="1867153"/>
                  </a:moveTo>
                  <a:lnTo>
                    <a:pt x="3397286" y="1964191"/>
                  </a:lnTo>
                  <a:cubicBezTo>
                    <a:pt x="3387349" y="1974607"/>
                    <a:pt x="3383586" y="1985694"/>
                    <a:pt x="3389078" y="1996780"/>
                  </a:cubicBezTo>
                  <a:cubicBezTo>
                    <a:pt x="3389078" y="2023097"/>
                    <a:pt x="3402117" y="2055992"/>
                    <a:pt x="3421674" y="2069150"/>
                  </a:cubicBezTo>
                  <a:cubicBezTo>
                    <a:pt x="3434712" y="2069150"/>
                    <a:pt x="3447751" y="2075729"/>
                    <a:pt x="3454269" y="2075729"/>
                  </a:cubicBezTo>
                  <a:cubicBezTo>
                    <a:pt x="3467308" y="2088888"/>
                    <a:pt x="3480346" y="2095467"/>
                    <a:pt x="3499903" y="2095467"/>
                  </a:cubicBezTo>
                  <a:cubicBezTo>
                    <a:pt x="3512942" y="2095467"/>
                    <a:pt x="3519460" y="2088888"/>
                    <a:pt x="3532499" y="2088888"/>
                  </a:cubicBezTo>
                  <a:cubicBezTo>
                    <a:pt x="3545537" y="2088888"/>
                    <a:pt x="3552057" y="2102046"/>
                    <a:pt x="3565094" y="2095467"/>
                  </a:cubicBezTo>
                  <a:cubicBezTo>
                    <a:pt x="3578133" y="2095467"/>
                    <a:pt x="3584651" y="2088888"/>
                    <a:pt x="3591170" y="2075729"/>
                  </a:cubicBezTo>
                  <a:lnTo>
                    <a:pt x="3594690" y="2066849"/>
                  </a:lnTo>
                  <a:lnTo>
                    <a:pt x="3669022" y="2107375"/>
                  </a:lnTo>
                  <a:cubicBezTo>
                    <a:pt x="3660251" y="2109916"/>
                    <a:pt x="3652162" y="2115094"/>
                    <a:pt x="3643324" y="2121783"/>
                  </a:cubicBezTo>
                  <a:cubicBezTo>
                    <a:pt x="3610728" y="2141519"/>
                    <a:pt x="3591170" y="2161256"/>
                    <a:pt x="3558575" y="2148098"/>
                  </a:cubicBezTo>
                  <a:cubicBezTo>
                    <a:pt x="3539018" y="2141519"/>
                    <a:pt x="3539018" y="2148098"/>
                    <a:pt x="3519460" y="2148098"/>
                  </a:cubicBezTo>
                  <a:cubicBezTo>
                    <a:pt x="3506423" y="2148098"/>
                    <a:pt x="3499903" y="2128361"/>
                    <a:pt x="3486865" y="2128361"/>
                  </a:cubicBezTo>
                  <a:cubicBezTo>
                    <a:pt x="3447751" y="2134940"/>
                    <a:pt x="3467308" y="2167835"/>
                    <a:pt x="3460789" y="2187573"/>
                  </a:cubicBezTo>
                  <a:cubicBezTo>
                    <a:pt x="3458220" y="2195351"/>
                    <a:pt x="3451601" y="2200064"/>
                    <a:pt x="3443526" y="2203296"/>
                  </a:cubicBezTo>
                  <a:cubicBezTo>
                    <a:pt x="3365505" y="2086791"/>
                    <a:pt x="3286717" y="1974433"/>
                    <a:pt x="3205841" y="1867153"/>
                  </a:cubicBezTo>
                  <a:close/>
                  <a:moveTo>
                    <a:pt x="3969279" y="1786252"/>
                  </a:moveTo>
                  <a:cubicBezTo>
                    <a:pt x="3982316" y="1792831"/>
                    <a:pt x="3988835" y="1799410"/>
                    <a:pt x="3995355" y="1805989"/>
                  </a:cubicBezTo>
                  <a:cubicBezTo>
                    <a:pt x="4001874" y="1819147"/>
                    <a:pt x="4008392" y="1832305"/>
                    <a:pt x="4021431" y="1838885"/>
                  </a:cubicBezTo>
                  <a:cubicBezTo>
                    <a:pt x="4034470" y="1858621"/>
                    <a:pt x="4054026" y="1871779"/>
                    <a:pt x="4073584" y="1878358"/>
                  </a:cubicBezTo>
                  <a:cubicBezTo>
                    <a:pt x="4086622" y="1884937"/>
                    <a:pt x="4106180" y="1891516"/>
                    <a:pt x="4119217" y="1898095"/>
                  </a:cubicBezTo>
                  <a:cubicBezTo>
                    <a:pt x="4125737" y="1904674"/>
                    <a:pt x="4132256" y="1911253"/>
                    <a:pt x="4138775" y="1924412"/>
                  </a:cubicBezTo>
                  <a:cubicBezTo>
                    <a:pt x="4138775" y="1937570"/>
                    <a:pt x="4138775" y="1950728"/>
                    <a:pt x="4138775" y="1970465"/>
                  </a:cubicBezTo>
                  <a:cubicBezTo>
                    <a:pt x="4145294" y="1983623"/>
                    <a:pt x="4151813" y="1996780"/>
                    <a:pt x="4164851" y="2009939"/>
                  </a:cubicBezTo>
                  <a:cubicBezTo>
                    <a:pt x="4171371" y="2016518"/>
                    <a:pt x="4171371" y="2016518"/>
                    <a:pt x="4177889" y="2023097"/>
                  </a:cubicBezTo>
                  <a:cubicBezTo>
                    <a:pt x="4184408" y="2029676"/>
                    <a:pt x="4184408" y="2029676"/>
                    <a:pt x="4190928" y="2036255"/>
                  </a:cubicBezTo>
                  <a:cubicBezTo>
                    <a:pt x="4197447" y="2042834"/>
                    <a:pt x="4217004" y="2042834"/>
                    <a:pt x="4217004" y="2049413"/>
                  </a:cubicBezTo>
                  <a:cubicBezTo>
                    <a:pt x="4223516" y="2062553"/>
                    <a:pt x="4204024" y="2056011"/>
                    <a:pt x="4203966" y="2055992"/>
                  </a:cubicBezTo>
                  <a:cubicBezTo>
                    <a:pt x="4190928" y="2055992"/>
                    <a:pt x="4190928" y="2069150"/>
                    <a:pt x="4197447" y="2075729"/>
                  </a:cubicBezTo>
                  <a:cubicBezTo>
                    <a:pt x="4197447" y="2088888"/>
                    <a:pt x="4210486" y="2095467"/>
                    <a:pt x="4223523" y="2095467"/>
                  </a:cubicBezTo>
                  <a:cubicBezTo>
                    <a:pt x="4236562" y="2095467"/>
                    <a:pt x="4236562" y="2088888"/>
                    <a:pt x="4236562" y="2082308"/>
                  </a:cubicBezTo>
                  <a:cubicBezTo>
                    <a:pt x="4236562" y="2062571"/>
                    <a:pt x="4243080" y="2062571"/>
                    <a:pt x="4256119" y="2062571"/>
                  </a:cubicBezTo>
                  <a:cubicBezTo>
                    <a:pt x="4262638" y="2062571"/>
                    <a:pt x="4269157" y="2049413"/>
                    <a:pt x="4262638" y="2036255"/>
                  </a:cubicBezTo>
                  <a:cubicBezTo>
                    <a:pt x="4262638" y="2029676"/>
                    <a:pt x="4256119" y="2023097"/>
                    <a:pt x="4249599" y="2016518"/>
                  </a:cubicBezTo>
                  <a:cubicBezTo>
                    <a:pt x="4243080" y="2009939"/>
                    <a:pt x="4236562" y="2003360"/>
                    <a:pt x="4236562" y="1990201"/>
                  </a:cubicBezTo>
                  <a:cubicBezTo>
                    <a:pt x="4243080" y="1983623"/>
                    <a:pt x="4256119" y="1983623"/>
                    <a:pt x="4262638" y="1983623"/>
                  </a:cubicBezTo>
                  <a:cubicBezTo>
                    <a:pt x="4269157" y="1977044"/>
                    <a:pt x="4269157" y="1977044"/>
                    <a:pt x="4275675" y="1977044"/>
                  </a:cubicBezTo>
                  <a:cubicBezTo>
                    <a:pt x="4275675" y="1970465"/>
                    <a:pt x="4275675" y="1963886"/>
                    <a:pt x="4275675" y="1957307"/>
                  </a:cubicBezTo>
                  <a:cubicBezTo>
                    <a:pt x="4282195" y="1950728"/>
                    <a:pt x="4288714" y="1950728"/>
                    <a:pt x="4295233" y="1950728"/>
                  </a:cubicBezTo>
                  <a:cubicBezTo>
                    <a:pt x="4301753" y="1950728"/>
                    <a:pt x="4301753" y="1950728"/>
                    <a:pt x="4308271" y="1950728"/>
                  </a:cubicBezTo>
                  <a:cubicBezTo>
                    <a:pt x="4321310" y="1957307"/>
                    <a:pt x="4321310" y="1957307"/>
                    <a:pt x="4327829" y="1970465"/>
                  </a:cubicBezTo>
                  <a:cubicBezTo>
                    <a:pt x="4334348" y="1983623"/>
                    <a:pt x="4340866" y="1996780"/>
                    <a:pt x="4340866" y="2009939"/>
                  </a:cubicBezTo>
                  <a:cubicBezTo>
                    <a:pt x="4340866" y="2036255"/>
                    <a:pt x="4334348" y="2055992"/>
                    <a:pt x="4353905" y="2082308"/>
                  </a:cubicBezTo>
                  <a:cubicBezTo>
                    <a:pt x="4360424" y="2088888"/>
                    <a:pt x="4373462" y="2088888"/>
                    <a:pt x="4379981" y="2095467"/>
                  </a:cubicBezTo>
                  <a:cubicBezTo>
                    <a:pt x="4386500" y="2102046"/>
                    <a:pt x="4393020" y="2121783"/>
                    <a:pt x="4406057" y="2128361"/>
                  </a:cubicBezTo>
                  <a:cubicBezTo>
                    <a:pt x="4425615" y="2141519"/>
                    <a:pt x="4432135" y="2115204"/>
                    <a:pt x="4451691" y="2115204"/>
                  </a:cubicBezTo>
                  <a:cubicBezTo>
                    <a:pt x="4471248" y="2102046"/>
                    <a:pt x="4477768" y="2121783"/>
                    <a:pt x="4490806" y="2128361"/>
                  </a:cubicBezTo>
                  <a:cubicBezTo>
                    <a:pt x="4510363" y="2134940"/>
                    <a:pt x="4542959" y="2128361"/>
                    <a:pt x="4549478" y="2121783"/>
                  </a:cubicBezTo>
                  <a:cubicBezTo>
                    <a:pt x="4555997" y="2115204"/>
                    <a:pt x="4569036" y="2088888"/>
                    <a:pt x="4582073" y="2108625"/>
                  </a:cubicBezTo>
                  <a:cubicBezTo>
                    <a:pt x="4608149" y="2134940"/>
                    <a:pt x="4549478" y="2187573"/>
                    <a:pt x="4555997" y="2220468"/>
                  </a:cubicBezTo>
                  <a:cubicBezTo>
                    <a:pt x="4555997" y="2233627"/>
                    <a:pt x="4569036" y="2253365"/>
                    <a:pt x="4549478" y="2266523"/>
                  </a:cubicBezTo>
                  <a:cubicBezTo>
                    <a:pt x="4529921" y="2273102"/>
                    <a:pt x="4503845" y="2266523"/>
                    <a:pt x="4484287" y="2273102"/>
                  </a:cubicBezTo>
                  <a:cubicBezTo>
                    <a:pt x="4471248" y="2273102"/>
                    <a:pt x="4458211" y="2279681"/>
                    <a:pt x="4445172" y="2286259"/>
                  </a:cubicBezTo>
                  <a:cubicBezTo>
                    <a:pt x="4425615" y="2299417"/>
                    <a:pt x="4412577" y="2292838"/>
                    <a:pt x="4393020" y="2286259"/>
                  </a:cubicBezTo>
                  <a:cubicBezTo>
                    <a:pt x="4386500" y="2279681"/>
                    <a:pt x="4379981" y="2279681"/>
                    <a:pt x="4373462" y="2279681"/>
                  </a:cubicBezTo>
                  <a:cubicBezTo>
                    <a:pt x="4366944" y="2279681"/>
                    <a:pt x="4366944" y="2286259"/>
                    <a:pt x="4360424" y="2286259"/>
                  </a:cubicBezTo>
                  <a:cubicBezTo>
                    <a:pt x="4353905" y="2292838"/>
                    <a:pt x="4353905" y="2286259"/>
                    <a:pt x="4340866" y="2286259"/>
                  </a:cubicBezTo>
                  <a:cubicBezTo>
                    <a:pt x="4314790" y="2286259"/>
                    <a:pt x="4288714" y="2292838"/>
                    <a:pt x="4262638" y="2273102"/>
                  </a:cubicBezTo>
                  <a:cubicBezTo>
                    <a:pt x="4243080" y="2253365"/>
                    <a:pt x="4223523" y="2233627"/>
                    <a:pt x="4197447" y="2233627"/>
                  </a:cubicBezTo>
                  <a:cubicBezTo>
                    <a:pt x="4177889" y="2240206"/>
                    <a:pt x="4158332" y="2246785"/>
                    <a:pt x="4151813" y="2273102"/>
                  </a:cubicBezTo>
                  <a:cubicBezTo>
                    <a:pt x="4151813" y="2286259"/>
                    <a:pt x="4158332" y="2305996"/>
                    <a:pt x="4138775" y="2312575"/>
                  </a:cubicBezTo>
                  <a:cubicBezTo>
                    <a:pt x="4119217" y="2325733"/>
                    <a:pt x="4060546" y="2305996"/>
                    <a:pt x="4047507" y="2286259"/>
                  </a:cubicBezTo>
                  <a:cubicBezTo>
                    <a:pt x="4027950" y="2266523"/>
                    <a:pt x="4008392" y="2253365"/>
                    <a:pt x="3975798" y="2246785"/>
                  </a:cubicBezTo>
                  <a:cubicBezTo>
                    <a:pt x="3949721" y="2240206"/>
                    <a:pt x="3917125" y="2227047"/>
                    <a:pt x="3904088" y="2200731"/>
                  </a:cubicBezTo>
                  <a:cubicBezTo>
                    <a:pt x="3891049" y="2167835"/>
                    <a:pt x="3936683" y="2108625"/>
                    <a:pt x="3897568" y="2082308"/>
                  </a:cubicBezTo>
                  <a:cubicBezTo>
                    <a:pt x="3871492" y="2075729"/>
                    <a:pt x="3838897" y="2075729"/>
                    <a:pt x="3819339" y="2088888"/>
                  </a:cubicBezTo>
                  <a:cubicBezTo>
                    <a:pt x="3791156" y="2094577"/>
                    <a:pt x="3762972" y="2100265"/>
                    <a:pt x="3734942" y="2095918"/>
                  </a:cubicBezTo>
                  <a:lnTo>
                    <a:pt x="3629942" y="2039026"/>
                  </a:lnTo>
                  <a:cubicBezTo>
                    <a:pt x="3634400" y="2034399"/>
                    <a:pt x="3636805" y="2028748"/>
                    <a:pt x="3636805" y="2023097"/>
                  </a:cubicBezTo>
                  <a:cubicBezTo>
                    <a:pt x="3643324" y="2009939"/>
                    <a:pt x="3636805" y="1996780"/>
                    <a:pt x="3643324" y="1977044"/>
                  </a:cubicBezTo>
                  <a:cubicBezTo>
                    <a:pt x="3656361" y="1963886"/>
                    <a:pt x="3662881" y="1937570"/>
                    <a:pt x="3682439" y="1930991"/>
                  </a:cubicBezTo>
                  <a:cubicBezTo>
                    <a:pt x="3688957" y="1924412"/>
                    <a:pt x="3715033" y="1917832"/>
                    <a:pt x="3721552" y="1911253"/>
                  </a:cubicBezTo>
                  <a:cubicBezTo>
                    <a:pt x="3728072" y="1891516"/>
                    <a:pt x="3715033" y="1871779"/>
                    <a:pt x="3728072" y="1858621"/>
                  </a:cubicBezTo>
                  <a:cubicBezTo>
                    <a:pt x="3734591" y="1852042"/>
                    <a:pt x="3747630" y="1852042"/>
                    <a:pt x="3760667" y="1852042"/>
                  </a:cubicBezTo>
                  <a:cubicBezTo>
                    <a:pt x="3767186" y="1852042"/>
                    <a:pt x="3780225" y="1858621"/>
                    <a:pt x="3793263" y="1858621"/>
                  </a:cubicBezTo>
                  <a:cubicBezTo>
                    <a:pt x="3799782" y="1865200"/>
                    <a:pt x="3806301" y="1858621"/>
                    <a:pt x="3819339" y="1852042"/>
                  </a:cubicBezTo>
                  <a:cubicBezTo>
                    <a:pt x="3825858" y="1845464"/>
                    <a:pt x="3838897" y="1832305"/>
                    <a:pt x="3845416" y="1825726"/>
                  </a:cubicBezTo>
                  <a:cubicBezTo>
                    <a:pt x="3851934" y="1819147"/>
                    <a:pt x="3858454" y="1819147"/>
                    <a:pt x="3871492" y="1819147"/>
                  </a:cubicBezTo>
                  <a:cubicBezTo>
                    <a:pt x="3891049" y="1819147"/>
                    <a:pt x="3904088" y="1838885"/>
                    <a:pt x="3910607" y="1852042"/>
                  </a:cubicBezTo>
                  <a:cubicBezTo>
                    <a:pt x="3910607" y="1865200"/>
                    <a:pt x="3917125" y="1871779"/>
                    <a:pt x="3923645" y="1884937"/>
                  </a:cubicBezTo>
                  <a:cubicBezTo>
                    <a:pt x="3923645" y="1891516"/>
                    <a:pt x="3930164" y="1898095"/>
                    <a:pt x="3936683" y="1904674"/>
                  </a:cubicBezTo>
                  <a:cubicBezTo>
                    <a:pt x="3949721" y="1917832"/>
                    <a:pt x="3969279" y="1930991"/>
                    <a:pt x="3982316" y="1937570"/>
                  </a:cubicBezTo>
                  <a:cubicBezTo>
                    <a:pt x="4008392" y="1944149"/>
                    <a:pt x="4021431" y="1950728"/>
                    <a:pt x="4034470" y="1977044"/>
                  </a:cubicBezTo>
                  <a:cubicBezTo>
                    <a:pt x="4040989" y="1990201"/>
                    <a:pt x="4047507" y="2003360"/>
                    <a:pt x="4047507" y="2023097"/>
                  </a:cubicBezTo>
                  <a:cubicBezTo>
                    <a:pt x="4047481" y="2023126"/>
                    <a:pt x="4040989" y="2029691"/>
                    <a:pt x="4040989" y="2036255"/>
                  </a:cubicBezTo>
                  <a:cubicBezTo>
                    <a:pt x="4040989" y="2042799"/>
                    <a:pt x="4040989" y="2049341"/>
                    <a:pt x="4040989" y="2049413"/>
                  </a:cubicBezTo>
                  <a:cubicBezTo>
                    <a:pt x="4034470" y="2055992"/>
                    <a:pt x="4027950" y="2055992"/>
                    <a:pt x="4021431" y="2055992"/>
                  </a:cubicBezTo>
                  <a:cubicBezTo>
                    <a:pt x="4008392" y="2055992"/>
                    <a:pt x="4001874" y="2049413"/>
                    <a:pt x="3988835" y="2049413"/>
                  </a:cubicBezTo>
                  <a:cubicBezTo>
                    <a:pt x="3969279" y="2055992"/>
                    <a:pt x="3969279" y="2069150"/>
                    <a:pt x="3982316" y="2082308"/>
                  </a:cubicBezTo>
                  <a:cubicBezTo>
                    <a:pt x="3988835" y="2088888"/>
                    <a:pt x="3995355" y="2088888"/>
                    <a:pt x="4001874" y="2088888"/>
                  </a:cubicBezTo>
                  <a:cubicBezTo>
                    <a:pt x="4008392" y="2095467"/>
                    <a:pt x="4014912" y="2095467"/>
                    <a:pt x="4021431" y="2088888"/>
                  </a:cubicBezTo>
                  <a:cubicBezTo>
                    <a:pt x="4027950" y="2082308"/>
                    <a:pt x="4027950" y="2075729"/>
                    <a:pt x="4034470" y="2069150"/>
                  </a:cubicBezTo>
                  <a:cubicBezTo>
                    <a:pt x="4040989" y="2062571"/>
                    <a:pt x="4047507" y="2062571"/>
                    <a:pt x="4054026" y="2055992"/>
                  </a:cubicBezTo>
                  <a:cubicBezTo>
                    <a:pt x="4054026" y="2055966"/>
                    <a:pt x="4054026" y="2049444"/>
                    <a:pt x="4054026" y="2049413"/>
                  </a:cubicBezTo>
                  <a:cubicBezTo>
                    <a:pt x="4060546" y="2042834"/>
                    <a:pt x="4060546" y="2042834"/>
                    <a:pt x="4067065" y="2036255"/>
                  </a:cubicBezTo>
                  <a:cubicBezTo>
                    <a:pt x="4067124" y="2036200"/>
                    <a:pt x="4073584" y="2029656"/>
                    <a:pt x="4073584" y="2023097"/>
                  </a:cubicBezTo>
                  <a:cubicBezTo>
                    <a:pt x="4080103" y="2009939"/>
                    <a:pt x="4080103" y="2009939"/>
                    <a:pt x="4073584" y="1996780"/>
                  </a:cubicBezTo>
                  <a:cubicBezTo>
                    <a:pt x="4067065" y="1990201"/>
                    <a:pt x="4067065" y="1977044"/>
                    <a:pt x="4073584" y="1970465"/>
                  </a:cubicBezTo>
                  <a:cubicBezTo>
                    <a:pt x="4080103" y="1957307"/>
                    <a:pt x="4099661" y="1983623"/>
                    <a:pt x="4106180" y="1977044"/>
                  </a:cubicBezTo>
                  <a:cubicBezTo>
                    <a:pt x="4119217" y="1970465"/>
                    <a:pt x="4093141" y="1950728"/>
                    <a:pt x="4086622" y="1944149"/>
                  </a:cubicBezTo>
                  <a:cubicBezTo>
                    <a:pt x="4080103" y="1944149"/>
                    <a:pt x="4073584" y="1944149"/>
                    <a:pt x="4060546" y="1937570"/>
                  </a:cubicBezTo>
                  <a:cubicBezTo>
                    <a:pt x="4054026" y="1930991"/>
                    <a:pt x="4054026" y="1924412"/>
                    <a:pt x="4047507" y="1917832"/>
                  </a:cubicBezTo>
                  <a:cubicBezTo>
                    <a:pt x="4027950" y="1904674"/>
                    <a:pt x="4008392" y="1898095"/>
                    <a:pt x="3995355" y="1884937"/>
                  </a:cubicBezTo>
                  <a:cubicBezTo>
                    <a:pt x="3988835" y="1871779"/>
                    <a:pt x="3982316" y="1865200"/>
                    <a:pt x="3975798" y="1852042"/>
                  </a:cubicBezTo>
                  <a:cubicBezTo>
                    <a:pt x="3969279" y="1838885"/>
                    <a:pt x="3962759" y="1832305"/>
                    <a:pt x="3956240" y="1825726"/>
                  </a:cubicBezTo>
                  <a:cubicBezTo>
                    <a:pt x="3949721" y="1805989"/>
                    <a:pt x="3949721" y="1786252"/>
                    <a:pt x="3969279" y="1786252"/>
                  </a:cubicBezTo>
                  <a:close/>
                  <a:moveTo>
                    <a:pt x="410146" y="1579357"/>
                  </a:moveTo>
                  <a:cubicBezTo>
                    <a:pt x="424264" y="1582970"/>
                    <a:pt x="437263" y="1590915"/>
                    <a:pt x="443292" y="1603081"/>
                  </a:cubicBezTo>
                  <a:cubicBezTo>
                    <a:pt x="449809" y="1616233"/>
                    <a:pt x="443292" y="1642537"/>
                    <a:pt x="430259" y="1649113"/>
                  </a:cubicBezTo>
                  <a:cubicBezTo>
                    <a:pt x="417224" y="1655688"/>
                    <a:pt x="397673" y="1649113"/>
                    <a:pt x="384639" y="1649113"/>
                  </a:cubicBezTo>
                  <a:cubicBezTo>
                    <a:pt x="365088" y="1655688"/>
                    <a:pt x="365088" y="1681992"/>
                    <a:pt x="365088" y="1695144"/>
                  </a:cubicBezTo>
                  <a:cubicBezTo>
                    <a:pt x="365088" y="1721448"/>
                    <a:pt x="384639" y="1741175"/>
                    <a:pt x="404190" y="1754327"/>
                  </a:cubicBezTo>
                  <a:cubicBezTo>
                    <a:pt x="417224" y="1767479"/>
                    <a:pt x="423741" y="1787207"/>
                    <a:pt x="423741" y="1800359"/>
                  </a:cubicBezTo>
                  <a:cubicBezTo>
                    <a:pt x="430258" y="1839814"/>
                    <a:pt x="423741" y="1879269"/>
                    <a:pt x="417224" y="1918724"/>
                  </a:cubicBezTo>
                  <a:cubicBezTo>
                    <a:pt x="417224" y="1938451"/>
                    <a:pt x="417224" y="1958179"/>
                    <a:pt x="417224" y="1977906"/>
                  </a:cubicBezTo>
                  <a:cubicBezTo>
                    <a:pt x="430258" y="2004210"/>
                    <a:pt x="443292" y="2030514"/>
                    <a:pt x="449810" y="2063394"/>
                  </a:cubicBezTo>
                  <a:cubicBezTo>
                    <a:pt x="456326" y="2076545"/>
                    <a:pt x="462843" y="2089697"/>
                    <a:pt x="469360" y="2109425"/>
                  </a:cubicBezTo>
                  <a:cubicBezTo>
                    <a:pt x="475877" y="2122577"/>
                    <a:pt x="482394" y="2142305"/>
                    <a:pt x="488911" y="2155456"/>
                  </a:cubicBezTo>
                  <a:cubicBezTo>
                    <a:pt x="501945" y="2175183"/>
                    <a:pt x="521496" y="2201487"/>
                    <a:pt x="541047" y="2214639"/>
                  </a:cubicBezTo>
                  <a:cubicBezTo>
                    <a:pt x="560598" y="2234367"/>
                    <a:pt x="586666" y="2240943"/>
                    <a:pt x="606217" y="2267247"/>
                  </a:cubicBezTo>
                  <a:cubicBezTo>
                    <a:pt x="612734" y="2280398"/>
                    <a:pt x="619251" y="2300127"/>
                    <a:pt x="625768" y="2313278"/>
                  </a:cubicBezTo>
                  <a:cubicBezTo>
                    <a:pt x="638802" y="2333006"/>
                    <a:pt x="651836" y="2346158"/>
                    <a:pt x="658353" y="2365885"/>
                  </a:cubicBezTo>
                  <a:cubicBezTo>
                    <a:pt x="671387" y="2379037"/>
                    <a:pt x="658353" y="2392188"/>
                    <a:pt x="658353" y="2405339"/>
                  </a:cubicBezTo>
                  <a:cubicBezTo>
                    <a:pt x="651836" y="2425067"/>
                    <a:pt x="677904" y="2438219"/>
                    <a:pt x="684421" y="2444795"/>
                  </a:cubicBezTo>
                  <a:cubicBezTo>
                    <a:pt x="697455" y="2457947"/>
                    <a:pt x="710489" y="2471099"/>
                    <a:pt x="717006" y="2484250"/>
                  </a:cubicBezTo>
                  <a:cubicBezTo>
                    <a:pt x="730040" y="2497403"/>
                    <a:pt x="736557" y="2517130"/>
                    <a:pt x="743074" y="2536858"/>
                  </a:cubicBezTo>
                  <a:cubicBezTo>
                    <a:pt x="743074" y="2543434"/>
                    <a:pt x="749591" y="2556585"/>
                    <a:pt x="762625" y="2556585"/>
                  </a:cubicBezTo>
                  <a:cubicBezTo>
                    <a:pt x="775658" y="2556585"/>
                    <a:pt x="775658" y="2543434"/>
                    <a:pt x="775658" y="2536858"/>
                  </a:cubicBezTo>
                  <a:cubicBezTo>
                    <a:pt x="775658" y="2530282"/>
                    <a:pt x="769142" y="2517130"/>
                    <a:pt x="762625" y="2510554"/>
                  </a:cubicBezTo>
                  <a:cubicBezTo>
                    <a:pt x="756108" y="2503978"/>
                    <a:pt x="749591" y="2490827"/>
                    <a:pt x="743074" y="2477674"/>
                  </a:cubicBezTo>
                  <a:cubicBezTo>
                    <a:pt x="736557" y="2471099"/>
                    <a:pt x="730040" y="2464523"/>
                    <a:pt x="723523" y="2451371"/>
                  </a:cubicBezTo>
                  <a:cubicBezTo>
                    <a:pt x="710489" y="2438219"/>
                    <a:pt x="703972" y="2425067"/>
                    <a:pt x="697455" y="2405339"/>
                  </a:cubicBezTo>
                  <a:cubicBezTo>
                    <a:pt x="690938" y="2385613"/>
                    <a:pt x="677904" y="2372462"/>
                    <a:pt x="677904" y="2352733"/>
                  </a:cubicBezTo>
                  <a:cubicBezTo>
                    <a:pt x="671387" y="2339582"/>
                    <a:pt x="671387" y="2326429"/>
                    <a:pt x="671387" y="2306702"/>
                  </a:cubicBezTo>
                  <a:cubicBezTo>
                    <a:pt x="671387" y="2286974"/>
                    <a:pt x="690938" y="2280398"/>
                    <a:pt x="710489" y="2293551"/>
                  </a:cubicBezTo>
                  <a:cubicBezTo>
                    <a:pt x="723523" y="2306702"/>
                    <a:pt x="730040" y="2326429"/>
                    <a:pt x="736557" y="2339582"/>
                  </a:cubicBezTo>
                  <a:cubicBezTo>
                    <a:pt x="749591" y="2352733"/>
                    <a:pt x="762625" y="2372462"/>
                    <a:pt x="775658" y="2392188"/>
                  </a:cubicBezTo>
                  <a:cubicBezTo>
                    <a:pt x="801727" y="2438219"/>
                    <a:pt x="821278" y="2484250"/>
                    <a:pt x="847346" y="2530282"/>
                  </a:cubicBezTo>
                  <a:cubicBezTo>
                    <a:pt x="853862" y="2536858"/>
                    <a:pt x="866897" y="2550009"/>
                    <a:pt x="873414" y="2556585"/>
                  </a:cubicBezTo>
                  <a:cubicBezTo>
                    <a:pt x="879931" y="2569738"/>
                    <a:pt x="879931" y="2569738"/>
                    <a:pt x="886448" y="2582889"/>
                  </a:cubicBezTo>
                  <a:cubicBezTo>
                    <a:pt x="892964" y="2596041"/>
                    <a:pt x="899482" y="2602616"/>
                    <a:pt x="899482" y="2615769"/>
                  </a:cubicBezTo>
                  <a:cubicBezTo>
                    <a:pt x="905999" y="2635496"/>
                    <a:pt x="899482" y="2655224"/>
                    <a:pt x="899482" y="2674951"/>
                  </a:cubicBezTo>
                  <a:cubicBezTo>
                    <a:pt x="905999" y="2688104"/>
                    <a:pt x="912515" y="2714407"/>
                    <a:pt x="925550" y="2727559"/>
                  </a:cubicBezTo>
                  <a:cubicBezTo>
                    <a:pt x="938584" y="2740711"/>
                    <a:pt x="951617" y="2740711"/>
                    <a:pt x="971168" y="2747287"/>
                  </a:cubicBezTo>
                  <a:cubicBezTo>
                    <a:pt x="977686" y="2753862"/>
                    <a:pt x="984202" y="2767015"/>
                    <a:pt x="997237" y="2767015"/>
                  </a:cubicBezTo>
                  <a:cubicBezTo>
                    <a:pt x="1003753" y="2773591"/>
                    <a:pt x="1016788" y="2767015"/>
                    <a:pt x="1023304" y="2773591"/>
                  </a:cubicBezTo>
                  <a:cubicBezTo>
                    <a:pt x="1029822" y="2780166"/>
                    <a:pt x="1029822" y="2786742"/>
                    <a:pt x="1036339" y="2786742"/>
                  </a:cubicBezTo>
                  <a:cubicBezTo>
                    <a:pt x="1049373" y="2799893"/>
                    <a:pt x="1055890" y="2813046"/>
                    <a:pt x="1075441" y="2819622"/>
                  </a:cubicBezTo>
                  <a:cubicBezTo>
                    <a:pt x="1094992" y="2826197"/>
                    <a:pt x="1127577" y="2826197"/>
                    <a:pt x="1147128" y="2819622"/>
                  </a:cubicBezTo>
                  <a:cubicBezTo>
                    <a:pt x="1166679" y="2813046"/>
                    <a:pt x="1186230" y="2806470"/>
                    <a:pt x="1205781" y="2813046"/>
                  </a:cubicBezTo>
                  <a:cubicBezTo>
                    <a:pt x="1218814" y="2819622"/>
                    <a:pt x="1225332" y="2832773"/>
                    <a:pt x="1238365" y="2839349"/>
                  </a:cubicBezTo>
                  <a:cubicBezTo>
                    <a:pt x="1257916" y="2852501"/>
                    <a:pt x="1264434" y="2878803"/>
                    <a:pt x="1283985" y="2885380"/>
                  </a:cubicBezTo>
                  <a:cubicBezTo>
                    <a:pt x="1290501" y="2891956"/>
                    <a:pt x="1297018" y="2891956"/>
                    <a:pt x="1303536" y="2891956"/>
                  </a:cubicBezTo>
                  <a:cubicBezTo>
                    <a:pt x="1329603" y="2898531"/>
                    <a:pt x="1342637" y="2905107"/>
                    <a:pt x="1355672" y="2918259"/>
                  </a:cubicBezTo>
                  <a:cubicBezTo>
                    <a:pt x="1381739" y="2937987"/>
                    <a:pt x="1375223" y="2977442"/>
                    <a:pt x="1388256" y="2997170"/>
                  </a:cubicBezTo>
                  <a:cubicBezTo>
                    <a:pt x="1401290" y="3010322"/>
                    <a:pt x="1414325" y="3010322"/>
                    <a:pt x="1427358" y="3016898"/>
                  </a:cubicBezTo>
                  <a:cubicBezTo>
                    <a:pt x="1440392" y="3023473"/>
                    <a:pt x="1440392" y="3043202"/>
                    <a:pt x="1459943" y="3049777"/>
                  </a:cubicBezTo>
                  <a:cubicBezTo>
                    <a:pt x="1466770" y="3056665"/>
                    <a:pt x="1478960" y="3058142"/>
                    <a:pt x="1491811" y="3056810"/>
                  </a:cubicBezTo>
                  <a:cubicBezTo>
                    <a:pt x="1426327" y="3270386"/>
                    <a:pt x="1381963" y="3510108"/>
                    <a:pt x="1357836" y="3753401"/>
                  </a:cubicBezTo>
                  <a:cubicBezTo>
                    <a:pt x="1117675" y="3775787"/>
                    <a:pt x="878695" y="3783528"/>
                    <a:pt x="637311" y="3793448"/>
                  </a:cubicBezTo>
                  <a:cubicBezTo>
                    <a:pt x="618234" y="3714625"/>
                    <a:pt x="547078" y="3656345"/>
                    <a:pt x="462310" y="3656345"/>
                  </a:cubicBezTo>
                  <a:cubicBezTo>
                    <a:pt x="419997" y="3656345"/>
                    <a:pt x="381076" y="3670866"/>
                    <a:pt x="351902" y="3696785"/>
                  </a:cubicBezTo>
                  <a:cubicBezTo>
                    <a:pt x="218267" y="3387537"/>
                    <a:pt x="145086" y="3045999"/>
                    <a:pt x="145086" y="2687211"/>
                  </a:cubicBezTo>
                  <a:cubicBezTo>
                    <a:pt x="145086" y="2290103"/>
                    <a:pt x="234735" y="1914126"/>
                    <a:pt x="397422" y="1580084"/>
                  </a:cubicBezTo>
                  <a:cubicBezTo>
                    <a:pt x="401797" y="1577616"/>
                    <a:pt x="406020" y="1578301"/>
                    <a:pt x="410146" y="1579357"/>
                  </a:cubicBezTo>
                  <a:close/>
                  <a:moveTo>
                    <a:pt x="2361829" y="1500921"/>
                  </a:moveTo>
                  <a:cubicBezTo>
                    <a:pt x="2617943" y="1597474"/>
                    <a:pt x="2874306" y="1707071"/>
                    <a:pt x="3120312" y="1825613"/>
                  </a:cubicBezTo>
                  <a:cubicBezTo>
                    <a:pt x="3225381" y="1963374"/>
                    <a:pt x="3319732" y="2097659"/>
                    <a:pt x="3407681" y="2222306"/>
                  </a:cubicBezTo>
                  <a:cubicBezTo>
                    <a:pt x="3382328" y="2248433"/>
                    <a:pt x="3376041" y="2293428"/>
                    <a:pt x="3376041" y="2325733"/>
                  </a:cubicBezTo>
                  <a:cubicBezTo>
                    <a:pt x="3376041" y="2358629"/>
                    <a:pt x="3363002" y="2384945"/>
                    <a:pt x="3343445" y="2404682"/>
                  </a:cubicBezTo>
                  <a:cubicBezTo>
                    <a:pt x="3310850" y="2430998"/>
                    <a:pt x="3284774" y="2437577"/>
                    <a:pt x="3271735" y="2470472"/>
                  </a:cubicBezTo>
                  <a:cubicBezTo>
                    <a:pt x="3258696" y="2496788"/>
                    <a:pt x="3258696" y="2516526"/>
                    <a:pt x="3232620" y="2536263"/>
                  </a:cubicBezTo>
                  <a:cubicBezTo>
                    <a:pt x="3219583" y="2549421"/>
                    <a:pt x="3213063" y="2556000"/>
                    <a:pt x="3206544" y="2569157"/>
                  </a:cubicBezTo>
                  <a:cubicBezTo>
                    <a:pt x="3206544" y="2602053"/>
                    <a:pt x="3186987" y="2621790"/>
                    <a:pt x="3200025" y="2648106"/>
                  </a:cubicBezTo>
                  <a:cubicBezTo>
                    <a:pt x="3213063" y="2661264"/>
                    <a:pt x="3206544" y="2681002"/>
                    <a:pt x="3213063" y="2694160"/>
                  </a:cubicBezTo>
                  <a:cubicBezTo>
                    <a:pt x="3213063" y="2707318"/>
                    <a:pt x="3219583" y="2720475"/>
                    <a:pt x="3219583" y="2740212"/>
                  </a:cubicBezTo>
                  <a:cubicBezTo>
                    <a:pt x="3219583" y="2759951"/>
                    <a:pt x="3206544" y="2773109"/>
                    <a:pt x="3200025" y="2792846"/>
                  </a:cubicBezTo>
                  <a:cubicBezTo>
                    <a:pt x="3193505" y="2812583"/>
                    <a:pt x="3186987" y="2852058"/>
                    <a:pt x="3193505" y="2871794"/>
                  </a:cubicBezTo>
                  <a:cubicBezTo>
                    <a:pt x="3193505" y="2911268"/>
                    <a:pt x="3232620" y="2931006"/>
                    <a:pt x="3245659" y="2957322"/>
                  </a:cubicBezTo>
                  <a:cubicBezTo>
                    <a:pt x="3278254" y="3003375"/>
                    <a:pt x="3291292" y="3095482"/>
                    <a:pt x="3343445" y="3128377"/>
                  </a:cubicBezTo>
                  <a:cubicBezTo>
                    <a:pt x="3382560" y="3148114"/>
                    <a:pt x="3434712" y="3181009"/>
                    <a:pt x="3480346" y="3161271"/>
                  </a:cubicBezTo>
                  <a:cubicBezTo>
                    <a:pt x="3506423" y="3154693"/>
                    <a:pt x="3525979" y="3148114"/>
                    <a:pt x="3558575" y="3148114"/>
                  </a:cubicBezTo>
                  <a:cubicBezTo>
                    <a:pt x="3565094" y="3141535"/>
                    <a:pt x="3578133" y="3141535"/>
                    <a:pt x="3584651" y="3141535"/>
                  </a:cubicBezTo>
                  <a:cubicBezTo>
                    <a:pt x="3591170" y="3141535"/>
                    <a:pt x="3604209" y="3148114"/>
                    <a:pt x="3610728" y="3154693"/>
                  </a:cubicBezTo>
                  <a:cubicBezTo>
                    <a:pt x="3643324" y="3161271"/>
                    <a:pt x="3669400" y="3141535"/>
                    <a:pt x="3695476" y="3134956"/>
                  </a:cubicBezTo>
                  <a:cubicBezTo>
                    <a:pt x="3708515" y="3128377"/>
                    <a:pt x="3728072" y="3128377"/>
                    <a:pt x="3734591" y="3128377"/>
                  </a:cubicBezTo>
                  <a:cubicBezTo>
                    <a:pt x="3754148" y="3128377"/>
                    <a:pt x="3754148" y="3134956"/>
                    <a:pt x="3767186" y="3141535"/>
                  </a:cubicBezTo>
                  <a:cubicBezTo>
                    <a:pt x="3786743" y="3154693"/>
                    <a:pt x="3799782" y="3167850"/>
                    <a:pt x="3819339" y="3174430"/>
                  </a:cubicBezTo>
                  <a:cubicBezTo>
                    <a:pt x="3855486" y="3186590"/>
                    <a:pt x="3870755" y="3211392"/>
                    <a:pt x="3873949" y="3241281"/>
                  </a:cubicBezTo>
                  <a:cubicBezTo>
                    <a:pt x="3461883" y="3377852"/>
                    <a:pt x="3090069" y="3470887"/>
                    <a:pt x="2724694" y="3553798"/>
                  </a:cubicBezTo>
                  <a:lnTo>
                    <a:pt x="2717723" y="3536393"/>
                  </a:lnTo>
                  <a:cubicBezTo>
                    <a:pt x="2711206" y="3523242"/>
                    <a:pt x="2698172" y="3516666"/>
                    <a:pt x="2691655" y="3510090"/>
                  </a:cubicBezTo>
                  <a:cubicBezTo>
                    <a:pt x="2672104" y="3496938"/>
                    <a:pt x="2652553" y="3477210"/>
                    <a:pt x="2633002" y="3464058"/>
                  </a:cubicBezTo>
                  <a:cubicBezTo>
                    <a:pt x="2613451" y="3450906"/>
                    <a:pt x="2593900" y="3444331"/>
                    <a:pt x="2574349" y="3437755"/>
                  </a:cubicBezTo>
                  <a:cubicBezTo>
                    <a:pt x="2561315" y="3437755"/>
                    <a:pt x="2541764" y="3437755"/>
                    <a:pt x="2528730" y="3437755"/>
                  </a:cubicBezTo>
                  <a:cubicBezTo>
                    <a:pt x="2509179" y="3431179"/>
                    <a:pt x="2489628" y="3424602"/>
                    <a:pt x="2476594" y="3404875"/>
                  </a:cubicBezTo>
                  <a:cubicBezTo>
                    <a:pt x="2470077" y="3391724"/>
                    <a:pt x="2463560" y="3391724"/>
                    <a:pt x="2450526" y="3385147"/>
                  </a:cubicBezTo>
                  <a:cubicBezTo>
                    <a:pt x="2437493" y="3378571"/>
                    <a:pt x="2430975" y="3365420"/>
                    <a:pt x="2417942" y="3365420"/>
                  </a:cubicBezTo>
                  <a:cubicBezTo>
                    <a:pt x="2404907" y="3365420"/>
                    <a:pt x="2398391" y="3365420"/>
                    <a:pt x="2385356" y="3365420"/>
                  </a:cubicBezTo>
                  <a:cubicBezTo>
                    <a:pt x="2372322" y="3358844"/>
                    <a:pt x="2365805" y="3345693"/>
                    <a:pt x="2352771" y="3339117"/>
                  </a:cubicBezTo>
                  <a:cubicBezTo>
                    <a:pt x="2333220" y="3325965"/>
                    <a:pt x="2320187" y="3306237"/>
                    <a:pt x="2313669" y="3286510"/>
                  </a:cubicBezTo>
                  <a:cubicBezTo>
                    <a:pt x="2307152" y="3273359"/>
                    <a:pt x="2300636" y="3253630"/>
                    <a:pt x="2294118" y="3240479"/>
                  </a:cubicBezTo>
                  <a:cubicBezTo>
                    <a:pt x="2287601" y="3214175"/>
                    <a:pt x="2274567" y="3168144"/>
                    <a:pt x="2241983" y="3161568"/>
                  </a:cubicBezTo>
                  <a:cubicBezTo>
                    <a:pt x="2228949" y="3154992"/>
                    <a:pt x="2215914" y="3141840"/>
                    <a:pt x="2202881" y="3135264"/>
                  </a:cubicBezTo>
                  <a:cubicBezTo>
                    <a:pt x="2183330" y="3128688"/>
                    <a:pt x="2163778" y="3122113"/>
                    <a:pt x="2144227" y="3115537"/>
                  </a:cubicBezTo>
                  <a:cubicBezTo>
                    <a:pt x="2105125" y="3102384"/>
                    <a:pt x="2066023" y="3069505"/>
                    <a:pt x="2039956" y="3036625"/>
                  </a:cubicBezTo>
                  <a:cubicBezTo>
                    <a:pt x="2033439" y="3023473"/>
                    <a:pt x="2020405" y="3003746"/>
                    <a:pt x="2007370" y="2997170"/>
                  </a:cubicBezTo>
                  <a:cubicBezTo>
                    <a:pt x="1994337" y="2990594"/>
                    <a:pt x="1974786" y="2990594"/>
                    <a:pt x="1955235" y="2984018"/>
                  </a:cubicBezTo>
                  <a:cubicBezTo>
                    <a:pt x="1935684" y="2977442"/>
                    <a:pt x="1909616" y="2977442"/>
                    <a:pt x="1890065" y="2977442"/>
                  </a:cubicBezTo>
                  <a:cubicBezTo>
                    <a:pt x="1870514" y="2977442"/>
                    <a:pt x="1844446" y="2984018"/>
                    <a:pt x="1824895" y="2977442"/>
                  </a:cubicBezTo>
                  <a:cubicBezTo>
                    <a:pt x="1811861" y="2977442"/>
                    <a:pt x="1798827" y="2977442"/>
                    <a:pt x="1785793" y="2977442"/>
                  </a:cubicBezTo>
                  <a:cubicBezTo>
                    <a:pt x="1779307" y="2977442"/>
                    <a:pt x="1772819" y="2983959"/>
                    <a:pt x="1772759" y="2984018"/>
                  </a:cubicBezTo>
                  <a:cubicBezTo>
                    <a:pt x="1772759" y="2990565"/>
                    <a:pt x="1772759" y="2997110"/>
                    <a:pt x="1772759" y="2997170"/>
                  </a:cubicBezTo>
                  <a:lnTo>
                    <a:pt x="1772759" y="2999378"/>
                  </a:lnTo>
                  <a:cubicBezTo>
                    <a:pt x="1748087" y="2950273"/>
                    <a:pt x="1724475" y="2901467"/>
                    <a:pt x="1702560" y="2852555"/>
                  </a:cubicBezTo>
                  <a:cubicBezTo>
                    <a:pt x="1748596" y="2828936"/>
                    <a:pt x="1781151" y="2784418"/>
                    <a:pt x="1790909" y="2731861"/>
                  </a:cubicBezTo>
                  <a:cubicBezTo>
                    <a:pt x="1800866" y="2734739"/>
                    <a:pt x="1811233" y="2737995"/>
                    <a:pt x="1819190" y="2734009"/>
                  </a:cubicBezTo>
                  <a:cubicBezTo>
                    <a:pt x="1832327" y="2727427"/>
                    <a:pt x="1832327" y="2714265"/>
                    <a:pt x="1825758" y="2707683"/>
                  </a:cubicBezTo>
                  <a:cubicBezTo>
                    <a:pt x="1819190" y="2694520"/>
                    <a:pt x="1806051" y="2684647"/>
                    <a:pt x="1792914" y="2681356"/>
                  </a:cubicBezTo>
                  <a:lnTo>
                    <a:pt x="1792619" y="2681363"/>
                  </a:lnTo>
                  <a:cubicBezTo>
                    <a:pt x="1788577" y="2632255"/>
                    <a:pt x="1764691" y="2588846"/>
                    <a:pt x="1728105" y="2560069"/>
                  </a:cubicBezTo>
                  <a:cubicBezTo>
                    <a:pt x="1835327" y="2282920"/>
                    <a:pt x="2009805" y="1984326"/>
                    <a:pt x="2218953" y="1692434"/>
                  </a:cubicBezTo>
                  <a:cubicBezTo>
                    <a:pt x="2222347" y="1692216"/>
                    <a:pt x="2225642" y="1693181"/>
                    <a:pt x="2229144" y="1694355"/>
                  </a:cubicBezTo>
                  <a:cubicBezTo>
                    <a:pt x="2242273" y="1694355"/>
                    <a:pt x="2248838" y="1707556"/>
                    <a:pt x="2261967" y="1707556"/>
                  </a:cubicBezTo>
                  <a:cubicBezTo>
                    <a:pt x="2275096" y="1707556"/>
                    <a:pt x="2288225" y="1707556"/>
                    <a:pt x="2294790" y="1694355"/>
                  </a:cubicBezTo>
                  <a:cubicBezTo>
                    <a:pt x="2301354" y="1674555"/>
                    <a:pt x="2288225" y="1667954"/>
                    <a:pt x="2275096" y="1654754"/>
                  </a:cubicBezTo>
                  <a:lnTo>
                    <a:pt x="2258691" y="1638260"/>
                  </a:lnTo>
                  <a:close/>
                  <a:moveTo>
                    <a:pt x="2113689" y="1410315"/>
                  </a:moveTo>
                  <a:cubicBezTo>
                    <a:pt x="2182975" y="1433311"/>
                    <a:pt x="2252144" y="1458468"/>
                    <a:pt x="2321184" y="1485101"/>
                  </a:cubicBezTo>
                  <a:cubicBezTo>
                    <a:pt x="2289129" y="1525509"/>
                    <a:pt x="2258980" y="1566814"/>
                    <a:pt x="2229636" y="1608083"/>
                  </a:cubicBezTo>
                  <a:cubicBezTo>
                    <a:pt x="2225516" y="1606903"/>
                    <a:pt x="2220973" y="1606891"/>
                    <a:pt x="2216015" y="1608553"/>
                  </a:cubicBezTo>
                  <a:cubicBezTo>
                    <a:pt x="2209450" y="1608553"/>
                    <a:pt x="2209450" y="1615153"/>
                    <a:pt x="2202886" y="1615153"/>
                  </a:cubicBezTo>
                  <a:cubicBezTo>
                    <a:pt x="2196321" y="1615153"/>
                    <a:pt x="2183192" y="1615153"/>
                    <a:pt x="2183192" y="1608553"/>
                  </a:cubicBezTo>
                  <a:cubicBezTo>
                    <a:pt x="2176629" y="1601952"/>
                    <a:pt x="2183192" y="1595352"/>
                    <a:pt x="2183192" y="1582152"/>
                  </a:cubicBezTo>
                  <a:cubicBezTo>
                    <a:pt x="2189757" y="1575551"/>
                    <a:pt x="2189757" y="1562351"/>
                    <a:pt x="2196321" y="1549151"/>
                  </a:cubicBezTo>
                  <a:cubicBezTo>
                    <a:pt x="2196321" y="1542550"/>
                    <a:pt x="2196321" y="1529349"/>
                    <a:pt x="2189757" y="1529349"/>
                  </a:cubicBezTo>
                  <a:cubicBezTo>
                    <a:pt x="2183192" y="1529349"/>
                    <a:pt x="2183192" y="1529349"/>
                    <a:pt x="2176629" y="1529349"/>
                  </a:cubicBezTo>
                  <a:cubicBezTo>
                    <a:pt x="2163500" y="1529349"/>
                    <a:pt x="2163500" y="1555750"/>
                    <a:pt x="2163500" y="1568951"/>
                  </a:cubicBezTo>
                  <a:cubicBezTo>
                    <a:pt x="2156935" y="1601952"/>
                    <a:pt x="2110983" y="1621752"/>
                    <a:pt x="2110983" y="1648154"/>
                  </a:cubicBezTo>
                  <a:cubicBezTo>
                    <a:pt x="2116956" y="1684186"/>
                    <a:pt x="2144667" y="1692897"/>
                    <a:pt x="2169460" y="1692884"/>
                  </a:cubicBezTo>
                  <a:cubicBezTo>
                    <a:pt x="1961170" y="1988840"/>
                    <a:pt x="1796647" y="2279991"/>
                    <a:pt x="1692801" y="2537872"/>
                  </a:cubicBezTo>
                  <a:cubicBezTo>
                    <a:pt x="1669542" y="2523926"/>
                    <a:pt x="1642229" y="2517154"/>
                    <a:pt x="1613334" y="2517154"/>
                  </a:cubicBezTo>
                  <a:lnTo>
                    <a:pt x="1554453" y="2528627"/>
                  </a:lnTo>
                  <a:lnTo>
                    <a:pt x="1534460" y="2483231"/>
                  </a:lnTo>
                  <a:cubicBezTo>
                    <a:pt x="1551181" y="2481709"/>
                    <a:pt x="1551181" y="2455131"/>
                    <a:pt x="1551181" y="2438219"/>
                  </a:cubicBezTo>
                  <a:cubicBezTo>
                    <a:pt x="1544664" y="2411916"/>
                    <a:pt x="1531630" y="2392188"/>
                    <a:pt x="1525113" y="2365885"/>
                  </a:cubicBezTo>
                  <a:cubicBezTo>
                    <a:pt x="1512079" y="2339582"/>
                    <a:pt x="1512079" y="2313278"/>
                    <a:pt x="1525113" y="2286974"/>
                  </a:cubicBezTo>
                  <a:cubicBezTo>
                    <a:pt x="1538147" y="2260671"/>
                    <a:pt x="1564215" y="2240943"/>
                    <a:pt x="1583766" y="2221216"/>
                  </a:cubicBezTo>
                  <a:cubicBezTo>
                    <a:pt x="1596800" y="2201487"/>
                    <a:pt x="1616351" y="2194912"/>
                    <a:pt x="1629385" y="2175183"/>
                  </a:cubicBezTo>
                  <a:cubicBezTo>
                    <a:pt x="1635902" y="2162032"/>
                    <a:pt x="1642419" y="2148881"/>
                    <a:pt x="1642419" y="2135728"/>
                  </a:cubicBezTo>
                  <a:cubicBezTo>
                    <a:pt x="1642419" y="2129152"/>
                    <a:pt x="1635902" y="2122577"/>
                    <a:pt x="1635902" y="2116001"/>
                  </a:cubicBezTo>
                  <a:cubicBezTo>
                    <a:pt x="1635902" y="2102849"/>
                    <a:pt x="1635902" y="2096273"/>
                    <a:pt x="1635902" y="2089697"/>
                  </a:cubicBezTo>
                  <a:cubicBezTo>
                    <a:pt x="1635902" y="2069970"/>
                    <a:pt x="1629385" y="2050241"/>
                    <a:pt x="1635902" y="2030514"/>
                  </a:cubicBezTo>
                  <a:cubicBezTo>
                    <a:pt x="1635902" y="2023939"/>
                    <a:pt x="1648936" y="1997635"/>
                    <a:pt x="1655453" y="2010786"/>
                  </a:cubicBezTo>
                  <a:cubicBezTo>
                    <a:pt x="1661970" y="2017362"/>
                    <a:pt x="1661970" y="2023939"/>
                    <a:pt x="1655453" y="2030514"/>
                  </a:cubicBezTo>
                  <a:cubicBezTo>
                    <a:pt x="1655453" y="2037090"/>
                    <a:pt x="1655453" y="2043666"/>
                    <a:pt x="1661970" y="2050241"/>
                  </a:cubicBezTo>
                  <a:cubicBezTo>
                    <a:pt x="1668487" y="2056817"/>
                    <a:pt x="1681521" y="2063394"/>
                    <a:pt x="1688038" y="2050241"/>
                  </a:cubicBezTo>
                  <a:cubicBezTo>
                    <a:pt x="1688038" y="2043666"/>
                    <a:pt x="1688038" y="2030514"/>
                    <a:pt x="1688038" y="2017362"/>
                  </a:cubicBezTo>
                  <a:cubicBezTo>
                    <a:pt x="1688038" y="2010786"/>
                    <a:pt x="1688038" y="2010786"/>
                    <a:pt x="1688038" y="2004210"/>
                  </a:cubicBezTo>
                  <a:cubicBezTo>
                    <a:pt x="1694555" y="1991059"/>
                    <a:pt x="1707589" y="1984483"/>
                    <a:pt x="1714106" y="1977906"/>
                  </a:cubicBezTo>
                  <a:cubicBezTo>
                    <a:pt x="1714106" y="1971331"/>
                    <a:pt x="1714106" y="1964755"/>
                    <a:pt x="1720624" y="1958179"/>
                  </a:cubicBezTo>
                  <a:cubicBezTo>
                    <a:pt x="1720624" y="1951603"/>
                    <a:pt x="1727140" y="1945028"/>
                    <a:pt x="1733657" y="1938451"/>
                  </a:cubicBezTo>
                  <a:cubicBezTo>
                    <a:pt x="1753208" y="1912148"/>
                    <a:pt x="1772759" y="1885845"/>
                    <a:pt x="1792310" y="1859541"/>
                  </a:cubicBezTo>
                  <a:cubicBezTo>
                    <a:pt x="1805344" y="1846390"/>
                    <a:pt x="1837929" y="1820086"/>
                    <a:pt x="1857480" y="1820086"/>
                  </a:cubicBezTo>
                  <a:cubicBezTo>
                    <a:pt x="1870514" y="1813510"/>
                    <a:pt x="1883548" y="1820086"/>
                    <a:pt x="1890065" y="1806934"/>
                  </a:cubicBezTo>
                  <a:cubicBezTo>
                    <a:pt x="1896582" y="1793783"/>
                    <a:pt x="1890065" y="1793783"/>
                    <a:pt x="1903099" y="1787207"/>
                  </a:cubicBezTo>
                  <a:cubicBezTo>
                    <a:pt x="1909616" y="1780630"/>
                    <a:pt x="1948717" y="1767479"/>
                    <a:pt x="1948717" y="1787207"/>
                  </a:cubicBezTo>
                  <a:cubicBezTo>
                    <a:pt x="1942201" y="1793783"/>
                    <a:pt x="1935684" y="1800359"/>
                    <a:pt x="1929166" y="1806934"/>
                  </a:cubicBezTo>
                  <a:cubicBezTo>
                    <a:pt x="1922650" y="1813510"/>
                    <a:pt x="1916133" y="1820086"/>
                    <a:pt x="1922650" y="1833238"/>
                  </a:cubicBezTo>
                  <a:cubicBezTo>
                    <a:pt x="1929166" y="1839814"/>
                    <a:pt x="1942201" y="1846390"/>
                    <a:pt x="1955235" y="1846390"/>
                  </a:cubicBezTo>
                  <a:cubicBezTo>
                    <a:pt x="1968268" y="1846390"/>
                    <a:pt x="1974786" y="1839814"/>
                    <a:pt x="1987819" y="1826663"/>
                  </a:cubicBezTo>
                  <a:cubicBezTo>
                    <a:pt x="1994337" y="1820086"/>
                    <a:pt x="1994337" y="1806934"/>
                    <a:pt x="2007370" y="1800359"/>
                  </a:cubicBezTo>
                  <a:cubicBezTo>
                    <a:pt x="2013888" y="1800359"/>
                    <a:pt x="2033439" y="1787207"/>
                    <a:pt x="2039956" y="1780630"/>
                  </a:cubicBezTo>
                  <a:cubicBezTo>
                    <a:pt x="2052990" y="1760903"/>
                    <a:pt x="1994342" y="1767479"/>
                    <a:pt x="1987819" y="1767479"/>
                  </a:cubicBezTo>
                  <a:cubicBezTo>
                    <a:pt x="1974786" y="1760903"/>
                    <a:pt x="1955235" y="1741175"/>
                    <a:pt x="1955235" y="1728023"/>
                  </a:cubicBezTo>
                  <a:cubicBezTo>
                    <a:pt x="1948717" y="1708296"/>
                    <a:pt x="1955235" y="1695144"/>
                    <a:pt x="1942201" y="1688568"/>
                  </a:cubicBezTo>
                  <a:cubicBezTo>
                    <a:pt x="1935684" y="1681992"/>
                    <a:pt x="1929166" y="1681992"/>
                    <a:pt x="1922650" y="1675417"/>
                  </a:cubicBezTo>
                  <a:cubicBezTo>
                    <a:pt x="1919391" y="1672129"/>
                    <a:pt x="1917762" y="1668841"/>
                    <a:pt x="1918577" y="1666374"/>
                  </a:cubicBezTo>
                  <a:lnTo>
                    <a:pt x="1929166" y="1662264"/>
                  </a:lnTo>
                  <a:cubicBezTo>
                    <a:pt x="1935684" y="1655688"/>
                    <a:pt x="1942201" y="1662264"/>
                    <a:pt x="1948717" y="1655688"/>
                  </a:cubicBezTo>
                  <a:cubicBezTo>
                    <a:pt x="1955235" y="1649113"/>
                    <a:pt x="1961752" y="1642537"/>
                    <a:pt x="1955235" y="1629384"/>
                  </a:cubicBezTo>
                  <a:cubicBezTo>
                    <a:pt x="1948717" y="1609657"/>
                    <a:pt x="1929166" y="1609657"/>
                    <a:pt x="1909616" y="1616233"/>
                  </a:cubicBezTo>
                  <a:cubicBezTo>
                    <a:pt x="1909549" y="1616273"/>
                    <a:pt x="1896571" y="1622809"/>
                    <a:pt x="1890065" y="1622809"/>
                  </a:cubicBezTo>
                  <a:cubicBezTo>
                    <a:pt x="1877031" y="1629384"/>
                    <a:pt x="1857480" y="1642537"/>
                    <a:pt x="1844446" y="1655688"/>
                  </a:cubicBezTo>
                  <a:cubicBezTo>
                    <a:pt x="1844446" y="1662264"/>
                    <a:pt x="1837929" y="1668841"/>
                    <a:pt x="1831412" y="1668841"/>
                  </a:cubicBezTo>
                  <a:cubicBezTo>
                    <a:pt x="1824895" y="1662264"/>
                    <a:pt x="1831412" y="1649113"/>
                    <a:pt x="1837929" y="1642537"/>
                  </a:cubicBezTo>
                  <a:cubicBezTo>
                    <a:pt x="1844446" y="1635961"/>
                    <a:pt x="1850963" y="1622809"/>
                    <a:pt x="1857480" y="1616233"/>
                  </a:cubicBezTo>
                  <a:cubicBezTo>
                    <a:pt x="1877031" y="1596506"/>
                    <a:pt x="1896582" y="1583353"/>
                    <a:pt x="1916133" y="1583353"/>
                  </a:cubicBezTo>
                  <a:cubicBezTo>
                    <a:pt x="1929166" y="1576777"/>
                    <a:pt x="1935684" y="1576777"/>
                    <a:pt x="1942201" y="1576777"/>
                  </a:cubicBezTo>
                  <a:cubicBezTo>
                    <a:pt x="1968268" y="1576777"/>
                    <a:pt x="1987819" y="1583353"/>
                    <a:pt x="2007370" y="1576777"/>
                  </a:cubicBezTo>
                  <a:cubicBezTo>
                    <a:pt x="2026921" y="1576777"/>
                    <a:pt x="2046472" y="1583353"/>
                    <a:pt x="2059507" y="1576777"/>
                  </a:cubicBezTo>
                  <a:cubicBezTo>
                    <a:pt x="2066023" y="1576777"/>
                    <a:pt x="2072541" y="1570202"/>
                    <a:pt x="2079058" y="1570202"/>
                  </a:cubicBezTo>
                  <a:cubicBezTo>
                    <a:pt x="2092092" y="1563626"/>
                    <a:pt x="2098608" y="1557050"/>
                    <a:pt x="2105125" y="1550473"/>
                  </a:cubicBezTo>
                  <a:cubicBezTo>
                    <a:pt x="2118159" y="1543898"/>
                    <a:pt x="2111643" y="1530746"/>
                    <a:pt x="2118159" y="1524170"/>
                  </a:cubicBezTo>
                  <a:cubicBezTo>
                    <a:pt x="2137710" y="1497866"/>
                    <a:pt x="2170296" y="1530746"/>
                    <a:pt x="2189847" y="1511018"/>
                  </a:cubicBezTo>
                  <a:cubicBezTo>
                    <a:pt x="2202881" y="1504442"/>
                    <a:pt x="2209398" y="1484715"/>
                    <a:pt x="2209398" y="1471563"/>
                  </a:cubicBezTo>
                  <a:cubicBezTo>
                    <a:pt x="2202881" y="1458411"/>
                    <a:pt x="2196363" y="1458411"/>
                    <a:pt x="2189847" y="1451835"/>
                  </a:cubicBezTo>
                  <a:cubicBezTo>
                    <a:pt x="2176812" y="1451835"/>
                    <a:pt x="2176812" y="1445260"/>
                    <a:pt x="2163778" y="1445260"/>
                  </a:cubicBezTo>
                  <a:cubicBezTo>
                    <a:pt x="2157261" y="1445260"/>
                    <a:pt x="2150745" y="1451835"/>
                    <a:pt x="2144227" y="1451835"/>
                  </a:cubicBezTo>
                  <a:cubicBezTo>
                    <a:pt x="2124676" y="1464987"/>
                    <a:pt x="2111643" y="1471563"/>
                    <a:pt x="2098608" y="1471563"/>
                  </a:cubicBezTo>
                  <a:cubicBezTo>
                    <a:pt x="2085574" y="1471563"/>
                    <a:pt x="2072541" y="1458411"/>
                    <a:pt x="2079058" y="1445260"/>
                  </a:cubicBezTo>
                  <a:cubicBezTo>
                    <a:pt x="2079058" y="1432107"/>
                    <a:pt x="2098608" y="1432107"/>
                    <a:pt x="2105125" y="1418956"/>
                  </a:cubicBezTo>
                  <a:close/>
                  <a:moveTo>
                    <a:pt x="3448170" y="1384560"/>
                  </a:moveTo>
                  <a:cubicBezTo>
                    <a:pt x="3441579" y="1384560"/>
                    <a:pt x="3434988" y="1391217"/>
                    <a:pt x="3428397" y="1397877"/>
                  </a:cubicBezTo>
                  <a:cubicBezTo>
                    <a:pt x="3421807" y="1404535"/>
                    <a:pt x="3415216" y="1411193"/>
                    <a:pt x="3408625" y="1411193"/>
                  </a:cubicBezTo>
                  <a:cubicBezTo>
                    <a:pt x="3402034" y="1417852"/>
                    <a:pt x="3395444" y="1411193"/>
                    <a:pt x="3388852" y="1417852"/>
                  </a:cubicBezTo>
                  <a:cubicBezTo>
                    <a:pt x="3388852" y="1424511"/>
                    <a:pt x="3395444" y="1424511"/>
                    <a:pt x="3395444" y="1431168"/>
                  </a:cubicBezTo>
                  <a:cubicBezTo>
                    <a:pt x="3395444" y="1444486"/>
                    <a:pt x="3375670" y="1437826"/>
                    <a:pt x="3382261" y="1451143"/>
                  </a:cubicBezTo>
                  <a:cubicBezTo>
                    <a:pt x="3382261" y="1457802"/>
                    <a:pt x="3388852" y="1457802"/>
                    <a:pt x="3395444" y="1464461"/>
                  </a:cubicBezTo>
                  <a:cubicBezTo>
                    <a:pt x="3395444" y="1464562"/>
                    <a:pt x="3395444" y="1477800"/>
                    <a:pt x="3395444" y="1484437"/>
                  </a:cubicBezTo>
                  <a:cubicBezTo>
                    <a:pt x="3395444" y="1491095"/>
                    <a:pt x="3395444" y="1497753"/>
                    <a:pt x="3388852" y="1497753"/>
                  </a:cubicBezTo>
                  <a:cubicBezTo>
                    <a:pt x="3382314" y="1504359"/>
                    <a:pt x="3375774" y="1504412"/>
                    <a:pt x="3375670" y="1504412"/>
                  </a:cubicBezTo>
                  <a:cubicBezTo>
                    <a:pt x="3375670" y="1511071"/>
                    <a:pt x="3375670" y="1517728"/>
                    <a:pt x="3369079" y="1524387"/>
                  </a:cubicBezTo>
                  <a:lnTo>
                    <a:pt x="3369904" y="1530213"/>
                  </a:lnTo>
                  <a:cubicBezTo>
                    <a:pt x="3370728" y="1531046"/>
                    <a:pt x="3372375" y="1531046"/>
                    <a:pt x="3375670" y="1531046"/>
                  </a:cubicBezTo>
                  <a:lnTo>
                    <a:pt x="3378966" y="1536039"/>
                  </a:lnTo>
                  <a:lnTo>
                    <a:pt x="3382261" y="1531046"/>
                  </a:lnTo>
                  <a:cubicBezTo>
                    <a:pt x="3388852" y="1531046"/>
                    <a:pt x="3388852" y="1531046"/>
                    <a:pt x="3395444" y="1531046"/>
                  </a:cubicBezTo>
                  <a:cubicBezTo>
                    <a:pt x="3402034" y="1531046"/>
                    <a:pt x="3408625" y="1537703"/>
                    <a:pt x="3415216" y="1537703"/>
                  </a:cubicBezTo>
                  <a:cubicBezTo>
                    <a:pt x="3421807" y="1537703"/>
                    <a:pt x="3421807" y="1531046"/>
                    <a:pt x="3428397" y="1524387"/>
                  </a:cubicBezTo>
                  <a:cubicBezTo>
                    <a:pt x="3434988" y="1524387"/>
                    <a:pt x="3434988" y="1517728"/>
                    <a:pt x="3441579" y="1517728"/>
                  </a:cubicBezTo>
                  <a:cubicBezTo>
                    <a:pt x="3448170" y="1511071"/>
                    <a:pt x="3448170" y="1511071"/>
                    <a:pt x="3454762" y="1511071"/>
                  </a:cubicBezTo>
                  <a:cubicBezTo>
                    <a:pt x="3461292" y="1511071"/>
                    <a:pt x="3461352" y="1504532"/>
                    <a:pt x="3461352" y="1504412"/>
                  </a:cubicBezTo>
                  <a:cubicBezTo>
                    <a:pt x="3467943" y="1497753"/>
                    <a:pt x="3467943" y="1491095"/>
                    <a:pt x="3474534" y="1491095"/>
                  </a:cubicBezTo>
                  <a:cubicBezTo>
                    <a:pt x="3474534" y="1477777"/>
                    <a:pt x="3467943" y="1471120"/>
                    <a:pt x="3467943" y="1457803"/>
                  </a:cubicBezTo>
                  <a:cubicBezTo>
                    <a:pt x="3467943" y="1457768"/>
                    <a:pt x="3467943" y="1451190"/>
                    <a:pt x="3467943" y="1451143"/>
                  </a:cubicBezTo>
                  <a:cubicBezTo>
                    <a:pt x="3467943" y="1444548"/>
                    <a:pt x="3467943" y="1437954"/>
                    <a:pt x="3467943" y="1437826"/>
                  </a:cubicBezTo>
                  <a:cubicBezTo>
                    <a:pt x="3467943" y="1431168"/>
                    <a:pt x="3481125" y="1431168"/>
                    <a:pt x="3481125" y="1424511"/>
                  </a:cubicBezTo>
                  <a:cubicBezTo>
                    <a:pt x="3487715" y="1417852"/>
                    <a:pt x="3481125" y="1397880"/>
                    <a:pt x="3474534" y="1391217"/>
                  </a:cubicBezTo>
                  <a:cubicBezTo>
                    <a:pt x="3474534" y="1384560"/>
                    <a:pt x="3467943" y="1391217"/>
                    <a:pt x="3461352" y="1391217"/>
                  </a:cubicBezTo>
                  <a:cubicBezTo>
                    <a:pt x="3454762" y="1391217"/>
                    <a:pt x="3454762" y="1384560"/>
                    <a:pt x="3448170" y="1384560"/>
                  </a:cubicBezTo>
                  <a:close/>
                  <a:moveTo>
                    <a:pt x="3951501" y="1350565"/>
                  </a:moveTo>
                  <a:cubicBezTo>
                    <a:pt x="3940327" y="1346911"/>
                    <a:pt x="3929153" y="1357874"/>
                    <a:pt x="3929153" y="1372494"/>
                  </a:cubicBezTo>
                  <a:cubicBezTo>
                    <a:pt x="3929153" y="1385487"/>
                    <a:pt x="3935775" y="1398482"/>
                    <a:pt x="3949018" y="1391985"/>
                  </a:cubicBezTo>
                  <a:cubicBezTo>
                    <a:pt x="3962260" y="1391985"/>
                    <a:pt x="3962260" y="1372494"/>
                    <a:pt x="3962260" y="1359499"/>
                  </a:cubicBezTo>
                  <a:cubicBezTo>
                    <a:pt x="3958950" y="1354626"/>
                    <a:pt x="3955226" y="1351784"/>
                    <a:pt x="3951501" y="1350565"/>
                  </a:cubicBezTo>
                  <a:close/>
                  <a:moveTo>
                    <a:pt x="3538712" y="1228629"/>
                  </a:moveTo>
                  <a:cubicBezTo>
                    <a:pt x="3532126" y="1235193"/>
                    <a:pt x="3525540" y="1235193"/>
                    <a:pt x="3518953" y="1235193"/>
                  </a:cubicBezTo>
                  <a:cubicBezTo>
                    <a:pt x="3512368" y="1235193"/>
                    <a:pt x="3512368" y="1241756"/>
                    <a:pt x="3512368" y="1248320"/>
                  </a:cubicBezTo>
                  <a:cubicBezTo>
                    <a:pt x="3512368" y="1254883"/>
                    <a:pt x="3505781" y="1248320"/>
                    <a:pt x="3505781" y="1254883"/>
                  </a:cubicBezTo>
                  <a:cubicBezTo>
                    <a:pt x="3499196" y="1261446"/>
                    <a:pt x="3505781" y="1261446"/>
                    <a:pt x="3505781" y="1268009"/>
                  </a:cubicBezTo>
                  <a:cubicBezTo>
                    <a:pt x="3499247" y="1274523"/>
                    <a:pt x="3492713" y="1274572"/>
                    <a:pt x="3492610" y="1274572"/>
                  </a:cubicBezTo>
                  <a:cubicBezTo>
                    <a:pt x="3486024" y="1281136"/>
                    <a:pt x="3492610" y="1287700"/>
                    <a:pt x="3492610" y="1294263"/>
                  </a:cubicBezTo>
                  <a:cubicBezTo>
                    <a:pt x="3505781" y="1294263"/>
                    <a:pt x="3492610" y="1307391"/>
                    <a:pt x="3486024" y="1313952"/>
                  </a:cubicBezTo>
                  <a:cubicBezTo>
                    <a:pt x="3486024" y="1320516"/>
                    <a:pt x="3492610" y="1320516"/>
                    <a:pt x="3492610" y="1327079"/>
                  </a:cubicBezTo>
                  <a:cubicBezTo>
                    <a:pt x="3492610" y="1333643"/>
                    <a:pt x="3492610" y="1333643"/>
                    <a:pt x="3492610" y="1340207"/>
                  </a:cubicBezTo>
                  <a:cubicBezTo>
                    <a:pt x="3492610" y="1346732"/>
                    <a:pt x="3499119" y="1346770"/>
                    <a:pt x="3499196" y="1346770"/>
                  </a:cubicBezTo>
                  <a:cubicBezTo>
                    <a:pt x="3505781" y="1353334"/>
                    <a:pt x="3512368" y="1353334"/>
                    <a:pt x="3512368" y="1359898"/>
                  </a:cubicBezTo>
                  <a:cubicBezTo>
                    <a:pt x="3512342" y="1359923"/>
                    <a:pt x="3505795" y="1366473"/>
                    <a:pt x="3512368" y="1373023"/>
                  </a:cubicBezTo>
                  <a:cubicBezTo>
                    <a:pt x="3512368" y="1379586"/>
                    <a:pt x="3518953" y="1386150"/>
                    <a:pt x="3525540" y="1386150"/>
                  </a:cubicBezTo>
                  <a:cubicBezTo>
                    <a:pt x="3532126" y="1386150"/>
                    <a:pt x="3545298" y="1386150"/>
                    <a:pt x="3551884" y="1392714"/>
                  </a:cubicBezTo>
                  <a:cubicBezTo>
                    <a:pt x="3558470" y="1399277"/>
                    <a:pt x="3532126" y="1412405"/>
                    <a:pt x="3545298" y="1418967"/>
                  </a:cubicBezTo>
                  <a:cubicBezTo>
                    <a:pt x="3551884" y="1418967"/>
                    <a:pt x="3558470" y="1412405"/>
                    <a:pt x="3565055" y="1418967"/>
                  </a:cubicBezTo>
                  <a:cubicBezTo>
                    <a:pt x="3571642" y="1445221"/>
                    <a:pt x="3532126" y="1438657"/>
                    <a:pt x="3525540" y="1451784"/>
                  </a:cubicBezTo>
                  <a:cubicBezTo>
                    <a:pt x="3518953" y="1458348"/>
                    <a:pt x="3525540" y="1458348"/>
                    <a:pt x="3525540" y="1464912"/>
                  </a:cubicBezTo>
                  <a:cubicBezTo>
                    <a:pt x="3525540" y="1471474"/>
                    <a:pt x="3518953" y="1471474"/>
                    <a:pt x="3518953" y="1484601"/>
                  </a:cubicBezTo>
                  <a:cubicBezTo>
                    <a:pt x="3518953" y="1491164"/>
                    <a:pt x="3525540" y="1491164"/>
                    <a:pt x="3518953" y="1497728"/>
                  </a:cubicBezTo>
                  <a:cubicBezTo>
                    <a:pt x="3518953" y="1504291"/>
                    <a:pt x="3512368" y="1504291"/>
                    <a:pt x="3505781" y="1510855"/>
                  </a:cubicBezTo>
                  <a:cubicBezTo>
                    <a:pt x="3499196" y="1517419"/>
                    <a:pt x="3512368" y="1523981"/>
                    <a:pt x="3518953" y="1523981"/>
                  </a:cubicBezTo>
                  <a:cubicBezTo>
                    <a:pt x="3525540" y="1523981"/>
                    <a:pt x="3525540" y="1530544"/>
                    <a:pt x="3532126" y="1530544"/>
                  </a:cubicBezTo>
                  <a:cubicBezTo>
                    <a:pt x="3538712" y="1530544"/>
                    <a:pt x="3545298" y="1530544"/>
                    <a:pt x="3558470" y="1530544"/>
                  </a:cubicBezTo>
                  <a:cubicBezTo>
                    <a:pt x="3558504" y="1530578"/>
                    <a:pt x="3564964" y="1537017"/>
                    <a:pt x="3565055" y="1537108"/>
                  </a:cubicBezTo>
                  <a:cubicBezTo>
                    <a:pt x="3551884" y="1543671"/>
                    <a:pt x="3545298" y="1543671"/>
                    <a:pt x="3532126" y="1543671"/>
                  </a:cubicBezTo>
                  <a:cubicBezTo>
                    <a:pt x="3525540" y="1543671"/>
                    <a:pt x="3518953" y="1543671"/>
                    <a:pt x="3512368" y="1550235"/>
                  </a:cubicBezTo>
                  <a:cubicBezTo>
                    <a:pt x="3512368" y="1556798"/>
                    <a:pt x="3505781" y="1563362"/>
                    <a:pt x="3499196" y="1569926"/>
                  </a:cubicBezTo>
                  <a:cubicBezTo>
                    <a:pt x="3492610" y="1576488"/>
                    <a:pt x="3486024" y="1576488"/>
                    <a:pt x="3479438" y="1583052"/>
                  </a:cubicBezTo>
                  <a:cubicBezTo>
                    <a:pt x="3479438" y="1589615"/>
                    <a:pt x="3479438" y="1596178"/>
                    <a:pt x="3486024" y="1596178"/>
                  </a:cubicBezTo>
                  <a:cubicBezTo>
                    <a:pt x="3499196" y="1596178"/>
                    <a:pt x="3499196" y="1589615"/>
                    <a:pt x="3505781" y="1583052"/>
                  </a:cubicBezTo>
                  <a:cubicBezTo>
                    <a:pt x="3512368" y="1583052"/>
                    <a:pt x="3518953" y="1576488"/>
                    <a:pt x="3532126" y="1576488"/>
                  </a:cubicBezTo>
                  <a:cubicBezTo>
                    <a:pt x="3538712" y="1576488"/>
                    <a:pt x="3545298" y="1576488"/>
                    <a:pt x="3551884" y="1569926"/>
                  </a:cubicBezTo>
                  <a:cubicBezTo>
                    <a:pt x="3558470" y="1563362"/>
                    <a:pt x="3565055" y="1569926"/>
                    <a:pt x="3571642" y="1569926"/>
                  </a:cubicBezTo>
                  <a:cubicBezTo>
                    <a:pt x="3584814" y="1569926"/>
                    <a:pt x="3591399" y="1563362"/>
                    <a:pt x="3597986" y="1556798"/>
                  </a:cubicBezTo>
                  <a:cubicBezTo>
                    <a:pt x="3611157" y="1556798"/>
                    <a:pt x="3617744" y="1563362"/>
                    <a:pt x="3624329" y="1563362"/>
                  </a:cubicBezTo>
                  <a:cubicBezTo>
                    <a:pt x="3630916" y="1563362"/>
                    <a:pt x="3644088" y="1563362"/>
                    <a:pt x="3650673" y="1563362"/>
                  </a:cubicBezTo>
                  <a:cubicBezTo>
                    <a:pt x="3657260" y="1563362"/>
                    <a:pt x="3670431" y="1556798"/>
                    <a:pt x="3670431" y="1550235"/>
                  </a:cubicBezTo>
                  <a:cubicBezTo>
                    <a:pt x="3677018" y="1550235"/>
                    <a:pt x="3677018" y="1537108"/>
                    <a:pt x="3670431" y="1537108"/>
                  </a:cubicBezTo>
                  <a:cubicBezTo>
                    <a:pt x="3670329" y="1537108"/>
                    <a:pt x="3663797" y="1537058"/>
                    <a:pt x="3657260" y="1530544"/>
                  </a:cubicBezTo>
                  <a:cubicBezTo>
                    <a:pt x="3650707" y="1530544"/>
                    <a:pt x="3663715" y="1517550"/>
                    <a:pt x="3663846" y="1517419"/>
                  </a:cubicBezTo>
                  <a:cubicBezTo>
                    <a:pt x="3670431" y="1517419"/>
                    <a:pt x="3677018" y="1517419"/>
                    <a:pt x="3677018" y="1510855"/>
                  </a:cubicBezTo>
                  <a:cubicBezTo>
                    <a:pt x="3683603" y="1510855"/>
                    <a:pt x="3683603" y="1504291"/>
                    <a:pt x="3683603" y="1497728"/>
                  </a:cubicBezTo>
                  <a:cubicBezTo>
                    <a:pt x="3683603" y="1484600"/>
                    <a:pt x="3683603" y="1471474"/>
                    <a:pt x="3663846" y="1471474"/>
                  </a:cubicBezTo>
                  <a:cubicBezTo>
                    <a:pt x="3657260" y="1471474"/>
                    <a:pt x="3650673" y="1478037"/>
                    <a:pt x="3644088" y="1464912"/>
                  </a:cubicBezTo>
                  <a:cubicBezTo>
                    <a:pt x="3644088" y="1464808"/>
                    <a:pt x="3644088" y="1458467"/>
                    <a:pt x="3644088" y="1458348"/>
                  </a:cubicBezTo>
                  <a:cubicBezTo>
                    <a:pt x="3644088" y="1451784"/>
                    <a:pt x="3644088" y="1451784"/>
                    <a:pt x="3644088" y="1445221"/>
                  </a:cubicBezTo>
                  <a:cubicBezTo>
                    <a:pt x="3650673" y="1438657"/>
                    <a:pt x="3637501" y="1438657"/>
                    <a:pt x="3630916" y="1432093"/>
                  </a:cubicBezTo>
                  <a:cubicBezTo>
                    <a:pt x="3630916" y="1425530"/>
                    <a:pt x="3624329" y="1425530"/>
                    <a:pt x="3624329" y="1418967"/>
                  </a:cubicBezTo>
                  <a:cubicBezTo>
                    <a:pt x="3624329" y="1415686"/>
                    <a:pt x="3624329" y="1414045"/>
                    <a:pt x="3623506" y="1413224"/>
                  </a:cubicBezTo>
                  <a:lnTo>
                    <a:pt x="3617744" y="1412405"/>
                  </a:lnTo>
                  <a:cubicBezTo>
                    <a:pt x="3617744" y="1412327"/>
                    <a:pt x="3617702" y="1405841"/>
                    <a:pt x="3611157" y="1405841"/>
                  </a:cubicBezTo>
                  <a:cubicBezTo>
                    <a:pt x="3604572" y="1399277"/>
                    <a:pt x="3604572" y="1392714"/>
                    <a:pt x="3597986" y="1386150"/>
                  </a:cubicBezTo>
                  <a:cubicBezTo>
                    <a:pt x="3597986" y="1379586"/>
                    <a:pt x="3591399" y="1373023"/>
                    <a:pt x="3584814" y="1373023"/>
                  </a:cubicBezTo>
                  <a:cubicBezTo>
                    <a:pt x="3584814" y="1366459"/>
                    <a:pt x="3584814" y="1359898"/>
                    <a:pt x="3578227" y="1359898"/>
                  </a:cubicBezTo>
                  <a:cubicBezTo>
                    <a:pt x="3578227" y="1353334"/>
                    <a:pt x="3571642" y="1353334"/>
                    <a:pt x="3565055" y="1346770"/>
                  </a:cubicBezTo>
                  <a:cubicBezTo>
                    <a:pt x="3565055" y="1340207"/>
                    <a:pt x="3565055" y="1340207"/>
                    <a:pt x="3571642" y="1333643"/>
                  </a:cubicBezTo>
                  <a:cubicBezTo>
                    <a:pt x="3571642" y="1327079"/>
                    <a:pt x="3571642" y="1327079"/>
                    <a:pt x="3571642" y="1320516"/>
                  </a:cubicBezTo>
                  <a:cubicBezTo>
                    <a:pt x="3571642" y="1313952"/>
                    <a:pt x="3578227" y="1313952"/>
                    <a:pt x="3584814" y="1307391"/>
                  </a:cubicBezTo>
                  <a:cubicBezTo>
                    <a:pt x="3584870" y="1307336"/>
                    <a:pt x="3591399" y="1300809"/>
                    <a:pt x="3591399" y="1294263"/>
                  </a:cubicBezTo>
                  <a:cubicBezTo>
                    <a:pt x="3597986" y="1287700"/>
                    <a:pt x="3597986" y="1274573"/>
                    <a:pt x="3591399" y="1268009"/>
                  </a:cubicBezTo>
                  <a:cubicBezTo>
                    <a:pt x="3584814" y="1268009"/>
                    <a:pt x="3584814" y="1268009"/>
                    <a:pt x="3578227" y="1268009"/>
                  </a:cubicBezTo>
                  <a:cubicBezTo>
                    <a:pt x="3571642" y="1261446"/>
                    <a:pt x="3545298" y="1268009"/>
                    <a:pt x="3551884" y="1254883"/>
                  </a:cubicBezTo>
                  <a:cubicBezTo>
                    <a:pt x="3551884" y="1248341"/>
                    <a:pt x="3551884" y="1241799"/>
                    <a:pt x="3551884" y="1241756"/>
                  </a:cubicBezTo>
                  <a:cubicBezTo>
                    <a:pt x="3551884" y="1228629"/>
                    <a:pt x="3545298" y="1228629"/>
                    <a:pt x="3538712" y="1228629"/>
                  </a:cubicBezTo>
                  <a:close/>
                  <a:moveTo>
                    <a:pt x="2595194" y="1209200"/>
                  </a:moveTo>
                  <a:cubicBezTo>
                    <a:pt x="2774956" y="1389398"/>
                    <a:pt x="2930603" y="1575575"/>
                    <a:pt x="3068765" y="1756467"/>
                  </a:cubicBezTo>
                  <a:cubicBezTo>
                    <a:pt x="2842338" y="1649459"/>
                    <a:pt x="2611999" y="1553477"/>
                    <a:pt x="2385578" y="1469296"/>
                  </a:cubicBezTo>
                  <a:cubicBezTo>
                    <a:pt x="2452642" y="1380508"/>
                    <a:pt x="2523049" y="1293710"/>
                    <a:pt x="2595194" y="1209200"/>
                  </a:cubicBezTo>
                  <a:close/>
                  <a:moveTo>
                    <a:pt x="1181641" y="1140853"/>
                  </a:moveTo>
                  <a:cubicBezTo>
                    <a:pt x="1320700" y="1170169"/>
                    <a:pt x="1466250" y="1207103"/>
                    <a:pt x="1615702" y="1251029"/>
                  </a:cubicBezTo>
                  <a:cubicBezTo>
                    <a:pt x="1617687" y="1255287"/>
                    <a:pt x="1619302" y="1260515"/>
                    <a:pt x="1622868" y="1267711"/>
                  </a:cubicBezTo>
                  <a:cubicBezTo>
                    <a:pt x="1622868" y="1274286"/>
                    <a:pt x="1629385" y="1287439"/>
                    <a:pt x="1635902" y="1300590"/>
                  </a:cubicBezTo>
                  <a:cubicBezTo>
                    <a:pt x="1635902" y="1307166"/>
                    <a:pt x="1642419" y="1326894"/>
                    <a:pt x="1635902" y="1340046"/>
                  </a:cubicBezTo>
                  <a:cubicBezTo>
                    <a:pt x="1635902" y="1353197"/>
                    <a:pt x="1622868" y="1366350"/>
                    <a:pt x="1616351" y="1372926"/>
                  </a:cubicBezTo>
                  <a:cubicBezTo>
                    <a:pt x="1603317" y="1379501"/>
                    <a:pt x="1590283" y="1386077"/>
                    <a:pt x="1583766" y="1399228"/>
                  </a:cubicBezTo>
                  <a:cubicBezTo>
                    <a:pt x="1570732" y="1412380"/>
                    <a:pt x="1577249" y="1432107"/>
                    <a:pt x="1583766" y="1445260"/>
                  </a:cubicBezTo>
                  <a:cubicBezTo>
                    <a:pt x="1583766" y="1458411"/>
                    <a:pt x="1583766" y="1478139"/>
                    <a:pt x="1577249" y="1484715"/>
                  </a:cubicBezTo>
                  <a:cubicBezTo>
                    <a:pt x="1564215" y="1497866"/>
                    <a:pt x="1544664" y="1504442"/>
                    <a:pt x="1531630" y="1497866"/>
                  </a:cubicBezTo>
                  <a:cubicBezTo>
                    <a:pt x="1518596" y="1497866"/>
                    <a:pt x="1505562" y="1471563"/>
                    <a:pt x="1505562" y="1451835"/>
                  </a:cubicBezTo>
                  <a:cubicBezTo>
                    <a:pt x="1499045" y="1438683"/>
                    <a:pt x="1505562" y="1405804"/>
                    <a:pt x="1492529" y="1386077"/>
                  </a:cubicBezTo>
                  <a:cubicBezTo>
                    <a:pt x="1479494" y="1372926"/>
                    <a:pt x="1453427" y="1372926"/>
                    <a:pt x="1433876" y="1366350"/>
                  </a:cubicBezTo>
                  <a:cubicBezTo>
                    <a:pt x="1407807" y="1366350"/>
                    <a:pt x="1388256" y="1346622"/>
                    <a:pt x="1368705" y="1333470"/>
                  </a:cubicBezTo>
                  <a:cubicBezTo>
                    <a:pt x="1355672" y="1326894"/>
                    <a:pt x="1349154" y="1313742"/>
                    <a:pt x="1336121" y="1313742"/>
                  </a:cubicBezTo>
                  <a:cubicBezTo>
                    <a:pt x="1323086" y="1307166"/>
                    <a:pt x="1303536" y="1300590"/>
                    <a:pt x="1290501" y="1300590"/>
                  </a:cubicBezTo>
                  <a:cubicBezTo>
                    <a:pt x="1257916" y="1294015"/>
                    <a:pt x="1218814" y="1267711"/>
                    <a:pt x="1212297" y="1234831"/>
                  </a:cubicBezTo>
                  <a:cubicBezTo>
                    <a:pt x="1205781" y="1215104"/>
                    <a:pt x="1192746" y="1201951"/>
                    <a:pt x="1179712" y="1182224"/>
                  </a:cubicBezTo>
                  <a:cubicBezTo>
                    <a:pt x="1175799" y="1166431"/>
                    <a:pt x="1176585" y="1153008"/>
                    <a:pt x="1181641" y="1140853"/>
                  </a:cubicBezTo>
                  <a:close/>
                  <a:moveTo>
                    <a:pt x="1969953" y="1036885"/>
                  </a:moveTo>
                  <a:cubicBezTo>
                    <a:pt x="1965880" y="1039703"/>
                    <a:pt x="1963552" y="1050980"/>
                    <a:pt x="1968207" y="1050980"/>
                  </a:cubicBezTo>
                  <a:cubicBezTo>
                    <a:pt x="1980623" y="1064346"/>
                    <a:pt x="1986830" y="1044298"/>
                    <a:pt x="1980623" y="1037616"/>
                  </a:cubicBezTo>
                  <a:lnTo>
                    <a:pt x="1975191" y="1037616"/>
                  </a:lnTo>
                  <a:cubicBezTo>
                    <a:pt x="1972863" y="1035944"/>
                    <a:pt x="1971311" y="1035944"/>
                    <a:pt x="1969953" y="1036885"/>
                  </a:cubicBezTo>
                  <a:close/>
                  <a:moveTo>
                    <a:pt x="1427507" y="943107"/>
                  </a:moveTo>
                  <a:cubicBezTo>
                    <a:pt x="1422616" y="943920"/>
                    <a:pt x="1417725" y="945544"/>
                    <a:pt x="1414465" y="945544"/>
                  </a:cubicBezTo>
                  <a:cubicBezTo>
                    <a:pt x="1407943" y="945544"/>
                    <a:pt x="1407943" y="952040"/>
                    <a:pt x="1401423" y="952040"/>
                  </a:cubicBezTo>
                  <a:cubicBezTo>
                    <a:pt x="1394902" y="965035"/>
                    <a:pt x="1407943" y="971531"/>
                    <a:pt x="1407943" y="978029"/>
                  </a:cubicBezTo>
                  <a:cubicBezTo>
                    <a:pt x="1407943" y="991023"/>
                    <a:pt x="1401423" y="991023"/>
                    <a:pt x="1394902" y="997519"/>
                  </a:cubicBezTo>
                  <a:cubicBezTo>
                    <a:pt x="1368817" y="1010514"/>
                    <a:pt x="1414465" y="1036501"/>
                    <a:pt x="1427507" y="1023509"/>
                  </a:cubicBezTo>
                  <a:cubicBezTo>
                    <a:pt x="1447071" y="1010514"/>
                    <a:pt x="1427507" y="978029"/>
                    <a:pt x="1453592" y="978029"/>
                  </a:cubicBezTo>
                  <a:cubicBezTo>
                    <a:pt x="1460113" y="978029"/>
                    <a:pt x="1460113" y="1004018"/>
                    <a:pt x="1466635" y="1010514"/>
                  </a:cubicBezTo>
                  <a:cubicBezTo>
                    <a:pt x="1473156" y="1017011"/>
                    <a:pt x="1486198" y="1017011"/>
                    <a:pt x="1492719" y="1017011"/>
                  </a:cubicBezTo>
                  <a:cubicBezTo>
                    <a:pt x="1499216" y="1017011"/>
                    <a:pt x="1505712" y="1017011"/>
                    <a:pt x="1505762" y="1017011"/>
                  </a:cubicBezTo>
                  <a:cubicBezTo>
                    <a:pt x="1512274" y="1010523"/>
                    <a:pt x="1505779" y="997555"/>
                    <a:pt x="1505762" y="997519"/>
                  </a:cubicBezTo>
                  <a:cubicBezTo>
                    <a:pt x="1499263" y="991047"/>
                    <a:pt x="1492766" y="991023"/>
                    <a:pt x="1492719" y="991023"/>
                  </a:cubicBezTo>
                  <a:cubicBezTo>
                    <a:pt x="1486198" y="991023"/>
                    <a:pt x="1479677" y="984526"/>
                    <a:pt x="1473156" y="978029"/>
                  </a:cubicBezTo>
                  <a:cubicBezTo>
                    <a:pt x="1466635" y="965035"/>
                    <a:pt x="1453592" y="945544"/>
                    <a:pt x="1440550" y="945544"/>
                  </a:cubicBezTo>
                  <a:cubicBezTo>
                    <a:pt x="1437289" y="942295"/>
                    <a:pt x="1432398" y="942295"/>
                    <a:pt x="1427507" y="943107"/>
                  </a:cubicBezTo>
                  <a:close/>
                  <a:moveTo>
                    <a:pt x="988089" y="922670"/>
                  </a:moveTo>
                  <a:cubicBezTo>
                    <a:pt x="1047007" y="922670"/>
                    <a:pt x="1094769" y="970432"/>
                    <a:pt x="1094769" y="1029350"/>
                  </a:cubicBezTo>
                  <a:cubicBezTo>
                    <a:pt x="1094769" y="1088268"/>
                    <a:pt x="1047007" y="1136030"/>
                    <a:pt x="988089" y="1136030"/>
                  </a:cubicBezTo>
                  <a:cubicBezTo>
                    <a:pt x="929171" y="1136030"/>
                    <a:pt x="881409" y="1088268"/>
                    <a:pt x="881409" y="1029350"/>
                  </a:cubicBezTo>
                  <a:cubicBezTo>
                    <a:pt x="881409" y="970432"/>
                    <a:pt x="929171" y="922670"/>
                    <a:pt x="988089" y="922670"/>
                  </a:cubicBezTo>
                  <a:close/>
                  <a:moveTo>
                    <a:pt x="3224792" y="881963"/>
                  </a:moveTo>
                  <a:cubicBezTo>
                    <a:pt x="3222331" y="881127"/>
                    <a:pt x="3220690" y="881127"/>
                    <a:pt x="3220690" y="884470"/>
                  </a:cubicBezTo>
                  <a:cubicBezTo>
                    <a:pt x="3214146" y="884470"/>
                    <a:pt x="3214129" y="891116"/>
                    <a:pt x="3214129" y="891152"/>
                  </a:cubicBezTo>
                  <a:cubicBezTo>
                    <a:pt x="3207567" y="897835"/>
                    <a:pt x="3201005" y="891152"/>
                    <a:pt x="3194443" y="897835"/>
                  </a:cubicBezTo>
                  <a:cubicBezTo>
                    <a:pt x="3187882" y="897835"/>
                    <a:pt x="3187882" y="904517"/>
                    <a:pt x="3181319" y="904517"/>
                  </a:cubicBezTo>
                  <a:cubicBezTo>
                    <a:pt x="3174757" y="904517"/>
                    <a:pt x="3174757" y="897835"/>
                    <a:pt x="3168195" y="897835"/>
                  </a:cubicBezTo>
                  <a:cubicBezTo>
                    <a:pt x="3168170" y="897860"/>
                    <a:pt x="3161652" y="904499"/>
                    <a:pt x="3161634" y="904517"/>
                  </a:cubicBezTo>
                  <a:cubicBezTo>
                    <a:pt x="3155088" y="904517"/>
                    <a:pt x="3155072" y="897868"/>
                    <a:pt x="3155072" y="897835"/>
                  </a:cubicBezTo>
                  <a:cubicBezTo>
                    <a:pt x="3148510" y="891152"/>
                    <a:pt x="3148510" y="884470"/>
                    <a:pt x="3141948" y="891152"/>
                  </a:cubicBezTo>
                  <a:cubicBezTo>
                    <a:pt x="3141878" y="891230"/>
                    <a:pt x="3135387" y="897877"/>
                    <a:pt x="3135387" y="904517"/>
                  </a:cubicBezTo>
                  <a:lnTo>
                    <a:pt x="3128825" y="909529"/>
                  </a:lnTo>
                  <a:lnTo>
                    <a:pt x="3122262" y="904517"/>
                  </a:lnTo>
                  <a:cubicBezTo>
                    <a:pt x="3122262" y="904467"/>
                    <a:pt x="3122250" y="891165"/>
                    <a:pt x="3115700" y="897835"/>
                  </a:cubicBezTo>
                  <a:cubicBezTo>
                    <a:pt x="3109138" y="897835"/>
                    <a:pt x="3115700" y="911199"/>
                    <a:pt x="3109138" y="917882"/>
                  </a:cubicBezTo>
                  <a:cubicBezTo>
                    <a:pt x="3107498" y="921224"/>
                    <a:pt x="3105858" y="921224"/>
                    <a:pt x="3102577" y="924565"/>
                  </a:cubicBezTo>
                  <a:cubicBezTo>
                    <a:pt x="3096015" y="924565"/>
                    <a:pt x="3096015" y="931247"/>
                    <a:pt x="3082891" y="924565"/>
                  </a:cubicBezTo>
                  <a:cubicBezTo>
                    <a:pt x="3082891" y="924532"/>
                    <a:pt x="3082883" y="911191"/>
                    <a:pt x="3076330" y="904517"/>
                  </a:cubicBezTo>
                  <a:cubicBezTo>
                    <a:pt x="3069768" y="904517"/>
                    <a:pt x="3063205" y="904517"/>
                    <a:pt x="3056643" y="904517"/>
                  </a:cubicBezTo>
                  <a:cubicBezTo>
                    <a:pt x="3050082" y="911199"/>
                    <a:pt x="3050082" y="917882"/>
                    <a:pt x="3056643" y="924565"/>
                  </a:cubicBezTo>
                  <a:cubicBezTo>
                    <a:pt x="3056680" y="924583"/>
                    <a:pt x="3069759" y="931258"/>
                    <a:pt x="3063205" y="937931"/>
                  </a:cubicBezTo>
                  <a:cubicBezTo>
                    <a:pt x="3056643" y="944614"/>
                    <a:pt x="3050082" y="937931"/>
                    <a:pt x="3050082" y="944614"/>
                  </a:cubicBezTo>
                  <a:cubicBezTo>
                    <a:pt x="3043520" y="957979"/>
                    <a:pt x="3063205" y="957979"/>
                    <a:pt x="3069768" y="964662"/>
                  </a:cubicBezTo>
                  <a:cubicBezTo>
                    <a:pt x="3069853" y="964747"/>
                    <a:pt x="3076266" y="971280"/>
                    <a:pt x="3076330" y="971343"/>
                  </a:cubicBezTo>
                  <a:cubicBezTo>
                    <a:pt x="3076330" y="978026"/>
                    <a:pt x="3069768" y="978026"/>
                    <a:pt x="3063205" y="984709"/>
                  </a:cubicBezTo>
                  <a:lnTo>
                    <a:pt x="3063205" y="990557"/>
                  </a:lnTo>
                  <a:cubicBezTo>
                    <a:pt x="3069768" y="998075"/>
                    <a:pt x="3082891" y="991392"/>
                    <a:pt x="3089453" y="984709"/>
                  </a:cubicBezTo>
                  <a:cubicBezTo>
                    <a:pt x="3096015" y="984709"/>
                    <a:pt x="3096015" y="984709"/>
                    <a:pt x="3102577" y="991392"/>
                  </a:cubicBezTo>
                  <a:cubicBezTo>
                    <a:pt x="3109138" y="991392"/>
                    <a:pt x="3102577" y="998075"/>
                    <a:pt x="3109138" y="998075"/>
                  </a:cubicBezTo>
                  <a:cubicBezTo>
                    <a:pt x="3128825" y="1004757"/>
                    <a:pt x="3141948" y="1011440"/>
                    <a:pt x="3155072" y="1004757"/>
                  </a:cubicBezTo>
                  <a:cubicBezTo>
                    <a:pt x="3168195" y="1004757"/>
                    <a:pt x="3174757" y="991392"/>
                    <a:pt x="3194443" y="991392"/>
                  </a:cubicBezTo>
                  <a:cubicBezTo>
                    <a:pt x="3194493" y="991392"/>
                    <a:pt x="3200949" y="991392"/>
                    <a:pt x="3201005" y="991392"/>
                  </a:cubicBezTo>
                  <a:cubicBezTo>
                    <a:pt x="3214129" y="998075"/>
                    <a:pt x="3227252" y="991392"/>
                    <a:pt x="3233814" y="984709"/>
                  </a:cubicBezTo>
                  <a:cubicBezTo>
                    <a:pt x="3246937" y="978026"/>
                    <a:pt x="3260062" y="971343"/>
                    <a:pt x="3266624" y="957979"/>
                  </a:cubicBezTo>
                  <a:cubicBezTo>
                    <a:pt x="3266624" y="957954"/>
                    <a:pt x="3266624" y="951371"/>
                    <a:pt x="3266624" y="951296"/>
                  </a:cubicBezTo>
                  <a:cubicBezTo>
                    <a:pt x="3273174" y="944626"/>
                    <a:pt x="3279723" y="944614"/>
                    <a:pt x="3279747" y="944614"/>
                  </a:cubicBezTo>
                  <a:cubicBezTo>
                    <a:pt x="3286309" y="937931"/>
                    <a:pt x="3286309" y="924565"/>
                    <a:pt x="3279747" y="917882"/>
                  </a:cubicBezTo>
                  <a:cubicBezTo>
                    <a:pt x="3273186" y="904517"/>
                    <a:pt x="3253500" y="924565"/>
                    <a:pt x="3246937" y="904517"/>
                  </a:cubicBezTo>
                  <a:cubicBezTo>
                    <a:pt x="3240376" y="897835"/>
                    <a:pt x="3240376" y="891152"/>
                    <a:pt x="3233814" y="884470"/>
                  </a:cubicBezTo>
                  <a:cubicBezTo>
                    <a:pt x="3230534" y="884470"/>
                    <a:pt x="3227252" y="882799"/>
                    <a:pt x="3224792" y="881963"/>
                  </a:cubicBezTo>
                  <a:close/>
                  <a:moveTo>
                    <a:pt x="1669153" y="794253"/>
                  </a:moveTo>
                  <a:cubicBezTo>
                    <a:pt x="1650234" y="794253"/>
                    <a:pt x="1650234" y="827318"/>
                    <a:pt x="1662847" y="833930"/>
                  </a:cubicBezTo>
                  <a:cubicBezTo>
                    <a:pt x="1688073" y="847157"/>
                    <a:pt x="1694379" y="794253"/>
                    <a:pt x="1669153" y="794253"/>
                  </a:cubicBezTo>
                  <a:close/>
                  <a:moveTo>
                    <a:pt x="2917809" y="791328"/>
                  </a:moveTo>
                  <a:cubicBezTo>
                    <a:pt x="2803426" y="906978"/>
                    <a:pt x="2693404" y="1026752"/>
                    <a:pt x="2589740" y="1149249"/>
                  </a:cubicBezTo>
                  <a:cubicBezTo>
                    <a:pt x="2570891" y="1129184"/>
                    <a:pt x="2551153" y="1110170"/>
                    <a:pt x="2530315" y="1092458"/>
                  </a:cubicBezTo>
                  <a:cubicBezTo>
                    <a:pt x="2535975" y="1081630"/>
                    <a:pt x="2541271" y="1075704"/>
                    <a:pt x="2541271" y="1069778"/>
                  </a:cubicBezTo>
                  <a:cubicBezTo>
                    <a:pt x="2547784" y="1056632"/>
                    <a:pt x="2547784" y="1050059"/>
                    <a:pt x="2554299" y="1036912"/>
                  </a:cubicBezTo>
                  <a:cubicBezTo>
                    <a:pt x="2560812" y="1030340"/>
                    <a:pt x="2560812" y="1030340"/>
                    <a:pt x="2567327" y="1017193"/>
                  </a:cubicBezTo>
                  <a:cubicBezTo>
                    <a:pt x="2567327" y="1004047"/>
                    <a:pt x="2554299" y="984327"/>
                    <a:pt x="2560812" y="971181"/>
                  </a:cubicBezTo>
                  <a:cubicBezTo>
                    <a:pt x="2567327" y="958035"/>
                    <a:pt x="2593382" y="958035"/>
                    <a:pt x="2599896" y="951461"/>
                  </a:cubicBezTo>
                  <a:cubicBezTo>
                    <a:pt x="2612924" y="944888"/>
                    <a:pt x="2619438" y="938315"/>
                    <a:pt x="2619438" y="931742"/>
                  </a:cubicBezTo>
                  <a:cubicBezTo>
                    <a:pt x="2632466" y="912022"/>
                    <a:pt x="2632466" y="905450"/>
                    <a:pt x="2652007" y="905450"/>
                  </a:cubicBezTo>
                  <a:cubicBezTo>
                    <a:pt x="2671550" y="905450"/>
                    <a:pt x="2684578" y="912022"/>
                    <a:pt x="2704119" y="898876"/>
                  </a:cubicBezTo>
                  <a:cubicBezTo>
                    <a:pt x="2723661" y="892302"/>
                    <a:pt x="2730175" y="879157"/>
                    <a:pt x="2743203" y="866011"/>
                  </a:cubicBezTo>
                  <a:cubicBezTo>
                    <a:pt x="2743203" y="859438"/>
                    <a:pt x="2749717" y="852865"/>
                    <a:pt x="2756230" y="846292"/>
                  </a:cubicBezTo>
                  <a:cubicBezTo>
                    <a:pt x="2762745" y="839718"/>
                    <a:pt x="2775773" y="839718"/>
                    <a:pt x="2788801" y="833146"/>
                  </a:cubicBezTo>
                  <a:cubicBezTo>
                    <a:pt x="2795314" y="826572"/>
                    <a:pt x="2795314" y="819998"/>
                    <a:pt x="2801829" y="813426"/>
                  </a:cubicBezTo>
                  <a:cubicBezTo>
                    <a:pt x="2814856" y="793706"/>
                    <a:pt x="2847426" y="800280"/>
                    <a:pt x="2866968" y="800280"/>
                  </a:cubicBezTo>
                  <a:cubicBezTo>
                    <a:pt x="2883927" y="800280"/>
                    <a:pt x="2900886" y="796716"/>
                    <a:pt x="2917809" y="791328"/>
                  </a:cubicBezTo>
                  <a:close/>
                  <a:moveTo>
                    <a:pt x="1583467" y="713505"/>
                  </a:moveTo>
                  <a:cubicBezTo>
                    <a:pt x="1564430" y="713505"/>
                    <a:pt x="1545392" y="720465"/>
                    <a:pt x="1551738" y="734388"/>
                  </a:cubicBezTo>
                  <a:cubicBezTo>
                    <a:pt x="1551738" y="748311"/>
                    <a:pt x="1577121" y="755272"/>
                    <a:pt x="1583467" y="748311"/>
                  </a:cubicBezTo>
                  <a:cubicBezTo>
                    <a:pt x="1602503" y="741349"/>
                    <a:pt x="1608849" y="720465"/>
                    <a:pt x="1589812" y="713505"/>
                  </a:cubicBezTo>
                  <a:cubicBezTo>
                    <a:pt x="1589781" y="713505"/>
                    <a:pt x="1583519" y="713505"/>
                    <a:pt x="1583467" y="713505"/>
                  </a:cubicBezTo>
                  <a:close/>
                  <a:moveTo>
                    <a:pt x="1128374" y="667178"/>
                  </a:moveTo>
                  <a:cubicBezTo>
                    <a:pt x="1127577" y="671213"/>
                    <a:pt x="1127577" y="676056"/>
                    <a:pt x="1127577" y="682456"/>
                  </a:cubicBezTo>
                  <a:cubicBezTo>
                    <a:pt x="1121059" y="695608"/>
                    <a:pt x="1127577" y="702183"/>
                    <a:pt x="1134093" y="708760"/>
                  </a:cubicBezTo>
                  <a:cubicBezTo>
                    <a:pt x="1147128" y="715336"/>
                    <a:pt x="1160161" y="708760"/>
                    <a:pt x="1173195" y="708760"/>
                  </a:cubicBezTo>
                  <a:cubicBezTo>
                    <a:pt x="1179713" y="708760"/>
                    <a:pt x="1199263" y="715336"/>
                    <a:pt x="1199263" y="721912"/>
                  </a:cubicBezTo>
                  <a:lnTo>
                    <a:pt x="1203336" y="736707"/>
                  </a:lnTo>
                  <a:cubicBezTo>
                    <a:pt x="1202522" y="739996"/>
                    <a:pt x="1199263" y="741640"/>
                    <a:pt x="1192746" y="741640"/>
                  </a:cubicBezTo>
                  <a:cubicBezTo>
                    <a:pt x="1186230" y="748216"/>
                    <a:pt x="1173195" y="748216"/>
                    <a:pt x="1179712" y="761367"/>
                  </a:cubicBezTo>
                  <a:cubicBezTo>
                    <a:pt x="1179712" y="767943"/>
                    <a:pt x="1192744" y="774518"/>
                    <a:pt x="1192746" y="781095"/>
                  </a:cubicBezTo>
                  <a:cubicBezTo>
                    <a:pt x="1199263" y="794247"/>
                    <a:pt x="1153644" y="800822"/>
                    <a:pt x="1147128" y="813975"/>
                  </a:cubicBezTo>
                  <a:cubicBezTo>
                    <a:pt x="1147128" y="827126"/>
                    <a:pt x="1147128" y="840278"/>
                    <a:pt x="1147128" y="846853"/>
                  </a:cubicBezTo>
                  <a:cubicBezTo>
                    <a:pt x="1140610" y="853429"/>
                    <a:pt x="1127577" y="853429"/>
                    <a:pt x="1127577" y="846853"/>
                  </a:cubicBezTo>
                  <a:cubicBezTo>
                    <a:pt x="1108026" y="827126"/>
                    <a:pt x="1121059" y="794247"/>
                    <a:pt x="1094992" y="787671"/>
                  </a:cubicBezTo>
                  <a:cubicBezTo>
                    <a:pt x="1081957" y="787671"/>
                    <a:pt x="1075441" y="794247"/>
                    <a:pt x="1075441" y="807398"/>
                  </a:cubicBezTo>
                  <a:cubicBezTo>
                    <a:pt x="1068924" y="820551"/>
                    <a:pt x="1055890" y="833702"/>
                    <a:pt x="1036339" y="827126"/>
                  </a:cubicBezTo>
                  <a:cubicBezTo>
                    <a:pt x="1023304" y="827126"/>
                    <a:pt x="1016788" y="820551"/>
                    <a:pt x="997237" y="820551"/>
                  </a:cubicBezTo>
                  <a:cubicBezTo>
                    <a:pt x="990758" y="820551"/>
                    <a:pt x="984280" y="820551"/>
                    <a:pt x="984202" y="820551"/>
                  </a:cubicBezTo>
                  <a:cubicBezTo>
                    <a:pt x="975891" y="820551"/>
                    <a:pt x="970230" y="812529"/>
                    <a:pt x="964963" y="807183"/>
                  </a:cubicBezTo>
                  <a:lnTo>
                    <a:pt x="1050097" y="729092"/>
                  </a:lnTo>
                  <a:cubicBezTo>
                    <a:pt x="1044758" y="761820"/>
                    <a:pt x="1108476" y="794102"/>
                    <a:pt x="1134142" y="780977"/>
                  </a:cubicBezTo>
                  <a:cubicBezTo>
                    <a:pt x="1153617" y="774336"/>
                    <a:pt x="1147125" y="747776"/>
                    <a:pt x="1140634" y="734497"/>
                  </a:cubicBezTo>
                  <a:cubicBezTo>
                    <a:pt x="1140634" y="721217"/>
                    <a:pt x="1108177" y="714576"/>
                    <a:pt x="1101683" y="714576"/>
                  </a:cubicBezTo>
                  <a:cubicBezTo>
                    <a:pt x="1095191" y="714576"/>
                    <a:pt x="1095191" y="714576"/>
                    <a:pt x="1088701" y="707937"/>
                  </a:cubicBezTo>
                  <a:lnTo>
                    <a:pt x="1068188" y="712599"/>
                  </a:lnTo>
                  <a:close/>
                  <a:moveTo>
                    <a:pt x="2958163" y="609658"/>
                  </a:moveTo>
                  <a:cubicBezTo>
                    <a:pt x="2971191" y="609658"/>
                    <a:pt x="2997246" y="616232"/>
                    <a:pt x="3010274" y="622804"/>
                  </a:cubicBezTo>
                  <a:cubicBezTo>
                    <a:pt x="3016788" y="629378"/>
                    <a:pt x="3029816" y="635951"/>
                    <a:pt x="3036329" y="649097"/>
                  </a:cubicBezTo>
                  <a:lnTo>
                    <a:pt x="3047816" y="660688"/>
                  </a:lnTo>
                  <a:lnTo>
                    <a:pt x="3010204" y="695856"/>
                  </a:lnTo>
                  <a:cubicBezTo>
                    <a:pt x="3005124" y="697176"/>
                    <a:pt x="3000555" y="696778"/>
                    <a:pt x="2997246" y="695109"/>
                  </a:cubicBezTo>
                  <a:cubicBezTo>
                    <a:pt x="2984219" y="681963"/>
                    <a:pt x="2990732" y="668817"/>
                    <a:pt x="2984219" y="655671"/>
                  </a:cubicBezTo>
                  <a:cubicBezTo>
                    <a:pt x="2977705" y="649097"/>
                    <a:pt x="2964677" y="655671"/>
                    <a:pt x="2958163" y="655671"/>
                  </a:cubicBezTo>
                  <a:cubicBezTo>
                    <a:pt x="2958163" y="642524"/>
                    <a:pt x="2958163" y="642524"/>
                    <a:pt x="2951649" y="635951"/>
                  </a:cubicBezTo>
                  <a:cubicBezTo>
                    <a:pt x="2951649" y="629378"/>
                    <a:pt x="2938621" y="629378"/>
                    <a:pt x="2938621" y="622804"/>
                  </a:cubicBezTo>
                  <a:cubicBezTo>
                    <a:pt x="2938621" y="616232"/>
                    <a:pt x="2951649" y="609658"/>
                    <a:pt x="2958163" y="609658"/>
                  </a:cubicBezTo>
                  <a:close/>
                  <a:moveTo>
                    <a:pt x="1600752" y="502077"/>
                  </a:moveTo>
                  <a:cubicBezTo>
                    <a:pt x="1592605" y="501254"/>
                    <a:pt x="1582830" y="502899"/>
                    <a:pt x="1576313" y="502899"/>
                  </a:cubicBezTo>
                  <a:cubicBezTo>
                    <a:pt x="1563279" y="509481"/>
                    <a:pt x="1550246" y="516062"/>
                    <a:pt x="1537211" y="516062"/>
                  </a:cubicBezTo>
                  <a:cubicBezTo>
                    <a:pt x="1524178" y="516062"/>
                    <a:pt x="1517661" y="516062"/>
                    <a:pt x="1504627" y="516062"/>
                  </a:cubicBezTo>
                  <a:cubicBezTo>
                    <a:pt x="1478559" y="516062"/>
                    <a:pt x="1445975" y="516062"/>
                    <a:pt x="1432941" y="542388"/>
                  </a:cubicBezTo>
                  <a:cubicBezTo>
                    <a:pt x="1426424" y="548969"/>
                    <a:pt x="1432941" y="575294"/>
                    <a:pt x="1439459" y="588459"/>
                  </a:cubicBezTo>
                  <a:cubicBezTo>
                    <a:pt x="1439459" y="595040"/>
                    <a:pt x="1452492" y="621365"/>
                    <a:pt x="1439459" y="627947"/>
                  </a:cubicBezTo>
                  <a:cubicBezTo>
                    <a:pt x="1432941" y="634529"/>
                    <a:pt x="1413391" y="621365"/>
                    <a:pt x="1406873" y="614784"/>
                  </a:cubicBezTo>
                  <a:cubicBezTo>
                    <a:pt x="1400357" y="608203"/>
                    <a:pt x="1400357" y="588459"/>
                    <a:pt x="1400357" y="575294"/>
                  </a:cubicBezTo>
                  <a:cubicBezTo>
                    <a:pt x="1400357" y="555550"/>
                    <a:pt x="1413391" y="522643"/>
                    <a:pt x="1393840" y="509481"/>
                  </a:cubicBezTo>
                  <a:cubicBezTo>
                    <a:pt x="1374289" y="496318"/>
                    <a:pt x="1354738" y="516062"/>
                    <a:pt x="1348221" y="535807"/>
                  </a:cubicBezTo>
                  <a:cubicBezTo>
                    <a:pt x="1335187" y="548969"/>
                    <a:pt x="1328670" y="555550"/>
                    <a:pt x="1322154" y="575294"/>
                  </a:cubicBezTo>
                  <a:cubicBezTo>
                    <a:pt x="1315637" y="588459"/>
                    <a:pt x="1302603" y="608203"/>
                    <a:pt x="1322154" y="621365"/>
                  </a:cubicBezTo>
                  <a:cubicBezTo>
                    <a:pt x="1328670" y="627947"/>
                    <a:pt x="1335187" y="627947"/>
                    <a:pt x="1341705" y="641110"/>
                  </a:cubicBezTo>
                  <a:cubicBezTo>
                    <a:pt x="1348221" y="654273"/>
                    <a:pt x="1348221" y="667435"/>
                    <a:pt x="1361255" y="680598"/>
                  </a:cubicBezTo>
                  <a:cubicBezTo>
                    <a:pt x="1380806" y="693761"/>
                    <a:pt x="1393840" y="680598"/>
                    <a:pt x="1419908" y="680598"/>
                  </a:cubicBezTo>
                  <a:cubicBezTo>
                    <a:pt x="1426424" y="687180"/>
                    <a:pt x="1432941" y="687180"/>
                    <a:pt x="1439459" y="693761"/>
                  </a:cubicBezTo>
                  <a:cubicBezTo>
                    <a:pt x="1445975" y="693761"/>
                    <a:pt x="1452492" y="693761"/>
                    <a:pt x="1465526" y="700343"/>
                  </a:cubicBezTo>
                  <a:cubicBezTo>
                    <a:pt x="1472043" y="700343"/>
                    <a:pt x="1478559" y="700343"/>
                    <a:pt x="1485076" y="700343"/>
                  </a:cubicBezTo>
                  <a:cubicBezTo>
                    <a:pt x="1498110" y="700343"/>
                    <a:pt x="1504627" y="706924"/>
                    <a:pt x="1517661" y="706924"/>
                  </a:cubicBezTo>
                  <a:cubicBezTo>
                    <a:pt x="1530695" y="706924"/>
                    <a:pt x="1537211" y="693761"/>
                    <a:pt x="1550246" y="687180"/>
                  </a:cubicBezTo>
                  <a:cubicBezTo>
                    <a:pt x="1582830" y="680598"/>
                    <a:pt x="1615415" y="693761"/>
                    <a:pt x="1641483" y="700343"/>
                  </a:cubicBezTo>
                  <a:cubicBezTo>
                    <a:pt x="1687100" y="720087"/>
                    <a:pt x="1732719" y="766157"/>
                    <a:pt x="1739235" y="818809"/>
                  </a:cubicBezTo>
                  <a:cubicBezTo>
                    <a:pt x="1745753" y="845134"/>
                    <a:pt x="1732719" y="871460"/>
                    <a:pt x="1726202" y="891204"/>
                  </a:cubicBezTo>
                  <a:cubicBezTo>
                    <a:pt x="1726202" y="897785"/>
                    <a:pt x="1719686" y="910946"/>
                    <a:pt x="1719686" y="917530"/>
                  </a:cubicBezTo>
                  <a:cubicBezTo>
                    <a:pt x="1719739" y="917576"/>
                    <a:pt x="1726202" y="924130"/>
                    <a:pt x="1726202" y="930693"/>
                  </a:cubicBezTo>
                  <a:cubicBezTo>
                    <a:pt x="1726202" y="943855"/>
                    <a:pt x="1713168" y="957018"/>
                    <a:pt x="1700135" y="963600"/>
                  </a:cubicBezTo>
                  <a:cubicBezTo>
                    <a:pt x="1687100" y="970183"/>
                    <a:pt x="1661033" y="970183"/>
                    <a:pt x="1647999" y="970183"/>
                  </a:cubicBezTo>
                  <a:cubicBezTo>
                    <a:pt x="1634965" y="970183"/>
                    <a:pt x="1615415" y="963600"/>
                    <a:pt x="1602381" y="970183"/>
                  </a:cubicBezTo>
                  <a:cubicBezTo>
                    <a:pt x="1589347" y="983345"/>
                    <a:pt x="1602381" y="1009670"/>
                    <a:pt x="1615415" y="1016253"/>
                  </a:cubicBezTo>
                  <a:cubicBezTo>
                    <a:pt x="1641483" y="1035996"/>
                    <a:pt x="1687100" y="996508"/>
                    <a:pt x="1713168" y="1016253"/>
                  </a:cubicBezTo>
                  <a:cubicBezTo>
                    <a:pt x="1726202" y="1022834"/>
                    <a:pt x="1732719" y="1035996"/>
                    <a:pt x="1745753" y="1042578"/>
                  </a:cubicBezTo>
                  <a:cubicBezTo>
                    <a:pt x="1758786" y="1049159"/>
                    <a:pt x="1765304" y="1055740"/>
                    <a:pt x="1771821" y="1055740"/>
                  </a:cubicBezTo>
                  <a:cubicBezTo>
                    <a:pt x="1791372" y="1062322"/>
                    <a:pt x="1804405" y="1055740"/>
                    <a:pt x="1823956" y="1055740"/>
                  </a:cubicBezTo>
                  <a:cubicBezTo>
                    <a:pt x="1836989" y="1055740"/>
                    <a:pt x="1856540" y="1055740"/>
                    <a:pt x="1869575" y="1062322"/>
                  </a:cubicBezTo>
                  <a:cubicBezTo>
                    <a:pt x="1876091" y="1068904"/>
                    <a:pt x="1889124" y="1068904"/>
                    <a:pt x="1902159" y="1075485"/>
                  </a:cubicBezTo>
                  <a:cubicBezTo>
                    <a:pt x="1908675" y="1075485"/>
                    <a:pt x="1915192" y="1075485"/>
                    <a:pt x="1915192" y="1062322"/>
                  </a:cubicBezTo>
                  <a:cubicBezTo>
                    <a:pt x="1915192" y="1055740"/>
                    <a:pt x="1902159" y="1055740"/>
                    <a:pt x="1895642" y="1049159"/>
                  </a:cubicBezTo>
                  <a:cubicBezTo>
                    <a:pt x="1882608" y="1042578"/>
                    <a:pt x="1843507" y="1035996"/>
                    <a:pt x="1850024" y="1016253"/>
                  </a:cubicBezTo>
                  <a:cubicBezTo>
                    <a:pt x="1856540" y="1003089"/>
                    <a:pt x="1869575" y="1009670"/>
                    <a:pt x="1882608" y="1009670"/>
                  </a:cubicBezTo>
                  <a:cubicBezTo>
                    <a:pt x="1895642" y="1009670"/>
                    <a:pt x="1902159" y="1003089"/>
                    <a:pt x="1915192" y="1003089"/>
                  </a:cubicBezTo>
                  <a:cubicBezTo>
                    <a:pt x="1928226" y="996508"/>
                    <a:pt x="1941261" y="996508"/>
                    <a:pt x="1941261" y="983345"/>
                  </a:cubicBezTo>
                  <a:cubicBezTo>
                    <a:pt x="1941261" y="970183"/>
                    <a:pt x="1928226" y="957018"/>
                    <a:pt x="1921710" y="950437"/>
                  </a:cubicBezTo>
                  <a:cubicBezTo>
                    <a:pt x="1902159" y="943855"/>
                    <a:pt x="1869575" y="917530"/>
                    <a:pt x="1882608" y="891204"/>
                  </a:cubicBezTo>
                  <a:cubicBezTo>
                    <a:pt x="1889124" y="878042"/>
                    <a:pt x="1928226" y="891204"/>
                    <a:pt x="1941261" y="897786"/>
                  </a:cubicBezTo>
                  <a:cubicBezTo>
                    <a:pt x="1954294" y="910949"/>
                    <a:pt x="1973845" y="930693"/>
                    <a:pt x="1993396" y="930693"/>
                  </a:cubicBezTo>
                  <a:cubicBezTo>
                    <a:pt x="2019463" y="930693"/>
                    <a:pt x="2039013" y="904368"/>
                    <a:pt x="2045531" y="878042"/>
                  </a:cubicBezTo>
                  <a:cubicBezTo>
                    <a:pt x="2058564" y="851716"/>
                    <a:pt x="2039013" y="838553"/>
                    <a:pt x="2012946" y="838553"/>
                  </a:cubicBezTo>
                  <a:cubicBezTo>
                    <a:pt x="1993396" y="838553"/>
                    <a:pt x="1973845" y="838553"/>
                    <a:pt x="1947777" y="825390"/>
                  </a:cubicBezTo>
                  <a:cubicBezTo>
                    <a:pt x="1928226" y="818809"/>
                    <a:pt x="1908675" y="812228"/>
                    <a:pt x="1889124" y="799065"/>
                  </a:cubicBezTo>
                  <a:cubicBezTo>
                    <a:pt x="1869575" y="772738"/>
                    <a:pt x="1863057" y="739832"/>
                    <a:pt x="1850024" y="713505"/>
                  </a:cubicBezTo>
                  <a:cubicBezTo>
                    <a:pt x="1843507" y="693761"/>
                    <a:pt x="1830473" y="674017"/>
                    <a:pt x="1817439" y="660854"/>
                  </a:cubicBezTo>
                  <a:cubicBezTo>
                    <a:pt x="1804405" y="654273"/>
                    <a:pt x="1791372" y="647691"/>
                    <a:pt x="1778337" y="647691"/>
                  </a:cubicBezTo>
                  <a:cubicBezTo>
                    <a:pt x="1771821" y="641110"/>
                    <a:pt x="1765304" y="641110"/>
                    <a:pt x="1758786" y="641110"/>
                  </a:cubicBezTo>
                  <a:cubicBezTo>
                    <a:pt x="1758771" y="641094"/>
                    <a:pt x="1752340" y="634598"/>
                    <a:pt x="1752270" y="634529"/>
                  </a:cubicBezTo>
                  <a:cubicBezTo>
                    <a:pt x="1739235" y="627947"/>
                    <a:pt x="1732719" y="614784"/>
                    <a:pt x="1719686" y="595040"/>
                  </a:cubicBezTo>
                  <a:cubicBezTo>
                    <a:pt x="1706651" y="581877"/>
                    <a:pt x="1687100" y="581877"/>
                    <a:pt x="1674067" y="581877"/>
                  </a:cubicBezTo>
                  <a:cubicBezTo>
                    <a:pt x="1647999" y="575294"/>
                    <a:pt x="1576313" y="575294"/>
                    <a:pt x="1602381" y="535807"/>
                  </a:cubicBezTo>
                  <a:cubicBezTo>
                    <a:pt x="1608897" y="529225"/>
                    <a:pt x="1615415" y="522643"/>
                    <a:pt x="1615415" y="516062"/>
                  </a:cubicBezTo>
                  <a:cubicBezTo>
                    <a:pt x="1615415" y="506190"/>
                    <a:pt x="1608897" y="502899"/>
                    <a:pt x="1600752" y="502077"/>
                  </a:cubicBezTo>
                  <a:close/>
                  <a:moveTo>
                    <a:pt x="1473191" y="450839"/>
                  </a:moveTo>
                  <a:cubicBezTo>
                    <a:pt x="1479728" y="450839"/>
                    <a:pt x="1486265" y="463833"/>
                    <a:pt x="1492801" y="463833"/>
                  </a:cubicBezTo>
                  <a:cubicBezTo>
                    <a:pt x="1510749" y="469779"/>
                    <a:pt x="1545118" y="464841"/>
                    <a:pt x="1555152" y="453328"/>
                  </a:cubicBezTo>
                  <a:cubicBezTo>
                    <a:pt x="1817156" y="581451"/>
                    <a:pt x="2046164" y="732868"/>
                    <a:pt x="2248392" y="896876"/>
                  </a:cubicBezTo>
                  <a:cubicBezTo>
                    <a:pt x="2248144" y="897469"/>
                    <a:pt x="2248144" y="898130"/>
                    <a:pt x="2248144" y="898876"/>
                  </a:cubicBezTo>
                  <a:cubicBezTo>
                    <a:pt x="2248144" y="918596"/>
                    <a:pt x="2267685" y="925168"/>
                    <a:pt x="2274200" y="938315"/>
                  </a:cubicBezTo>
                  <a:cubicBezTo>
                    <a:pt x="2274200" y="944888"/>
                    <a:pt x="2274200" y="951461"/>
                    <a:pt x="2280713" y="958035"/>
                  </a:cubicBezTo>
                  <a:cubicBezTo>
                    <a:pt x="2287228" y="971181"/>
                    <a:pt x="2287228" y="964607"/>
                    <a:pt x="2300255" y="971181"/>
                  </a:cubicBezTo>
                  <a:cubicBezTo>
                    <a:pt x="2303512" y="971181"/>
                    <a:pt x="2306769" y="971181"/>
                    <a:pt x="2308398" y="972824"/>
                  </a:cubicBezTo>
                  <a:lnTo>
                    <a:pt x="2306769" y="984327"/>
                  </a:lnTo>
                  <a:cubicBezTo>
                    <a:pt x="2306769" y="990901"/>
                    <a:pt x="2293741" y="984327"/>
                    <a:pt x="2293741" y="997473"/>
                  </a:cubicBezTo>
                  <a:cubicBezTo>
                    <a:pt x="2293741" y="1004030"/>
                    <a:pt x="2306702" y="1017125"/>
                    <a:pt x="2306769" y="1017193"/>
                  </a:cubicBezTo>
                  <a:cubicBezTo>
                    <a:pt x="2313243" y="1023726"/>
                    <a:pt x="2319717" y="1023766"/>
                    <a:pt x="2319797" y="1023766"/>
                  </a:cubicBezTo>
                  <a:cubicBezTo>
                    <a:pt x="2326311" y="1030340"/>
                    <a:pt x="2319797" y="1043486"/>
                    <a:pt x="2326311" y="1043486"/>
                  </a:cubicBezTo>
                  <a:cubicBezTo>
                    <a:pt x="2332825" y="1063206"/>
                    <a:pt x="2345853" y="1056632"/>
                    <a:pt x="2358880" y="1063206"/>
                  </a:cubicBezTo>
                  <a:cubicBezTo>
                    <a:pt x="2371908" y="1063206"/>
                    <a:pt x="2371908" y="1082924"/>
                    <a:pt x="2378423" y="1089497"/>
                  </a:cubicBezTo>
                  <a:cubicBezTo>
                    <a:pt x="2384936" y="1109216"/>
                    <a:pt x="2397964" y="1122362"/>
                    <a:pt x="2417506" y="1122362"/>
                  </a:cubicBezTo>
                  <a:cubicBezTo>
                    <a:pt x="2430534" y="1122362"/>
                    <a:pt x="2430534" y="1115790"/>
                    <a:pt x="2443561" y="1122362"/>
                  </a:cubicBezTo>
                  <a:cubicBezTo>
                    <a:pt x="2456589" y="1128936"/>
                    <a:pt x="2463104" y="1135510"/>
                    <a:pt x="2476131" y="1148656"/>
                  </a:cubicBezTo>
                  <a:cubicBezTo>
                    <a:pt x="2482645" y="1155228"/>
                    <a:pt x="2495673" y="1161802"/>
                    <a:pt x="2502187" y="1161802"/>
                  </a:cubicBezTo>
                  <a:cubicBezTo>
                    <a:pt x="2508701" y="1155228"/>
                    <a:pt x="2508701" y="1148656"/>
                    <a:pt x="2508701" y="1142082"/>
                  </a:cubicBezTo>
                  <a:lnTo>
                    <a:pt x="2517444" y="1133259"/>
                  </a:lnTo>
                  <a:lnTo>
                    <a:pt x="2564596" y="1177954"/>
                  </a:lnTo>
                  <a:cubicBezTo>
                    <a:pt x="2487464" y="1268743"/>
                    <a:pt x="2413642" y="1360723"/>
                    <a:pt x="2344538" y="1453727"/>
                  </a:cubicBezTo>
                  <a:cubicBezTo>
                    <a:pt x="2244363" y="1415184"/>
                    <a:pt x="2144762" y="1379803"/>
                    <a:pt x="2046472" y="1347605"/>
                  </a:cubicBezTo>
                  <a:cubicBezTo>
                    <a:pt x="2046472" y="1342893"/>
                    <a:pt x="2046472" y="1338182"/>
                    <a:pt x="2046472" y="1333470"/>
                  </a:cubicBezTo>
                  <a:cubicBezTo>
                    <a:pt x="2039956" y="1320318"/>
                    <a:pt x="2033439" y="1313742"/>
                    <a:pt x="2033439" y="1307166"/>
                  </a:cubicBezTo>
                  <a:cubicBezTo>
                    <a:pt x="2033439" y="1294015"/>
                    <a:pt x="2033439" y="1287439"/>
                    <a:pt x="2026921" y="1274286"/>
                  </a:cubicBezTo>
                  <a:cubicBezTo>
                    <a:pt x="2026921" y="1261135"/>
                    <a:pt x="2026921" y="1254559"/>
                    <a:pt x="2020405" y="1247984"/>
                  </a:cubicBezTo>
                  <a:cubicBezTo>
                    <a:pt x="2013888" y="1234831"/>
                    <a:pt x="1994337" y="1228255"/>
                    <a:pt x="1987819" y="1215104"/>
                  </a:cubicBezTo>
                  <a:cubicBezTo>
                    <a:pt x="1974786" y="1201951"/>
                    <a:pt x="1981303" y="1195376"/>
                    <a:pt x="1974786" y="1182224"/>
                  </a:cubicBezTo>
                  <a:cubicBezTo>
                    <a:pt x="1968268" y="1169073"/>
                    <a:pt x="1955235" y="1155920"/>
                    <a:pt x="1942201" y="1169073"/>
                  </a:cubicBezTo>
                  <a:cubicBezTo>
                    <a:pt x="1935684" y="1175648"/>
                    <a:pt x="1929166" y="1188800"/>
                    <a:pt x="1922650" y="1195376"/>
                  </a:cubicBezTo>
                  <a:cubicBezTo>
                    <a:pt x="1909616" y="1215104"/>
                    <a:pt x="1883548" y="1215104"/>
                    <a:pt x="1863997" y="1208528"/>
                  </a:cubicBezTo>
                  <a:cubicBezTo>
                    <a:pt x="1844446" y="1201951"/>
                    <a:pt x="1831412" y="1182224"/>
                    <a:pt x="1824895" y="1162496"/>
                  </a:cubicBezTo>
                  <a:cubicBezTo>
                    <a:pt x="1824895" y="1142769"/>
                    <a:pt x="1824895" y="1123040"/>
                    <a:pt x="1805344" y="1109889"/>
                  </a:cubicBezTo>
                  <a:cubicBezTo>
                    <a:pt x="1792310" y="1096738"/>
                    <a:pt x="1772759" y="1090162"/>
                    <a:pt x="1753208" y="1077009"/>
                  </a:cubicBezTo>
                  <a:cubicBezTo>
                    <a:pt x="1746691" y="1063858"/>
                    <a:pt x="1733657" y="1050706"/>
                    <a:pt x="1720624" y="1044130"/>
                  </a:cubicBezTo>
                  <a:cubicBezTo>
                    <a:pt x="1701072" y="1044130"/>
                    <a:pt x="1681521" y="1050706"/>
                    <a:pt x="1668487" y="1063858"/>
                  </a:cubicBezTo>
                  <a:cubicBezTo>
                    <a:pt x="1655453" y="1070434"/>
                    <a:pt x="1635902" y="1063858"/>
                    <a:pt x="1622868" y="1070434"/>
                  </a:cubicBezTo>
                  <a:cubicBezTo>
                    <a:pt x="1596800" y="1077009"/>
                    <a:pt x="1616351" y="1109889"/>
                    <a:pt x="1609834" y="1129617"/>
                  </a:cubicBezTo>
                  <a:cubicBezTo>
                    <a:pt x="1609834" y="1136193"/>
                    <a:pt x="1603317" y="1136193"/>
                    <a:pt x="1603317" y="1142769"/>
                  </a:cubicBezTo>
                  <a:cubicBezTo>
                    <a:pt x="1609834" y="1149344"/>
                    <a:pt x="1609834" y="1149344"/>
                    <a:pt x="1616351" y="1155920"/>
                  </a:cubicBezTo>
                  <a:cubicBezTo>
                    <a:pt x="1616351" y="1162496"/>
                    <a:pt x="1609834" y="1175648"/>
                    <a:pt x="1603317" y="1182224"/>
                  </a:cubicBezTo>
                  <a:cubicBezTo>
                    <a:pt x="1598146" y="1187442"/>
                    <a:pt x="1584769" y="1192660"/>
                    <a:pt x="1581417" y="1202381"/>
                  </a:cubicBezTo>
                  <a:cubicBezTo>
                    <a:pt x="1448623" y="1163631"/>
                    <a:pt x="1321528" y="1130745"/>
                    <a:pt x="1202361" y="1103854"/>
                  </a:cubicBezTo>
                  <a:cubicBezTo>
                    <a:pt x="1209628" y="1093304"/>
                    <a:pt x="1215701" y="1088445"/>
                    <a:pt x="1225332" y="1083585"/>
                  </a:cubicBezTo>
                  <a:cubicBezTo>
                    <a:pt x="1238365" y="1077009"/>
                    <a:pt x="1244883" y="1063858"/>
                    <a:pt x="1257916" y="1057282"/>
                  </a:cubicBezTo>
                  <a:cubicBezTo>
                    <a:pt x="1264434" y="1044130"/>
                    <a:pt x="1264434" y="1030978"/>
                    <a:pt x="1270950" y="1024402"/>
                  </a:cubicBezTo>
                  <a:cubicBezTo>
                    <a:pt x="1277467" y="1017827"/>
                    <a:pt x="1283985" y="1017827"/>
                    <a:pt x="1290501" y="1011251"/>
                  </a:cubicBezTo>
                  <a:cubicBezTo>
                    <a:pt x="1303536" y="1004674"/>
                    <a:pt x="1323086" y="998098"/>
                    <a:pt x="1342637" y="991523"/>
                  </a:cubicBezTo>
                  <a:cubicBezTo>
                    <a:pt x="1349154" y="984947"/>
                    <a:pt x="1355672" y="984947"/>
                    <a:pt x="1355672" y="978371"/>
                  </a:cubicBezTo>
                  <a:cubicBezTo>
                    <a:pt x="1355672" y="971796"/>
                    <a:pt x="1349154" y="958643"/>
                    <a:pt x="1349154" y="952067"/>
                  </a:cubicBezTo>
                  <a:cubicBezTo>
                    <a:pt x="1336121" y="945492"/>
                    <a:pt x="1329603" y="945492"/>
                    <a:pt x="1316569" y="945492"/>
                  </a:cubicBezTo>
                  <a:cubicBezTo>
                    <a:pt x="1310052" y="945492"/>
                    <a:pt x="1283985" y="945492"/>
                    <a:pt x="1290501" y="925763"/>
                  </a:cubicBezTo>
                  <a:cubicBezTo>
                    <a:pt x="1297018" y="912612"/>
                    <a:pt x="1323084" y="919188"/>
                    <a:pt x="1336121" y="919188"/>
                  </a:cubicBezTo>
                  <a:cubicBezTo>
                    <a:pt x="1342637" y="925763"/>
                    <a:pt x="1355672" y="932340"/>
                    <a:pt x="1368705" y="932340"/>
                  </a:cubicBezTo>
                  <a:cubicBezTo>
                    <a:pt x="1388256" y="925763"/>
                    <a:pt x="1381739" y="899460"/>
                    <a:pt x="1401290" y="892884"/>
                  </a:cubicBezTo>
                  <a:cubicBezTo>
                    <a:pt x="1414325" y="892885"/>
                    <a:pt x="1414325" y="892885"/>
                    <a:pt x="1427358" y="899460"/>
                  </a:cubicBezTo>
                  <a:cubicBezTo>
                    <a:pt x="1440392" y="906036"/>
                    <a:pt x="1466460" y="886308"/>
                    <a:pt x="1479494" y="879732"/>
                  </a:cubicBezTo>
                  <a:cubicBezTo>
                    <a:pt x="1499045" y="873156"/>
                    <a:pt x="1512079" y="866581"/>
                    <a:pt x="1531630" y="866581"/>
                  </a:cubicBezTo>
                  <a:cubicBezTo>
                    <a:pt x="1544664" y="860005"/>
                    <a:pt x="1551181" y="853429"/>
                    <a:pt x="1544664" y="840278"/>
                  </a:cubicBezTo>
                  <a:cubicBezTo>
                    <a:pt x="1544664" y="820551"/>
                    <a:pt x="1531630" y="820551"/>
                    <a:pt x="1518596" y="807398"/>
                  </a:cubicBezTo>
                  <a:cubicBezTo>
                    <a:pt x="1518596" y="800851"/>
                    <a:pt x="1518596" y="794305"/>
                    <a:pt x="1518596" y="794247"/>
                  </a:cubicBezTo>
                  <a:cubicBezTo>
                    <a:pt x="1518596" y="781095"/>
                    <a:pt x="1512079" y="774518"/>
                    <a:pt x="1518596" y="767943"/>
                  </a:cubicBezTo>
                  <a:cubicBezTo>
                    <a:pt x="1518596" y="761367"/>
                    <a:pt x="1525113" y="754791"/>
                    <a:pt x="1518596" y="748216"/>
                  </a:cubicBezTo>
                  <a:cubicBezTo>
                    <a:pt x="1518596" y="741640"/>
                    <a:pt x="1505562" y="741640"/>
                    <a:pt x="1499045" y="735063"/>
                  </a:cubicBezTo>
                  <a:cubicBezTo>
                    <a:pt x="1492529" y="728487"/>
                    <a:pt x="1492529" y="721912"/>
                    <a:pt x="1479494" y="721912"/>
                  </a:cubicBezTo>
                  <a:cubicBezTo>
                    <a:pt x="1466460" y="715336"/>
                    <a:pt x="1453427" y="715336"/>
                    <a:pt x="1440392" y="721912"/>
                  </a:cubicBezTo>
                  <a:cubicBezTo>
                    <a:pt x="1427358" y="721912"/>
                    <a:pt x="1420841" y="728487"/>
                    <a:pt x="1427358" y="741640"/>
                  </a:cubicBezTo>
                  <a:cubicBezTo>
                    <a:pt x="1427358" y="748216"/>
                    <a:pt x="1446909" y="754791"/>
                    <a:pt x="1440392" y="767943"/>
                  </a:cubicBezTo>
                  <a:cubicBezTo>
                    <a:pt x="1433907" y="767943"/>
                    <a:pt x="1427420" y="767943"/>
                    <a:pt x="1427358" y="767943"/>
                  </a:cubicBezTo>
                  <a:cubicBezTo>
                    <a:pt x="1420841" y="767943"/>
                    <a:pt x="1420841" y="774518"/>
                    <a:pt x="1414325" y="781095"/>
                  </a:cubicBezTo>
                  <a:cubicBezTo>
                    <a:pt x="1414325" y="787671"/>
                    <a:pt x="1420841" y="794247"/>
                    <a:pt x="1414325" y="800822"/>
                  </a:cubicBezTo>
                  <a:cubicBezTo>
                    <a:pt x="1414325" y="807398"/>
                    <a:pt x="1414325" y="813975"/>
                    <a:pt x="1407807" y="813975"/>
                  </a:cubicBezTo>
                  <a:cubicBezTo>
                    <a:pt x="1401290" y="827126"/>
                    <a:pt x="1388256" y="846853"/>
                    <a:pt x="1375223" y="846853"/>
                  </a:cubicBezTo>
                  <a:cubicBezTo>
                    <a:pt x="1362188" y="846853"/>
                    <a:pt x="1355672" y="840278"/>
                    <a:pt x="1355672" y="827126"/>
                  </a:cubicBezTo>
                  <a:cubicBezTo>
                    <a:pt x="1342637" y="807398"/>
                    <a:pt x="1349154" y="787671"/>
                    <a:pt x="1349154" y="767943"/>
                  </a:cubicBezTo>
                  <a:cubicBezTo>
                    <a:pt x="1349154" y="754791"/>
                    <a:pt x="1336121" y="735063"/>
                    <a:pt x="1323086" y="748216"/>
                  </a:cubicBezTo>
                  <a:cubicBezTo>
                    <a:pt x="1310052" y="754791"/>
                    <a:pt x="1323086" y="800822"/>
                    <a:pt x="1297019" y="787671"/>
                  </a:cubicBezTo>
                  <a:cubicBezTo>
                    <a:pt x="1290501" y="781095"/>
                    <a:pt x="1290501" y="774518"/>
                    <a:pt x="1283985" y="767943"/>
                  </a:cubicBezTo>
                  <a:cubicBezTo>
                    <a:pt x="1283985" y="754791"/>
                    <a:pt x="1283985" y="748216"/>
                    <a:pt x="1270950" y="741640"/>
                  </a:cubicBezTo>
                  <a:cubicBezTo>
                    <a:pt x="1257916" y="741640"/>
                    <a:pt x="1251399" y="728487"/>
                    <a:pt x="1251399" y="721912"/>
                  </a:cubicBezTo>
                  <a:cubicBezTo>
                    <a:pt x="1244883" y="715336"/>
                    <a:pt x="1244883" y="715336"/>
                    <a:pt x="1244883" y="708760"/>
                  </a:cubicBezTo>
                  <a:cubicBezTo>
                    <a:pt x="1244883" y="702230"/>
                    <a:pt x="1251308" y="695700"/>
                    <a:pt x="1251399" y="695608"/>
                  </a:cubicBezTo>
                  <a:cubicBezTo>
                    <a:pt x="1251399" y="689032"/>
                    <a:pt x="1244883" y="695608"/>
                    <a:pt x="1238365" y="689032"/>
                  </a:cubicBezTo>
                  <a:cubicBezTo>
                    <a:pt x="1238365" y="688966"/>
                    <a:pt x="1238407" y="682456"/>
                    <a:pt x="1244883" y="682456"/>
                  </a:cubicBezTo>
                  <a:cubicBezTo>
                    <a:pt x="1244916" y="682490"/>
                    <a:pt x="1251416" y="689018"/>
                    <a:pt x="1257916" y="682456"/>
                  </a:cubicBezTo>
                  <a:cubicBezTo>
                    <a:pt x="1264434" y="675880"/>
                    <a:pt x="1264434" y="669305"/>
                    <a:pt x="1257916" y="662728"/>
                  </a:cubicBezTo>
                  <a:cubicBezTo>
                    <a:pt x="1251399" y="656152"/>
                    <a:pt x="1238365" y="656152"/>
                    <a:pt x="1225332" y="649576"/>
                  </a:cubicBezTo>
                  <a:cubicBezTo>
                    <a:pt x="1218814" y="643001"/>
                    <a:pt x="1212297" y="636425"/>
                    <a:pt x="1199263" y="629849"/>
                  </a:cubicBezTo>
                  <a:lnTo>
                    <a:pt x="1191096" y="619842"/>
                  </a:lnTo>
                  <a:cubicBezTo>
                    <a:pt x="1266574" y="560992"/>
                    <a:pt x="1346933" y="508634"/>
                    <a:pt x="1431148" y="462521"/>
                  </a:cubicBezTo>
                  <a:cubicBezTo>
                    <a:pt x="1436385" y="465947"/>
                    <a:pt x="1443536" y="466330"/>
                    <a:pt x="1453581" y="463833"/>
                  </a:cubicBezTo>
                  <a:cubicBezTo>
                    <a:pt x="1460118" y="457335"/>
                    <a:pt x="1466655" y="450839"/>
                    <a:pt x="1473191" y="450839"/>
                  </a:cubicBezTo>
                  <a:close/>
                  <a:moveTo>
                    <a:pt x="1777745" y="298724"/>
                  </a:moveTo>
                  <a:cubicBezTo>
                    <a:pt x="1779996" y="305951"/>
                    <a:pt x="1785271" y="311547"/>
                    <a:pt x="1792168" y="313867"/>
                  </a:cubicBezTo>
                  <a:cubicBezTo>
                    <a:pt x="1811710" y="327013"/>
                    <a:pt x="1831252" y="320441"/>
                    <a:pt x="1844279" y="313867"/>
                  </a:cubicBezTo>
                  <a:cubicBezTo>
                    <a:pt x="1850794" y="307294"/>
                    <a:pt x="1857307" y="307294"/>
                    <a:pt x="1863822" y="307294"/>
                  </a:cubicBezTo>
                  <a:cubicBezTo>
                    <a:pt x="1870335" y="307294"/>
                    <a:pt x="1883363" y="307294"/>
                    <a:pt x="1889878" y="307294"/>
                  </a:cubicBezTo>
                  <a:cubicBezTo>
                    <a:pt x="1896391" y="307294"/>
                    <a:pt x="1909419" y="313867"/>
                    <a:pt x="1902904" y="320441"/>
                  </a:cubicBezTo>
                  <a:cubicBezTo>
                    <a:pt x="1902904" y="340158"/>
                    <a:pt x="1863822" y="327013"/>
                    <a:pt x="1850794" y="333587"/>
                  </a:cubicBezTo>
                  <a:cubicBezTo>
                    <a:pt x="1831252" y="333587"/>
                    <a:pt x="1805196" y="333587"/>
                    <a:pt x="1792168" y="353306"/>
                  </a:cubicBezTo>
                  <a:cubicBezTo>
                    <a:pt x="1785655" y="366452"/>
                    <a:pt x="1798682" y="379598"/>
                    <a:pt x="1811710" y="386171"/>
                  </a:cubicBezTo>
                  <a:cubicBezTo>
                    <a:pt x="1824738" y="392744"/>
                    <a:pt x="1837766" y="399317"/>
                    <a:pt x="1857307" y="399317"/>
                  </a:cubicBezTo>
                  <a:cubicBezTo>
                    <a:pt x="1870335" y="392744"/>
                    <a:pt x="1883363" y="379598"/>
                    <a:pt x="1896391" y="373025"/>
                  </a:cubicBezTo>
                  <a:cubicBezTo>
                    <a:pt x="1941988" y="359878"/>
                    <a:pt x="1994100" y="373025"/>
                    <a:pt x="2033183" y="386171"/>
                  </a:cubicBezTo>
                  <a:cubicBezTo>
                    <a:pt x="2052726" y="392744"/>
                    <a:pt x="2072267" y="399317"/>
                    <a:pt x="2085295" y="412464"/>
                  </a:cubicBezTo>
                  <a:cubicBezTo>
                    <a:pt x="2104837" y="419037"/>
                    <a:pt x="2117865" y="432183"/>
                    <a:pt x="2130893" y="438757"/>
                  </a:cubicBezTo>
                  <a:cubicBezTo>
                    <a:pt x="2150434" y="451903"/>
                    <a:pt x="2163462" y="471622"/>
                    <a:pt x="2176490" y="491342"/>
                  </a:cubicBezTo>
                  <a:cubicBezTo>
                    <a:pt x="2189518" y="517634"/>
                    <a:pt x="2215574" y="543926"/>
                    <a:pt x="2202546" y="576792"/>
                  </a:cubicBezTo>
                  <a:cubicBezTo>
                    <a:pt x="2196032" y="583366"/>
                    <a:pt x="2189518" y="583366"/>
                    <a:pt x="2189518" y="589938"/>
                  </a:cubicBezTo>
                  <a:cubicBezTo>
                    <a:pt x="2189518" y="609658"/>
                    <a:pt x="2202546" y="609658"/>
                    <a:pt x="2215574" y="609658"/>
                  </a:cubicBezTo>
                  <a:cubicBezTo>
                    <a:pt x="2241629" y="609658"/>
                    <a:pt x="2280713" y="609658"/>
                    <a:pt x="2293741" y="635951"/>
                  </a:cubicBezTo>
                  <a:cubicBezTo>
                    <a:pt x="2293741" y="649097"/>
                    <a:pt x="2293741" y="662243"/>
                    <a:pt x="2287228" y="662243"/>
                  </a:cubicBezTo>
                  <a:cubicBezTo>
                    <a:pt x="2274200" y="668817"/>
                    <a:pt x="2261172" y="655671"/>
                    <a:pt x="2254657" y="655671"/>
                  </a:cubicBezTo>
                  <a:cubicBezTo>
                    <a:pt x="2241629" y="655671"/>
                    <a:pt x="2215574" y="649097"/>
                    <a:pt x="2209060" y="662243"/>
                  </a:cubicBezTo>
                  <a:cubicBezTo>
                    <a:pt x="2202546" y="675389"/>
                    <a:pt x="2215574" y="675389"/>
                    <a:pt x="2222088" y="681963"/>
                  </a:cubicBezTo>
                  <a:cubicBezTo>
                    <a:pt x="2228602" y="681963"/>
                    <a:pt x="2228602" y="688537"/>
                    <a:pt x="2235116" y="695109"/>
                  </a:cubicBezTo>
                  <a:cubicBezTo>
                    <a:pt x="2234979" y="695149"/>
                    <a:pt x="2209060" y="701698"/>
                    <a:pt x="2209060" y="708255"/>
                  </a:cubicBezTo>
                  <a:cubicBezTo>
                    <a:pt x="2209060" y="721401"/>
                    <a:pt x="2222088" y="721401"/>
                    <a:pt x="2222088" y="734547"/>
                  </a:cubicBezTo>
                  <a:cubicBezTo>
                    <a:pt x="2228602" y="741121"/>
                    <a:pt x="2215574" y="741121"/>
                    <a:pt x="2215574" y="754267"/>
                  </a:cubicBezTo>
                  <a:cubicBezTo>
                    <a:pt x="2215574" y="760841"/>
                    <a:pt x="2235116" y="767413"/>
                    <a:pt x="2241629" y="767413"/>
                  </a:cubicBezTo>
                  <a:cubicBezTo>
                    <a:pt x="2280713" y="760841"/>
                    <a:pt x="2241629" y="714828"/>
                    <a:pt x="2254657" y="701682"/>
                  </a:cubicBezTo>
                  <a:cubicBezTo>
                    <a:pt x="2274200" y="681963"/>
                    <a:pt x="2332825" y="708255"/>
                    <a:pt x="2345853" y="714828"/>
                  </a:cubicBezTo>
                  <a:cubicBezTo>
                    <a:pt x="2365395" y="721401"/>
                    <a:pt x="2365395" y="741121"/>
                    <a:pt x="2352367" y="754267"/>
                  </a:cubicBezTo>
                  <a:cubicBezTo>
                    <a:pt x="2339339" y="767413"/>
                    <a:pt x="2326311" y="767413"/>
                    <a:pt x="2319797" y="787133"/>
                  </a:cubicBezTo>
                  <a:cubicBezTo>
                    <a:pt x="2319797" y="800280"/>
                    <a:pt x="2313283" y="806852"/>
                    <a:pt x="2306769" y="813426"/>
                  </a:cubicBezTo>
                  <a:cubicBezTo>
                    <a:pt x="2287228" y="819998"/>
                    <a:pt x="2274200" y="813426"/>
                    <a:pt x="2261172" y="819998"/>
                  </a:cubicBezTo>
                  <a:cubicBezTo>
                    <a:pt x="2254657" y="819998"/>
                    <a:pt x="2248144" y="826572"/>
                    <a:pt x="2241629" y="833146"/>
                  </a:cubicBezTo>
                  <a:cubicBezTo>
                    <a:pt x="2241629" y="846292"/>
                    <a:pt x="2248144" y="846292"/>
                    <a:pt x="2254657" y="852865"/>
                  </a:cubicBezTo>
                  <a:lnTo>
                    <a:pt x="2254657" y="854402"/>
                  </a:lnTo>
                  <a:cubicBezTo>
                    <a:pt x="2030443" y="673237"/>
                    <a:pt x="1790845" y="523986"/>
                    <a:pt x="1532172" y="408254"/>
                  </a:cubicBezTo>
                  <a:lnTo>
                    <a:pt x="1563400" y="393072"/>
                  </a:lnTo>
                  <a:cubicBezTo>
                    <a:pt x="1563537" y="393150"/>
                    <a:pt x="1563677" y="393221"/>
                    <a:pt x="1563818" y="393292"/>
                  </a:cubicBezTo>
                  <a:lnTo>
                    <a:pt x="1571320" y="389221"/>
                  </a:lnTo>
                  <a:cubicBezTo>
                    <a:pt x="1637311" y="353400"/>
                    <a:pt x="1706271" y="323188"/>
                    <a:pt x="1777745" y="298724"/>
                  </a:cubicBezTo>
                  <a:close/>
                  <a:moveTo>
                    <a:pt x="3557306" y="287696"/>
                  </a:moveTo>
                  <a:cubicBezTo>
                    <a:pt x="3811168" y="380958"/>
                    <a:pt x="4045360" y="515441"/>
                    <a:pt x="4252506" y="682887"/>
                  </a:cubicBezTo>
                  <a:cubicBezTo>
                    <a:pt x="4246666" y="683314"/>
                    <a:pt x="4240452" y="680970"/>
                    <a:pt x="4236562" y="680970"/>
                  </a:cubicBezTo>
                  <a:cubicBezTo>
                    <a:pt x="4197447" y="674391"/>
                    <a:pt x="4217004" y="713866"/>
                    <a:pt x="4184408" y="727024"/>
                  </a:cubicBezTo>
                  <a:cubicBezTo>
                    <a:pt x="4164851" y="733603"/>
                    <a:pt x="4119217" y="727024"/>
                    <a:pt x="4112698" y="759919"/>
                  </a:cubicBezTo>
                  <a:cubicBezTo>
                    <a:pt x="4112698" y="766499"/>
                    <a:pt x="4112698" y="779657"/>
                    <a:pt x="4106180" y="786235"/>
                  </a:cubicBezTo>
                  <a:cubicBezTo>
                    <a:pt x="4099661" y="799393"/>
                    <a:pt x="4086622" y="792814"/>
                    <a:pt x="4073584" y="792814"/>
                  </a:cubicBezTo>
                  <a:cubicBezTo>
                    <a:pt x="4067065" y="805972"/>
                    <a:pt x="4080103" y="805972"/>
                    <a:pt x="4086622" y="812551"/>
                  </a:cubicBezTo>
                  <a:cubicBezTo>
                    <a:pt x="4093141" y="838867"/>
                    <a:pt x="4073584" y="825709"/>
                    <a:pt x="4060546" y="832288"/>
                  </a:cubicBezTo>
                  <a:cubicBezTo>
                    <a:pt x="4047507" y="838867"/>
                    <a:pt x="4060546" y="845447"/>
                    <a:pt x="4060546" y="852027"/>
                  </a:cubicBezTo>
                  <a:cubicBezTo>
                    <a:pt x="4060546" y="878343"/>
                    <a:pt x="4034470" y="858606"/>
                    <a:pt x="4021431" y="858606"/>
                  </a:cubicBezTo>
                  <a:cubicBezTo>
                    <a:pt x="3982316" y="858606"/>
                    <a:pt x="4034469" y="904657"/>
                    <a:pt x="4027950" y="911238"/>
                  </a:cubicBezTo>
                  <a:cubicBezTo>
                    <a:pt x="4008392" y="930976"/>
                    <a:pt x="3988835" y="891501"/>
                    <a:pt x="3969279" y="917817"/>
                  </a:cubicBezTo>
                  <a:cubicBezTo>
                    <a:pt x="3962759" y="930976"/>
                    <a:pt x="3956240" y="950712"/>
                    <a:pt x="3943201" y="963870"/>
                  </a:cubicBezTo>
                  <a:cubicBezTo>
                    <a:pt x="3938313" y="973739"/>
                    <a:pt x="3922422" y="976206"/>
                    <a:pt x="3925783" y="982374"/>
                  </a:cubicBezTo>
                  <a:lnTo>
                    <a:pt x="3936683" y="990186"/>
                  </a:lnTo>
                  <a:cubicBezTo>
                    <a:pt x="3943201" y="996765"/>
                    <a:pt x="3956240" y="1003344"/>
                    <a:pt x="3943201" y="1009923"/>
                  </a:cubicBezTo>
                  <a:cubicBezTo>
                    <a:pt x="3930164" y="1009923"/>
                    <a:pt x="3910607" y="1003344"/>
                    <a:pt x="3897568" y="1003344"/>
                  </a:cubicBezTo>
                  <a:cubicBezTo>
                    <a:pt x="3891049" y="996765"/>
                    <a:pt x="3878010" y="996765"/>
                    <a:pt x="3871492" y="1003344"/>
                  </a:cubicBezTo>
                  <a:cubicBezTo>
                    <a:pt x="3864973" y="1016503"/>
                    <a:pt x="3878010" y="1023082"/>
                    <a:pt x="3871492" y="1029661"/>
                  </a:cubicBezTo>
                  <a:cubicBezTo>
                    <a:pt x="3871492" y="1055977"/>
                    <a:pt x="3825858" y="1029661"/>
                    <a:pt x="3819339" y="1055977"/>
                  </a:cubicBezTo>
                  <a:cubicBezTo>
                    <a:pt x="3819339" y="1062556"/>
                    <a:pt x="3825858" y="1075714"/>
                    <a:pt x="3819339" y="1082292"/>
                  </a:cubicBezTo>
                  <a:cubicBezTo>
                    <a:pt x="3812821" y="1095451"/>
                    <a:pt x="3793263" y="1088871"/>
                    <a:pt x="3780225" y="1095451"/>
                  </a:cubicBezTo>
                  <a:lnTo>
                    <a:pt x="3769631" y="1097095"/>
                  </a:lnTo>
                  <a:lnTo>
                    <a:pt x="3773706" y="1108609"/>
                  </a:lnTo>
                  <a:cubicBezTo>
                    <a:pt x="3773744" y="1108609"/>
                    <a:pt x="3780225" y="1108629"/>
                    <a:pt x="3780225" y="1115188"/>
                  </a:cubicBezTo>
                  <a:cubicBezTo>
                    <a:pt x="3773706" y="1121767"/>
                    <a:pt x="3773706" y="1115188"/>
                    <a:pt x="3767186" y="1121767"/>
                  </a:cubicBezTo>
                  <a:cubicBezTo>
                    <a:pt x="3767186" y="1125056"/>
                    <a:pt x="3765556" y="1125056"/>
                    <a:pt x="3764741" y="1125879"/>
                  </a:cubicBezTo>
                  <a:lnTo>
                    <a:pt x="3767186" y="1134925"/>
                  </a:lnTo>
                  <a:cubicBezTo>
                    <a:pt x="3767252" y="1134925"/>
                    <a:pt x="3773749" y="1134961"/>
                    <a:pt x="3780225" y="1141504"/>
                  </a:cubicBezTo>
                  <a:cubicBezTo>
                    <a:pt x="3786743" y="1154662"/>
                    <a:pt x="3780225" y="1148083"/>
                    <a:pt x="3773706" y="1161241"/>
                  </a:cubicBezTo>
                  <a:cubicBezTo>
                    <a:pt x="3760667" y="1174399"/>
                    <a:pt x="3793263" y="1167820"/>
                    <a:pt x="3799782" y="1174399"/>
                  </a:cubicBezTo>
                  <a:cubicBezTo>
                    <a:pt x="3819339" y="1194137"/>
                    <a:pt x="3767186" y="1194137"/>
                    <a:pt x="3773706" y="1213874"/>
                  </a:cubicBezTo>
                  <a:cubicBezTo>
                    <a:pt x="3778595" y="1223743"/>
                    <a:pt x="3798152" y="1215107"/>
                    <a:pt x="3802125" y="1221274"/>
                  </a:cubicBezTo>
                  <a:lnTo>
                    <a:pt x="3799782" y="1233610"/>
                  </a:lnTo>
                  <a:cubicBezTo>
                    <a:pt x="3793263" y="1240189"/>
                    <a:pt x="3786743" y="1240189"/>
                    <a:pt x="3786743" y="1246768"/>
                  </a:cubicBezTo>
                  <a:cubicBezTo>
                    <a:pt x="3786743" y="1266506"/>
                    <a:pt x="3799782" y="1253347"/>
                    <a:pt x="3806301" y="1253347"/>
                  </a:cubicBezTo>
                  <a:cubicBezTo>
                    <a:pt x="3819339" y="1259926"/>
                    <a:pt x="3806301" y="1286243"/>
                    <a:pt x="3825858" y="1279664"/>
                  </a:cubicBezTo>
                  <a:cubicBezTo>
                    <a:pt x="3845416" y="1279664"/>
                    <a:pt x="3838897" y="1253347"/>
                    <a:pt x="3858454" y="1253347"/>
                  </a:cubicBezTo>
                  <a:cubicBezTo>
                    <a:pt x="3864973" y="1253347"/>
                    <a:pt x="3871492" y="1259926"/>
                    <a:pt x="3878010" y="1253347"/>
                  </a:cubicBezTo>
                  <a:cubicBezTo>
                    <a:pt x="3884530" y="1253347"/>
                    <a:pt x="3884530" y="1240189"/>
                    <a:pt x="3891049" y="1233610"/>
                  </a:cubicBezTo>
                  <a:cubicBezTo>
                    <a:pt x="3904088" y="1227031"/>
                    <a:pt x="3910607" y="1240187"/>
                    <a:pt x="3917125" y="1240189"/>
                  </a:cubicBezTo>
                  <a:cubicBezTo>
                    <a:pt x="3930164" y="1240189"/>
                    <a:pt x="3936683" y="1227031"/>
                    <a:pt x="3943201" y="1240189"/>
                  </a:cubicBezTo>
                  <a:cubicBezTo>
                    <a:pt x="3943201" y="1259926"/>
                    <a:pt x="3923645" y="1273085"/>
                    <a:pt x="3936683" y="1286243"/>
                  </a:cubicBezTo>
                  <a:cubicBezTo>
                    <a:pt x="3949721" y="1299402"/>
                    <a:pt x="3975798" y="1305981"/>
                    <a:pt x="3988835" y="1312560"/>
                  </a:cubicBezTo>
                  <a:lnTo>
                    <a:pt x="3996067" y="1323251"/>
                  </a:lnTo>
                  <a:cubicBezTo>
                    <a:pt x="3996985" y="1330653"/>
                    <a:pt x="3982316" y="1330653"/>
                    <a:pt x="3982316" y="1345455"/>
                  </a:cubicBezTo>
                  <a:cubicBezTo>
                    <a:pt x="3975798" y="1371772"/>
                    <a:pt x="4008392" y="1384929"/>
                    <a:pt x="4021431" y="1358614"/>
                  </a:cubicBezTo>
                  <a:cubicBezTo>
                    <a:pt x="4027950" y="1338876"/>
                    <a:pt x="4021431" y="1325718"/>
                    <a:pt x="4054026" y="1332297"/>
                  </a:cubicBezTo>
                  <a:cubicBezTo>
                    <a:pt x="4073584" y="1338876"/>
                    <a:pt x="4080103" y="1325718"/>
                    <a:pt x="4073584" y="1305981"/>
                  </a:cubicBezTo>
                  <a:cubicBezTo>
                    <a:pt x="4067065" y="1279664"/>
                    <a:pt x="4054026" y="1259926"/>
                    <a:pt x="4080103" y="1246768"/>
                  </a:cubicBezTo>
                  <a:cubicBezTo>
                    <a:pt x="4093141" y="1240189"/>
                    <a:pt x="4112698" y="1240189"/>
                    <a:pt x="4119217" y="1227031"/>
                  </a:cubicBezTo>
                  <a:cubicBezTo>
                    <a:pt x="4132256" y="1207295"/>
                    <a:pt x="4125737" y="1187558"/>
                    <a:pt x="4112698" y="1174399"/>
                  </a:cubicBezTo>
                  <a:cubicBezTo>
                    <a:pt x="4099661" y="1161241"/>
                    <a:pt x="4086622" y="1148083"/>
                    <a:pt x="4086622" y="1134925"/>
                  </a:cubicBezTo>
                  <a:cubicBezTo>
                    <a:pt x="4086622" y="1121767"/>
                    <a:pt x="4099661" y="1108609"/>
                    <a:pt x="4099661" y="1095451"/>
                  </a:cubicBezTo>
                  <a:cubicBezTo>
                    <a:pt x="4099661" y="1082292"/>
                    <a:pt x="4093141" y="1062556"/>
                    <a:pt x="4106180" y="1049398"/>
                  </a:cubicBezTo>
                  <a:cubicBezTo>
                    <a:pt x="4112698" y="1042819"/>
                    <a:pt x="4125737" y="1049398"/>
                    <a:pt x="4125737" y="1029661"/>
                  </a:cubicBezTo>
                  <a:cubicBezTo>
                    <a:pt x="4132256" y="1023082"/>
                    <a:pt x="4125737" y="1016503"/>
                    <a:pt x="4138775" y="1009923"/>
                  </a:cubicBezTo>
                  <a:cubicBezTo>
                    <a:pt x="4158332" y="996765"/>
                    <a:pt x="4171371" y="1009923"/>
                    <a:pt x="4184408" y="983607"/>
                  </a:cubicBezTo>
                  <a:cubicBezTo>
                    <a:pt x="4190928" y="970449"/>
                    <a:pt x="4203966" y="950712"/>
                    <a:pt x="4203966" y="930976"/>
                  </a:cubicBezTo>
                  <a:cubicBezTo>
                    <a:pt x="4210486" y="911238"/>
                    <a:pt x="4236562" y="898080"/>
                    <a:pt x="4256119" y="904659"/>
                  </a:cubicBezTo>
                  <a:cubicBezTo>
                    <a:pt x="4269157" y="904659"/>
                    <a:pt x="4269157" y="917817"/>
                    <a:pt x="4269157" y="930976"/>
                  </a:cubicBezTo>
                  <a:cubicBezTo>
                    <a:pt x="4269157" y="937544"/>
                    <a:pt x="4269157" y="944112"/>
                    <a:pt x="4269157" y="944133"/>
                  </a:cubicBezTo>
                  <a:cubicBezTo>
                    <a:pt x="4275675" y="950712"/>
                    <a:pt x="4275675" y="957291"/>
                    <a:pt x="4275675" y="963870"/>
                  </a:cubicBezTo>
                  <a:cubicBezTo>
                    <a:pt x="4275675" y="977028"/>
                    <a:pt x="4256119" y="983607"/>
                    <a:pt x="4249599" y="983607"/>
                  </a:cubicBezTo>
                  <a:cubicBezTo>
                    <a:pt x="4230042" y="996765"/>
                    <a:pt x="4217004" y="1003344"/>
                    <a:pt x="4210486" y="1016503"/>
                  </a:cubicBezTo>
                  <a:cubicBezTo>
                    <a:pt x="4203966" y="1023082"/>
                    <a:pt x="4203966" y="1029661"/>
                    <a:pt x="4203966" y="1036240"/>
                  </a:cubicBezTo>
                  <a:cubicBezTo>
                    <a:pt x="4197447" y="1055977"/>
                    <a:pt x="4210486" y="1069135"/>
                    <a:pt x="4210486" y="1088871"/>
                  </a:cubicBezTo>
                  <a:cubicBezTo>
                    <a:pt x="4217004" y="1102030"/>
                    <a:pt x="4223523" y="1108609"/>
                    <a:pt x="4223523" y="1121767"/>
                  </a:cubicBezTo>
                  <a:cubicBezTo>
                    <a:pt x="4236562" y="1134925"/>
                    <a:pt x="4230042" y="1154662"/>
                    <a:pt x="4243080" y="1167820"/>
                  </a:cubicBezTo>
                  <a:cubicBezTo>
                    <a:pt x="4256119" y="1174399"/>
                    <a:pt x="4269157" y="1174399"/>
                    <a:pt x="4282195" y="1167820"/>
                  </a:cubicBezTo>
                  <a:cubicBezTo>
                    <a:pt x="4295233" y="1154662"/>
                    <a:pt x="4308271" y="1141504"/>
                    <a:pt x="4327829" y="1141504"/>
                  </a:cubicBezTo>
                  <a:cubicBezTo>
                    <a:pt x="4340866" y="1141504"/>
                    <a:pt x="4347386" y="1154662"/>
                    <a:pt x="4353905" y="1154662"/>
                  </a:cubicBezTo>
                  <a:cubicBezTo>
                    <a:pt x="4366944" y="1161241"/>
                    <a:pt x="4373462" y="1154662"/>
                    <a:pt x="4386500" y="1154662"/>
                  </a:cubicBezTo>
                  <a:cubicBezTo>
                    <a:pt x="4399539" y="1161241"/>
                    <a:pt x="4419096" y="1180979"/>
                    <a:pt x="4393020" y="1187558"/>
                  </a:cubicBezTo>
                  <a:cubicBezTo>
                    <a:pt x="4379981" y="1194137"/>
                    <a:pt x="4366944" y="1187558"/>
                    <a:pt x="4353905" y="1187558"/>
                  </a:cubicBezTo>
                  <a:cubicBezTo>
                    <a:pt x="4334348" y="1187558"/>
                    <a:pt x="4334348" y="1200716"/>
                    <a:pt x="4321310" y="1200716"/>
                  </a:cubicBezTo>
                  <a:cubicBezTo>
                    <a:pt x="4301753" y="1207295"/>
                    <a:pt x="4288714" y="1187558"/>
                    <a:pt x="4269157" y="1200716"/>
                  </a:cubicBezTo>
                  <a:cubicBezTo>
                    <a:pt x="4230042" y="1227031"/>
                    <a:pt x="4288714" y="1259926"/>
                    <a:pt x="4262638" y="1286243"/>
                  </a:cubicBezTo>
                  <a:cubicBezTo>
                    <a:pt x="4249599" y="1305981"/>
                    <a:pt x="4236562" y="1279664"/>
                    <a:pt x="4230042" y="1273085"/>
                  </a:cubicBezTo>
                  <a:cubicBezTo>
                    <a:pt x="4210486" y="1266506"/>
                    <a:pt x="4190928" y="1279664"/>
                    <a:pt x="4190928" y="1292823"/>
                  </a:cubicBezTo>
                  <a:cubicBezTo>
                    <a:pt x="4184408" y="1312560"/>
                    <a:pt x="4197447" y="1325718"/>
                    <a:pt x="4190928" y="1345455"/>
                  </a:cubicBezTo>
                  <a:cubicBezTo>
                    <a:pt x="4190928" y="1352035"/>
                    <a:pt x="4184408" y="1352035"/>
                    <a:pt x="4177889" y="1358614"/>
                  </a:cubicBezTo>
                  <a:cubicBezTo>
                    <a:pt x="4177889" y="1371772"/>
                    <a:pt x="4184408" y="1371772"/>
                    <a:pt x="4184408" y="1378351"/>
                  </a:cubicBezTo>
                  <a:cubicBezTo>
                    <a:pt x="4177889" y="1391508"/>
                    <a:pt x="4171371" y="1384929"/>
                    <a:pt x="4164851" y="1391508"/>
                  </a:cubicBezTo>
                  <a:cubicBezTo>
                    <a:pt x="4145294" y="1391508"/>
                    <a:pt x="4151813" y="1404666"/>
                    <a:pt x="4145294" y="1411245"/>
                  </a:cubicBezTo>
                  <a:cubicBezTo>
                    <a:pt x="4132256" y="1430983"/>
                    <a:pt x="4112698" y="1424403"/>
                    <a:pt x="4093141" y="1424403"/>
                  </a:cubicBezTo>
                  <a:cubicBezTo>
                    <a:pt x="4067065" y="1424403"/>
                    <a:pt x="4054026" y="1430983"/>
                    <a:pt x="4027950" y="1444141"/>
                  </a:cubicBezTo>
                  <a:cubicBezTo>
                    <a:pt x="4001874" y="1450720"/>
                    <a:pt x="3988835" y="1430983"/>
                    <a:pt x="3969279" y="1430983"/>
                  </a:cubicBezTo>
                  <a:lnTo>
                    <a:pt x="3959805" y="1429338"/>
                  </a:lnTo>
                  <a:cubicBezTo>
                    <a:pt x="3954610" y="1430571"/>
                    <a:pt x="3959500" y="1439206"/>
                    <a:pt x="3949721" y="1444141"/>
                  </a:cubicBezTo>
                  <a:cubicBezTo>
                    <a:pt x="3936683" y="1450720"/>
                    <a:pt x="3930164" y="1444141"/>
                    <a:pt x="3923645" y="1437562"/>
                  </a:cubicBezTo>
                  <a:cubicBezTo>
                    <a:pt x="3917125" y="1437562"/>
                    <a:pt x="3910607" y="1430983"/>
                    <a:pt x="3904088" y="1424403"/>
                  </a:cubicBezTo>
                  <a:cubicBezTo>
                    <a:pt x="3884530" y="1404666"/>
                    <a:pt x="3910607" y="1398087"/>
                    <a:pt x="3904088" y="1384929"/>
                  </a:cubicBezTo>
                  <a:cubicBezTo>
                    <a:pt x="3904088" y="1365193"/>
                    <a:pt x="3897568" y="1365193"/>
                    <a:pt x="3904088" y="1352035"/>
                  </a:cubicBezTo>
                  <a:cubicBezTo>
                    <a:pt x="3904088" y="1345456"/>
                    <a:pt x="3904088" y="1338876"/>
                    <a:pt x="3904088" y="1332297"/>
                  </a:cubicBezTo>
                  <a:cubicBezTo>
                    <a:pt x="3904088" y="1325718"/>
                    <a:pt x="3904088" y="1319139"/>
                    <a:pt x="3904088" y="1305981"/>
                  </a:cubicBezTo>
                  <a:cubicBezTo>
                    <a:pt x="3910607" y="1299402"/>
                    <a:pt x="3917125" y="1266506"/>
                    <a:pt x="3897568" y="1279664"/>
                  </a:cubicBezTo>
                  <a:cubicBezTo>
                    <a:pt x="3884530" y="1279664"/>
                    <a:pt x="3891049" y="1292823"/>
                    <a:pt x="3884530" y="1292823"/>
                  </a:cubicBezTo>
                  <a:cubicBezTo>
                    <a:pt x="3878010" y="1299402"/>
                    <a:pt x="3871492" y="1292823"/>
                    <a:pt x="3864973" y="1292823"/>
                  </a:cubicBezTo>
                  <a:cubicBezTo>
                    <a:pt x="3851934" y="1305981"/>
                    <a:pt x="3884530" y="1312560"/>
                    <a:pt x="3884530" y="1319139"/>
                  </a:cubicBezTo>
                  <a:cubicBezTo>
                    <a:pt x="3871492" y="1325718"/>
                    <a:pt x="3825858" y="1325718"/>
                    <a:pt x="3838897" y="1352035"/>
                  </a:cubicBezTo>
                  <a:cubicBezTo>
                    <a:pt x="3845416" y="1358614"/>
                    <a:pt x="3851934" y="1358614"/>
                    <a:pt x="3858454" y="1365193"/>
                  </a:cubicBezTo>
                  <a:cubicBezTo>
                    <a:pt x="3858454" y="1378351"/>
                    <a:pt x="3851934" y="1378351"/>
                    <a:pt x="3851934" y="1384929"/>
                  </a:cubicBezTo>
                  <a:cubicBezTo>
                    <a:pt x="3845416" y="1404666"/>
                    <a:pt x="3871492" y="1417824"/>
                    <a:pt x="3878010" y="1430983"/>
                  </a:cubicBezTo>
                  <a:cubicBezTo>
                    <a:pt x="3884530" y="1463878"/>
                    <a:pt x="3858454" y="1457299"/>
                    <a:pt x="3838897" y="1463878"/>
                  </a:cubicBezTo>
                  <a:cubicBezTo>
                    <a:pt x="3838816" y="1463970"/>
                    <a:pt x="3832336" y="1470457"/>
                    <a:pt x="3825858" y="1470457"/>
                  </a:cubicBezTo>
                  <a:cubicBezTo>
                    <a:pt x="3819339" y="1477036"/>
                    <a:pt x="3812821" y="1470457"/>
                    <a:pt x="3806301" y="1470457"/>
                  </a:cubicBezTo>
                  <a:cubicBezTo>
                    <a:pt x="3786743" y="1470457"/>
                    <a:pt x="3773706" y="1477036"/>
                    <a:pt x="3760667" y="1490194"/>
                  </a:cubicBezTo>
                  <a:cubicBezTo>
                    <a:pt x="3754148" y="1509932"/>
                    <a:pt x="3760667" y="1523090"/>
                    <a:pt x="3754148" y="1536248"/>
                  </a:cubicBezTo>
                  <a:cubicBezTo>
                    <a:pt x="3741110" y="1555984"/>
                    <a:pt x="3715033" y="1555984"/>
                    <a:pt x="3695476" y="1549405"/>
                  </a:cubicBezTo>
                  <a:cubicBezTo>
                    <a:pt x="3682439" y="1549405"/>
                    <a:pt x="3669400" y="1549405"/>
                    <a:pt x="3669400" y="1569142"/>
                  </a:cubicBezTo>
                  <a:cubicBezTo>
                    <a:pt x="3669400" y="1582300"/>
                    <a:pt x="3682439" y="1588880"/>
                    <a:pt x="3675919" y="1602038"/>
                  </a:cubicBezTo>
                  <a:cubicBezTo>
                    <a:pt x="3675919" y="1615196"/>
                    <a:pt x="3656361" y="1615196"/>
                    <a:pt x="3643324" y="1615196"/>
                  </a:cubicBezTo>
                  <a:cubicBezTo>
                    <a:pt x="3630285" y="1615196"/>
                    <a:pt x="3623766" y="1602038"/>
                    <a:pt x="3610728" y="1602038"/>
                  </a:cubicBezTo>
                  <a:lnTo>
                    <a:pt x="3597791" y="1601525"/>
                  </a:lnTo>
                  <a:cubicBezTo>
                    <a:pt x="3590763" y="1604917"/>
                    <a:pt x="3599320" y="1618485"/>
                    <a:pt x="3604209" y="1628354"/>
                  </a:cubicBezTo>
                  <a:cubicBezTo>
                    <a:pt x="3610728" y="1648091"/>
                    <a:pt x="3584651" y="1641512"/>
                    <a:pt x="3571614" y="1641512"/>
                  </a:cubicBezTo>
                  <a:cubicBezTo>
                    <a:pt x="3552057" y="1648091"/>
                    <a:pt x="3512942" y="1634933"/>
                    <a:pt x="3512942" y="1661249"/>
                  </a:cubicBezTo>
                  <a:cubicBezTo>
                    <a:pt x="3512942" y="1680987"/>
                    <a:pt x="3539018" y="1680987"/>
                    <a:pt x="3558575" y="1687566"/>
                  </a:cubicBezTo>
                  <a:cubicBezTo>
                    <a:pt x="3578133" y="1694144"/>
                    <a:pt x="3565094" y="1720460"/>
                    <a:pt x="3584651" y="1733618"/>
                  </a:cubicBezTo>
                  <a:cubicBezTo>
                    <a:pt x="3604209" y="1746776"/>
                    <a:pt x="3643324" y="1746776"/>
                    <a:pt x="3623766" y="1779673"/>
                  </a:cubicBezTo>
                  <a:cubicBezTo>
                    <a:pt x="3617248" y="1792831"/>
                    <a:pt x="3610728" y="1792831"/>
                    <a:pt x="3604209" y="1805989"/>
                  </a:cubicBezTo>
                  <a:cubicBezTo>
                    <a:pt x="3604209" y="1819147"/>
                    <a:pt x="3604209" y="1832305"/>
                    <a:pt x="3597690" y="1845464"/>
                  </a:cubicBezTo>
                  <a:cubicBezTo>
                    <a:pt x="3584651" y="1865200"/>
                    <a:pt x="3552057" y="1865200"/>
                    <a:pt x="3532499" y="1865200"/>
                  </a:cubicBezTo>
                  <a:cubicBezTo>
                    <a:pt x="3519460" y="1865200"/>
                    <a:pt x="3499903" y="1865200"/>
                    <a:pt x="3486865" y="1858621"/>
                  </a:cubicBezTo>
                  <a:cubicBezTo>
                    <a:pt x="3480346" y="1858621"/>
                    <a:pt x="3473827" y="1858621"/>
                    <a:pt x="3467308" y="1852042"/>
                  </a:cubicBezTo>
                  <a:cubicBezTo>
                    <a:pt x="3460789" y="1852042"/>
                    <a:pt x="3454269" y="1838885"/>
                    <a:pt x="3441232" y="1838885"/>
                  </a:cubicBezTo>
                  <a:cubicBezTo>
                    <a:pt x="3441232" y="1845412"/>
                    <a:pt x="3434813" y="1845464"/>
                    <a:pt x="3434712" y="1845464"/>
                  </a:cubicBezTo>
                  <a:cubicBezTo>
                    <a:pt x="3428193" y="1852042"/>
                    <a:pt x="3428193" y="1852042"/>
                    <a:pt x="3421674" y="1852042"/>
                  </a:cubicBezTo>
                  <a:cubicBezTo>
                    <a:pt x="3402117" y="1858621"/>
                    <a:pt x="3389078" y="1865200"/>
                    <a:pt x="3395598" y="1884937"/>
                  </a:cubicBezTo>
                  <a:cubicBezTo>
                    <a:pt x="3395598" y="1898118"/>
                    <a:pt x="3400504" y="1909648"/>
                    <a:pt x="3403757" y="1921183"/>
                  </a:cubicBezTo>
                  <a:cubicBezTo>
                    <a:pt x="3320375" y="1876527"/>
                    <a:pt x="3235444" y="1834223"/>
                    <a:pt x="3149778" y="1793573"/>
                  </a:cubicBezTo>
                  <a:cubicBezTo>
                    <a:pt x="2980614" y="1567631"/>
                    <a:pt x="2804454" y="1362742"/>
                    <a:pt x="2619351" y="1179859"/>
                  </a:cubicBezTo>
                  <a:cubicBezTo>
                    <a:pt x="2753619" y="1021941"/>
                    <a:pt x="2892903" y="871760"/>
                    <a:pt x="3030556" y="734085"/>
                  </a:cubicBezTo>
                  <a:cubicBezTo>
                    <a:pt x="3040441" y="729182"/>
                    <a:pt x="3050069" y="724133"/>
                    <a:pt x="3048173" y="715826"/>
                  </a:cubicBezTo>
                  <a:cubicBezTo>
                    <a:pt x="3126733" y="636926"/>
                    <a:pt x="3204874" y="562436"/>
                    <a:pt x="3281289" y="493209"/>
                  </a:cubicBezTo>
                  <a:cubicBezTo>
                    <a:pt x="3309736" y="518570"/>
                    <a:pt x="3347477" y="532145"/>
                    <a:pt x="3388389" y="532145"/>
                  </a:cubicBezTo>
                  <a:cubicBezTo>
                    <a:pt x="3488339" y="532145"/>
                    <a:pt x="3569364" y="451120"/>
                    <a:pt x="3569364" y="351170"/>
                  </a:cubicBezTo>
                  <a:cubicBezTo>
                    <a:pt x="3569364" y="328760"/>
                    <a:pt x="3565291" y="307301"/>
                    <a:pt x="3557306" y="287696"/>
                  </a:cubicBezTo>
                  <a:close/>
                  <a:moveTo>
                    <a:pt x="3388389" y="244490"/>
                  </a:moveTo>
                  <a:cubicBezTo>
                    <a:pt x="3447307" y="244490"/>
                    <a:pt x="3495069" y="292252"/>
                    <a:pt x="3495069" y="351170"/>
                  </a:cubicBezTo>
                  <a:cubicBezTo>
                    <a:pt x="3495069" y="410088"/>
                    <a:pt x="3447307" y="457850"/>
                    <a:pt x="3388389" y="457850"/>
                  </a:cubicBezTo>
                  <a:cubicBezTo>
                    <a:pt x="3329471" y="457850"/>
                    <a:pt x="3281709" y="410088"/>
                    <a:pt x="3281709" y="351170"/>
                  </a:cubicBezTo>
                  <a:cubicBezTo>
                    <a:pt x="3281709" y="292252"/>
                    <a:pt x="3329471" y="244490"/>
                    <a:pt x="3388389" y="244490"/>
                  </a:cubicBezTo>
                  <a:close/>
                  <a:moveTo>
                    <a:pt x="3158941" y="175915"/>
                  </a:moveTo>
                  <a:lnTo>
                    <a:pt x="3161140" y="176253"/>
                  </a:lnTo>
                  <a:cubicBezTo>
                    <a:pt x="3173468" y="182408"/>
                    <a:pt x="3179977" y="182575"/>
                    <a:pt x="3192664" y="188977"/>
                  </a:cubicBezTo>
                  <a:lnTo>
                    <a:pt x="3207130" y="185048"/>
                  </a:lnTo>
                  <a:lnTo>
                    <a:pt x="3287899" y="204674"/>
                  </a:lnTo>
                  <a:cubicBezTo>
                    <a:pt x="3238540" y="234542"/>
                    <a:pt x="3207414" y="289221"/>
                    <a:pt x="3207414" y="351170"/>
                  </a:cubicBezTo>
                  <a:cubicBezTo>
                    <a:pt x="3207414" y="396588"/>
                    <a:pt x="3224145" y="438098"/>
                    <a:pt x="3253289" y="468561"/>
                  </a:cubicBezTo>
                  <a:lnTo>
                    <a:pt x="3067844" y="641960"/>
                  </a:lnTo>
                  <a:cubicBezTo>
                    <a:pt x="3066253" y="639853"/>
                    <a:pt x="3064319" y="637902"/>
                    <a:pt x="3062385" y="635951"/>
                  </a:cubicBezTo>
                  <a:cubicBezTo>
                    <a:pt x="3062385" y="622804"/>
                    <a:pt x="3062385" y="616232"/>
                    <a:pt x="3068900" y="609658"/>
                  </a:cubicBezTo>
                  <a:cubicBezTo>
                    <a:pt x="3075413" y="596512"/>
                    <a:pt x="3075413" y="576792"/>
                    <a:pt x="3062385" y="563646"/>
                  </a:cubicBezTo>
                  <a:cubicBezTo>
                    <a:pt x="3055872" y="557073"/>
                    <a:pt x="3042844" y="557073"/>
                    <a:pt x="3049357" y="543926"/>
                  </a:cubicBezTo>
                  <a:cubicBezTo>
                    <a:pt x="3068900" y="537353"/>
                    <a:pt x="3094955" y="543926"/>
                    <a:pt x="3107983" y="543926"/>
                  </a:cubicBezTo>
                  <a:cubicBezTo>
                    <a:pt x="3114497" y="537353"/>
                    <a:pt x="3121011" y="537353"/>
                    <a:pt x="3121011" y="530780"/>
                  </a:cubicBezTo>
                  <a:cubicBezTo>
                    <a:pt x="3121011" y="517634"/>
                    <a:pt x="3114497" y="517634"/>
                    <a:pt x="3101469" y="517634"/>
                  </a:cubicBezTo>
                  <a:cubicBezTo>
                    <a:pt x="3094955" y="511062"/>
                    <a:pt x="3075413" y="511062"/>
                    <a:pt x="3068900" y="497915"/>
                  </a:cubicBezTo>
                  <a:lnTo>
                    <a:pt x="3062182" y="486515"/>
                  </a:lnTo>
                  <a:cubicBezTo>
                    <a:pt x="3066456" y="478196"/>
                    <a:pt x="3098212" y="478196"/>
                    <a:pt x="3107983" y="478196"/>
                  </a:cubicBezTo>
                  <a:cubicBezTo>
                    <a:pt x="3114497" y="478196"/>
                    <a:pt x="3140553" y="491342"/>
                    <a:pt x="3140553" y="478196"/>
                  </a:cubicBezTo>
                  <a:cubicBezTo>
                    <a:pt x="3147067" y="465049"/>
                    <a:pt x="3107983" y="465049"/>
                    <a:pt x="3114497" y="445329"/>
                  </a:cubicBezTo>
                  <a:cubicBezTo>
                    <a:pt x="3121011" y="432183"/>
                    <a:pt x="3147067" y="425611"/>
                    <a:pt x="3140553" y="405891"/>
                  </a:cubicBezTo>
                  <a:cubicBezTo>
                    <a:pt x="3127525" y="386171"/>
                    <a:pt x="3094955" y="405891"/>
                    <a:pt x="3088441" y="386171"/>
                  </a:cubicBezTo>
                  <a:cubicBezTo>
                    <a:pt x="3081928" y="366452"/>
                    <a:pt x="3081928" y="346732"/>
                    <a:pt x="3107983" y="353306"/>
                  </a:cubicBezTo>
                  <a:cubicBezTo>
                    <a:pt x="3121011" y="353306"/>
                    <a:pt x="3166608" y="392744"/>
                    <a:pt x="3179636" y="373025"/>
                  </a:cubicBezTo>
                  <a:cubicBezTo>
                    <a:pt x="3192664" y="353306"/>
                    <a:pt x="3166608" y="333587"/>
                    <a:pt x="3153580" y="333587"/>
                  </a:cubicBezTo>
                  <a:cubicBezTo>
                    <a:pt x="3147067" y="333587"/>
                    <a:pt x="3140553" y="333587"/>
                    <a:pt x="3140553" y="327013"/>
                  </a:cubicBezTo>
                  <a:cubicBezTo>
                    <a:pt x="3134039" y="320441"/>
                    <a:pt x="3140553" y="320441"/>
                    <a:pt x="3134039" y="313867"/>
                  </a:cubicBezTo>
                  <a:cubicBezTo>
                    <a:pt x="3134039" y="300721"/>
                    <a:pt x="3114497" y="300721"/>
                    <a:pt x="3114497" y="287574"/>
                  </a:cubicBezTo>
                  <a:cubicBezTo>
                    <a:pt x="3114497" y="274429"/>
                    <a:pt x="3127525" y="267856"/>
                    <a:pt x="3134039" y="267856"/>
                  </a:cubicBezTo>
                  <a:cubicBezTo>
                    <a:pt x="3140553" y="261282"/>
                    <a:pt x="3147067" y="254708"/>
                    <a:pt x="3147067" y="241562"/>
                  </a:cubicBezTo>
                  <a:cubicBezTo>
                    <a:pt x="3153580" y="221843"/>
                    <a:pt x="3153580" y="228416"/>
                    <a:pt x="3166608" y="221843"/>
                  </a:cubicBezTo>
                  <a:cubicBezTo>
                    <a:pt x="3186151" y="215269"/>
                    <a:pt x="3179636" y="202123"/>
                    <a:pt x="3166608" y="188977"/>
                  </a:cubicBezTo>
                  <a:cubicBezTo>
                    <a:pt x="3166475" y="188977"/>
                    <a:pt x="3147067" y="188960"/>
                    <a:pt x="3147067" y="182403"/>
                  </a:cubicBezTo>
                  <a:cubicBezTo>
                    <a:pt x="3140919" y="176200"/>
                    <a:pt x="3152179" y="175851"/>
                    <a:pt x="3158941" y="175915"/>
                  </a:cubicBezTo>
                  <a:close/>
                  <a:moveTo>
                    <a:pt x="2680032" y="66572"/>
                  </a:moveTo>
                  <a:cubicBezTo>
                    <a:pt x="1236658" y="66572"/>
                    <a:pt x="66572" y="1236658"/>
                    <a:pt x="66572" y="2680032"/>
                  </a:cubicBezTo>
                  <a:cubicBezTo>
                    <a:pt x="66572" y="4123405"/>
                    <a:pt x="1236658" y="5293491"/>
                    <a:pt x="2680032" y="5293491"/>
                  </a:cubicBezTo>
                  <a:cubicBezTo>
                    <a:pt x="4123405" y="5293491"/>
                    <a:pt x="5293491" y="4123405"/>
                    <a:pt x="5293491" y="2680032"/>
                  </a:cubicBezTo>
                  <a:cubicBezTo>
                    <a:pt x="5293491" y="1508205"/>
                    <a:pt x="4522256" y="516510"/>
                    <a:pt x="3459646" y="184965"/>
                  </a:cubicBezTo>
                  <a:cubicBezTo>
                    <a:pt x="3445024" y="178486"/>
                    <a:pt x="3429326" y="174068"/>
                    <a:pt x="3412820" y="172658"/>
                  </a:cubicBezTo>
                  <a:cubicBezTo>
                    <a:pt x="3180691" y="102972"/>
                    <a:pt x="2934612" y="66572"/>
                    <a:pt x="2680032" y="66572"/>
                  </a:cubicBezTo>
                  <a:close/>
                  <a:moveTo>
                    <a:pt x="2680032" y="0"/>
                  </a:moveTo>
                  <a:cubicBezTo>
                    <a:pt x="4160172" y="0"/>
                    <a:pt x="5360063" y="1199890"/>
                    <a:pt x="5360063" y="2680032"/>
                  </a:cubicBezTo>
                  <a:cubicBezTo>
                    <a:pt x="5360063" y="4160172"/>
                    <a:pt x="4160172" y="5360063"/>
                    <a:pt x="2680032" y="5360063"/>
                  </a:cubicBezTo>
                  <a:cubicBezTo>
                    <a:pt x="1199890" y="5360063"/>
                    <a:pt x="0" y="4160172"/>
                    <a:pt x="0" y="2680032"/>
                  </a:cubicBezTo>
                  <a:cubicBezTo>
                    <a:pt x="0" y="1199890"/>
                    <a:pt x="1199890" y="0"/>
                    <a:pt x="2680032" y="0"/>
                  </a:cubicBezTo>
                  <a:close/>
                </a:path>
              </a:pathLst>
            </a:custGeom>
            <a:grpFill/>
            <a:ln w="25400"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3" name="Freeform 12"/>
            <p:cNvSpPr/>
            <p:nvPr/>
          </p:nvSpPr>
          <p:spPr>
            <a:xfrm>
              <a:off x="-287810" y="4361614"/>
              <a:ext cx="355654" cy="911219"/>
            </a:xfrm>
            <a:custGeom>
              <a:avLst/>
              <a:gdLst>
                <a:gd name="connsiteX0" fmla="*/ 118796 w 452140"/>
                <a:gd name="connsiteY0" fmla="*/ 213409 h 1158424"/>
                <a:gd name="connsiteX1" fmla="*/ 333343 w 452140"/>
                <a:gd name="connsiteY1" fmla="*/ 213409 h 1158424"/>
                <a:gd name="connsiteX2" fmla="*/ 444784 w 452140"/>
                <a:gd name="connsiteY2" fmla="*/ 287095 h 1158424"/>
                <a:gd name="connsiteX3" fmla="*/ 449951 w 452140"/>
                <a:gd name="connsiteY3" fmla="*/ 303591 h 1158424"/>
                <a:gd name="connsiteX4" fmla="*/ 452140 w 452140"/>
                <a:gd name="connsiteY4" fmla="*/ 325301 h 1158424"/>
                <a:gd name="connsiteX5" fmla="*/ 452140 w 452140"/>
                <a:gd name="connsiteY5" fmla="*/ 332205 h 1158424"/>
                <a:gd name="connsiteX6" fmla="*/ 452140 w 452140"/>
                <a:gd name="connsiteY6" fmla="*/ 364807 h 1158424"/>
                <a:gd name="connsiteX7" fmla="*/ 452140 w 452140"/>
                <a:gd name="connsiteY7" fmla="*/ 633253 h 1158424"/>
                <a:gd name="connsiteX8" fmla="*/ 409478 w 452140"/>
                <a:gd name="connsiteY8" fmla="*/ 675915 h 1158424"/>
                <a:gd name="connsiteX9" fmla="*/ 366816 w 452140"/>
                <a:gd name="connsiteY9" fmla="*/ 633253 h 1158424"/>
                <a:gd name="connsiteX10" fmla="*/ 366816 w 452140"/>
                <a:gd name="connsiteY10" fmla="*/ 478231 h 1158424"/>
                <a:gd name="connsiteX11" fmla="*/ 366363 w 452140"/>
                <a:gd name="connsiteY11" fmla="*/ 478344 h 1158424"/>
                <a:gd name="connsiteX12" fmla="*/ 366363 w 452140"/>
                <a:gd name="connsiteY12" fmla="*/ 363643 h 1158424"/>
                <a:gd name="connsiteX13" fmla="*/ 364558 w 452140"/>
                <a:gd name="connsiteY13" fmla="*/ 361838 h 1158424"/>
                <a:gd name="connsiteX14" fmla="*/ 346505 w 452140"/>
                <a:gd name="connsiteY14" fmla="*/ 361838 h 1158424"/>
                <a:gd name="connsiteX15" fmla="*/ 344699 w 452140"/>
                <a:gd name="connsiteY15" fmla="*/ 363643 h 1158424"/>
                <a:gd name="connsiteX16" fmla="*/ 345052 w 452140"/>
                <a:gd name="connsiteY16" fmla="*/ 470080 h 1158424"/>
                <a:gd name="connsiteX17" fmla="*/ 345052 w 452140"/>
                <a:gd name="connsiteY17" fmla="*/ 1105097 h 1158424"/>
                <a:gd name="connsiteX18" fmla="*/ 291725 w 452140"/>
                <a:gd name="connsiteY18" fmla="*/ 1158424 h 1158424"/>
                <a:gd name="connsiteX19" fmla="*/ 238397 w 452140"/>
                <a:gd name="connsiteY19" fmla="*/ 1105097 h 1158424"/>
                <a:gd name="connsiteX20" fmla="*/ 238397 w 452140"/>
                <a:gd name="connsiteY20" fmla="*/ 703825 h 1158424"/>
                <a:gd name="connsiteX21" fmla="*/ 238044 w 452140"/>
                <a:gd name="connsiteY21" fmla="*/ 673190 h 1158424"/>
                <a:gd name="connsiteX22" fmla="*/ 236460 w 452140"/>
                <a:gd name="connsiteY22" fmla="*/ 671606 h 1158424"/>
                <a:gd name="connsiteX23" fmla="*/ 216791 w 452140"/>
                <a:gd name="connsiteY23" fmla="*/ 671606 h 1158424"/>
                <a:gd name="connsiteX24" fmla="*/ 215207 w 452140"/>
                <a:gd name="connsiteY24" fmla="*/ 673190 h 1158424"/>
                <a:gd name="connsiteX25" fmla="*/ 215207 w 452140"/>
                <a:gd name="connsiteY25" fmla="*/ 703825 h 1158424"/>
                <a:gd name="connsiteX26" fmla="*/ 215075 w 452140"/>
                <a:gd name="connsiteY26" fmla="*/ 1105097 h 1158424"/>
                <a:gd name="connsiteX27" fmla="*/ 161747 w 452140"/>
                <a:gd name="connsiteY27" fmla="*/ 1158424 h 1158424"/>
                <a:gd name="connsiteX28" fmla="*/ 108419 w 452140"/>
                <a:gd name="connsiteY28" fmla="*/ 1105097 h 1158424"/>
                <a:gd name="connsiteX29" fmla="*/ 108419 w 452140"/>
                <a:gd name="connsiteY29" fmla="*/ 482815 h 1158424"/>
                <a:gd name="connsiteX30" fmla="*/ 106756 w 452140"/>
                <a:gd name="connsiteY30" fmla="*/ 363616 h 1158424"/>
                <a:gd name="connsiteX31" fmla="*/ 104978 w 452140"/>
                <a:gd name="connsiteY31" fmla="*/ 361838 h 1158424"/>
                <a:gd name="connsiteX32" fmla="*/ 87202 w 452140"/>
                <a:gd name="connsiteY32" fmla="*/ 361838 h 1158424"/>
                <a:gd name="connsiteX33" fmla="*/ 85425 w 452140"/>
                <a:gd name="connsiteY33" fmla="*/ 363616 h 1158424"/>
                <a:gd name="connsiteX34" fmla="*/ 85425 w 452140"/>
                <a:gd name="connsiteY34" fmla="*/ 478256 h 1158424"/>
                <a:gd name="connsiteX35" fmla="*/ 85324 w 452140"/>
                <a:gd name="connsiteY35" fmla="*/ 478231 h 1158424"/>
                <a:gd name="connsiteX36" fmla="*/ 85324 w 452140"/>
                <a:gd name="connsiteY36" fmla="*/ 633253 h 1158424"/>
                <a:gd name="connsiteX37" fmla="*/ 42662 w 452140"/>
                <a:gd name="connsiteY37" fmla="*/ 675915 h 1158424"/>
                <a:gd name="connsiteX38" fmla="*/ 0 w 452140"/>
                <a:gd name="connsiteY38" fmla="*/ 633253 h 1158424"/>
                <a:gd name="connsiteX39" fmla="*/ 0 w 452140"/>
                <a:gd name="connsiteY39" fmla="*/ 364807 h 1158424"/>
                <a:gd name="connsiteX40" fmla="*/ 0 w 452140"/>
                <a:gd name="connsiteY40" fmla="*/ 332205 h 1158424"/>
                <a:gd name="connsiteX41" fmla="*/ 0 w 452140"/>
                <a:gd name="connsiteY41" fmla="*/ 325301 h 1158424"/>
                <a:gd name="connsiteX42" fmla="*/ 4216 w 452140"/>
                <a:gd name="connsiteY42" fmla="*/ 296223 h 1158424"/>
                <a:gd name="connsiteX43" fmla="*/ 6801 w 452140"/>
                <a:gd name="connsiteY43" fmla="*/ 287651 h 1158424"/>
                <a:gd name="connsiteX44" fmla="*/ 118796 w 452140"/>
                <a:gd name="connsiteY44" fmla="*/ 213409 h 1158424"/>
                <a:gd name="connsiteX45" fmla="*/ 226070 w 452140"/>
                <a:gd name="connsiteY45" fmla="*/ 0 h 1158424"/>
                <a:gd name="connsiteX46" fmla="*/ 320148 w 452140"/>
                <a:gd name="connsiteY46" fmla="*/ 94078 h 1158424"/>
                <a:gd name="connsiteX47" fmla="*/ 226070 w 452140"/>
                <a:gd name="connsiteY47" fmla="*/ 188156 h 1158424"/>
                <a:gd name="connsiteX48" fmla="*/ 131992 w 452140"/>
                <a:gd name="connsiteY48" fmla="*/ 94078 h 1158424"/>
                <a:gd name="connsiteX49" fmla="*/ 226070 w 452140"/>
                <a:gd name="connsiteY49" fmla="*/ 0 h 115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52140" h="1158424">
                  <a:moveTo>
                    <a:pt x="118796" y="213409"/>
                  </a:moveTo>
                  <a:lnTo>
                    <a:pt x="333343" y="213409"/>
                  </a:lnTo>
                  <a:cubicBezTo>
                    <a:pt x="383585" y="213409"/>
                    <a:pt x="427652" y="242931"/>
                    <a:pt x="444784" y="287095"/>
                  </a:cubicBezTo>
                  <a:cubicBezTo>
                    <a:pt x="448077" y="292832"/>
                    <a:pt x="448628" y="298458"/>
                    <a:pt x="449951" y="303591"/>
                  </a:cubicBezTo>
                  <a:lnTo>
                    <a:pt x="452140" y="325301"/>
                  </a:lnTo>
                  <a:lnTo>
                    <a:pt x="452140" y="332205"/>
                  </a:lnTo>
                  <a:lnTo>
                    <a:pt x="452140" y="364807"/>
                  </a:lnTo>
                  <a:lnTo>
                    <a:pt x="452140" y="633253"/>
                  </a:lnTo>
                  <a:cubicBezTo>
                    <a:pt x="452140" y="656815"/>
                    <a:pt x="433039" y="675915"/>
                    <a:pt x="409478" y="675915"/>
                  </a:cubicBezTo>
                  <a:cubicBezTo>
                    <a:pt x="385916" y="675915"/>
                    <a:pt x="366816" y="656815"/>
                    <a:pt x="366816" y="633253"/>
                  </a:cubicBezTo>
                  <a:lnTo>
                    <a:pt x="366816" y="478231"/>
                  </a:lnTo>
                  <a:lnTo>
                    <a:pt x="366363" y="478344"/>
                  </a:lnTo>
                  <a:lnTo>
                    <a:pt x="366363" y="363643"/>
                  </a:lnTo>
                  <a:cubicBezTo>
                    <a:pt x="366363" y="362646"/>
                    <a:pt x="365555" y="361838"/>
                    <a:pt x="364558" y="361838"/>
                  </a:cubicBezTo>
                  <a:lnTo>
                    <a:pt x="346505" y="361838"/>
                  </a:lnTo>
                  <a:cubicBezTo>
                    <a:pt x="345507" y="361838"/>
                    <a:pt x="344699" y="362646"/>
                    <a:pt x="344699" y="363643"/>
                  </a:cubicBezTo>
                  <a:cubicBezTo>
                    <a:pt x="344817" y="399122"/>
                    <a:pt x="344935" y="434601"/>
                    <a:pt x="345052" y="470080"/>
                  </a:cubicBezTo>
                  <a:lnTo>
                    <a:pt x="345052" y="1105097"/>
                  </a:lnTo>
                  <a:cubicBezTo>
                    <a:pt x="345052" y="1134549"/>
                    <a:pt x="321177" y="1158424"/>
                    <a:pt x="291725" y="1158424"/>
                  </a:cubicBezTo>
                  <a:cubicBezTo>
                    <a:pt x="262273" y="1158424"/>
                    <a:pt x="238397" y="1134549"/>
                    <a:pt x="238397" y="1105097"/>
                  </a:cubicBezTo>
                  <a:lnTo>
                    <a:pt x="238397" y="703825"/>
                  </a:lnTo>
                  <a:cubicBezTo>
                    <a:pt x="238279" y="693614"/>
                    <a:pt x="238162" y="683402"/>
                    <a:pt x="238044" y="673190"/>
                  </a:cubicBezTo>
                  <a:cubicBezTo>
                    <a:pt x="238044" y="672315"/>
                    <a:pt x="237335" y="671606"/>
                    <a:pt x="236460" y="671606"/>
                  </a:cubicBezTo>
                  <a:lnTo>
                    <a:pt x="216791" y="671606"/>
                  </a:lnTo>
                  <a:cubicBezTo>
                    <a:pt x="215916" y="671606"/>
                    <a:pt x="215207" y="672315"/>
                    <a:pt x="215207" y="673190"/>
                  </a:cubicBezTo>
                  <a:lnTo>
                    <a:pt x="215207" y="703825"/>
                  </a:lnTo>
                  <a:cubicBezTo>
                    <a:pt x="215163" y="837582"/>
                    <a:pt x="215119" y="971339"/>
                    <a:pt x="215075" y="1105097"/>
                  </a:cubicBezTo>
                  <a:cubicBezTo>
                    <a:pt x="215075" y="1134549"/>
                    <a:pt x="191199" y="1158424"/>
                    <a:pt x="161747" y="1158424"/>
                  </a:cubicBezTo>
                  <a:cubicBezTo>
                    <a:pt x="132295" y="1158424"/>
                    <a:pt x="108419" y="1134549"/>
                    <a:pt x="108419" y="1105097"/>
                  </a:cubicBezTo>
                  <a:lnTo>
                    <a:pt x="108419" y="482815"/>
                  </a:lnTo>
                  <a:cubicBezTo>
                    <a:pt x="107864" y="443082"/>
                    <a:pt x="107310" y="403349"/>
                    <a:pt x="106756" y="363616"/>
                  </a:cubicBezTo>
                  <a:cubicBezTo>
                    <a:pt x="106756" y="362634"/>
                    <a:pt x="105960" y="361838"/>
                    <a:pt x="104978" y="361838"/>
                  </a:cubicBezTo>
                  <a:lnTo>
                    <a:pt x="87202" y="361838"/>
                  </a:lnTo>
                  <a:cubicBezTo>
                    <a:pt x="86220" y="361838"/>
                    <a:pt x="85425" y="362634"/>
                    <a:pt x="85425" y="363616"/>
                  </a:cubicBezTo>
                  <a:lnTo>
                    <a:pt x="85425" y="478256"/>
                  </a:lnTo>
                  <a:cubicBezTo>
                    <a:pt x="85389" y="478253"/>
                    <a:pt x="85357" y="478242"/>
                    <a:pt x="85324" y="478231"/>
                  </a:cubicBezTo>
                  <a:lnTo>
                    <a:pt x="85324" y="633253"/>
                  </a:lnTo>
                  <a:cubicBezTo>
                    <a:pt x="85324" y="656815"/>
                    <a:pt x="66224" y="675915"/>
                    <a:pt x="42662" y="675915"/>
                  </a:cubicBezTo>
                  <a:cubicBezTo>
                    <a:pt x="19101" y="675915"/>
                    <a:pt x="0" y="656815"/>
                    <a:pt x="0" y="633253"/>
                  </a:cubicBezTo>
                  <a:lnTo>
                    <a:pt x="0" y="364807"/>
                  </a:lnTo>
                  <a:lnTo>
                    <a:pt x="0" y="332205"/>
                  </a:lnTo>
                  <a:lnTo>
                    <a:pt x="0" y="325301"/>
                  </a:lnTo>
                  <a:cubicBezTo>
                    <a:pt x="0" y="315209"/>
                    <a:pt x="1313" y="305424"/>
                    <a:pt x="4216" y="296223"/>
                  </a:cubicBezTo>
                  <a:cubicBezTo>
                    <a:pt x="5008" y="293390"/>
                    <a:pt x="4919" y="289851"/>
                    <a:pt x="6801" y="287651"/>
                  </a:cubicBezTo>
                  <a:cubicBezTo>
                    <a:pt x="23933" y="243486"/>
                    <a:pt x="68555" y="213409"/>
                    <a:pt x="118796" y="213409"/>
                  </a:cubicBezTo>
                  <a:close/>
                  <a:moveTo>
                    <a:pt x="226070" y="0"/>
                  </a:moveTo>
                  <a:cubicBezTo>
                    <a:pt x="278028" y="0"/>
                    <a:pt x="320148" y="42120"/>
                    <a:pt x="320148" y="94078"/>
                  </a:cubicBezTo>
                  <a:cubicBezTo>
                    <a:pt x="320148" y="146036"/>
                    <a:pt x="278028" y="188156"/>
                    <a:pt x="226070" y="188156"/>
                  </a:cubicBezTo>
                  <a:cubicBezTo>
                    <a:pt x="174112" y="188156"/>
                    <a:pt x="131992" y="146036"/>
                    <a:pt x="131992" y="94078"/>
                  </a:cubicBezTo>
                  <a:cubicBezTo>
                    <a:pt x="131992" y="42120"/>
                    <a:pt x="174112" y="0"/>
                    <a:pt x="226070" y="0"/>
                  </a:cubicBezTo>
                  <a:close/>
                </a:path>
              </a:pathLst>
            </a:custGeom>
            <a:grpFill/>
            <a:ln w="25400"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4" name="Freeform 13"/>
            <p:cNvSpPr/>
            <p:nvPr/>
          </p:nvSpPr>
          <p:spPr>
            <a:xfrm>
              <a:off x="190706" y="4183614"/>
              <a:ext cx="729520" cy="580130"/>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grpFill/>
            <a:ln w="9525" cap="flat" cmpd="sng" algn="ctr">
              <a:noFill/>
              <a:prstDash val="solid"/>
            </a:ln>
            <a:effectLst/>
          </p:spPr>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14"/>
            <p:cNvSpPr/>
            <p:nvPr/>
          </p:nvSpPr>
          <p:spPr bwMode="auto">
            <a:xfrm>
              <a:off x="139508" y="4876088"/>
              <a:ext cx="780718" cy="517955"/>
            </a:xfrm>
            <a:custGeom>
              <a:avLst/>
              <a:gdLst/>
              <a:ahLst/>
              <a:cxnLst/>
              <a:rect l="l" t="t" r="r" b="b"/>
              <a:pathLst>
                <a:path w="6450949" h="4324350">
                  <a:moveTo>
                    <a:pt x="652849" y="2906737"/>
                  </a:moveTo>
                  <a:lnTo>
                    <a:pt x="3530185" y="3604337"/>
                  </a:lnTo>
                  <a:cubicBezTo>
                    <a:pt x="3530212" y="3608651"/>
                    <a:pt x="3535898" y="3609750"/>
                    <a:pt x="3539176" y="3612840"/>
                  </a:cubicBezTo>
                  <a:cubicBezTo>
                    <a:pt x="3539258" y="3615882"/>
                    <a:pt x="3539340" y="3618923"/>
                    <a:pt x="3539423" y="3621964"/>
                  </a:cubicBezTo>
                  <a:cubicBezTo>
                    <a:pt x="3539450" y="3626380"/>
                    <a:pt x="3533865" y="3631912"/>
                    <a:pt x="3532119" y="3637119"/>
                  </a:cubicBezTo>
                  <a:lnTo>
                    <a:pt x="3431629" y="3615019"/>
                  </a:lnTo>
                  <a:lnTo>
                    <a:pt x="3332848" y="3623566"/>
                  </a:lnTo>
                  <a:lnTo>
                    <a:pt x="3298489" y="3585107"/>
                  </a:lnTo>
                  <a:lnTo>
                    <a:pt x="3216885" y="3576562"/>
                  </a:lnTo>
                  <a:lnTo>
                    <a:pt x="3182525" y="3559470"/>
                  </a:lnTo>
                  <a:lnTo>
                    <a:pt x="3105216" y="3559470"/>
                  </a:lnTo>
                  <a:lnTo>
                    <a:pt x="3057974" y="3525285"/>
                  </a:lnTo>
                  <a:lnTo>
                    <a:pt x="2993550" y="3533830"/>
                  </a:lnTo>
                  <a:lnTo>
                    <a:pt x="2937716" y="3508192"/>
                  </a:lnTo>
                  <a:lnTo>
                    <a:pt x="2860407" y="3508192"/>
                  </a:lnTo>
                  <a:lnTo>
                    <a:pt x="2834639" y="3478281"/>
                  </a:lnTo>
                  <a:lnTo>
                    <a:pt x="2731561" y="3474008"/>
                  </a:lnTo>
                  <a:lnTo>
                    <a:pt x="2710085" y="3448369"/>
                  </a:lnTo>
                  <a:lnTo>
                    <a:pt x="2607007" y="3448369"/>
                  </a:lnTo>
                  <a:lnTo>
                    <a:pt x="2585533" y="3422731"/>
                  </a:lnTo>
                  <a:lnTo>
                    <a:pt x="2499635" y="3422731"/>
                  </a:lnTo>
                  <a:lnTo>
                    <a:pt x="2456686" y="3384274"/>
                  </a:lnTo>
                  <a:lnTo>
                    <a:pt x="2375083" y="3388546"/>
                  </a:lnTo>
                  <a:lnTo>
                    <a:pt x="2345018" y="3362907"/>
                  </a:lnTo>
                  <a:lnTo>
                    <a:pt x="2246235" y="3354362"/>
                  </a:lnTo>
                  <a:lnTo>
                    <a:pt x="2216172" y="3328723"/>
                  </a:lnTo>
                  <a:lnTo>
                    <a:pt x="2130274" y="3328723"/>
                  </a:lnTo>
                  <a:lnTo>
                    <a:pt x="2095914" y="3303085"/>
                  </a:lnTo>
                  <a:lnTo>
                    <a:pt x="2018605" y="3303085"/>
                  </a:lnTo>
                  <a:lnTo>
                    <a:pt x="1984246" y="3273173"/>
                  </a:lnTo>
                  <a:lnTo>
                    <a:pt x="1898348" y="3273173"/>
                  </a:lnTo>
                  <a:lnTo>
                    <a:pt x="1868283" y="3238989"/>
                  </a:lnTo>
                  <a:lnTo>
                    <a:pt x="1778091" y="3243261"/>
                  </a:lnTo>
                  <a:lnTo>
                    <a:pt x="1748026" y="3217624"/>
                  </a:lnTo>
                  <a:lnTo>
                    <a:pt x="1662127" y="3217624"/>
                  </a:lnTo>
                  <a:lnTo>
                    <a:pt x="1606294" y="3187712"/>
                  </a:lnTo>
                  <a:lnTo>
                    <a:pt x="1533281" y="3183439"/>
                  </a:lnTo>
                  <a:lnTo>
                    <a:pt x="1498922" y="3162074"/>
                  </a:lnTo>
                  <a:lnTo>
                    <a:pt x="1425909" y="3162074"/>
                  </a:lnTo>
                  <a:lnTo>
                    <a:pt x="1382959" y="3123615"/>
                  </a:lnTo>
                  <a:lnTo>
                    <a:pt x="1288472" y="3132162"/>
                  </a:lnTo>
                  <a:lnTo>
                    <a:pt x="1262701" y="3102250"/>
                  </a:lnTo>
                  <a:lnTo>
                    <a:pt x="1185394" y="3097977"/>
                  </a:lnTo>
                  <a:lnTo>
                    <a:pt x="1151035" y="3076613"/>
                  </a:lnTo>
                  <a:lnTo>
                    <a:pt x="1069432" y="3076613"/>
                  </a:lnTo>
                  <a:lnTo>
                    <a:pt x="1017893" y="3046700"/>
                  </a:lnTo>
                  <a:lnTo>
                    <a:pt x="953468" y="3050973"/>
                  </a:lnTo>
                  <a:lnTo>
                    <a:pt x="910520" y="3012516"/>
                  </a:lnTo>
                  <a:lnTo>
                    <a:pt x="828917" y="3016789"/>
                  </a:lnTo>
                  <a:lnTo>
                    <a:pt x="807443" y="2986877"/>
                  </a:lnTo>
                  <a:lnTo>
                    <a:pt x="721544" y="2982604"/>
                  </a:lnTo>
                  <a:lnTo>
                    <a:pt x="652697" y="2910081"/>
                  </a:lnTo>
                  <a:cubicBezTo>
                    <a:pt x="652741" y="2910041"/>
                    <a:pt x="652782" y="2910002"/>
                    <a:pt x="652826" y="2909963"/>
                  </a:cubicBezTo>
                  <a:cubicBezTo>
                    <a:pt x="652833" y="2908888"/>
                    <a:pt x="652842" y="2907813"/>
                    <a:pt x="652849" y="2906737"/>
                  </a:cubicBezTo>
                  <a:close/>
                  <a:moveTo>
                    <a:pt x="2486750" y="2033983"/>
                  </a:moveTo>
                  <a:lnTo>
                    <a:pt x="3079447" y="2042528"/>
                  </a:lnTo>
                  <a:cubicBezTo>
                    <a:pt x="3080880" y="2361584"/>
                    <a:pt x="3082310" y="2680640"/>
                    <a:pt x="3083742" y="2999696"/>
                  </a:cubicBezTo>
                  <a:lnTo>
                    <a:pt x="2362198" y="2884323"/>
                  </a:lnTo>
                  <a:lnTo>
                    <a:pt x="2491046" y="2854413"/>
                  </a:lnTo>
                  <a:close/>
                  <a:moveTo>
                    <a:pt x="4569781" y="2029709"/>
                  </a:moveTo>
                  <a:lnTo>
                    <a:pt x="3964197" y="2042528"/>
                  </a:lnTo>
                  <a:cubicBezTo>
                    <a:pt x="3965630" y="2370131"/>
                    <a:pt x="3967061" y="2697733"/>
                    <a:pt x="3968494" y="3025336"/>
                  </a:cubicBezTo>
                  <a:lnTo>
                    <a:pt x="4659973" y="2892870"/>
                  </a:lnTo>
                  <a:lnTo>
                    <a:pt x="4578370" y="2858686"/>
                  </a:lnTo>
                  <a:cubicBezTo>
                    <a:pt x="4575508" y="2582359"/>
                    <a:pt x="4572643" y="2306034"/>
                    <a:pt x="4569781" y="2029709"/>
                  </a:cubicBezTo>
                  <a:close/>
                  <a:moveTo>
                    <a:pt x="962059" y="2021163"/>
                  </a:moveTo>
                  <a:lnTo>
                    <a:pt x="1395844" y="2025436"/>
                  </a:lnTo>
                  <a:cubicBezTo>
                    <a:pt x="1392980" y="2261880"/>
                    <a:pt x="1390118" y="2498323"/>
                    <a:pt x="1387254" y="2734767"/>
                  </a:cubicBezTo>
                  <a:lnTo>
                    <a:pt x="889044" y="2645031"/>
                  </a:lnTo>
                  <a:lnTo>
                    <a:pt x="966354" y="2615121"/>
                  </a:lnTo>
                  <a:cubicBezTo>
                    <a:pt x="964921" y="2417136"/>
                    <a:pt x="963491" y="2219148"/>
                    <a:pt x="962059" y="2021163"/>
                  </a:cubicBezTo>
                  <a:close/>
                  <a:moveTo>
                    <a:pt x="3929838" y="1982706"/>
                  </a:moveTo>
                  <a:lnTo>
                    <a:pt x="4724398" y="1982706"/>
                  </a:lnTo>
                  <a:cubicBezTo>
                    <a:pt x="4722966" y="2297488"/>
                    <a:pt x="4721533" y="2612272"/>
                    <a:pt x="4720102" y="2927055"/>
                  </a:cubicBezTo>
                  <a:lnTo>
                    <a:pt x="3934135" y="3089431"/>
                  </a:lnTo>
                  <a:cubicBezTo>
                    <a:pt x="3932703" y="2720522"/>
                    <a:pt x="3931271" y="2351614"/>
                    <a:pt x="3929838" y="1982706"/>
                  </a:cubicBezTo>
                  <a:close/>
                  <a:moveTo>
                    <a:pt x="841801" y="1974159"/>
                  </a:moveTo>
                  <a:cubicBezTo>
                    <a:pt x="840370" y="2212026"/>
                    <a:pt x="843232" y="2449895"/>
                    <a:pt x="846096" y="2687762"/>
                  </a:cubicBezTo>
                  <a:lnTo>
                    <a:pt x="1434498" y="2786044"/>
                  </a:lnTo>
                  <a:lnTo>
                    <a:pt x="1451677" y="1974159"/>
                  </a:lnTo>
                  <a:close/>
                  <a:moveTo>
                    <a:pt x="2319248" y="1969885"/>
                  </a:moveTo>
                  <a:cubicBezTo>
                    <a:pt x="2317816" y="2287516"/>
                    <a:pt x="2316383" y="2605149"/>
                    <a:pt x="2314952" y="2922781"/>
                  </a:cubicBezTo>
                  <a:lnTo>
                    <a:pt x="3126690" y="3068064"/>
                  </a:lnTo>
                  <a:lnTo>
                    <a:pt x="3135279" y="1974158"/>
                  </a:lnTo>
                  <a:close/>
                  <a:moveTo>
                    <a:pt x="5832482" y="1922882"/>
                  </a:moveTo>
                  <a:lnTo>
                    <a:pt x="5879727" y="1922882"/>
                  </a:lnTo>
                  <a:lnTo>
                    <a:pt x="5892612" y="3025336"/>
                  </a:lnTo>
                  <a:lnTo>
                    <a:pt x="5338568" y="3144982"/>
                  </a:lnTo>
                  <a:lnTo>
                    <a:pt x="5823893" y="3008244"/>
                  </a:lnTo>
                  <a:cubicBezTo>
                    <a:pt x="5826756" y="2646456"/>
                    <a:pt x="5829620" y="2284670"/>
                    <a:pt x="5832482" y="1922882"/>
                  </a:cubicBezTo>
                  <a:close/>
                  <a:moveTo>
                    <a:pt x="794557" y="1922882"/>
                  </a:moveTo>
                  <a:lnTo>
                    <a:pt x="1494627" y="1927155"/>
                  </a:lnTo>
                  <a:lnTo>
                    <a:pt x="1494627" y="2850138"/>
                  </a:lnTo>
                  <a:lnTo>
                    <a:pt x="803146" y="2721947"/>
                  </a:lnTo>
                  <a:cubicBezTo>
                    <a:pt x="800284" y="2458441"/>
                    <a:pt x="797420" y="2194936"/>
                    <a:pt x="794557" y="1922882"/>
                  </a:cubicBezTo>
                  <a:close/>
                  <a:moveTo>
                    <a:pt x="3191113" y="1910060"/>
                  </a:moveTo>
                  <a:cubicBezTo>
                    <a:pt x="3192544" y="2331670"/>
                    <a:pt x="3193977" y="2753280"/>
                    <a:pt x="3195408" y="3174890"/>
                  </a:cubicBezTo>
                  <a:lnTo>
                    <a:pt x="2233349" y="2982603"/>
                  </a:lnTo>
                  <a:lnTo>
                    <a:pt x="2246233" y="1922881"/>
                  </a:lnTo>
                  <a:close/>
                  <a:moveTo>
                    <a:pt x="3839646" y="1892970"/>
                  </a:moveTo>
                  <a:cubicBezTo>
                    <a:pt x="3843940" y="2321702"/>
                    <a:pt x="3848237" y="2750434"/>
                    <a:pt x="3852530" y="3179166"/>
                  </a:cubicBezTo>
                  <a:lnTo>
                    <a:pt x="4814590" y="2995424"/>
                  </a:lnTo>
                  <a:cubicBezTo>
                    <a:pt x="4811725" y="2637911"/>
                    <a:pt x="4808863" y="2280396"/>
                    <a:pt x="4806000" y="1922882"/>
                  </a:cubicBezTo>
                  <a:close/>
                  <a:moveTo>
                    <a:pt x="5952740" y="1854513"/>
                  </a:moveTo>
                  <a:lnTo>
                    <a:pt x="5282735" y="1871605"/>
                  </a:lnTo>
                  <a:cubicBezTo>
                    <a:pt x="5285598" y="2333097"/>
                    <a:pt x="5288461" y="2794589"/>
                    <a:pt x="5291325" y="3256081"/>
                  </a:cubicBezTo>
                  <a:lnTo>
                    <a:pt x="5957035" y="3076613"/>
                  </a:lnTo>
                  <a:cubicBezTo>
                    <a:pt x="5955603" y="2669245"/>
                    <a:pt x="5954173" y="2261880"/>
                    <a:pt x="5952740" y="1854513"/>
                  </a:cubicBezTo>
                  <a:close/>
                  <a:moveTo>
                    <a:pt x="1962772" y="508494"/>
                  </a:moveTo>
                  <a:lnTo>
                    <a:pt x="700068" y="1636586"/>
                  </a:lnTo>
                  <a:lnTo>
                    <a:pt x="724578" y="1637805"/>
                  </a:lnTo>
                  <a:lnTo>
                    <a:pt x="844385" y="1635385"/>
                  </a:lnTo>
                  <a:lnTo>
                    <a:pt x="2027196" y="551226"/>
                  </a:lnTo>
                  <a:close/>
                  <a:moveTo>
                    <a:pt x="1924118" y="346119"/>
                  </a:moveTo>
                  <a:lnTo>
                    <a:pt x="3641590" y="1637264"/>
                  </a:lnTo>
                  <a:lnTo>
                    <a:pt x="3640627" y="1637237"/>
                  </a:lnTo>
                  <a:lnTo>
                    <a:pt x="3614477" y="1620760"/>
                  </a:lnTo>
                  <a:lnTo>
                    <a:pt x="3635816" y="1637108"/>
                  </a:lnTo>
                  <a:lnTo>
                    <a:pt x="3640627" y="1637237"/>
                  </a:lnTo>
                  <a:lnTo>
                    <a:pt x="3646375" y="1640861"/>
                  </a:lnTo>
                  <a:lnTo>
                    <a:pt x="3641590" y="1637264"/>
                  </a:lnTo>
                  <a:lnTo>
                    <a:pt x="6167487" y="1704955"/>
                  </a:lnTo>
                  <a:lnTo>
                    <a:pt x="6201845" y="2880050"/>
                  </a:lnTo>
                  <a:lnTo>
                    <a:pt x="6403704" y="2922782"/>
                  </a:lnTo>
                  <a:lnTo>
                    <a:pt x="6450949" y="3213351"/>
                  </a:lnTo>
                  <a:lnTo>
                    <a:pt x="5115233" y="3683388"/>
                  </a:lnTo>
                  <a:lnTo>
                    <a:pt x="3173935" y="4324350"/>
                  </a:lnTo>
                  <a:lnTo>
                    <a:pt x="0" y="3157799"/>
                  </a:lnTo>
                  <a:lnTo>
                    <a:pt x="0" y="3046700"/>
                  </a:lnTo>
                  <a:lnTo>
                    <a:pt x="592696" y="2922782"/>
                  </a:lnTo>
                  <a:cubicBezTo>
                    <a:pt x="591264" y="2516840"/>
                    <a:pt x="589834" y="2110898"/>
                    <a:pt x="588401" y="1704955"/>
                  </a:cubicBezTo>
                  <a:lnTo>
                    <a:pt x="661415" y="1704955"/>
                  </a:lnTo>
                  <a:cubicBezTo>
                    <a:pt x="658560" y="2105549"/>
                    <a:pt x="655704" y="2506143"/>
                    <a:pt x="652849" y="2906737"/>
                  </a:cubicBezTo>
                  <a:lnTo>
                    <a:pt x="648529" y="2905690"/>
                  </a:lnTo>
                  <a:lnTo>
                    <a:pt x="652697" y="2910081"/>
                  </a:lnTo>
                  <a:lnTo>
                    <a:pt x="601287" y="2956967"/>
                  </a:lnTo>
                  <a:lnTo>
                    <a:pt x="90193" y="3080885"/>
                  </a:lnTo>
                  <a:lnTo>
                    <a:pt x="3178231" y="4132061"/>
                  </a:lnTo>
                  <a:lnTo>
                    <a:pt x="4850329" y="3620451"/>
                  </a:lnTo>
                  <a:lnTo>
                    <a:pt x="4822437" y="3619790"/>
                  </a:lnTo>
                  <a:lnTo>
                    <a:pt x="3530413" y="3640659"/>
                  </a:lnTo>
                  <a:lnTo>
                    <a:pt x="3532119" y="3637119"/>
                  </a:lnTo>
                  <a:lnTo>
                    <a:pt x="3537582" y="3638320"/>
                  </a:lnTo>
                  <a:lnTo>
                    <a:pt x="3543071" y="3616523"/>
                  </a:lnTo>
                  <a:cubicBezTo>
                    <a:pt x="3543057" y="3614358"/>
                    <a:pt x="3541618" y="3613003"/>
                    <a:pt x="3539176" y="3612840"/>
                  </a:cubicBezTo>
                  <a:cubicBezTo>
                    <a:pt x="3539119" y="3610718"/>
                    <a:pt x="3539062" y="3608596"/>
                    <a:pt x="3539004" y="3606474"/>
                  </a:cubicBezTo>
                  <a:cubicBezTo>
                    <a:pt x="3539102" y="3605157"/>
                    <a:pt x="3539202" y="3603840"/>
                    <a:pt x="3539301" y="3602523"/>
                  </a:cubicBezTo>
                  <a:cubicBezTo>
                    <a:pt x="3535090" y="2930733"/>
                    <a:pt x="3524168" y="2234652"/>
                    <a:pt x="3519940" y="1562774"/>
                  </a:cubicBezTo>
                  <a:lnTo>
                    <a:pt x="3516485" y="1559718"/>
                  </a:lnTo>
                  <a:lnTo>
                    <a:pt x="383225" y="1701172"/>
                  </a:lnTo>
                  <a:close/>
                  <a:moveTo>
                    <a:pt x="3547592" y="0"/>
                  </a:moveTo>
                  <a:lnTo>
                    <a:pt x="3547592" y="474310"/>
                  </a:lnTo>
                  <a:lnTo>
                    <a:pt x="4453818" y="534133"/>
                  </a:lnTo>
                  <a:lnTo>
                    <a:pt x="6425180" y="1615221"/>
                  </a:lnTo>
                  <a:lnTo>
                    <a:pt x="3689324" y="1516940"/>
                  </a:lnTo>
                  <a:lnTo>
                    <a:pt x="2070144" y="311934"/>
                  </a:lnTo>
                  <a:lnTo>
                    <a:pt x="3053678" y="397395"/>
                  </a:lnTo>
                  <a:cubicBezTo>
                    <a:pt x="3052245" y="269202"/>
                    <a:pt x="3050815" y="141010"/>
                    <a:pt x="3049383" y="12818"/>
                  </a:cubicBezTo>
                  <a:close/>
                </a:path>
              </a:pathLst>
            </a:custGeom>
            <a:grpFill/>
            <a:ln w="9525" cap="flat" cmpd="sng" algn="ctr">
              <a:noFill/>
              <a:prstDash val="solid"/>
              <a:headEnd type="none" w="med" len="med"/>
              <a:tailEnd type="none" w="med" len="med"/>
            </a:ln>
            <a:effectLst/>
          </p:spPr>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6"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dirty="0" err="1">
                <a:ln>
                  <a:noFill/>
                </a:ln>
                <a:solidFill>
                  <a:schemeClr val="tx1"/>
                </a:solidFill>
                <a:effectLst/>
                <a:uLnTx/>
                <a:uFillTx/>
                <a:latin typeface="Segoe UI Light" pitchFamily="34" charset="0"/>
                <a:ea typeface="Segoe UI" pitchFamily="34" charset="0"/>
                <a:cs typeface="Segoe UI" pitchFamily="34" charset="0"/>
              </a:rPr>
              <a:t>CityNext</a:t>
            </a:r>
            <a:r>
              <a:rPr kumimoji="0" lang="en-US" sz="3600" b="0" i="0" u="none" strike="noStrike" kern="1200" cap="none" spc="-98" normalizeH="0" baseline="0" noProof="0" dirty="0">
                <a:ln>
                  <a:noFill/>
                </a:ln>
                <a:solidFill>
                  <a:schemeClr val="tx1"/>
                </a:solidFill>
                <a:effectLst/>
                <a:uLnTx/>
                <a:uFillTx/>
                <a:latin typeface="Segoe UI Light" pitchFamily="34" charset="0"/>
                <a:ea typeface="Segoe UI" pitchFamily="34" charset="0"/>
                <a:cs typeface="Segoe UI" pitchFamily="34" charset="0"/>
              </a:rPr>
              <a:t> Book of Dreams</a:t>
            </a:r>
          </a:p>
        </p:txBody>
      </p:sp>
    </p:spTree>
    <p:extLst>
      <p:ext uri="{BB962C8B-B14F-4D97-AF65-F5344CB8AC3E}">
        <p14:creationId xmlns:p14="http://schemas.microsoft.com/office/powerpoint/2010/main" val="1941955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Text Box 4"/>
          <p:cNvSpPr txBox="1">
            <a:spLocks noChangeArrowheads="1"/>
          </p:cNvSpPr>
          <p:nvPr/>
        </p:nvSpPr>
        <p:spPr bwMode="gray">
          <a:xfrm>
            <a:off x="3391166" y="1696923"/>
            <a:ext cx="5397016" cy="2551227"/>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kern="0" dirty="0">
                <a:ln>
                  <a:noFill/>
                </a:ln>
                <a:solidFill>
                  <a:srgbClr val="505050"/>
                </a:solidFill>
                <a:latin typeface="Segoe UI Semibold" panose="020B0702040204020203" pitchFamily="34" charset="0"/>
                <a:cs typeface="Segoe UI Semibold" panose="020B0702040204020203" pitchFamily="34" charset="0"/>
              </a:rPr>
              <a:t>City efficiently provides services and information to citizens</a:t>
            </a:r>
          </a:p>
        </p:txBody>
      </p:sp>
      <p:sp>
        <p:nvSpPr>
          <p:cNvPr id="142" name="Text Box 4"/>
          <p:cNvSpPr txBox="1">
            <a:spLocks noChangeArrowheads="1"/>
          </p:cNvSpPr>
          <p:nvPr/>
        </p:nvSpPr>
        <p:spPr bwMode="gray">
          <a:xfrm>
            <a:off x="303212" y="1696923"/>
            <a:ext cx="2858806"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kern="0" dirty="0">
                <a:ln>
                  <a:noFill/>
                </a:ln>
                <a:solidFill>
                  <a:srgbClr val="505050"/>
                </a:solidFill>
                <a:latin typeface="Segoe UI Semibold" panose="020B0702040204020203" pitchFamily="34" charset="0"/>
                <a:cs typeface="Segoe UI Semibold" panose="020B0702040204020203" pitchFamily="34" charset="0"/>
              </a:rPr>
              <a:t>Citizen and city connect</a:t>
            </a:r>
          </a:p>
        </p:txBody>
      </p:sp>
      <p:sp>
        <p:nvSpPr>
          <p:cNvPr id="143" name="Text Box 4"/>
          <p:cNvSpPr txBox="1">
            <a:spLocks noChangeArrowheads="1"/>
          </p:cNvSpPr>
          <p:nvPr/>
        </p:nvSpPr>
        <p:spPr bwMode="gray">
          <a:xfrm>
            <a:off x="9023540" y="1696923"/>
            <a:ext cx="2862072"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defRPr/>
            </a:pPr>
            <a:r>
              <a:rPr lang="en-US" sz="1200" kern="0" dirty="0">
                <a:ln>
                  <a:noFill/>
                </a:ln>
                <a:solidFill>
                  <a:srgbClr val="505050"/>
                </a:solidFill>
                <a:latin typeface="Segoe UI Semibold" panose="020B0702040204020203" pitchFamily="34" charset="0"/>
                <a:cs typeface="Segoe UI Semibold" panose="020B0702040204020203" pitchFamily="34" charset="0"/>
              </a:rPr>
              <a:t>Increased citizen satisfaction</a:t>
            </a:r>
          </a:p>
        </p:txBody>
      </p:sp>
      <p:sp>
        <p:nvSpPr>
          <p:cNvPr id="144" name="Rectangle 143"/>
          <p:cNvSpPr/>
          <p:nvPr/>
        </p:nvSpPr>
        <p:spPr>
          <a:xfrm>
            <a:off x="303212" y="1296170"/>
            <a:ext cx="11582400" cy="3485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a:r>
              <a:rPr lang="en-IN" sz="1200" dirty="0">
                <a:solidFill>
                  <a:prstClr val="white"/>
                </a:solidFill>
                <a:latin typeface="Segoe UI Semibold" panose="020B0702040204020203" pitchFamily="34" charset="0"/>
                <a:cs typeface="Segoe UI Semibold" panose="020B0702040204020203" pitchFamily="34" charset="0"/>
              </a:rPr>
              <a:t>Citizens can use many channels to interact with the city, use city services, request help, and convey concerns and ideas to city leaders.</a:t>
            </a:r>
          </a:p>
        </p:txBody>
      </p:sp>
      <p:grpSp>
        <p:nvGrpSpPr>
          <p:cNvPr id="145" name="Group 144"/>
          <p:cNvGrpSpPr/>
          <p:nvPr/>
        </p:nvGrpSpPr>
        <p:grpSpPr>
          <a:xfrm>
            <a:off x="303212" y="4762175"/>
            <a:ext cx="11582400" cy="1717539"/>
            <a:chOff x="303212" y="4677426"/>
            <a:chExt cx="11243879" cy="1843336"/>
          </a:xfrm>
        </p:grpSpPr>
        <p:grpSp>
          <p:nvGrpSpPr>
            <p:cNvPr id="146" name="Group 145"/>
            <p:cNvGrpSpPr/>
            <p:nvPr/>
          </p:nvGrpSpPr>
          <p:grpSpPr>
            <a:xfrm>
              <a:off x="303212" y="4677426"/>
              <a:ext cx="2858806" cy="1840423"/>
              <a:chOff x="303212" y="4677426"/>
              <a:chExt cx="2858806" cy="1840423"/>
            </a:xfrm>
          </p:grpSpPr>
          <p:sp>
            <p:nvSpPr>
              <p:cNvPr id="156" name="Text Box 4"/>
              <p:cNvSpPr txBox="1">
                <a:spLocks noChangeArrowheads="1"/>
              </p:cNvSpPr>
              <p:nvPr/>
            </p:nvSpPr>
            <p:spPr bwMode="gray">
              <a:xfrm>
                <a:off x="303212" y="4951747"/>
                <a:ext cx="2858806" cy="1566102"/>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IN" sz="1050" kern="0" dirty="0">
                    <a:ln>
                      <a:noFill/>
                    </a:ln>
                    <a:solidFill>
                      <a:srgbClr val="505050"/>
                    </a:solidFill>
                  </a:rPr>
                  <a:t>Improve citizen’s ability to interact with government agencies</a:t>
                </a:r>
              </a:p>
              <a:p>
                <a:pPr marL="137160" indent="-137160">
                  <a:spcBef>
                    <a:spcPts val="100"/>
                  </a:spcBef>
                  <a:spcAft>
                    <a:spcPts val="100"/>
                  </a:spcAft>
                  <a:buFont typeface="Arial" panose="020B0604020202020204" pitchFamily="34" charset="0"/>
                  <a:buChar char="•"/>
                  <a:defRPr/>
                </a:pPr>
                <a:r>
                  <a:rPr lang="en-IN" sz="1050" kern="0" dirty="0">
                    <a:ln>
                      <a:noFill/>
                    </a:ln>
                    <a:solidFill>
                      <a:srgbClr val="505050"/>
                    </a:solidFill>
                  </a:rPr>
                  <a:t>Improve agency’s response time to citizen requests</a:t>
                </a:r>
              </a:p>
              <a:p>
                <a:pPr marL="137160" indent="-137160">
                  <a:spcBef>
                    <a:spcPts val="100"/>
                  </a:spcBef>
                  <a:spcAft>
                    <a:spcPts val="100"/>
                  </a:spcAft>
                  <a:buFont typeface="Arial" panose="020B0604020202020204" pitchFamily="34" charset="0"/>
                  <a:buChar char="•"/>
                  <a:defRPr/>
                </a:pPr>
                <a:r>
                  <a:rPr lang="en-IN" sz="1050" kern="0" dirty="0">
                    <a:ln>
                      <a:noFill/>
                    </a:ln>
                    <a:solidFill>
                      <a:srgbClr val="505050"/>
                    </a:solidFill>
                  </a:rPr>
                  <a:t>Improve citizen satisfaction and productivity</a:t>
                </a:r>
              </a:p>
            </p:txBody>
          </p:sp>
          <p:sp>
            <p:nvSpPr>
              <p:cNvPr id="157" name="Rectangle 156"/>
              <p:cNvSpPr/>
              <p:nvPr/>
            </p:nvSpPr>
            <p:spPr>
              <a:xfrm>
                <a:off x="303212" y="4677426"/>
                <a:ext cx="2858806" cy="274320"/>
              </a:xfrm>
              <a:prstGeom prst="rect">
                <a:avLst/>
              </a:prstGeom>
              <a:solidFill>
                <a:schemeClr val="bg2"/>
              </a:solidFill>
              <a:ln w="3175" cap="flat" cmpd="sng" algn="ctr">
                <a:noFill/>
                <a:prstDash val="solid"/>
              </a:ln>
              <a:effectLst/>
            </p:spPr>
            <p:txBody>
              <a:bodyPr wrap="square" lIns="91440" tIns="45720" rIns="91440" bIns="45720" rtlCol="0" anchor="ctr">
                <a:noAutofit/>
              </a:bodyPr>
              <a:lstStyle/>
              <a:p>
                <a:pPr marL="0" lvl="1" algn="ctr" defTabSz="1218106" fontAlgn="base">
                  <a:buClr>
                    <a:srgbClr val="FFFF99"/>
                  </a:buClr>
                  <a:buSzPct val="90000"/>
                  <a:defRPr/>
                </a:pPr>
                <a:r>
                  <a:rPr lang="en-US" sz="1200" kern="0" dirty="0">
                    <a:solidFill>
                      <a:srgbClr val="FFFFFF"/>
                    </a:solidFill>
                    <a:latin typeface="Segoe UI Semibold" panose="020B0702040204020203" pitchFamily="34" charset="0"/>
                    <a:ea typeface="Segoe UI" pitchFamily="34" charset="0"/>
                    <a:cs typeface="Segoe UI" pitchFamily="34" charset="0"/>
                  </a:rPr>
                  <a:t>Benefits</a:t>
                </a:r>
              </a:p>
            </p:txBody>
          </p:sp>
        </p:grpSp>
        <p:grpSp>
          <p:nvGrpSpPr>
            <p:cNvPr id="147" name="Group 146"/>
            <p:cNvGrpSpPr/>
            <p:nvPr/>
          </p:nvGrpSpPr>
          <p:grpSpPr>
            <a:xfrm>
              <a:off x="3221455" y="4677426"/>
              <a:ext cx="2678716" cy="1843336"/>
              <a:chOff x="3391166" y="4677426"/>
              <a:chExt cx="2678716" cy="1843336"/>
            </a:xfrm>
          </p:grpSpPr>
          <p:sp>
            <p:nvSpPr>
              <p:cNvPr id="154" name="Text Box 4"/>
              <p:cNvSpPr txBox="1">
                <a:spLocks noChangeArrowheads="1"/>
              </p:cNvSpPr>
              <p:nvPr/>
            </p:nvSpPr>
            <p:spPr bwMode="gray">
              <a:xfrm>
                <a:off x="3391166" y="4951747"/>
                <a:ext cx="267871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ncreasing transparency</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Delivering efficient real-time service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mproving the decision making capabilities of city leaders and all city employees</a:t>
                </a:r>
              </a:p>
            </p:txBody>
          </p:sp>
          <p:sp>
            <p:nvSpPr>
              <p:cNvPr id="155" name="Rectangle 154"/>
              <p:cNvSpPr/>
              <p:nvPr/>
            </p:nvSpPr>
            <p:spPr>
              <a:xfrm>
                <a:off x="3391166" y="4677426"/>
                <a:ext cx="2678716" cy="274320"/>
              </a:xfrm>
              <a:prstGeom prst="rect">
                <a:avLst/>
              </a:prstGeom>
              <a:solidFill>
                <a:schemeClr val="tx2"/>
              </a:solidFill>
              <a:ln w="3175" cap="flat" cmpd="sng" algn="ctr">
                <a:noFill/>
                <a:prstDash val="solid"/>
              </a:ln>
              <a:effectLst/>
            </p:spPr>
            <p:txBody>
              <a:bodyPr wrap="square" lIns="91440" tIns="45720" rIns="91440" bIns="45720" rtlCol="0" anchor="ctr">
                <a:noAutofit/>
              </a:bodyPr>
              <a:lstStyle/>
              <a:p>
                <a:pPr marL="0" lvl="1" algn="ctr" defTabSz="1218106" fontAlgn="base">
                  <a:spcBef>
                    <a:spcPts val="200"/>
                  </a:spcBef>
                  <a:buClr>
                    <a:srgbClr val="FFFF99"/>
                  </a:buClr>
                  <a:buSzPct val="90000"/>
                  <a:defRPr/>
                </a:pPr>
                <a:r>
                  <a:rPr lang="en-US" sz="1200" kern="0" dirty="0">
                    <a:solidFill>
                      <a:srgbClr val="FFFFFF"/>
                    </a:solidFill>
                    <a:latin typeface="Segoe UI Semibold" panose="020B0702040204020203" pitchFamily="34" charset="0"/>
                    <a:ea typeface="Segoe UI" pitchFamily="34" charset="0"/>
                    <a:cs typeface="Segoe UI" pitchFamily="34" charset="0"/>
                  </a:rPr>
                  <a:t>Start </a:t>
                </a:r>
              </a:p>
            </p:txBody>
          </p:sp>
        </p:grpSp>
        <p:grpSp>
          <p:nvGrpSpPr>
            <p:cNvPr id="148" name="Group 147"/>
            <p:cNvGrpSpPr/>
            <p:nvPr/>
          </p:nvGrpSpPr>
          <p:grpSpPr>
            <a:xfrm>
              <a:off x="5959608" y="4677426"/>
              <a:ext cx="2669241" cy="1843336"/>
              <a:chOff x="6118941" y="4677426"/>
              <a:chExt cx="2669241" cy="1843336"/>
            </a:xfrm>
          </p:grpSpPr>
          <p:sp>
            <p:nvSpPr>
              <p:cNvPr id="152" name="Text Box 4"/>
              <p:cNvSpPr txBox="1">
                <a:spLocks noChangeArrowheads="1"/>
              </p:cNvSpPr>
              <p:nvPr/>
            </p:nvSpPr>
            <p:spPr bwMode="gray">
              <a:xfrm>
                <a:off x="6118941" y="4951747"/>
                <a:ext cx="2669241"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Frustrating citizens with unresponsiveness and complexity</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nefficient workflows for handling citizen request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nefficiently allocating resources</a:t>
                </a:r>
              </a:p>
            </p:txBody>
          </p:sp>
          <p:sp>
            <p:nvSpPr>
              <p:cNvPr id="153" name="Rectangle 152"/>
              <p:cNvSpPr/>
              <p:nvPr/>
            </p:nvSpPr>
            <p:spPr>
              <a:xfrm>
                <a:off x="6118941" y="4677426"/>
                <a:ext cx="2669241" cy="274320"/>
              </a:xfrm>
              <a:prstGeom prst="rect">
                <a:avLst/>
              </a:prstGeom>
              <a:solidFill>
                <a:schemeClr val="accent1"/>
              </a:solidFill>
              <a:ln w="3175" cap="flat" cmpd="sng" algn="ctr">
                <a:noFill/>
                <a:prstDash val="solid"/>
              </a:ln>
              <a:effectLst/>
            </p:spPr>
            <p:txBody>
              <a:bodyPr wrap="square" lIns="91440" tIns="45720" rIns="91440" bIns="45720" rtlCol="0" anchor="ctr">
                <a:noAutofit/>
              </a:bodyPr>
              <a:lstStyle/>
              <a:p>
                <a:pPr marL="0" lvl="1" algn="ctr" defTabSz="1218106" fontAlgn="base">
                  <a:spcBef>
                    <a:spcPts val="200"/>
                  </a:spcBef>
                  <a:buClr>
                    <a:srgbClr val="FFFF99"/>
                  </a:buClr>
                  <a:buSzPct val="90000"/>
                  <a:defRPr/>
                </a:pPr>
                <a:r>
                  <a:rPr lang="en-US" sz="1200" kern="0" dirty="0">
                    <a:solidFill>
                      <a:srgbClr val="FFFFFF"/>
                    </a:solidFill>
                    <a:latin typeface="Segoe UI Semibold" panose="020B0702040204020203" pitchFamily="34" charset="0"/>
                    <a:ea typeface="Segoe UI" pitchFamily="34" charset="0"/>
                    <a:cs typeface="Segoe UI" pitchFamily="34" charset="0"/>
                  </a:rPr>
                  <a:t>Stop</a:t>
                </a:r>
              </a:p>
            </p:txBody>
          </p:sp>
        </p:grpSp>
        <p:grpSp>
          <p:nvGrpSpPr>
            <p:cNvPr id="149" name="Group 148"/>
            <p:cNvGrpSpPr/>
            <p:nvPr/>
          </p:nvGrpSpPr>
          <p:grpSpPr>
            <a:xfrm>
              <a:off x="8688285" y="4677426"/>
              <a:ext cx="2858806" cy="1843336"/>
              <a:chOff x="9026806" y="4677426"/>
              <a:chExt cx="2858806" cy="1843336"/>
            </a:xfrm>
          </p:grpSpPr>
          <p:sp>
            <p:nvSpPr>
              <p:cNvPr id="150" name="Text Box 4"/>
              <p:cNvSpPr txBox="1">
                <a:spLocks noChangeArrowheads="1"/>
              </p:cNvSpPr>
              <p:nvPr/>
            </p:nvSpPr>
            <p:spPr bwMode="gray">
              <a:xfrm>
                <a:off x="9026806" y="4951747"/>
                <a:ext cx="285880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Supporting citizen self-service</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Improving the attractiveness of the city to citizens and businesses</a:t>
                </a:r>
              </a:p>
              <a:p>
                <a:pPr marL="137160" indent="-137160">
                  <a:spcBef>
                    <a:spcPts val="100"/>
                  </a:spcBef>
                  <a:spcAft>
                    <a:spcPts val="100"/>
                  </a:spcAft>
                  <a:buFont typeface="Arial" panose="020B0604020202020204" pitchFamily="34" charset="0"/>
                  <a:buChar char="•"/>
                  <a:defRPr/>
                </a:pPr>
                <a:r>
                  <a:rPr lang="en-US" sz="1050" kern="0" dirty="0">
                    <a:ln>
                      <a:noFill/>
                    </a:ln>
                    <a:solidFill>
                      <a:srgbClr val="505050"/>
                    </a:solidFill>
                  </a:rPr>
                  <a:t>Addressing the needs of citizens and businesses in the city</a:t>
                </a:r>
              </a:p>
            </p:txBody>
          </p:sp>
          <p:sp>
            <p:nvSpPr>
              <p:cNvPr id="151" name="Rectangle 150"/>
              <p:cNvSpPr/>
              <p:nvPr/>
            </p:nvSpPr>
            <p:spPr>
              <a:xfrm>
                <a:off x="9026806" y="4677426"/>
                <a:ext cx="2858806" cy="274320"/>
              </a:xfrm>
              <a:prstGeom prst="rect">
                <a:avLst/>
              </a:prstGeom>
              <a:solidFill>
                <a:schemeClr val="accent2"/>
              </a:solidFill>
              <a:ln w="3175" cap="flat" cmpd="sng" algn="ctr">
                <a:noFill/>
                <a:prstDash val="solid"/>
              </a:ln>
              <a:effectLst/>
            </p:spPr>
            <p:txBody>
              <a:bodyPr wrap="square" lIns="91440" tIns="45720" rIns="91440" bIns="45720" rtlCol="0" anchor="ctr">
                <a:noAutofit/>
              </a:bodyPr>
              <a:lstStyle/>
              <a:p>
                <a:pPr marL="0" lvl="1" algn="ctr" defTabSz="1218106" fontAlgn="base">
                  <a:spcBef>
                    <a:spcPts val="200"/>
                  </a:spcBef>
                  <a:buClr>
                    <a:srgbClr val="FFFF99"/>
                  </a:buClr>
                  <a:buSzPct val="90000"/>
                  <a:defRPr/>
                </a:pPr>
                <a:r>
                  <a:rPr lang="en-US" sz="1200" kern="0" dirty="0">
                    <a:solidFill>
                      <a:srgbClr val="505050"/>
                    </a:solidFill>
                    <a:latin typeface="Segoe UI Semibold" panose="020B0702040204020203" pitchFamily="34" charset="0"/>
                    <a:ea typeface="Segoe UI" pitchFamily="34" charset="0"/>
                    <a:cs typeface="Segoe UI" pitchFamily="34" charset="0"/>
                  </a:rPr>
                  <a:t>Continue</a:t>
                </a:r>
              </a:p>
            </p:txBody>
          </p:sp>
        </p:grpSp>
      </p:grpSp>
      <p:sp>
        <p:nvSpPr>
          <p:cNvPr id="158" name="Rectangle 157"/>
          <p:cNvSpPr/>
          <p:nvPr/>
        </p:nvSpPr>
        <p:spPr>
          <a:xfrm>
            <a:off x="303212" y="4354695"/>
            <a:ext cx="11582400" cy="379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914400">
              <a:spcBef>
                <a:spcPts val="200"/>
              </a:spcBef>
            </a:pPr>
            <a:r>
              <a:rPr lang="en-US" sz="1200" dirty="0">
                <a:solidFill>
                  <a:srgbClr val="505050"/>
                </a:solidFill>
                <a:latin typeface="Segoe UI Semibold" panose="020B0702040204020203" pitchFamily="34" charset="0"/>
                <a:cs typeface="Segoe UI Semibold" panose="020B0702040204020203" pitchFamily="34" charset="0"/>
              </a:rPr>
              <a:t>Top-line Impact</a:t>
            </a:r>
          </a:p>
          <a:p>
            <a:pPr defTabSz="1088105">
              <a:spcBef>
                <a:spcPts val="200"/>
              </a:spcBef>
            </a:pPr>
            <a:r>
              <a:rPr lang="en-US" sz="1100" dirty="0">
                <a:solidFill>
                  <a:srgbClr val="505050"/>
                </a:solidFill>
                <a:cs typeface="Segoe UI Semibold" panose="020B0702040204020203" pitchFamily="34" charset="0"/>
              </a:rPr>
              <a:t>&lt;&gt;</a:t>
            </a:r>
          </a:p>
        </p:txBody>
      </p:sp>
      <p:sp>
        <p:nvSpPr>
          <p:cNvPr id="180" name="Isosceles Triangle 179"/>
          <p:cNvSpPr/>
          <p:nvPr/>
        </p:nvSpPr>
        <p:spPr>
          <a:xfrm rot="5400000">
            <a:off x="3078217" y="2894423"/>
            <a:ext cx="396749" cy="156227"/>
          </a:xfrm>
          <a:prstGeom prst="triangle">
            <a:avLst/>
          </a:prstGeom>
          <a:solidFill>
            <a:schemeClr val="accent1"/>
          </a:solidFill>
        </p:spPr>
        <p:txBody>
          <a:bodyPr vert="horz" lIns="137160" tIns="91440" rIns="91440" bIns="91440" rtlCol="0" anchor="t" anchorCtr="0">
            <a:noAutofit/>
          </a:bodyPr>
          <a:lstStyle/>
          <a:p>
            <a:pPr algn="ctr"/>
            <a:endParaRPr lang="en-US" sz="900" kern="800">
              <a:solidFill>
                <a:srgbClr val="FFFFFF"/>
              </a:solidFill>
              <a:cs typeface="Segoe UI Light"/>
            </a:endParaRPr>
          </a:p>
        </p:txBody>
      </p:sp>
      <p:sp>
        <p:nvSpPr>
          <p:cNvPr id="181" name="Isosceles Triangle 180"/>
          <p:cNvSpPr/>
          <p:nvPr/>
        </p:nvSpPr>
        <p:spPr>
          <a:xfrm rot="5400000">
            <a:off x="8707486" y="2894423"/>
            <a:ext cx="396749" cy="156227"/>
          </a:xfrm>
          <a:prstGeom prst="triangle">
            <a:avLst/>
          </a:prstGeom>
          <a:solidFill>
            <a:schemeClr val="accent1"/>
          </a:solidFill>
        </p:spPr>
        <p:txBody>
          <a:bodyPr vert="horz" lIns="137160" tIns="91440" rIns="91440" bIns="91440" rtlCol="0" anchor="t" anchorCtr="0">
            <a:noAutofit/>
          </a:bodyPr>
          <a:lstStyle/>
          <a:p>
            <a:pPr algn="ctr"/>
            <a:endParaRPr lang="en-US" sz="900" kern="800">
              <a:solidFill>
                <a:srgbClr val="505050"/>
              </a:solidFill>
              <a:cs typeface="Segoe UI Light"/>
            </a:endParaRPr>
          </a:p>
        </p:txBody>
      </p:sp>
      <p:sp>
        <p:nvSpPr>
          <p:cNvPr id="3" name="Title 2"/>
          <p:cNvSpPr>
            <a:spLocks noGrp="1"/>
          </p:cNvSpPr>
          <p:nvPr>
            <p:ph type="title"/>
          </p:nvPr>
        </p:nvSpPr>
        <p:spPr/>
        <p:txBody>
          <a:bodyPr/>
          <a:lstStyle/>
          <a:p>
            <a:r>
              <a:rPr lang="en-US" dirty="0"/>
              <a:t>Citizen Services</a:t>
            </a:r>
          </a:p>
        </p:txBody>
      </p:sp>
      <p:sp>
        <p:nvSpPr>
          <p:cNvPr id="2" name="Slide Number Placeholder 1"/>
          <p:cNvSpPr>
            <a:spLocks noGrp="1"/>
          </p:cNvSpPr>
          <p:nvPr>
            <p:ph type="sldNum" sz="quarter" idx="12"/>
          </p:nvPr>
        </p:nvSpPr>
        <p:spPr/>
        <p:txBody>
          <a:bodyPr/>
          <a:lstStyle/>
          <a:p>
            <a:fld id="{FAADACFB-7C71-4E89-89D2-7BBA40B7BFA9}" type="slidenum">
              <a:rPr lang="en-US" smtClean="0">
                <a:solidFill>
                  <a:srgbClr val="505050"/>
                </a:solidFill>
              </a:rPr>
              <a:pPr/>
              <a:t>7</a:t>
            </a:fld>
            <a:endParaRPr lang="en-US" dirty="0">
              <a:solidFill>
                <a:srgbClr val="505050"/>
              </a:solidFill>
            </a:endParaRPr>
          </a:p>
        </p:txBody>
      </p:sp>
      <p:sp>
        <p:nvSpPr>
          <p:cNvPr id="229" name="Oval 228"/>
          <p:cNvSpPr/>
          <p:nvPr/>
        </p:nvSpPr>
        <p:spPr>
          <a:xfrm>
            <a:off x="3554318" y="2094654"/>
            <a:ext cx="1879678" cy="1882772"/>
          </a:xfrm>
          <a:prstGeom prst="ellipse">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defTabSz="1088105"/>
            <a:endParaRPr lang="en-US" sz="1000" dirty="0" err="1">
              <a:solidFill>
                <a:srgbClr val="505050"/>
              </a:solidFill>
            </a:endParaRPr>
          </a:p>
        </p:txBody>
      </p:sp>
      <p:sp>
        <p:nvSpPr>
          <p:cNvPr id="233" name="TextBox 232"/>
          <p:cNvSpPr txBox="1"/>
          <p:nvPr/>
        </p:nvSpPr>
        <p:spPr>
          <a:xfrm>
            <a:off x="3731839" y="3379890"/>
            <a:ext cx="764633" cy="307777"/>
          </a:xfrm>
          <a:prstGeom prst="rect">
            <a:avLst/>
          </a:prstGeom>
        </p:spPr>
        <p:txBody>
          <a:bodyPr vert="horz" wrap="none" lIns="0" tIns="0" rIns="0" bIns="0" rtlCol="0" anchor="t">
            <a:spAutoFit/>
          </a:bodyPr>
          <a:lstStyle>
            <a:defPPr>
              <a:defRPr lang="en-US"/>
            </a:defPPr>
            <a:lvl1pPr algn="ctr" defTabSz="1088105">
              <a:defRPr sz="1000">
                <a:solidFill>
                  <a:srgbClr val="505050"/>
                </a:solidFill>
                <a:ea typeface="Segoe UI" pitchFamily="34" charset="0"/>
                <a:cs typeface="Segoe UI" pitchFamily="34" charset="0"/>
              </a:defRPr>
            </a:lvl1pPr>
          </a:lstStyle>
          <a:p>
            <a:r>
              <a:rPr lang="en-US" dirty="0"/>
              <a:t>Collaboration</a:t>
            </a:r>
            <a:br>
              <a:rPr lang="en-US" dirty="0"/>
            </a:br>
            <a:r>
              <a:rPr lang="en-US" dirty="0"/>
              <a:t>Tools</a:t>
            </a:r>
          </a:p>
        </p:txBody>
      </p:sp>
      <p:sp>
        <p:nvSpPr>
          <p:cNvPr id="234" name="TextBox 233"/>
          <p:cNvSpPr txBox="1"/>
          <p:nvPr/>
        </p:nvSpPr>
        <p:spPr>
          <a:xfrm>
            <a:off x="4610752" y="3379890"/>
            <a:ext cx="594714" cy="307777"/>
          </a:xfrm>
          <a:prstGeom prst="rect">
            <a:avLst/>
          </a:prstGeom>
        </p:spPr>
        <p:txBody>
          <a:bodyPr vert="horz" wrap="none" lIns="0" tIns="0" rIns="0" bIns="0" rtlCol="0" anchor="t">
            <a:spAutoFit/>
          </a:bodyPr>
          <a:lstStyle>
            <a:defPPr>
              <a:defRPr lang="en-US"/>
            </a:defPPr>
            <a:lvl1pPr algn="ctr" defTabSz="1088105">
              <a:defRPr sz="1000">
                <a:solidFill>
                  <a:srgbClr val="505050"/>
                </a:solidFill>
                <a:ea typeface="Segoe UI" pitchFamily="34" charset="0"/>
                <a:cs typeface="Segoe UI" pitchFamily="34" charset="0"/>
              </a:defRPr>
            </a:lvl1pPr>
          </a:lstStyle>
          <a:p>
            <a:r>
              <a:rPr lang="en-US" dirty="0"/>
              <a:t>Advanced </a:t>
            </a:r>
            <a:br>
              <a:rPr lang="en-US" dirty="0"/>
            </a:br>
            <a:r>
              <a:rPr lang="en-US" dirty="0"/>
              <a:t>Analytics</a:t>
            </a:r>
          </a:p>
        </p:txBody>
      </p:sp>
      <p:sp>
        <p:nvSpPr>
          <p:cNvPr id="235" name="TextBox 234"/>
          <p:cNvSpPr txBox="1"/>
          <p:nvPr/>
        </p:nvSpPr>
        <p:spPr>
          <a:xfrm>
            <a:off x="4593921" y="2626874"/>
            <a:ext cx="628377" cy="307777"/>
          </a:xfrm>
          <a:prstGeom prst="rect">
            <a:avLst/>
          </a:prstGeom>
        </p:spPr>
        <p:txBody>
          <a:bodyPr vert="horz" wrap="none" lIns="0" tIns="0" rIns="0" bIns="0" rtlCol="0" anchor="t">
            <a:spAutoFit/>
          </a:bodyPr>
          <a:lstStyle>
            <a:defPPr>
              <a:defRPr lang="en-US"/>
            </a:defPPr>
            <a:lvl1pPr algn="ctr" defTabSz="1088105">
              <a:defRPr sz="1000">
                <a:solidFill>
                  <a:srgbClr val="505050"/>
                </a:solidFill>
                <a:ea typeface="Segoe UI" pitchFamily="34" charset="0"/>
                <a:cs typeface="Segoe UI" pitchFamily="34" charset="0"/>
              </a:defRPr>
            </a:lvl1pPr>
          </a:lstStyle>
          <a:p>
            <a:r>
              <a:rPr lang="en-US" dirty="0"/>
              <a:t>Mobile </a:t>
            </a:r>
            <a:br>
              <a:rPr lang="en-US" dirty="0"/>
            </a:br>
            <a:r>
              <a:rPr lang="en-US" dirty="0"/>
              <a:t>capabilities</a:t>
            </a:r>
          </a:p>
        </p:txBody>
      </p:sp>
      <p:sp>
        <p:nvSpPr>
          <p:cNvPr id="239" name="Freeform 73"/>
          <p:cNvSpPr>
            <a:spLocks noEditPoints="1"/>
          </p:cNvSpPr>
          <p:nvPr/>
        </p:nvSpPr>
        <p:spPr bwMode="black">
          <a:xfrm>
            <a:off x="3903924" y="2932821"/>
            <a:ext cx="420462" cy="40590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lumMod val="50000"/>
            </a:schemeClr>
          </a:solidFill>
          <a:ln w="9525">
            <a:noFill/>
            <a:round/>
            <a:headEnd/>
            <a:tailEnd/>
          </a:ln>
        </p:spPr>
        <p:txBody>
          <a:bodyPr/>
          <a:lstStyle/>
          <a:p>
            <a:pPr algn="ctr" defTabSz="1088105"/>
            <a:endParaRPr lang="en-US" sz="2200">
              <a:ln>
                <a:solidFill>
                  <a:srgbClr val="505050">
                    <a:alpha val="0"/>
                  </a:srgbClr>
                </a:solidFill>
              </a:ln>
              <a:solidFill>
                <a:srgbClr val="505050"/>
              </a:solidFill>
            </a:endParaRPr>
          </a:p>
        </p:txBody>
      </p:sp>
      <p:sp>
        <p:nvSpPr>
          <p:cNvPr id="242" name="TextBox 241"/>
          <p:cNvSpPr txBox="1"/>
          <p:nvPr/>
        </p:nvSpPr>
        <p:spPr>
          <a:xfrm>
            <a:off x="3860916" y="2589344"/>
            <a:ext cx="545021" cy="307777"/>
          </a:xfrm>
          <a:prstGeom prst="rect">
            <a:avLst/>
          </a:prstGeom>
        </p:spPr>
        <p:txBody>
          <a:bodyPr vert="horz" wrap="none" lIns="0" tIns="0" rIns="0" bIns="0" rtlCol="0" anchor="t">
            <a:spAutoFit/>
          </a:bodyPr>
          <a:lstStyle>
            <a:defPPr>
              <a:defRPr lang="en-US"/>
            </a:defPPr>
            <a:lvl1pPr algn="ctr" defTabSz="1088105">
              <a:defRPr sz="1000">
                <a:solidFill>
                  <a:srgbClr val="505050"/>
                </a:solidFill>
                <a:ea typeface="Segoe UI" pitchFamily="34" charset="0"/>
                <a:cs typeface="Segoe UI" pitchFamily="34" charset="0"/>
              </a:defRPr>
            </a:lvl1pPr>
          </a:lstStyle>
          <a:p>
            <a:r>
              <a:rPr lang="en-US" dirty="0"/>
              <a:t>Dynamics</a:t>
            </a:r>
            <a:br>
              <a:rPr lang="en-US" dirty="0"/>
            </a:br>
            <a:r>
              <a:rPr lang="en-US" dirty="0"/>
              <a:t>CRM</a:t>
            </a:r>
          </a:p>
        </p:txBody>
      </p:sp>
      <p:cxnSp>
        <p:nvCxnSpPr>
          <p:cNvPr id="245" name="Straight Arrow Connector 244"/>
          <p:cNvCxnSpPr/>
          <p:nvPr/>
        </p:nvCxnSpPr>
        <p:spPr>
          <a:xfrm>
            <a:off x="5515157" y="3036040"/>
            <a:ext cx="292248" cy="0"/>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353" name="Group 352"/>
          <p:cNvGrpSpPr>
            <a:grpSpLocks noChangeAspect="1"/>
          </p:cNvGrpSpPr>
          <p:nvPr/>
        </p:nvGrpSpPr>
        <p:grpSpPr>
          <a:xfrm>
            <a:off x="3895256" y="2370017"/>
            <a:ext cx="437799" cy="209152"/>
            <a:chOff x="335107" y="1984056"/>
            <a:chExt cx="8623119" cy="4119564"/>
          </a:xfrm>
          <a:solidFill>
            <a:schemeClr val="bg1">
              <a:lumMod val="50000"/>
            </a:schemeClr>
          </a:solidFill>
        </p:grpSpPr>
        <p:sp>
          <p:nvSpPr>
            <p:cNvPr id="354" name="Freeform 353"/>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355" name="Man's Body"/>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56" name="Man's Body"/>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57" name="Man's Body"/>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58" name="Man's Body"/>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59" name="Man's Body"/>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60" name="Man's Body"/>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361" name="Freeform 360"/>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362" name="Freeform 361"/>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grpSp>
      <p:sp>
        <p:nvSpPr>
          <p:cNvPr id="139" name="Trapezoid 3"/>
          <p:cNvSpPr>
            <a:spLocks noChangeAspect="1"/>
          </p:cNvSpPr>
          <p:nvPr/>
        </p:nvSpPr>
        <p:spPr>
          <a:xfrm>
            <a:off x="4707048" y="2320326"/>
            <a:ext cx="402123" cy="285005"/>
          </a:xfrm>
          <a:custGeom>
            <a:avLst/>
            <a:gdLst/>
            <a:ahLst/>
            <a:cxnLst/>
            <a:rect l="l" t="t" r="r" b="b"/>
            <a:pathLst>
              <a:path w="4936448" h="3498714">
                <a:moveTo>
                  <a:pt x="2052754" y="2902312"/>
                </a:moveTo>
                <a:lnTo>
                  <a:pt x="4707054" y="2902312"/>
                </a:lnTo>
                <a:cubicBezTo>
                  <a:pt x="4768427" y="2902312"/>
                  <a:pt x="4818179" y="2952064"/>
                  <a:pt x="4818179" y="3013437"/>
                </a:cubicBezTo>
                <a:cubicBezTo>
                  <a:pt x="4818179" y="3074810"/>
                  <a:pt x="4768427" y="3124562"/>
                  <a:pt x="4707054" y="3124562"/>
                </a:cubicBezTo>
                <a:lnTo>
                  <a:pt x="4545125" y="3124562"/>
                </a:lnTo>
                <a:lnTo>
                  <a:pt x="4545125" y="3361625"/>
                </a:lnTo>
                <a:cubicBezTo>
                  <a:pt x="4545125" y="3421831"/>
                  <a:pt x="4496319" y="3470637"/>
                  <a:pt x="4436113" y="3470637"/>
                </a:cubicBezTo>
                <a:lnTo>
                  <a:pt x="4235039" y="3470637"/>
                </a:lnTo>
                <a:cubicBezTo>
                  <a:pt x="4174833" y="3470637"/>
                  <a:pt x="4126027" y="3421831"/>
                  <a:pt x="4126027" y="3361625"/>
                </a:cubicBezTo>
                <a:lnTo>
                  <a:pt x="4126027" y="3124562"/>
                </a:lnTo>
                <a:lnTo>
                  <a:pt x="2589325" y="3124562"/>
                </a:lnTo>
                <a:lnTo>
                  <a:pt x="2589325" y="3361625"/>
                </a:lnTo>
                <a:cubicBezTo>
                  <a:pt x="2589325" y="3421831"/>
                  <a:pt x="2540519" y="3470637"/>
                  <a:pt x="2480313" y="3470637"/>
                </a:cubicBezTo>
                <a:lnTo>
                  <a:pt x="2279239" y="3470637"/>
                </a:lnTo>
                <a:cubicBezTo>
                  <a:pt x="2219033" y="3470637"/>
                  <a:pt x="2170227" y="3421831"/>
                  <a:pt x="2170227" y="3361625"/>
                </a:cubicBezTo>
                <a:lnTo>
                  <a:pt x="2170227" y="3124562"/>
                </a:lnTo>
                <a:lnTo>
                  <a:pt x="2052754" y="3124562"/>
                </a:lnTo>
                <a:cubicBezTo>
                  <a:pt x="1991381" y="3124562"/>
                  <a:pt x="1941629" y="3074810"/>
                  <a:pt x="1941629" y="3013437"/>
                </a:cubicBezTo>
                <a:cubicBezTo>
                  <a:pt x="1941629" y="2952064"/>
                  <a:pt x="1991381" y="2902312"/>
                  <a:pt x="2052754" y="2902312"/>
                </a:cubicBezTo>
                <a:close/>
                <a:moveTo>
                  <a:pt x="4492583" y="2089512"/>
                </a:moveTo>
                <a:cubicBezTo>
                  <a:pt x="4392633" y="2089512"/>
                  <a:pt x="4311608" y="2170537"/>
                  <a:pt x="4311608" y="2270487"/>
                </a:cubicBezTo>
                <a:cubicBezTo>
                  <a:pt x="4311608" y="2370437"/>
                  <a:pt x="4392633" y="2451462"/>
                  <a:pt x="4492583" y="2451462"/>
                </a:cubicBezTo>
                <a:cubicBezTo>
                  <a:pt x="4592533" y="2451462"/>
                  <a:pt x="4673558" y="2370437"/>
                  <a:pt x="4673558" y="2270487"/>
                </a:cubicBezTo>
                <a:cubicBezTo>
                  <a:pt x="4673558" y="2170537"/>
                  <a:pt x="4592533" y="2089512"/>
                  <a:pt x="4492583" y="2089512"/>
                </a:cubicBezTo>
                <a:close/>
                <a:moveTo>
                  <a:pt x="2979061" y="2089512"/>
                </a:moveTo>
                <a:cubicBezTo>
                  <a:pt x="2808971" y="2089512"/>
                  <a:pt x="2671086" y="2227397"/>
                  <a:pt x="2671086" y="2397487"/>
                </a:cubicBezTo>
                <a:lnTo>
                  <a:pt x="2671086" y="2584811"/>
                </a:lnTo>
                <a:lnTo>
                  <a:pt x="4083961" y="2584811"/>
                </a:lnTo>
                <a:lnTo>
                  <a:pt x="4083961" y="2397487"/>
                </a:lnTo>
                <a:cubicBezTo>
                  <a:pt x="4083961" y="2227397"/>
                  <a:pt x="3946076" y="2089512"/>
                  <a:pt x="3775986" y="2089512"/>
                </a:cubicBezTo>
                <a:close/>
                <a:moveTo>
                  <a:pt x="2251033" y="2089512"/>
                </a:moveTo>
                <a:cubicBezTo>
                  <a:pt x="2151083" y="2089512"/>
                  <a:pt x="2070058" y="2170537"/>
                  <a:pt x="2070058" y="2270487"/>
                </a:cubicBezTo>
                <a:cubicBezTo>
                  <a:pt x="2070058" y="2370437"/>
                  <a:pt x="2151083" y="2451462"/>
                  <a:pt x="2251033" y="2451462"/>
                </a:cubicBezTo>
                <a:cubicBezTo>
                  <a:pt x="2350983" y="2451462"/>
                  <a:pt x="2432008" y="2370437"/>
                  <a:pt x="2432008" y="2270487"/>
                </a:cubicBezTo>
                <a:cubicBezTo>
                  <a:pt x="2432008" y="2170537"/>
                  <a:pt x="2350983" y="2089512"/>
                  <a:pt x="2251033" y="2089512"/>
                </a:cubicBezTo>
                <a:close/>
                <a:moveTo>
                  <a:pt x="2651061" y="1167548"/>
                </a:moveTo>
                <a:lnTo>
                  <a:pt x="2392797" y="1878907"/>
                </a:lnTo>
                <a:cubicBezTo>
                  <a:pt x="2423495" y="1888931"/>
                  <a:pt x="2452199" y="1903353"/>
                  <a:pt x="2478781" y="1920808"/>
                </a:cubicBezTo>
                <a:cubicBezTo>
                  <a:pt x="2564818" y="1815418"/>
                  <a:pt x="2696070" y="1749356"/>
                  <a:pt x="2842751" y="1749356"/>
                </a:cubicBezTo>
                <a:lnTo>
                  <a:pt x="3912296" y="1749356"/>
                </a:lnTo>
                <a:cubicBezTo>
                  <a:pt x="4059812" y="1749356"/>
                  <a:pt x="4191724" y="1816172"/>
                  <a:pt x="4277738" y="1922593"/>
                </a:cubicBezTo>
                <a:cubicBezTo>
                  <a:pt x="4306317" y="1903622"/>
                  <a:pt x="4337356" y="1888113"/>
                  <a:pt x="4370569" y="1877441"/>
                </a:cubicBezTo>
                <a:lnTo>
                  <a:pt x="4112835" y="1167548"/>
                </a:lnTo>
                <a:close/>
                <a:moveTo>
                  <a:pt x="2534724" y="982297"/>
                </a:moveTo>
                <a:lnTo>
                  <a:pt x="4229172" y="982297"/>
                </a:lnTo>
                <a:lnTo>
                  <a:pt x="4546612" y="1856643"/>
                </a:lnTo>
                <a:cubicBezTo>
                  <a:pt x="4765072" y="1873078"/>
                  <a:pt x="4936448" y="2056134"/>
                  <a:pt x="4936448" y="2279217"/>
                </a:cubicBezTo>
                <a:cubicBezTo>
                  <a:pt x="4936448" y="2401342"/>
                  <a:pt x="4885088" y="2511471"/>
                  <a:pt x="4802103" y="2588456"/>
                </a:cubicBezTo>
                <a:cubicBezTo>
                  <a:pt x="4860348" y="2595065"/>
                  <a:pt x="4904699" y="2645084"/>
                  <a:pt x="4904699" y="2705462"/>
                </a:cubicBezTo>
                <a:lnTo>
                  <a:pt x="4904698" y="2705462"/>
                </a:lnTo>
                <a:cubicBezTo>
                  <a:pt x="4904698" y="2772096"/>
                  <a:pt x="4850681" y="2826113"/>
                  <a:pt x="4784047" y="2826113"/>
                </a:cubicBezTo>
                <a:lnTo>
                  <a:pt x="1970999" y="2826112"/>
                </a:lnTo>
                <a:cubicBezTo>
                  <a:pt x="1904365" y="2826112"/>
                  <a:pt x="1850349" y="2772096"/>
                  <a:pt x="1850348" y="2705462"/>
                </a:cubicBezTo>
                <a:cubicBezTo>
                  <a:pt x="1850348" y="2643725"/>
                  <a:pt x="1896717" y="2592819"/>
                  <a:pt x="1956769" y="2587684"/>
                </a:cubicBezTo>
                <a:cubicBezTo>
                  <a:pt x="1874354" y="2510684"/>
                  <a:pt x="1823360" y="2400906"/>
                  <a:pt x="1823360" y="2279217"/>
                </a:cubicBezTo>
                <a:cubicBezTo>
                  <a:pt x="1823360" y="2054681"/>
                  <a:pt x="1996975" y="1870696"/>
                  <a:pt x="2217440" y="1856216"/>
                </a:cubicBezTo>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lnTo>
                  <a:pt x="649574" y="3337652"/>
                </a:ln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839708" y="0"/>
                  <a:pt x="966919" y="127213"/>
                  <a:pt x="966919" y="284138"/>
                </a:cubicBezTo>
                <a:cubicBezTo>
                  <a:pt x="966919" y="441063"/>
                  <a:pt x="839708" y="568275"/>
                  <a:pt x="682782" y="568275"/>
                </a:cubicBezTo>
                <a:cubicBezTo>
                  <a:pt x="525858" y="568275"/>
                  <a:pt x="398645" y="441063"/>
                  <a:pt x="398645" y="284138"/>
                </a:cubicBezTo>
                <a:cubicBezTo>
                  <a:pt x="398645" y="127213"/>
                  <a:pt x="525858" y="0"/>
                  <a:pt x="682782" y="0"/>
                </a:cubicBez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cxnSp>
        <p:nvCxnSpPr>
          <p:cNvPr id="141" name="Straight Arrow Connector 140"/>
          <p:cNvCxnSpPr/>
          <p:nvPr/>
        </p:nvCxnSpPr>
        <p:spPr>
          <a:xfrm>
            <a:off x="6820055" y="3036040"/>
            <a:ext cx="229148" cy="0"/>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sp>
        <p:nvSpPr>
          <p:cNvPr id="202" name="TextBox 201"/>
          <p:cNvSpPr txBox="1"/>
          <p:nvPr/>
        </p:nvSpPr>
        <p:spPr>
          <a:xfrm>
            <a:off x="1194006" y="3695537"/>
            <a:ext cx="1077218" cy="153888"/>
          </a:xfrm>
          <a:prstGeom prst="rect">
            <a:avLst/>
          </a:prstGeom>
        </p:spPr>
        <p:txBody>
          <a:bodyPr vert="horz" wrap="none" lIns="0" tIns="0" rIns="0" bIns="0" rtlCol="0" anchor="t">
            <a:spAutoFit/>
          </a:bodyPr>
          <a:lstStyle>
            <a:defPPr>
              <a:defRPr lang="en-US"/>
            </a:defPPr>
            <a:lvl1pPr algn="ctr" defTabSz="1088105">
              <a:defRPr sz="1000">
                <a:solidFill>
                  <a:srgbClr val="505050"/>
                </a:solidFill>
                <a:ea typeface="Segoe UI" pitchFamily="34" charset="0"/>
                <a:cs typeface="Segoe UI" pitchFamily="34" charset="0"/>
              </a:defRPr>
            </a:lvl1pPr>
          </a:lstStyle>
          <a:p>
            <a:r>
              <a:rPr lang="en-US" dirty="0"/>
              <a:t>Anytime, anywhere</a:t>
            </a:r>
          </a:p>
        </p:txBody>
      </p:sp>
      <p:grpSp>
        <p:nvGrpSpPr>
          <p:cNvPr id="6" name="Group 5"/>
          <p:cNvGrpSpPr/>
          <p:nvPr/>
        </p:nvGrpSpPr>
        <p:grpSpPr>
          <a:xfrm>
            <a:off x="5934649" y="2133562"/>
            <a:ext cx="742320" cy="783049"/>
            <a:chOff x="5760840" y="2470790"/>
            <a:chExt cx="1103454" cy="1163997"/>
          </a:xfrm>
        </p:grpSpPr>
        <p:grpSp>
          <p:nvGrpSpPr>
            <p:cNvPr id="248" name="Group 247"/>
            <p:cNvGrpSpPr>
              <a:grpSpLocks/>
            </p:cNvGrpSpPr>
            <p:nvPr/>
          </p:nvGrpSpPr>
          <p:grpSpPr>
            <a:xfrm>
              <a:off x="5835818" y="2637004"/>
              <a:ext cx="965424" cy="843079"/>
              <a:chOff x="3576277" y="1473954"/>
              <a:chExt cx="4798544" cy="4260681"/>
            </a:xfrm>
            <a:solidFill>
              <a:schemeClr val="bg1">
                <a:lumMod val="50000"/>
              </a:schemeClr>
            </a:solidFill>
          </p:grpSpPr>
          <p:sp>
            <p:nvSpPr>
              <p:cNvPr id="272" name="Freeform 271"/>
              <p:cNvSpPr/>
              <p:nvPr/>
            </p:nvSpPr>
            <p:spPr bwMode="auto">
              <a:xfrm>
                <a:off x="4166794"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73" name="Freeform 272"/>
              <p:cNvSpPr/>
              <p:nvPr/>
            </p:nvSpPr>
            <p:spPr bwMode="auto">
              <a:xfrm flipH="1">
                <a:off x="6100719"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74" name="Freeform 273"/>
              <p:cNvSpPr/>
              <p:nvPr/>
            </p:nvSpPr>
            <p:spPr bwMode="auto">
              <a:xfrm flipV="1">
                <a:off x="4166794"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75" name="Freeform 274"/>
              <p:cNvSpPr/>
              <p:nvPr/>
            </p:nvSpPr>
            <p:spPr bwMode="auto">
              <a:xfrm flipH="1" flipV="1">
                <a:off x="6100719"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76" name="Freeform 275"/>
              <p:cNvSpPr/>
              <p:nvPr/>
            </p:nvSpPr>
            <p:spPr bwMode="auto">
              <a:xfrm rot="17954294">
                <a:off x="3288256"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77" name="Freeform 276"/>
              <p:cNvSpPr/>
              <p:nvPr/>
            </p:nvSpPr>
            <p:spPr bwMode="auto">
              <a:xfrm rot="3645706" flipH="1">
                <a:off x="6969782"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grpSp>
        <p:sp>
          <p:nvSpPr>
            <p:cNvPr id="249" name="Freeform 7"/>
            <p:cNvSpPr>
              <a:spLocks noEditPoints="1"/>
            </p:cNvSpPr>
            <p:nvPr/>
          </p:nvSpPr>
          <p:spPr bwMode="auto">
            <a:xfrm>
              <a:off x="6609086" y="2674774"/>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endParaRPr lang="en-US" sz="2400" kern="0" dirty="0">
                <a:ln>
                  <a:solidFill>
                    <a:srgbClr val="FFFFFF">
                      <a:alpha val="0"/>
                    </a:srgbClr>
                  </a:solidFill>
                </a:ln>
                <a:solidFill>
                  <a:srgbClr val="44546A"/>
                </a:solidFill>
              </a:endParaRPr>
            </a:p>
          </p:txBody>
        </p:sp>
        <p:sp>
          <p:nvSpPr>
            <p:cNvPr id="250" name="Freeform 138"/>
            <p:cNvSpPr>
              <a:spLocks noChangeAspect="1" noEditPoints="1"/>
            </p:cNvSpPr>
            <p:nvPr/>
          </p:nvSpPr>
          <p:spPr bwMode="black">
            <a:xfrm>
              <a:off x="6664759" y="2716842"/>
              <a:ext cx="143863" cy="176195"/>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ysClr val="window" lastClr="FFFFFF">
                <a:lumMod val="50000"/>
              </a:sysClr>
            </a:solidFill>
            <a:ln>
              <a:noFill/>
            </a:ln>
            <a:extLst/>
          </p:spPr>
          <p:txBody>
            <a:bodyPr vert="horz" wrap="square" lIns="91440" tIns="45720" rIns="91440" bIns="45720" numCol="1" anchor="t" anchorCtr="0" compatLnSpc="1">
              <a:prstTxWarp prst="textNoShape">
                <a:avLst/>
              </a:prstTxWarp>
              <a:noAutofit/>
            </a:bodyPr>
            <a:lstStyle/>
            <a:p>
              <a:pPr>
                <a:defRPr/>
              </a:pPr>
              <a:endParaRPr lang="en-US" sz="2000" kern="0">
                <a:ln>
                  <a:solidFill>
                    <a:srgbClr val="FFFFFF">
                      <a:alpha val="0"/>
                    </a:srgbClr>
                  </a:solidFill>
                </a:ln>
                <a:solidFill>
                  <a:srgbClr val="44546A"/>
                </a:solidFill>
              </a:endParaRPr>
            </a:p>
          </p:txBody>
        </p:sp>
        <p:sp>
          <p:nvSpPr>
            <p:cNvPr id="251" name="Freeform 7"/>
            <p:cNvSpPr>
              <a:spLocks noEditPoints="1"/>
            </p:cNvSpPr>
            <p:nvPr/>
          </p:nvSpPr>
          <p:spPr bwMode="auto">
            <a:xfrm>
              <a:off x="6605670" y="3146922"/>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52" name="Freeform 7"/>
            <p:cNvSpPr>
              <a:spLocks noEditPoints="1"/>
            </p:cNvSpPr>
            <p:nvPr/>
          </p:nvSpPr>
          <p:spPr bwMode="auto">
            <a:xfrm>
              <a:off x="5766963" y="317243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53" name="Freeform 7"/>
            <p:cNvSpPr>
              <a:spLocks noEditPoints="1"/>
            </p:cNvSpPr>
            <p:nvPr/>
          </p:nvSpPr>
          <p:spPr bwMode="auto">
            <a:xfrm>
              <a:off x="5760840" y="2689027"/>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54" name="Freeform 7"/>
            <p:cNvSpPr>
              <a:spLocks noEditPoints="1"/>
            </p:cNvSpPr>
            <p:nvPr/>
          </p:nvSpPr>
          <p:spPr bwMode="auto">
            <a:xfrm>
              <a:off x="6190926" y="247079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55" name="original cloud"/>
            <p:cNvSpPr>
              <a:spLocks noChangeAspect="1"/>
            </p:cNvSpPr>
            <p:nvPr/>
          </p:nvSpPr>
          <p:spPr bwMode="black">
            <a:xfrm>
              <a:off x="6232032" y="2546232"/>
              <a:ext cx="172996" cy="1051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50000"/>
              </a:schemeClr>
            </a:solidFill>
            <a:ln>
              <a:noFill/>
            </a:ln>
            <a:extLst/>
          </p:spPr>
          <p:txBody>
            <a:bodyPr vert="horz" wrap="square" lIns="121920" tIns="60960" rIns="121920" bIns="60960" numCol="1" anchor="t" anchorCtr="0" compatLnSpc="1">
              <a:prstTxWarp prst="textNoShape">
                <a:avLst/>
              </a:prstTxWarp>
              <a:noAutofit/>
            </a:bodyPr>
            <a:lstStyle/>
            <a:p>
              <a:pPr defTabSz="776791">
                <a:defRPr/>
              </a:pPr>
              <a:endParaRPr lang="en-US" sz="2000" kern="0" dirty="0">
                <a:ln>
                  <a:solidFill>
                    <a:srgbClr val="FFFFFF">
                      <a:alpha val="0"/>
                    </a:srgbClr>
                  </a:solidFill>
                </a:ln>
                <a:solidFill>
                  <a:srgbClr val="44546A"/>
                </a:solidFill>
              </a:endParaRPr>
            </a:p>
          </p:txBody>
        </p:sp>
        <p:sp>
          <p:nvSpPr>
            <p:cNvPr id="256" name="Freeform 7"/>
            <p:cNvSpPr>
              <a:spLocks noEditPoints="1"/>
            </p:cNvSpPr>
            <p:nvPr/>
          </p:nvSpPr>
          <p:spPr bwMode="auto">
            <a:xfrm>
              <a:off x="6190926" y="3378755"/>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grpSp>
          <p:nvGrpSpPr>
            <p:cNvPr id="258" name="Group 257"/>
            <p:cNvGrpSpPr/>
            <p:nvPr/>
          </p:nvGrpSpPr>
          <p:grpSpPr>
            <a:xfrm>
              <a:off x="6209498" y="3479631"/>
              <a:ext cx="218065" cy="67360"/>
              <a:chOff x="4888707" y="5496501"/>
              <a:chExt cx="2071733" cy="650674"/>
            </a:xfrm>
            <a:solidFill>
              <a:srgbClr val="7F7F7F"/>
            </a:solidFill>
          </p:grpSpPr>
          <p:sp>
            <p:nvSpPr>
              <p:cNvPr id="268" name="Freeform 61"/>
              <p:cNvSpPr>
                <a:spLocks/>
              </p:cNvSpPr>
              <p:nvPr/>
            </p:nvSpPr>
            <p:spPr bwMode="black">
              <a:xfrm rot="10800000">
                <a:off x="5227783" y="5496501"/>
                <a:ext cx="411263" cy="594652"/>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ln w="12700">
                <a:noFill/>
              </a:ln>
              <a:extLst/>
            </p:spPr>
            <p:txBody>
              <a:bodyPr vert="horz" wrap="square" lIns="91440" tIns="45720" rIns="91440" bIns="45720"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269" name="Freeform 20"/>
              <p:cNvSpPr>
                <a:spLocks noEditPoints="1"/>
              </p:cNvSpPr>
              <p:nvPr/>
            </p:nvSpPr>
            <p:spPr bwMode="black">
              <a:xfrm>
                <a:off x="5734595" y="5507339"/>
                <a:ext cx="839742" cy="58381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grpFill/>
              <a:ln w="12700">
                <a:noFill/>
              </a:ln>
              <a:extLst/>
            </p:spPr>
            <p:txBody>
              <a:bodyPr vert="horz" wrap="square" lIns="82305" tIns="41153" rIns="82305" bIns="41153"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270" name="Rounded Rectangle 4"/>
              <p:cNvSpPr/>
              <p:nvPr/>
            </p:nvSpPr>
            <p:spPr bwMode="auto">
              <a:xfrm>
                <a:off x="6657183" y="5507336"/>
                <a:ext cx="303257" cy="582786"/>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grpFill/>
              <a:ln w="12700">
                <a:noFill/>
              </a:ln>
              <a:extLst/>
            </p:spPr>
            <p:txBody>
              <a:bodyPr vert="horz" wrap="square" lIns="91440" tIns="45720" rIns="91440" bIns="45720" numCol="1" rtlCol="0" anchor="t" anchorCtr="0" compatLnSpc="1">
                <a:prstTxWarp prst="textNoShape">
                  <a:avLst/>
                </a:prstTxWarp>
                <a:noAutofit/>
              </a:bodyPr>
              <a:lstStyle/>
              <a:p>
                <a:pPr algn="ctr">
                  <a:defRPr/>
                </a:pPr>
                <a:endParaRPr lang="en-US" kern="0">
                  <a:ln>
                    <a:solidFill>
                      <a:srgbClr val="FFFFFF">
                        <a:alpha val="0"/>
                      </a:srgbClr>
                    </a:solidFill>
                  </a:ln>
                  <a:solidFill>
                    <a:srgbClr val="44546A"/>
                  </a:solidFill>
                </a:endParaRPr>
              </a:p>
            </p:txBody>
          </p:sp>
          <p:sp>
            <p:nvSpPr>
              <p:cNvPr id="271" name="Freeform 270"/>
              <p:cNvSpPr/>
              <p:nvPr/>
            </p:nvSpPr>
            <p:spPr>
              <a:xfrm>
                <a:off x="4888707" y="5854458"/>
                <a:ext cx="388142" cy="292717"/>
              </a:xfrm>
              <a:custGeom>
                <a:avLst/>
                <a:gdLst>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0 w 392906"/>
                  <a:gd name="connsiteY19"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4763 w 392906"/>
                  <a:gd name="connsiteY19" fmla="*/ 140494 h 300038"/>
                  <a:gd name="connsiteX20" fmla="*/ 0 w 392906"/>
                  <a:gd name="connsiteY20"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7890 w 392906"/>
                  <a:gd name="connsiteY19" fmla="*/ 142057 h 300038"/>
                  <a:gd name="connsiteX20" fmla="*/ 0 w 392906"/>
                  <a:gd name="connsiteY20" fmla="*/ 176213 h 300038"/>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9256"/>
                  <a:gd name="connsiteX1" fmla="*/ 132459 w 392906"/>
                  <a:gd name="connsiteY1" fmla="*/ 299256 h 299256"/>
                  <a:gd name="connsiteX2" fmla="*/ 157163 w 392906"/>
                  <a:gd name="connsiteY2" fmla="*/ 285786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6814" h="299256">
                    <a:moveTo>
                      <a:pt x="0" y="173868"/>
                    </a:moveTo>
                    <a:lnTo>
                      <a:pt x="132459" y="299256"/>
                    </a:lnTo>
                    <a:cubicBezTo>
                      <a:pt x="140694" y="294766"/>
                      <a:pt x="144700" y="290364"/>
                      <a:pt x="157945" y="288913"/>
                    </a:cubicBezTo>
                    <a:cubicBezTo>
                      <a:pt x="171190" y="287462"/>
                      <a:pt x="193675" y="288961"/>
                      <a:pt x="211931" y="290549"/>
                    </a:cubicBezTo>
                    <a:cubicBezTo>
                      <a:pt x="248311" y="279377"/>
                      <a:pt x="267535" y="266488"/>
                      <a:pt x="285114" y="256249"/>
                    </a:cubicBezTo>
                    <a:cubicBezTo>
                      <a:pt x="302693" y="246010"/>
                      <a:pt x="296819" y="197468"/>
                      <a:pt x="324560" y="179412"/>
                    </a:cubicBezTo>
                    <a:cubicBezTo>
                      <a:pt x="321076" y="163433"/>
                      <a:pt x="308212" y="159180"/>
                      <a:pt x="301601" y="159616"/>
                    </a:cubicBezTo>
                    <a:cubicBezTo>
                      <a:pt x="273074" y="148205"/>
                      <a:pt x="267116" y="247024"/>
                      <a:pt x="222275" y="219966"/>
                    </a:cubicBezTo>
                    <a:cubicBezTo>
                      <a:pt x="241530" y="188220"/>
                      <a:pt x="371414" y="64666"/>
                      <a:pt x="396814" y="27757"/>
                    </a:cubicBezTo>
                    <a:cubicBezTo>
                      <a:pt x="394645" y="9931"/>
                      <a:pt x="384660" y="702"/>
                      <a:pt x="362168" y="2418"/>
                    </a:cubicBezTo>
                    <a:cubicBezTo>
                      <a:pt x="318439" y="44487"/>
                      <a:pt x="238561" y="139759"/>
                      <a:pt x="231763" y="132532"/>
                    </a:cubicBezTo>
                    <a:cubicBezTo>
                      <a:pt x="224965" y="125305"/>
                      <a:pt x="256864" y="100734"/>
                      <a:pt x="265101" y="85689"/>
                    </a:cubicBezTo>
                    <a:cubicBezTo>
                      <a:pt x="278281" y="72255"/>
                      <a:pt x="251595" y="54132"/>
                      <a:pt x="238198" y="53987"/>
                    </a:cubicBezTo>
                    <a:cubicBezTo>
                      <a:pt x="221529" y="67481"/>
                      <a:pt x="195032" y="102304"/>
                      <a:pt x="190536" y="96032"/>
                    </a:cubicBezTo>
                    <a:cubicBezTo>
                      <a:pt x="186040" y="89760"/>
                      <a:pt x="219015" y="61094"/>
                      <a:pt x="220602" y="49188"/>
                    </a:cubicBezTo>
                    <a:cubicBezTo>
                      <a:pt x="227825" y="39166"/>
                      <a:pt x="208471" y="22892"/>
                      <a:pt x="193808" y="24595"/>
                    </a:cubicBezTo>
                    <a:cubicBezTo>
                      <a:pt x="181902" y="27770"/>
                      <a:pt x="151991" y="72419"/>
                      <a:pt x="145256" y="64330"/>
                    </a:cubicBezTo>
                    <a:cubicBezTo>
                      <a:pt x="138521" y="56241"/>
                      <a:pt x="169027" y="38370"/>
                      <a:pt x="167470" y="27648"/>
                    </a:cubicBezTo>
                    <a:cubicBezTo>
                      <a:pt x="168676" y="4362"/>
                      <a:pt x="153467" y="1399"/>
                      <a:pt x="135913" y="0"/>
                    </a:cubicBezTo>
                    <a:cubicBezTo>
                      <a:pt x="94638" y="49213"/>
                      <a:pt x="12865" y="126764"/>
                      <a:pt x="7890" y="139712"/>
                    </a:cubicBezTo>
                    <a:cubicBezTo>
                      <a:pt x="2915" y="152660"/>
                      <a:pt x="2630" y="162483"/>
                      <a:pt x="0" y="173868"/>
                    </a:cubicBezTo>
                    <a:close/>
                  </a:path>
                </a:pathLst>
              </a:custGeom>
              <a:grpFill/>
              <a:ln w="12700"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defRPr/>
                </a:pPr>
                <a:endParaRPr lang="en-US" kern="0" dirty="0" err="1">
                  <a:ln>
                    <a:solidFill>
                      <a:srgbClr val="FFFFFF">
                        <a:alpha val="0"/>
                      </a:srgbClr>
                    </a:solidFill>
                  </a:ln>
                  <a:solidFill>
                    <a:srgbClr val="44546A"/>
                  </a:solidFill>
                  <a:ea typeface="Segoe UI" pitchFamily="34" charset="0"/>
                  <a:cs typeface="Segoe UI" pitchFamily="34" charset="0"/>
                </a:endParaRPr>
              </a:p>
            </p:txBody>
          </p:sp>
        </p:grpSp>
        <p:pic>
          <p:nvPicPr>
            <p:cNvPr id="259" name="Picture 42"/>
            <p:cNvPicPr>
              <a:picLocks noChangeAspect="1"/>
            </p:cNvPicPr>
            <p:nvPr/>
          </p:nvPicPr>
          <p:blipFill>
            <a:blip r:embed="rId3" cstate="screen">
              <a:duotone>
                <a:prstClr val="black"/>
                <a:schemeClr val="accent5">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bwMode="auto">
            <a:xfrm>
              <a:off x="5807405" y="2755642"/>
              <a:ext cx="162079" cy="122803"/>
            </a:xfrm>
            <a:prstGeom prst="rect">
              <a:avLst/>
            </a:prstGeom>
          </p:spPr>
        </p:pic>
        <p:sp>
          <p:nvSpPr>
            <p:cNvPr id="261" name="Rectangle 9"/>
            <p:cNvSpPr>
              <a:spLocks/>
            </p:cNvSpPr>
            <p:nvPr/>
          </p:nvSpPr>
          <p:spPr>
            <a:xfrm>
              <a:off x="6099074" y="2839087"/>
              <a:ext cx="438912" cy="438912"/>
            </a:xfrm>
            <a:custGeom>
              <a:avLst/>
              <a:gdLst/>
              <a:ahLst/>
              <a:cxnLst/>
              <a:rect l="l" t="t" r="r" b="b"/>
              <a:pathLst>
                <a:path w="4564503" h="4737272">
                  <a:moveTo>
                    <a:pt x="2067077" y="2571753"/>
                  </a:moveTo>
                  <a:lnTo>
                    <a:pt x="2217131" y="2752123"/>
                  </a:lnTo>
                  <a:lnTo>
                    <a:pt x="2084296" y="3664815"/>
                  </a:lnTo>
                  <a:lnTo>
                    <a:pt x="2273645" y="3806826"/>
                  </a:lnTo>
                  <a:lnTo>
                    <a:pt x="2480209" y="3664815"/>
                  </a:lnTo>
                  <a:lnTo>
                    <a:pt x="2339593" y="2761473"/>
                  </a:lnTo>
                  <a:lnTo>
                    <a:pt x="2497425" y="2571753"/>
                  </a:lnTo>
                  <a:close/>
                  <a:moveTo>
                    <a:pt x="2282251" y="640385"/>
                  </a:moveTo>
                  <a:cubicBezTo>
                    <a:pt x="2461399" y="634821"/>
                    <a:pt x="2645737" y="685253"/>
                    <a:pt x="2747218" y="813366"/>
                  </a:cubicBezTo>
                  <a:cubicBezTo>
                    <a:pt x="2953429" y="1073694"/>
                    <a:pt x="2984165" y="1616341"/>
                    <a:pt x="2742427" y="1981847"/>
                  </a:cubicBezTo>
                  <a:cubicBezTo>
                    <a:pt x="2687855" y="2074886"/>
                    <a:pt x="2625473" y="2128867"/>
                    <a:pt x="2624231" y="2255474"/>
                  </a:cubicBezTo>
                  <a:cubicBezTo>
                    <a:pt x="2635642" y="2368997"/>
                    <a:pt x="2719564" y="2459843"/>
                    <a:pt x="2829834" y="2481475"/>
                  </a:cubicBezTo>
                  <a:cubicBezTo>
                    <a:pt x="3253259" y="2658471"/>
                    <a:pt x="3428827" y="2871572"/>
                    <a:pt x="3507427" y="3131275"/>
                  </a:cubicBezTo>
                  <a:cubicBezTo>
                    <a:pt x="3561121" y="3257121"/>
                    <a:pt x="3586947" y="3406015"/>
                    <a:pt x="3576384" y="3579582"/>
                  </a:cubicBezTo>
                  <a:cubicBezTo>
                    <a:pt x="3562800" y="3652357"/>
                    <a:pt x="3549215" y="3669186"/>
                    <a:pt x="3419438" y="3772084"/>
                  </a:cubicBezTo>
                  <a:cubicBezTo>
                    <a:pt x="3042762" y="4049231"/>
                    <a:pt x="2650672" y="4155148"/>
                    <a:pt x="2282251" y="4147927"/>
                  </a:cubicBezTo>
                  <a:cubicBezTo>
                    <a:pt x="1913831" y="4155148"/>
                    <a:pt x="1521741" y="4049231"/>
                    <a:pt x="1145064" y="3772084"/>
                  </a:cubicBezTo>
                  <a:cubicBezTo>
                    <a:pt x="1015288" y="3669186"/>
                    <a:pt x="1001703" y="3652357"/>
                    <a:pt x="988119" y="3579582"/>
                  </a:cubicBezTo>
                  <a:cubicBezTo>
                    <a:pt x="977555" y="3406015"/>
                    <a:pt x="1003382" y="3257121"/>
                    <a:pt x="1057075" y="3131275"/>
                  </a:cubicBezTo>
                  <a:cubicBezTo>
                    <a:pt x="1135676" y="2871572"/>
                    <a:pt x="1311244" y="2658471"/>
                    <a:pt x="1734669" y="2481475"/>
                  </a:cubicBezTo>
                  <a:cubicBezTo>
                    <a:pt x="1844939" y="2459843"/>
                    <a:pt x="1928861" y="2368997"/>
                    <a:pt x="1940271" y="2255474"/>
                  </a:cubicBezTo>
                  <a:cubicBezTo>
                    <a:pt x="1939030" y="2128867"/>
                    <a:pt x="1876647" y="2074886"/>
                    <a:pt x="1822075" y="1981847"/>
                  </a:cubicBezTo>
                  <a:cubicBezTo>
                    <a:pt x="1580337" y="1616341"/>
                    <a:pt x="1611074" y="1073694"/>
                    <a:pt x="1817284" y="813366"/>
                  </a:cubicBezTo>
                  <a:cubicBezTo>
                    <a:pt x="1918766" y="685253"/>
                    <a:pt x="2103104" y="634821"/>
                    <a:pt x="2282251" y="640385"/>
                  </a:cubicBezTo>
                  <a:close/>
                  <a:moveTo>
                    <a:pt x="2343151" y="50971"/>
                  </a:moveTo>
                  <a:cubicBezTo>
                    <a:pt x="2515326" y="50971"/>
                    <a:pt x="2683165" y="69541"/>
                    <a:pt x="2844496" y="106064"/>
                  </a:cubicBezTo>
                  <a:lnTo>
                    <a:pt x="2825548" y="250532"/>
                  </a:lnTo>
                  <a:cubicBezTo>
                    <a:pt x="2670561" y="214118"/>
                    <a:pt x="2509001" y="195752"/>
                    <a:pt x="2343151" y="195752"/>
                  </a:cubicBezTo>
                  <a:cubicBezTo>
                    <a:pt x="1129025" y="195752"/>
                    <a:pt x="144780" y="1179996"/>
                    <a:pt x="144780" y="2394122"/>
                  </a:cubicBezTo>
                  <a:cubicBezTo>
                    <a:pt x="144780" y="3608248"/>
                    <a:pt x="1129025" y="4592492"/>
                    <a:pt x="2343151" y="4592493"/>
                  </a:cubicBezTo>
                  <a:cubicBezTo>
                    <a:pt x="3317057" y="4592492"/>
                    <a:pt x="4143048" y="3959193"/>
                    <a:pt x="4430376" y="3081483"/>
                  </a:cubicBezTo>
                  <a:lnTo>
                    <a:pt x="4564503" y="3135859"/>
                  </a:lnTo>
                  <a:cubicBezTo>
                    <a:pt x="4255798" y="4066694"/>
                    <a:pt x="3377784" y="4737272"/>
                    <a:pt x="2343150" y="4737272"/>
                  </a:cubicBezTo>
                  <a:cubicBezTo>
                    <a:pt x="1049065" y="4737272"/>
                    <a:pt x="0" y="3688208"/>
                    <a:pt x="0" y="2394122"/>
                  </a:cubicBezTo>
                  <a:cubicBezTo>
                    <a:pt x="0" y="1100036"/>
                    <a:pt x="1049065" y="50972"/>
                    <a:pt x="2343151" y="50971"/>
                  </a:cubicBezTo>
                  <a:close/>
                  <a:moveTo>
                    <a:pt x="2881402" y="0"/>
                  </a:moveTo>
                  <a:lnTo>
                    <a:pt x="3067078" y="226308"/>
                  </a:lnTo>
                  <a:lnTo>
                    <a:pt x="2832168" y="400975"/>
                  </a:lnTo>
                  <a:close/>
                </a:path>
              </a:pathLst>
            </a:custGeom>
            <a:solidFill>
              <a:srgbClr val="7F7F7F"/>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defRPr/>
              </a:pPr>
              <a:endParaRPr lang="en-US" sz="1200" kern="0" dirty="0" err="1">
                <a:solidFill>
                  <a:prstClr val="white"/>
                </a:solidFill>
              </a:endParaRPr>
            </a:p>
          </p:txBody>
        </p:sp>
        <p:grpSp>
          <p:nvGrpSpPr>
            <p:cNvPr id="262" name="Group 9"/>
            <p:cNvGrpSpPr>
              <a:grpSpLocks/>
            </p:cNvGrpSpPr>
            <p:nvPr/>
          </p:nvGrpSpPr>
          <p:grpSpPr bwMode="auto">
            <a:xfrm>
              <a:off x="5794575" y="3218649"/>
              <a:ext cx="190686" cy="156029"/>
              <a:chOff x="6940223" y="1895560"/>
              <a:chExt cx="721993" cy="641901"/>
            </a:xfrm>
            <a:solidFill>
              <a:schemeClr val="bg1">
                <a:lumMod val="95000"/>
              </a:schemeClr>
            </a:solidFill>
          </p:grpSpPr>
          <p:cxnSp>
            <p:nvCxnSpPr>
              <p:cNvPr id="264" name="Straight Connector 10"/>
              <p:cNvCxnSpPr/>
              <p:nvPr/>
            </p:nvCxnSpPr>
            <p:spPr>
              <a:xfrm flipV="1">
                <a:off x="7247609" y="1895560"/>
                <a:ext cx="294081" cy="641901"/>
              </a:xfrm>
              <a:prstGeom prst="line">
                <a:avLst/>
              </a:prstGeom>
              <a:grpFill/>
              <a:ln w="38100" cap="rnd" cmpd="sng" algn="ctr">
                <a:solidFill>
                  <a:srgbClr val="7F7F7F"/>
                </a:solidFill>
                <a:prstDash val="sysDot"/>
              </a:ln>
              <a:effectLst/>
            </p:spPr>
          </p:cxnSp>
          <p:grpSp>
            <p:nvGrpSpPr>
              <p:cNvPr id="265" name="Group 11"/>
              <p:cNvGrpSpPr>
                <a:grpSpLocks/>
              </p:cNvGrpSpPr>
              <p:nvPr/>
            </p:nvGrpSpPr>
            <p:grpSpPr bwMode="auto">
              <a:xfrm>
                <a:off x="6940223" y="2011636"/>
                <a:ext cx="721993" cy="430704"/>
                <a:chOff x="6997583" y="1705969"/>
                <a:chExt cx="1039555" cy="620144"/>
              </a:xfrm>
              <a:grpFill/>
            </p:grpSpPr>
            <p:pic>
              <p:nvPicPr>
                <p:cNvPr id="266" name="Picture 47" descr="C:\Users\sakuu\Documents\Ballmer MGX 2011\Tile Icons\Calendar.png"/>
                <p:cNvPicPr>
                  <a:picLocks noChangeAspect="1" noChangeArrowheads="1"/>
                </p:cNvPicPr>
                <p:nvPr/>
              </p:nvPicPr>
              <p:blipFill>
                <a:blip r:embed="rId5" cstate="screen">
                  <a:duotone>
                    <a:prstClr val="black"/>
                    <a:schemeClr val="accent5">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black">
                <a:xfrm>
                  <a:off x="7458341" y="1774201"/>
                  <a:ext cx="578797" cy="551912"/>
                </a:xfrm>
                <a:prstGeom prst="rect">
                  <a:avLst/>
                </a:prstGeom>
                <a:grpFill/>
                <a:extLst>
                  <a:ext uri="{909E8E84-426E-40dd-AFC4-6F175D3DCCD1}">
                    <a14:hiddenFill xmlns:a14="http://schemas.microsoft.com/office/drawing/2010/main" xmlns="">
                      <a:solidFill>
                        <a:srgbClr val="FFFFFF"/>
                      </a:solidFill>
                    </a14:hiddenFill>
                  </a:ext>
                </a:extLst>
              </p:spPr>
            </p:pic>
            <p:sp>
              <p:nvSpPr>
                <p:cNvPr id="267" name="Freeform 113"/>
                <p:cNvSpPr>
                  <a:spLocks noEditPoints="1"/>
                </p:cNvSpPr>
                <p:nvPr/>
              </p:nvSpPr>
              <p:spPr bwMode="black">
                <a:xfrm>
                  <a:off x="6997583" y="1705969"/>
                  <a:ext cx="424935" cy="48747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7F7F7F"/>
                </a:solidFill>
                <a:ln>
                  <a:noFill/>
                </a:ln>
                <a:extLst/>
              </p:spPr>
              <p:txBody>
                <a:bodyPr/>
                <a:lstStyle/>
                <a:p>
                  <a:pPr defTabSz="914400">
                    <a:defRPr/>
                  </a:pPr>
                  <a:endParaRPr lang="en-US" sz="1050" kern="0">
                    <a:solidFill>
                      <a:srgbClr val="000000"/>
                    </a:solidFill>
                  </a:endParaRPr>
                </a:p>
              </p:txBody>
            </p:sp>
          </p:grpSp>
        </p:grpSp>
        <p:sp>
          <p:nvSpPr>
            <p:cNvPr id="263" name="Freeform 73"/>
            <p:cNvSpPr>
              <a:spLocks noEditPoints="1"/>
            </p:cNvSpPr>
            <p:nvPr/>
          </p:nvSpPr>
          <p:spPr bwMode="black">
            <a:xfrm>
              <a:off x="6646247" y="3186281"/>
              <a:ext cx="185208" cy="17476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lumMod val="50000"/>
              </a:schemeClr>
            </a:solidFill>
            <a:ln w="9525">
              <a:noFill/>
              <a:round/>
              <a:headEnd/>
              <a:tailEnd/>
            </a:ln>
          </p:spPr>
          <p:txBody>
            <a:bodyPr/>
            <a:lstStyle/>
            <a:p>
              <a:pPr algn="ctr" defTabSz="1088105"/>
              <a:endParaRPr lang="en-US" sz="2200">
                <a:ln>
                  <a:solidFill>
                    <a:srgbClr val="505050">
                      <a:alpha val="0"/>
                    </a:srgbClr>
                  </a:solidFill>
                </a:ln>
                <a:solidFill>
                  <a:srgbClr val="505050"/>
                </a:solidFill>
              </a:endParaRPr>
            </a:p>
          </p:txBody>
        </p:sp>
      </p:grpSp>
      <p:sp>
        <p:nvSpPr>
          <p:cNvPr id="161" name="Oval 160"/>
          <p:cNvSpPr/>
          <p:nvPr/>
        </p:nvSpPr>
        <p:spPr>
          <a:xfrm>
            <a:off x="7153277" y="2072897"/>
            <a:ext cx="1544470" cy="1828800"/>
          </a:xfrm>
          <a:prstGeom prst="ellipse">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defTabSz="1088105"/>
            <a:endParaRPr lang="en-US" sz="1000" dirty="0" err="1">
              <a:solidFill>
                <a:srgbClr val="505050"/>
              </a:solidFill>
            </a:endParaRPr>
          </a:p>
        </p:txBody>
      </p:sp>
      <p:sp>
        <p:nvSpPr>
          <p:cNvPr id="162" name="TextBox 161"/>
          <p:cNvSpPr txBox="1"/>
          <p:nvPr/>
        </p:nvSpPr>
        <p:spPr>
          <a:xfrm>
            <a:off x="7287999" y="2574514"/>
            <a:ext cx="663644"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Information</a:t>
            </a:r>
          </a:p>
        </p:txBody>
      </p:sp>
      <p:sp>
        <p:nvSpPr>
          <p:cNvPr id="163" name="TextBox 162"/>
          <p:cNvSpPr txBox="1"/>
          <p:nvPr/>
        </p:nvSpPr>
        <p:spPr>
          <a:xfrm>
            <a:off x="7380175" y="3144719"/>
            <a:ext cx="479298"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Business</a:t>
            </a:r>
          </a:p>
        </p:txBody>
      </p:sp>
      <p:sp>
        <p:nvSpPr>
          <p:cNvPr id="164" name="TextBox 163"/>
          <p:cNvSpPr txBox="1"/>
          <p:nvPr/>
        </p:nvSpPr>
        <p:spPr>
          <a:xfrm>
            <a:off x="8118040" y="2554425"/>
            <a:ext cx="370294"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Health</a:t>
            </a:r>
          </a:p>
        </p:txBody>
      </p:sp>
      <p:sp>
        <p:nvSpPr>
          <p:cNvPr id="166" name="TextBox 165"/>
          <p:cNvSpPr txBox="1"/>
          <p:nvPr/>
        </p:nvSpPr>
        <p:spPr>
          <a:xfrm>
            <a:off x="8024266" y="3142795"/>
            <a:ext cx="557846"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Education</a:t>
            </a:r>
          </a:p>
        </p:txBody>
      </p:sp>
      <p:sp>
        <p:nvSpPr>
          <p:cNvPr id="170" name="TextBox 169"/>
          <p:cNvSpPr txBox="1"/>
          <p:nvPr/>
        </p:nvSpPr>
        <p:spPr>
          <a:xfrm>
            <a:off x="4184994" y="4028338"/>
            <a:ext cx="649216"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Capabilities</a:t>
            </a:r>
          </a:p>
        </p:txBody>
      </p:sp>
      <p:sp>
        <p:nvSpPr>
          <p:cNvPr id="171" name="TextBox 170"/>
          <p:cNvSpPr txBox="1"/>
          <p:nvPr/>
        </p:nvSpPr>
        <p:spPr>
          <a:xfrm>
            <a:off x="7287999" y="3926501"/>
            <a:ext cx="1397819"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Services and information</a:t>
            </a:r>
          </a:p>
        </p:txBody>
      </p:sp>
      <p:pic>
        <p:nvPicPr>
          <p:cNvPr id="209" name="Picture 42"/>
          <p:cNvPicPr>
            <a:picLocks noChangeAspect="1"/>
          </p:cNvPicPr>
          <p:nvPr/>
        </p:nvPicPr>
        <p:blipFill>
          <a:blip r:embed="rId7"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4680594" y="3010731"/>
            <a:ext cx="455030" cy="336422"/>
          </a:xfrm>
          <a:prstGeom prst="rect">
            <a:avLst/>
          </a:prstGeom>
        </p:spPr>
      </p:pic>
      <p:sp>
        <p:nvSpPr>
          <p:cNvPr id="211" name="TextBox 210"/>
          <p:cNvSpPr txBox="1"/>
          <p:nvPr/>
        </p:nvSpPr>
        <p:spPr>
          <a:xfrm>
            <a:off x="9295510" y="3644409"/>
            <a:ext cx="530594" cy="307777"/>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Engaged </a:t>
            </a:r>
            <a:br>
              <a:rPr lang="en-US" sz="1000" dirty="0">
                <a:solidFill>
                  <a:srgbClr val="505050"/>
                </a:solidFill>
                <a:ea typeface="Segoe UI" pitchFamily="34" charset="0"/>
                <a:cs typeface="Segoe UI" pitchFamily="34" charset="0"/>
              </a:rPr>
            </a:br>
            <a:r>
              <a:rPr lang="en-US" sz="1000" dirty="0">
                <a:solidFill>
                  <a:srgbClr val="505050"/>
                </a:solidFill>
                <a:ea typeface="Segoe UI" pitchFamily="34" charset="0"/>
                <a:cs typeface="Segoe UI" pitchFamily="34" charset="0"/>
              </a:rPr>
              <a:t>citizens</a:t>
            </a:r>
          </a:p>
        </p:txBody>
      </p:sp>
      <p:cxnSp>
        <p:nvCxnSpPr>
          <p:cNvPr id="212" name="Straight Arrow Connector 211"/>
          <p:cNvCxnSpPr/>
          <p:nvPr/>
        </p:nvCxnSpPr>
        <p:spPr>
          <a:xfrm flipH="1">
            <a:off x="9890180" y="3046608"/>
            <a:ext cx="566234" cy="207438"/>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p:cNvCxnSpPr/>
          <p:nvPr/>
        </p:nvCxnSpPr>
        <p:spPr>
          <a:xfrm>
            <a:off x="10473397" y="3046608"/>
            <a:ext cx="545576" cy="229782"/>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41" name="Straight Arrow Connector 240"/>
          <p:cNvCxnSpPr/>
          <p:nvPr/>
        </p:nvCxnSpPr>
        <p:spPr>
          <a:xfrm>
            <a:off x="10464906" y="3046607"/>
            <a:ext cx="0" cy="397699"/>
          </a:xfrm>
          <a:prstGeom prst="straightConnector1">
            <a:avLst/>
          </a:prstGeom>
          <a:ln w="1905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278" name="Group 277"/>
          <p:cNvGrpSpPr/>
          <p:nvPr/>
        </p:nvGrpSpPr>
        <p:grpSpPr>
          <a:xfrm>
            <a:off x="10370383" y="3551044"/>
            <a:ext cx="168386" cy="411480"/>
            <a:chOff x="10345273" y="3551044"/>
            <a:chExt cx="168386" cy="411480"/>
          </a:xfrm>
        </p:grpSpPr>
        <p:sp>
          <p:nvSpPr>
            <p:cNvPr id="279" name="Freeform 212"/>
            <p:cNvSpPr>
              <a:spLocks/>
            </p:cNvSpPr>
            <p:nvPr/>
          </p:nvSpPr>
          <p:spPr bwMode="black">
            <a:xfrm>
              <a:off x="10373606" y="3864845"/>
              <a:ext cx="128861" cy="97679"/>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000">
                <a:solidFill>
                  <a:srgbClr val="505050"/>
                </a:solidFill>
              </a:endParaRPr>
            </a:p>
          </p:txBody>
        </p:sp>
        <p:sp>
          <p:nvSpPr>
            <p:cNvPr id="280" name="Freeform 213"/>
            <p:cNvSpPr>
              <a:spLocks noEditPoints="1"/>
            </p:cNvSpPr>
            <p:nvPr/>
          </p:nvSpPr>
          <p:spPr bwMode="black">
            <a:xfrm>
              <a:off x="10345273" y="3551044"/>
              <a:ext cx="168386" cy="261888"/>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000">
                <a:solidFill>
                  <a:srgbClr val="505050"/>
                </a:solidFill>
              </a:endParaRPr>
            </a:p>
          </p:txBody>
        </p:sp>
        <p:sp>
          <p:nvSpPr>
            <p:cNvPr id="281" name="Freeform 214"/>
            <p:cNvSpPr>
              <a:spLocks/>
            </p:cNvSpPr>
            <p:nvPr/>
          </p:nvSpPr>
          <p:spPr bwMode="black">
            <a:xfrm>
              <a:off x="10372195" y="3824625"/>
              <a:ext cx="130676" cy="29233"/>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000">
                <a:solidFill>
                  <a:srgbClr val="505050"/>
                </a:solidFill>
              </a:endParaRPr>
            </a:p>
          </p:txBody>
        </p:sp>
      </p:grpSp>
      <p:grpSp>
        <p:nvGrpSpPr>
          <p:cNvPr id="282" name="Group 281"/>
          <p:cNvGrpSpPr/>
          <p:nvPr/>
        </p:nvGrpSpPr>
        <p:grpSpPr>
          <a:xfrm>
            <a:off x="9364237" y="3019685"/>
            <a:ext cx="393135" cy="622718"/>
            <a:chOff x="9356379" y="2942907"/>
            <a:chExt cx="393135" cy="622718"/>
          </a:xfrm>
        </p:grpSpPr>
        <p:sp>
          <p:nvSpPr>
            <p:cNvPr id="283" name="Donut 224"/>
            <p:cNvSpPr/>
            <p:nvPr/>
          </p:nvSpPr>
          <p:spPr bwMode="auto">
            <a:xfrm>
              <a:off x="9356379" y="2942907"/>
              <a:ext cx="393135" cy="622718"/>
            </a:xfrm>
            <a:custGeom>
              <a:avLst/>
              <a:gdLst/>
              <a:ahLst/>
              <a:cxnLst/>
              <a:rect l="l" t="t" r="r" b="b"/>
              <a:pathLst>
                <a:path w="2466728" h="3907257">
                  <a:moveTo>
                    <a:pt x="2014797" y="2302617"/>
                  </a:moveTo>
                  <a:lnTo>
                    <a:pt x="2014797" y="2368845"/>
                  </a:lnTo>
                  <a:cubicBezTo>
                    <a:pt x="2014797" y="2437866"/>
                    <a:pt x="1958843" y="2493817"/>
                    <a:pt x="1889825" y="2493817"/>
                  </a:cubicBezTo>
                  <a:cubicBezTo>
                    <a:pt x="1820803" y="2493817"/>
                    <a:pt x="1764853" y="2437866"/>
                    <a:pt x="1764853" y="2368845"/>
                  </a:cubicBezTo>
                  <a:lnTo>
                    <a:pt x="1764853" y="2320801"/>
                  </a:lnTo>
                  <a:lnTo>
                    <a:pt x="1878268" y="2402778"/>
                  </a:lnTo>
                  <a:cubicBezTo>
                    <a:pt x="1927113" y="2369130"/>
                    <a:pt x="1972673" y="2335863"/>
                    <a:pt x="2014797" y="2302617"/>
                  </a:cubicBezTo>
                  <a:close/>
                  <a:moveTo>
                    <a:pt x="1578478" y="1269672"/>
                  </a:moveTo>
                  <a:cubicBezTo>
                    <a:pt x="1692371" y="1275562"/>
                    <a:pt x="1811709" y="1353098"/>
                    <a:pt x="1878269" y="1524211"/>
                  </a:cubicBezTo>
                  <a:cubicBezTo>
                    <a:pt x="2121686" y="898426"/>
                    <a:pt x="3071011" y="1524211"/>
                    <a:pt x="1878269" y="2328791"/>
                  </a:cubicBezTo>
                  <a:cubicBezTo>
                    <a:pt x="1058259" y="1775642"/>
                    <a:pt x="1250710" y="1307002"/>
                    <a:pt x="1530170" y="1271470"/>
                  </a:cubicBezTo>
                  <a:cubicBezTo>
                    <a:pt x="1546048" y="1269451"/>
                    <a:pt x="1562208" y="1268831"/>
                    <a:pt x="1578478" y="1269672"/>
                  </a:cubicBezTo>
                  <a:close/>
                  <a:moveTo>
                    <a:pt x="1038314" y="1138972"/>
                  </a:moveTo>
                  <a:lnTo>
                    <a:pt x="1666798" y="1138972"/>
                  </a:lnTo>
                  <a:cubicBezTo>
                    <a:pt x="1793020" y="1138972"/>
                    <a:pt x="1905937" y="1202580"/>
                    <a:pt x="1963829" y="1304363"/>
                  </a:cubicBezTo>
                  <a:cubicBezTo>
                    <a:pt x="1928766" y="1333354"/>
                    <a:pt x="1900263" y="1373512"/>
                    <a:pt x="1878268" y="1423066"/>
                  </a:cubicBezTo>
                  <a:cubicBezTo>
                    <a:pt x="1654583" y="886684"/>
                    <a:pt x="666580" y="1436078"/>
                    <a:pt x="1701098" y="2270021"/>
                  </a:cubicBezTo>
                  <a:lnTo>
                    <a:pt x="1701098" y="3751043"/>
                  </a:lnTo>
                  <a:cubicBezTo>
                    <a:pt x="1701098" y="3837319"/>
                    <a:pt x="1631160" y="3907257"/>
                    <a:pt x="1544884" y="3907257"/>
                  </a:cubicBezTo>
                  <a:cubicBezTo>
                    <a:pt x="1458609" y="3907257"/>
                    <a:pt x="1388668" y="3837319"/>
                    <a:pt x="1388668" y="3751043"/>
                  </a:cubicBezTo>
                  <a:lnTo>
                    <a:pt x="1388668" y="2575575"/>
                  </a:lnTo>
                  <a:cubicBezTo>
                    <a:pt x="1388322" y="2545663"/>
                    <a:pt x="1387979" y="2515749"/>
                    <a:pt x="1387634" y="2485837"/>
                  </a:cubicBezTo>
                  <a:cubicBezTo>
                    <a:pt x="1387634" y="2483271"/>
                    <a:pt x="1385557" y="2481194"/>
                    <a:pt x="1382994" y="2481194"/>
                  </a:cubicBezTo>
                  <a:lnTo>
                    <a:pt x="1325376" y="2481194"/>
                  </a:lnTo>
                  <a:cubicBezTo>
                    <a:pt x="1322813" y="2481194"/>
                    <a:pt x="1320736" y="2483271"/>
                    <a:pt x="1320736" y="2485837"/>
                  </a:cubicBezTo>
                  <a:lnTo>
                    <a:pt x="1320736" y="2575575"/>
                  </a:lnTo>
                  <a:cubicBezTo>
                    <a:pt x="1320607" y="2967397"/>
                    <a:pt x="1320478" y="3359219"/>
                    <a:pt x="1320349" y="3751043"/>
                  </a:cubicBezTo>
                  <a:cubicBezTo>
                    <a:pt x="1320349" y="3837319"/>
                    <a:pt x="1250408" y="3907257"/>
                    <a:pt x="1164133" y="3907257"/>
                  </a:cubicBezTo>
                  <a:cubicBezTo>
                    <a:pt x="1077857" y="3907257"/>
                    <a:pt x="1007916" y="3837319"/>
                    <a:pt x="1007916" y="3751043"/>
                  </a:cubicBezTo>
                  <a:lnTo>
                    <a:pt x="1007916" y="1928158"/>
                  </a:lnTo>
                  <a:cubicBezTo>
                    <a:pt x="1006290" y="1811766"/>
                    <a:pt x="1004667" y="1695374"/>
                    <a:pt x="1003044" y="1578982"/>
                  </a:cubicBezTo>
                  <a:cubicBezTo>
                    <a:pt x="1003044" y="1576105"/>
                    <a:pt x="1000713" y="1573773"/>
                    <a:pt x="997836" y="1573773"/>
                  </a:cubicBezTo>
                  <a:lnTo>
                    <a:pt x="945764" y="1573773"/>
                  </a:lnTo>
                  <a:cubicBezTo>
                    <a:pt x="942887" y="1573773"/>
                    <a:pt x="940558" y="1576105"/>
                    <a:pt x="940558" y="1578982"/>
                  </a:cubicBezTo>
                  <a:lnTo>
                    <a:pt x="940558" y="1914803"/>
                  </a:lnTo>
                  <a:cubicBezTo>
                    <a:pt x="940453" y="1914794"/>
                    <a:pt x="940359" y="1914762"/>
                    <a:pt x="940262" y="1914730"/>
                  </a:cubicBezTo>
                  <a:lnTo>
                    <a:pt x="940262" y="2368845"/>
                  </a:lnTo>
                  <a:cubicBezTo>
                    <a:pt x="940262" y="2437866"/>
                    <a:pt x="884312" y="2493817"/>
                    <a:pt x="815290" y="2493817"/>
                  </a:cubicBezTo>
                  <a:cubicBezTo>
                    <a:pt x="746272" y="2493817"/>
                    <a:pt x="690318" y="2437866"/>
                    <a:pt x="690318" y="2368845"/>
                  </a:cubicBezTo>
                  <a:lnTo>
                    <a:pt x="690318" y="1582471"/>
                  </a:lnTo>
                  <a:lnTo>
                    <a:pt x="690318" y="1486968"/>
                  </a:lnTo>
                  <a:lnTo>
                    <a:pt x="690318" y="1466744"/>
                  </a:lnTo>
                  <a:cubicBezTo>
                    <a:pt x="690318" y="1437180"/>
                    <a:pt x="694164" y="1408517"/>
                    <a:pt x="702668" y="1381564"/>
                  </a:cubicBezTo>
                  <a:cubicBezTo>
                    <a:pt x="704988" y="1373265"/>
                    <a:pt x="704728" y="1362898"/>
                    <a:pt x="710241" y="1356453"/>
                  </a:cubicBezTo>
                  <a:cubicBezTo>
                    <a:pt x="760426" y="1227078"/>
                    <a:pt x="891140" y="1138972"/>
                    <a:pt x="1038314" y="1138972"/>
                  </a:cubicBezTo>
                  <a:close/>
                  <a:moveTo>
                    <a:pt x="840652" y="1059849"/>
                  </a:moveTo>
                  <a:lnTo>
                    <a:pt x="866681" y="1096877"/>
                  </a:lnTo>
                  <a:lnTo>
                    <a:pt x="829653" y="1122905"/>
                  </a:lnTo>
                  <a:lnTo>
                    <a:pt x="803625" y="1085878"/>
                  </a:lnTo>
                  <a:close/>
                  <a:moveTo>
                    <a:pt x="767010" y="951533"/>
                  </a:moveTo>
                  <a:lnTo>
                    <a:pt x="792830" y="988705"/>
                  </a:lnTo>
                  <a:lnTo>
                    <a:pt x="755657" y="1014526"/>
                  </a:lnTo>
                  <a:lnTo>
                    <a:pt x="729837" y="977353"/>
                  </a:lnTo>
                  <a:close/>
                  <a:moveTo>
                    <a:pt x="695867" y="843239"/>
                  </a:moveTo>
                  <a:lnTo>
                    <a:pt x="721337" y="880653"/>
                  </a:lnTo>
                  <a:lnTo>
                    <a:pt x="683923" y="906123"/>
                  </a:lnTo>
                  <a:lnTo>
                    <a:pt x="658453" y="868709"/>
                  </a:lnTo>
                  <a:close/>
                  <a:moveTo>
                    <a:pt x="1352558" y="513821"/>
                  </a:moveTo>
                  <a:cubicBezTo>
                    <a:pt x="1504761" y="513821"/>
                    <a:pt x="1628145" y="637206"/>
                    <a:pt x="1628145" y="789409"/>
                  </a:cubicBezTo>
                  <a:cubicBezTo>
                    <a:pt x="1628145" y="941613"/>
                    <a:pt x="1504761" y="1064997"/>
                    <a:pt x="1352558" y="1064997"/>
                  </a:cubicBezTo>
                  <a:cubicBezTo>
                    <a:pt x="1200354" y="1064997"/>
                    <a:pt x="1076970" y="941613"/>
                    <a:pt x="1076970" y="789409"/>
                  </a:cubicBezTo>
                  <a:cubicBezTo>
                    <a:pt x="1076970" y="637206"/>
                    <a:pt x="1200354" y="513821"/>
                    <a:pt x="1352558" y="513821"/>
                  </a:cubicBezTo>
                  <a:close/>
                  <a:moveTo>
                    <a:pt x="374465" y="214412"/>
                  </a:moveTo>
                  <a:lnTo>
                    <a:pt x="478221" y="214412"/>
                  </a:lnTo>
                  <a:lnTo>
                    <a:pt x="478221" y="374465"/>
                  </a:lnTo>
                  <a:lnTo>
                    <a:pt x="635800" y="374465"/>
                  </a:lnTo>
                  <a:lnTo>
                    <a:pt x="635800" y="478221"/>
                  </a:lnTo>
                  <a:lnTo>
                    <a:pt x="478221" y="478221"/>
                  </a:lnTo>
                  <a:lnTo>
                    <a:pt x="478221" y="638274"/>
                  </a:lnTo>
                  <a:lnTo>
                    <a:pt x="374465" y="638274"/>
                  </a:lnTo>
                  <a:lnTo>
                    <a:pt x="374465" y="478221"/>
                  </a:lnTo>
                  <a:lnTo>
                    <a:pt x="216886" y="478221"/>
                  </a:lnTo>
                  <a:lnTo>
                    <a:pt x="216886" y="374465"/>
                  </a:lnTo>
                  <a:lnTo>
                    <a:pt x="374465" y="374465"/>
                  </a:lnTo>
                  <a:close/>
                  <a:moveTo>
                    <a:pt x="426343" y="67908"/>
                  </a:moveTo>
                  <a:cubicBezTo>
                    <a:pt x="228385" y="67908"/>
                    <a:pt x="67908" y="228385"/>
                    <a:pt x="67908" y="426343"/>
                  </a:cubicBezTo>
                  <a:cubicBezTo>
                    <a:pt x="67908" y="624301"/>
                    <a:pt x="228385" y="784778"/>
                    <a:pt x="426343" y="784778"/>
                  </a:cubicBezTo>
                  <a:cubicBezTo>
                    <a:pt x="624301" y="784778"/>
                    <a:pt x="784778" y="624301"/>
                    <a:pt x="784778" y="426343"/>
                  </a:cubicBezTo>
                  <a:cubicBezTo>
                    <a:pt x="784778" y="228385"/>
                    <a:pt x="624301" y="67908"/>
                    <a:pt x="426343" y="67908"/>
                  </a:cubicBezTo>
                  <a:close/>
                  <a:moveTo>
                    <a:pt x="426343" y="0"/>
                  </a:moveTo>
                  <a:cubicBezTo>
                    <a:pt x="661806" y="0"/>
                    <a:pt x="852686" y="190880"/>
                    <a:pt x="852686" y="426343"/>
                  </a:cubicBezTo>
                  <a:cubicBezTo>
                    <a:pt x="852686" y="661806"/>
                    <a:pt x="661806" y="852686"/>
                    <a:pt x="426343" y="852686"/>
                  </a:cubicBezTo>
                  <a:cubicBezTo>
                    <a:pt x="190880" y="852686"/>
                    <a:pt x="0" y="661806"/>
                    <a:pt x="0" y="426343"/>
                  </a:cubicBezTo>
                  <a:cubicBezTo>
                    <a:pt x="0" y="190880"/>
                    <a:pt x="190880" y="0"/>
                    <a:pt x="426343"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000" dirty="0" err="1">
                <a:solidFill>
                  <a:srgbClr val="505050">
                    <a:lumMod val="50000"/>
                  </a:srgbClr>
                </a:solidFill>
              </a:endParaRPr>
            </a:p>
          </p:txBody>
        </p:sp>
        <p:pic>
          <p:nvPicPr>
            <p:cNvPr id="284" name="Picture 7" descr="\\MAGNUM\Projects\Microsoft\Cloud Power FY12\Design\ICONS_PNG\Within_Your_Reach.png"/>
            <p:cNvPicPr>
              <a:picLocks noChangeAspect="1" noChangeArrowheads="1"/>
            </p:cNvPicPr>
            <p:nvPr/>
          </p:nvPicPr>
          <p:blipFill>
            <a:blip r:embed="rId8" cstate="print">
              <a:biLevel thresh="25000"/>
              <a:extLst>
                <a:ext uri="{BEBA8EAE-BF5A-486C-A8C5-ECC9F3942E4B}">
                  <a14:imgProps xmlns:a14="http://schemas.microsoft.com/office/drawing/2010/main">
                    <a14:imgLayer r:embed="rId9">
                      <a14:imgEffect>
                        <a14:brightnessContrast bright="-31000" contrast="-40000"/>
                      </a14:imgEffect>
                    </a14:imgLayer>
                  </a14:imgProps>
                </a:ext>
                <a:ext uri="{28A0092B-C50C-407E-A947-70E740481C1C}">
                  <a14:useLocalDpi xmlns:a14="http://schemas.microsoft.com/office/drawing/2010/main"/>
                </a:ext>
              </a:extLst>
            </a:blip>
            <a:stretch>
              <a:fillRect/>
            </a:stretch>
          </p:blipFill>
          <p:spPr bwMode="auto">
            <a:xfrm>
              <a:off x="9610202" y="3193256"/>
              <a:ext cx="88690" cy="88690"/>
            </a:xfrm>
            <a:prstGeom prst="rect">
              <a:avLst/>
            </a:prstGeom>
            <a:noFill/>
          </p:spPr>
        </p:pic>
      </p:grpSp>
      <p:grpSp>
        <p:nvGrpSpPr>
          <p:cNvPr id="308" name="Group 307"/>
          <p:cNvGrpSpPr/>
          <p:nvPr/>
        </p:nvGrpSpPr>
        <p:grpSpPr>
          <a:xfrm>
            <a:off x="603462" y="2450573"/>
            <a:ext cx="2039626" cy="1140368"/>
            <a:chOff x="629533" y="2450573"/>
            <a:chExt cx="2039626" cy="1140368"/>
          </a:xfrm>
        </p:grpSpPr>
        <p:sp>
          <p:nvSpPr>
            <p:cNvPr id="309" name="Oval 308"/>
            <p:cNvSpPr/>
            <p:nvPr/>
          </p:nvSpPr>
          <p:spPr>
            <a:xfrm>
              <a:off x="764359" y="2450573"/>
              <a:ext cx="1904800" cy="114036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defTabSz="1088105"/>
              <a:endParaRPr lang="en-US" sz="1000">
                <a:solidFill>
                  <a:srgbClr val="505050"/>
                </a:solidFill>
              </a:endParaRPr>
            </a:p>
          </p:txBody>
        </p:sp>
        <p:sp>
          <p:nvSpPr>
            <p:cNvPr id="310" name="Round Same Side Corner Rectangle 4"/>
            <p:cNvSpPr>
              <a:spLocks noChangeAspect="1"/>
            </p:cNvSpPr>
            <p:nvPr/>
          </p:nvSpPr>
          <p:spPr>
            <a:xfrm>
              <a:off x="629533" y="2758598"/>
              <a:ext cx="411480" cy="339348"/>
            </a:xfrm>
            <a:custGeom>
              <a:avLst/>
              <a:gdLst/>
              <a:ahLst/>
              <a:cxnLst/>
              <a:rect l="l" t="t" r="r" b="b"/>
              <a:pathLst>
                <a:path w="5088781" h="4196725">
                  <a:moveTo>
                    <a:pt x="3932205" y="2740979"/>
                  </a:moveTo>
                  <a:cubicBezTo>
                    <a:pt x="4624928" y="2744117"/>
                    <a:pt x="5079721" y="3578290"/>
                    <a:pt x="5088781" y="4196725"/>
                  </a:cubicBezTo>
                  <a:lnTo>
                    <a:pt x="1644603" y="4196725"/>
                  </a:lnTo>
                  <a:cubicBezTo>
                    <a:pt x="1637421" y="3648409"/>
                    <a:pt x="2026494" y="2807477"/>
                    <a:pt x="2848812" y="2754777"/>
                  </a:cubicBezTo>
                  <a:cubicBezTo>
                    <a:pt x="3013057" y="2921134"/>
                    <a:pt x="3196680" y="2964010"/>
                    <a:pt x="3377245" y="2961710"/>
                  </a:cubicBezTo>
                  <a:cubicBezTo>
                    <a:pt x="3557811" y="2959410"/>
                    <a:pt x="3767704" y="2908024"/>
                    <a:pt x="3932205" y="2740979"/>
                  </a:cubicBezTo>
                  <a:close/>
                  <a:moveTo>
                    <a:pt x="1614816" y="1743076"/>
                  </a:moveTo>
                  <a:lnTo>
                    <a:pt x="1977279" y="2424771"/>
                  </a:lnTo>
                  <a:lnTo>
                    <a:pt x="1784566" y="2527237"/>
                  </a:lnTo>
                  <a:lnTo>
                    <a:pt x="1422103" y="1845543"/>
                  </a:lnTo>
                  <a:close/>
                  <a:moveTo>
                    <a:pt x="2335626" y="1082878"/>
                  </a:moveTo>
                  <a:lnTo>
                    <a:pt x="2505569" y="1082878"/>
                  </a:lnTo>
                  <a:cubicBezTo>
                    <a:pt x="2453270" y="1422223"/>
                    <a:pt x="2473720" y="1757360"/>
                    <a:pt x="2581543" y="2025928"/>
                  </a:cubicBezTo>
                  <a:cubicBezTo>
                    <a:pt x="2349327" y="2129593"/>
                    <a:pt x="2156799" y="1874484"/>
                    <a:pt x="2118259" y="1700337"/>
                  </a:cubicBezTo>
                  <a:cubicBezTo>
                    <a:pt x="2079719" y="1526190"/>
                    <a:pt x="2122427" y="1197080"/>
                    <a:pt x="2335607" y="1083015"/>
                  </a:cubicBezTo>
                  <a:cubicBezTo>
                    <a:pt x="2335613" y="1082969"/>
                    <a:pt x="2335620" y="1082924"/>
                    <a:pt x="2335626" y="1082878"/>
                  </a:cubicBezTo>
                  <a:close/>
                  <a:moveTo>
                    <a:pt x="3366644" y="407234"/>
                  </a:moveTo>
                  <a:cubicBezTo>
                    <a:pt x="3605567" y="399493"/>
                    <a:pt x="3851413" y="469638"/>
                    <a:pt x="3986755" y="647831"/>
                  </a:cubicBezTo>
                  <a:cubicBezTo>
                    <a:pt x="4261771" y="1009916"/>
                    <a:pt x="4302765" y="1764681"/>
                    <a:pt x="3980367" y="2273061"/>
                  </a:cubicBezTo>
                  <a:cubicBezTo>
                    <a:pt x="3907585" y="2402466"/>
                    <a:pt x="3824387" y="2477548"/>
                    <a:pt x="3822733" y="2653647"/>
                  </a:cubicBezTo>
                  <a:lnTo>
                    <a:pt x="3830607" y="2684362"/>
                  </a:lnTo>
                  <a:cubicBezTo>
                    <a:pt x="3694087" y="2789642"/>
                    <a:pt x="3534947" y="2846489"/>
                    <a:pt x="3366088" y="2846489"/>
                  </a:cubicBezTo>
                  <a:cubicBezTo>
                    <a:pt x="3197611" y="2846489"/>
                    <a:pt x="3038813" y="2789901"/>
                    <a:pt x="2902505" y="2685055"/>
                  </a:cubicBezTo>
                  <a:cubicBezTo>
                    <a:pt x="2908007" y="2675223"/>
                    <a:pt x="2909511" y="2664508"/>
                    <a:pt x="2910559" y="2653647"/>
                  </a:cubicBezTo>
                  <a:cubicBezTo>
                    <a:pt x="2908901" y="2477548"/>
                    <a:pt x="2825704" y="2402466"/>
                    <a:pt x="2752924" y="2273061"/>
                  </a:cubicBezTo>
                  <a:cubicBezTo>
                    <a:pt x="2430523" y="1764681"/>
                    <a:pt x="2471517" y="1009916"/>
                    <a:pt x="2746534" y="647831"/>
                  </a:cubicBezTo>
                  <a:cubicBezTo>
                    <a:pt x="2881876" y="469638"/>
                    <a:pt x="3127722" y="399493"/>
                    <a:pt x="3366644" y="407234"/>
                  </a:cubicBezTo>
                  <a:close/>
                  <a:moveTo>
                    <a:pt x="3329004" y="187604"/>
                  </a:moveTo>
                  <a:cubicBezTo>
                    <a:pt x="3994560" y="167140"/>
                    <a:pt x="4371354" y="579938"/>
                    <a:pt x="4400820" y="1082877"/>
                  </a:cubicBezTo>
                  <a:lnTo>
                    <a:pt x="4397665" y="1082920"/>
                  </a:lnTo>
                  <a:cubicBezTo>
                    <a:pt x="4397669" y="1082952"/>
                    <a:pt x="4397674" y="1082983"/>
                    <a:pt x="4397678" y="1083015"/>
                  </a:cubicBezTo>
                  <a:cubicBezTo>
                    <a:pt x="4610858" y="1197080"/>
                    <a:pt x="4653566" y="1526190"/>
                    <a:pt x="4615026" y="1700337"/>
                  </a:cubicBezTo>
                  <a:cubicBezTo>
                    <a:pt x="4576486" y="1874484"/>
                    <a:pt x="4383958" y="2129593"/>
                    <a:pt x="4151742" y="2025928"/>
                  </a:cubicBezTo>
                  <a:cubicBezTo>
                    <a:pt x="4259317" y="1757977"/>
                    <a:pt x="4279921" y="1423762"/>
                    <a:pt x="4227952" y="1085234"/>
                  </a:cubicBezTo>
                  <a:lnTo>
                    <a:pt x="4226178" y="1085258"/>
                  </a:lnTo>
                  <a:cubicBezTo>
                    <a:pt x="4224961" y="1052502"/>
                    <a:pt x="4221024" y="1061053"/>
                    <a:pt x="4222062" y="1029218"/>
                  </a:cubicBezTo>
                  <a:cubicBezTo>
                    <a:pt x="4135466" y="552994"/>
                    <a:pt x="3822726" y="337641"/>
                    <a:pt x="3344993" y="344967"/>
                  </a:cubicBezTo>
                  <a:cubicBezTo>
                    <a:pt x="2868139" y="352280"/>
                    <a:pt x="2631639" y="579683"/>
                    <a:pt x="2515713" y="1011516"/>
                  </a:cubicBezTo>
                  <a:lnTo>
                    <a:pt x="2508730" y="1082877"/>
                  </a:lnTo>
                  <a:lnTo>
                    <a:pt x="2334024" y="1082877"/>
                  </a:lnTo>
                  <a:cubicBezTo>
                    <a:pt x="2352141" y="801101"/>
                    <a:pt x="2461459" y="565118"/>
                    <a:pt x="2668523" y="409409"/>
                  </a:cubicBezTo>
                  <a:lnTo>
                    <a:pt x="2668523" y="406660"/>
                  </a:lnTo>
                  <a:lnTo>
                    <a:pt x="2672097" y="406660"/>
                  </a:lnTo>
                  <a:cubicBezTo>
                    <a:pt x="2830314" y="279098"/>
                    <a:pt x="3049580" y="202294"/>
                    <a:pt x="3329004" y="187604"/>
                  </a:cubicBezTo>
                  <a:close/>
                  <a:moveTo>
                    <a:pt x="476352" y="116995"/>
                  </a:moveTo>
                  <a:lnTo>
                    <a:pt x="798711" y="723264"/>
                  </a:lnTo>
                  <a:cubicBezTo>
                    <a:pt x="614852" y="856321"/>
                    <a:pt x="553503" y="1108041"/>
                    <a:pt x="663223" y="1314393"/>
                  </a:cubicBezTo>
                  <a:lnTo>
                    <a:pt x="828633" y="1625485"/>
                  </a:lnTo>
                  <a:cubicBezTo>
                    <a:pt x="938352" y="1831836"/>
                    <a:pt x="1181344" y="1921737"/>
                    <a:pt x="1394465" y="1843716"/>
                  </a:cubicBezTo>
                  <a:lnTo>
                    <a:pt x="1765435" y="2541408"/>
                  </a:lnTo>
                  <a:cubicBezTo>
                    <a:pt x="1738310" y="2564983"/>
                    <a:pt x="1707598" y="2584520"/>
                    <a:pt x="1674974" y="2601866"/>
                  </a:cubicBezTo>
                  <a:lnTo>
                    <a:pt x="1674974" y="2601865"/>
                  </a:lnTo>
                  <a:cubicBezTo>
                    <a:pt x="1329826" y="2785383"/>
                    <a:pt x="901257" y="2654356"/>
                    <a:pt x="717739" y="2309209"/>
                  </a:cubicBezTo>
                  <a:lnTo>
                    <a:pt x="82989" y="1115418"/>
                  </a:lnTo>
                  <a:cubicBezTo>
                    <a:pt x="-100530" y="770270"/>
                    <a:pt x="30497" y="341700"/>
                    <a:pt x="375645" y="158182"/>
                  </a:cubicBezTo>
                  <a:close/>
                  <a:moveTo>
                    <a:pt x="703077" y="0"/>
                  </a:moveTo>
                  <a:lnTo>
                    <a:pt x="1026074" y="607470"/>
                  </a:lnTo>
                  <a:lnTo>
                    <a:pt x="833363" y="709937"/>
                  </a:lnTo>
                  <a:lnTo>
                    <a:pt x="510366" y="102467"/>
                  </a:lnTo>
                  <a:close/>
                </a:path>
              </a:pathLst>
            </a:custGeom>
            <a:solidFill>
              <a:schemeClr val="bg1">
                <a:lumMod val="50000"/>
              </a:schemeClr>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defRPr/>
              </a:pPr>
              <a:endParaRPr lang="en-US" sz="1000" kern="0" dirty="0" err="1">
                <a:solidFill>
                  <a:prstClr val="white"/>
                </a:solidFill>
              </a:endParaRPr>
            </a:p>
          </p:txBody>
        </p:sp>
        <p:sp>
          <p:nvSpPr>
            <p:cNvPr id="315" name="Freeform 314"/>
            <p:cNvSpPr>
              <a:spLocks/>
            </p:cNvSpPr>
            <p:nvPr/>
          </p:nvSpPr>
          <p:spPr bwMode="auto">
            <a:xfrm>
              <a:off x="1622234" y="2647707"/>
              <a:ext cx="302130" cy="767064"/>
            </a:xfrm>
            <a:custGeom>
              <a:avLst/>
              <a:gdLst/>
              <a:ahLst/>
              <a:cxnLst/>
              <a:rect l="l" t="t" r="r" b="b"/>
              <a:pathLst>
                <a:path w="639719" h="1624152">
                  <a:moveTo>
                    <a:pt x="173064" y="301544"/>
                  </a:moveTo>
                  <a:cubicBezTo>
                    <a:pt x="217876" y="301544"/>
                    <a:pt x="420299" y="301544"/>
                    <a:pt x="468200" y="301544"/>
                  </a:cubicBezTo>
                  <a:cubicBezTo>
                    <a:pt x="562458" y="301544"/>
                    <a:pt x="639719" y="378799"/>
                    <a:pt x="639719" y="473051"/>
                  </a:cubicBezTo>
                  <a:cubicBezTo>
                    <a:pt x="639719" y="520949"/>
                    <a:pt x="639719" y="854691"/>
                    <a:pt x="639719" y="887138"/>
                  </a:cubicBezTo>
                  <a:cubicBezTo>
                    <a:pt x="639719" y="919585"/>
                    <a:pt x="613451" y="945852"/>
                    <a:pt x="582546" y="945852"/>
                  </a:cubicBezTo>
                  <a:cubicBezTo>
                    <a:pt x="550097" y="945852"/>
                    <a:pt x="523828" y="919585"/>
                    <a:pt x="523828" y="887138"/>
                  </a:cubicBezTo>
                  <a:cubicBezTo>
                    <a:pt x="523828" y="850056"/>
                    <a:pt x="523828" y="513223"/>
                    <a:pt x="523828" y="513223"/>
                  </a:cubicBezTo>
                  <a:cubicBezTo>
                    <a:pt x="492924" y="513223"/>
                    <a:pt x="492924" y="513223"/>
                    <a:pt x="492924" y="513223"/>
                  </a:cubicBezTo>
                  <a:cubicBezTo>
                    <a:pt x="492924" y="513331"/>
                    <a:pt x="492924" y="1482006"/>
                    <a:pt x="492924" y="1546897"/>
                  </a:cubicBezTo>
                  <a:cubicBezTo>
                    <a:pt x="492924" y="1590160"/>
                    <a:pt x="457384" y="1624152"/>
                    <a:pt x="414118" y="1624152"/>
                  </a:cubicBezTo>
                  <a:cubicBezTo>
                    <a:pt x="370852" y="1624152"/>
                    <a:pt x="335312" y="1590160"/>
                    <a:pt x="335312" y="1546897"/>
                  </a:cubicBezTo>
                  <a:cubicBezTo>
                    <a:pt x="335312" y="1482003"/>
                    <a:pt x="335312" y="948942"/>
                    <a:pt x="335312" y="948942"/>
                  </a:cubicBezTo>
                  <a:cubicBezTo>
                    <a:pt x="304408" y="948942"/>
                    <a:pt x="304408" y="948942"/>
                    <a:pt x="304408" y="948942"/>
                  </a:cubicBezTo>
                  <a:cubicBezTo>
                    <a:pt x="304408" y="949043"/>
                    <a:pt x="304408" y="1482009"/>
                    <a:pt x="304408" y="1546897"/>
                  </a:cubicBezTo>
                  <a:cubicBezTo>
                    <a:pt x="304408" y="1590160"/>
                    <a:pt x="268868" y="1624152"/>
                    <a:pt x="225602" y="1624152"/>
                  </a:cubicBezTo>
                  <a:cubicBezTo>
                    <a:pt x="182336" y="1624152"/>
                    <a:pt x="146796" y="1590160"/>
                    <a:pt x="146796" y="1546897"/>
                  </a:cubicBezTo>
                  <a:cubicBezTo>
                    <a:pt x="146796" y="1482003"/>
                    <a:pt x="146796" y="513223"/>
                    <a:pt x="146796" y="513223"/>
                  </a:cubicBezTo>
                  <a:cubicBezTo>
                    <a:pt x="115891" y="513223"/>
                    <a:pt x="115891" y="513223"/>
                    <a:pt x="115891" y="513223"/>
                  </a:cubicBezTo>
                  <a:cubicBezTo>
                    <a:pt x="115891" y="513317"/>
                    <a:pt x="115891" y="850061"/>
                    <a:pt x="115891" y="887138"/>
                  </a:cubicBezTo>
                  <a:cubicBezTo>
                    <a:pt x="115891" y="919585"/>
                    <a:pt x="91168" y="945852"/>
                    <a:pt x="58718" y="945852"/>
                  </a:cubicBezTo>
                  <a:cubicBezTo>
                    <a:pt x="26269" y="945852"/>
                    <a:pt x="0" y="919585"/>
                    <a:pt x="0" y="887138"/>
                  </a:cubicBezTo>
                  <a:cubicBezTo>
                    <a:pt x="0" y="854691"/>
                    <a:pt x="0" y="520949"/>
                    <a:pt x="0" y="473051"/>
                  </a:cubicBezTo>
                  <a:cubicBezTo>
                    <a:pt x="0" y="378799"/>
                    <a:pt x="77261" y="301544"/>
                    <a:pt x="173064" y="301544"/>
                  </a:cubicBezTo>
                  <a:close/>
                  <a:moveTo>
                    <a:pt x="320514" y="0"/>
                  </a:moveTo>
                  <a:cubicBezTo>
                    <a:pt x="394210" y="0"/>
                    <a:pt x="453953" y="59889"/>
                    <a:pt x="453953" y="133765"/>
                  </a:cubicBezTo>
                  <a:cubicBezTo>
                    <a:pt x="453953" y="207641"/>
                    <a:pt x="394210" y="267530"/>
                    <a:pt x="320514" y="267530"/>
                  </a:cubicBezTo>
                  <a:cubicBezTo>
                    <a:pt x="246818" y="267530"/>
                    <a:pt x="187075" y="207641"/>
                    <a:pt x="187075" y="133765"/>
                  </a:cubicBezTo>
                  <a:cubicBezTo>
                    <a:pt x="187075" y="59889"/>
                    <a:pt x="246818" y="0"/>
                    <a:pt x="320514" y="0"/>
                  </a:cubicBezTo>
                  <a:close/>
                </a:path>
              </a:pathLst>
            </a:custGeom>
            <a:solidFill>
              <a:schemeClr val="bg1">
                <a:lumMod val="50000"/>
              </a:schemeClr>
            </a:solidFill>
            <a:ln>
              <a:noFill/>
            </a:ln>
            <a:effectLs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000" dirty="0">
                <a:solidFill>
                  <a:srgbClr val="505050"/>
                </a:solidFill>
              </a:endParaRPr>
            </a:p>
          </p:txBody>
        </p:sp>
      </p:grpSp>
      <p:sp>
        <p:nvSpPr>
          <p:cNvPr id="327" name="Round Same Side Corner Rectangle 2"/>
          <p:cNvSpPr/>
          <p:nvPr/>
        </p:nvSpPr>
        <p:spPr>
          <a:xfrm>
            <a:off x="2302597" y="2457894"/>
            <a:ext cx="173057" cy="322756"/>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ctr" defTabSz="1088105"/>
            <a:endParaRPr lang="en-US" sz="1000">
              <a:solidFill>
                <a:prstClr val="white"/>
              </a:solidFill>
            </a:endParaRPr>
          </a:p>
        </p:txBody>
      </p:sp>
      <p:sp>
        <p:nvSpPr>
          <p:cNvPr id="329" name="TextBox 328"/>
          <p:cNvSpPr txBox="1"/>
          <p:nvPr/>
        </p:nvSpPr>
        <p:spPr>
          <a:xfrm>
            <a:off x="11094267" y="3644409"/>
            <a:ext cx="578684" cy="307777"/>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Improved </a:t>
            </a:r>
            <a:br>
              <a:rPr lang="en-US" sz="1000" dirty="0">
                <a:solidFill>
                  <a:srgbClr val="505050"/>
                </a:solidFill>
                <a:ea typeface="Segoe UI" pitchFamily="34" charset="0"/>
                <a:cs typeface="Segoe UI" pitchFamily="34" charset="0"/>
              </a:rPr>
            </a:br>
            <a:r>
              <a:rPr lang="en-US" sz="1000" dirty="0">
                <a:solidFill>
                  <a:srgbClr val="505050"/>
                </a:solidFill>
                <a:ea typeface="Segoe UI" pitchFamily="34" charset="0"/>
                <a:cs typeface="Segoe UI" pitchFamily="34" charset="0"/>
              </a:rPr>
              <a:t>livability</a:t>
            </a:r>
          </a:p>
        </p:txBody>
      </p:sp>
      <p:sp>
        <p:nvSpPr>
          <p:cNvPr id="332" name="TextBox 331"/>
          <p:cNvSpPr txBox="1"/>
          <p:nvPr/>
        </p:nvSpPr>
        <p:spPr>
          <a:xfrm>
            <a:off x="10176506" y="3994916"/>
            <a:ext cx="585097"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New ideas</a:t>
            </a:r>
          </a:p>
        </p:txBody>
      </p:sp>
      <p:grpSp>
        <p:nvGrpSpPr>
          <p:cNvPr id="159" name="Group 158"/>
          <p:cNvGrpSpPr/>
          <p:nvPr/>
        </p:nvGrpSpPr>
        <p:grpSpPr>
          <a:xfrm>
            <a:off x="9988302" y="1992969"/>
            <a:ext cx="932548" cy="983714"/>
            <a:chOff x="5760840" y="2470790"/>
            <a:chExt cx="1103454" cy="1163997"/>
          </a:xfrm>
        </p:grpSpPr>
        <p:grpSp>
          <p:nvGrpSpPr>
            <p:cNvPr id="160" name="Group 159"/>
            <p:cNvGrpSpPr>
              <a:grpSpLocks/>
            </p:cNvGrpSpPr>
            <p:nvPr/>
          </p:nvGrpSpPr>
          <p:grpSpPr>
            <a:xfrm>
              <a:off x="5835818" y="2637004"/>
              <a:ext cx="965424" cy="843079"/>
              <a:chOff x="3576277" y="1473954"/>
              <a:chExt cx="4798544" cy="4260681"/>
            </a:xfrm>
            <a:solidFill>
              <a:schemeClr val="bg1">
                <a:lumMod val="50000"/>
              </a:schemeClr>
            </a:solidFill>
          </p:grpSpPr>
          <p:sp>
            <p:nvSpPr>
              <p:cNvPr id="196" name="Freeform 195"/>
              <p:cNvSpPr/>
              <p:nvPr/>
            </p:nvSpPr>
            <p:spPr bwMode="auto">
              <a:xfrm>
                <a:off x="4166794"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97" name="Freeform 196"/>
              <p:cNvSpPr/>
              <p:nvPr/>
            </p:nvSpPr>
            <p:spPr bwMode="auto">
              <a:xfrm flipH="1">
                <a:off x="6100719"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98" name="Freeform 197"/>
              <p:cNvSpPr/>
              <p:nvPr/>
            </p:nvSpPr>
            <p:spPr bwMode="auto">
              <a:xfrm flipV="1">
                <a:off x="4166794"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199" name="Freeform 198"/>
              <p:cNvSpPr/>
              <p:nvPr/>
            </p:nvSpPr>
            <p:spPr bwMode="auto">
              <a:xfrm flipH="1" flipV="1">
                <a:off x="6100719"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00" name="Freeform 199"/>
              <p:cNvSpPr/>
              <p:nvPr/>
            </p:nvSpPr>
            <p:spPr bwMode="auto">
              <a:xfrm rot="17954294">
                <a:off x="3288256"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01" name="Freeform 200"/>
              <p:cNvSpPr/>
              <p:nvPr/>
            </p:nvSpPr>
            <p:spPr bwMode="auto">
              <a:xfrm rot="3645706" flipH="1">
                <a:off x="6969782"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grpSp>
        <p:sp>
          <p:nvSpPr>
            <p:cNvPr id="172" name="Freeform 7"/>
            <p:cNvSpPr>
              <a:spLocks noEditPoints="1"/>
            </p:cNvSpPr>
            <p:nvPr/>
          </p:nvSpPr>
          <p:spPr bwMode="auto">
            <a:xfrm>
              <a:off x="6609086" y="2674774"/>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endParaRPr lang="en-US" sz="2400" kern="0" dirty="0">
                <a:ln>
                  <a:solidFill>
                    <a:srgbClr val="FFFFFF">
                      <a:alpha val="0"/>
                    </a:srgbClr>
                  </a:solidFill>
                </a:ln>
                <a:solidFill>
                  <a:srgbClr val="44546A"/>
                </a:solidFill>
              </a:endParaRPr>
            </a:p>
          </p:txBody>
        </p:sp>
        <p:sp>
          <p:nvSpPr>
            <p:cNvPr id="173" name="Freeform 138"/>
            <p:cNvSpPr>
              <a:spLocks noChangeAspect="1" noEditPoints="1"/>
            </p:cNvSpPr>
            <p:nvPr/>
          </p:nvSpPr>
          <p:spPr bwMode="black">
            <a:xfrm>
              <a:off x="6664759" y="2716842"/>
              <a:ext cx="143863" cy="176195"/>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ysClr val="window" lastClr="FFFFFF">
                <a:lumMod val="50000"/>
              </a:sysClr>
            </a:solidFill>
            <a:ln>
              <a:noFill/>
            </a:ln>
            <a:extLst/>
          </p:spPr>
          <p:txBody>
            <a:bodyPr vert="horz" wrap="square" lIns="91440" tIns="45720" rIns="91440" bIns="45720" numCol="1" anchor="t" anchorCtr="0" compatLnSpc="1">
              <a:prstTxWarp prst="textNoShape">
                <a:avLst/>
              </a:prstTxWarp>
              <a:noAutofit/>
            </a:bodyPr>
            <a:lstStyle/>
            <a:p>
              <a:pPr>
                <a:defRPr/>
              </a:pPr>
              <a:endParaRPr lang="en-US" sz="2000" kern="0">
                <a:ln>
                  <a:solidFill>
                    <a:srgbClr val="FFFFFF">
                      <a:alpha val="0"/>
                    </a:srgbClr>
                  </a:solidFill>
                </a:ln>
                <a:solidFill>
                  <a:srgbClr val="44546A"/>
                </a:solidFill>
              </a:endParaRPr>
            </a:p>
          </p:txBody>
        </p:sp>
        <p:sp>
          <p:nvSpPr>
            <p:cNvPr id="174" name="Freeform 7"/>
            <p:cNvSpPr>
              <a:spLocks noEditPoints="1"/>
            </p:cNvSpPr>
            <p:nvPr/>
          </p:nvSpPr>
          <p:spPr bwMode="auto">
            <a:xfrm>
              <a:off x="6605670" y="3146922"/>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76" name="Freeform 7"/>
            <p:cNvSpPr>
              <a:spLocks noEditPoints="1"/>
            </p:cNvSpPr>
            <p:nvPr/>
          </p:nvSpPr>
          <p:spPr bwMode="auto">
            <a:xfrm>
              <a:off x="5766963" y="317243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77" name="Freeform 7"/>
            <p:cNvSpPr>
              <a:spLocks noEditPoints="1"/>
            </p:cNvSpPr>
            <p:nvPr/>
          </p:nvSpPr>
          <p:spPr bwMode="auto">
            <a:xfrm>
              <a:off x="5760840" y="2689027"/>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78" name="Freeform 7"/>
            <p:cNvSpPr>
              <a:spLocks noEditPoints="1"/>
            </p:cNvSpPr>
            <p:nvPr/>
          </p:nvSpPr>
          <p:spPr bwMode="auto">
            <a:xfrm>
              <a:off x="6190926" y="247079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179" name="original cloud"/>
            <p:cNvSpPr>
              <a:spLocks noChangeAspect="1"/>
            </p:cNvSpPr>
            <p:nvPr/>
          </p:nvSpPr>
          <p:spPr bwMode="black">
            <a:xfrm>
              <a:off x="6232032" y="2546232"/>
              <a:ext cx="172996" cy="1051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50000"/>
              </a:schemeClr>
            </a:solidFill>
            <a:ln>
              <a:noFill/>
            </a:ln>
            <a:extLst/>
          </p:spPr>
          <p:txBody>
            <a:bodyPr vert="horz" wrap="square" lIns="121920" tIns="60960" rIns="121920" bIns="60960" numCol="1" anchor="t" anchorCtr="0" compatLnSpc="1">
              <a:prstTxWarp prst="textNoShape">
                <a:avLst/>
              </a:prstTxWarp>
              <a:noAutofit/>
            </a:bodyPr>
            <a:lstStyle/>
            <a:p>
              <a:pPr defTabSz="776791">
                <a:defRPr/>
              </a:pPr>
              <a:endParaRPr lang="en-US" sz="2000" kern="0" dirty="0">
                <a:ln>
                  <a:solidFill>
                    <a:srgbClr val="FFFFFF">
                      <a:alpha val="0"/>
                    </a:srgbClr>
                  </a:solidFill>
                </a:ln>
                <a:solidFill>
                  <a:srgbClr val="44546A"/>
                </a:solidFill>
              </a:endParaRPr>
            </a:p>
          </p:txBody>
        </p:sp>
        <p:sp>
          <p:nvSpPr>
            <p:cNvPr id="182" name="Freeform 7"/>
            <p:cNvSpPr>
              <a:spLocks noEditPoints="1"/>
            </p:cNvSpPr>
            <p:nvPr/>
          </p:nvSpPr>
          <p:spPr bwMode="auto">
            <a:xfrm>
              <a:off x="6190926" y="3378755"/>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grpSp>
          <p:nvGrpSpPr>
            <p:cNvPr id="183" name="Group 182"/>
            <p:cNvGrpSpPr/>
            <p:nvPr/>
          </p:nvGrpSpPr>
          <p:grpSpPr>
            <a:xfrm>
              <a:off x="6209498" y="3479631"/>
              <a:ext cx="218065" cy="67360"/>
              <a:chOff x="4888707" y="5496501"/>
              <a:chExt cx="2071733" cy="650674"/>
            </a:xfrm>
            <a:solidFill>
              <a:srgbClr val="7F7F7F"/>
            </a:solidFill>
          </p:grpSpPr>
          <p:sp>
            <p:nvSpPr>
              <p:cNvPr id="192" name="Freeform 61"/>
              <p:cNvSpPr>
                <a:spLocks/>
              </p:cNvSpPr>
              <p:nvPr/>
            </p:nvSpPr>
            <p:spPr bwMode="black">
              <a:xfrm rot="10800000">
                <a:off x="5227783" y="5496501"/>
                <a:ext cx="411263" cy="594652"/>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ln w="12700">
                <a:noFill/>
              </a:ln>
              <a:extLst/>
            </p:spPr>
            <p:txBody>
              <a:bodyPr vert="horz" wrap="square" lIns="91440" tIns="45720" rIns="91440" bIns="45720"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193" name="Freeform 20"/>
              <p:cNvSpPr>
                <a:spLocks noEditPoints="1"/>
              </p:cNvSpPr>
              <p:nvPr/>
            </p:nvSpPr>
            <p:spPr bwMode="black">
              <a:xfrm>
                <a:off x="5734595" y="5507339"/>
                <a:ext cx="839742" cy="58381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grpFill/>
              <a:ln w="12700">
                <a:noFill/>
              </a:ln>
              <a:extLst/>
            </p:spPr>
            <p:txBody>
              <a:bodyPr vert="horz" wrap="square" lIns="82305" tIns="41153" rIns="82305" bIns="41153"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194" name="Rounded Rectangle 4"/>
              <p:cNvSpPr/>
              <p:nvPr/>
            </p:nvSpPr>
            <p:spPr bwMode="auto">
              <a:xfrm>
                <a:off x="6657183" y="5507336"/>
                <a:ext cx="303257" cy="582786"/>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grpFill/>
              <a:ln w="12700">
                <a:noFill/>
              </a:ln>
              <a:extLst/>
            </p:spPr>
            <p:txBody>
              <a:bodyPr vert="horz" wrap="square" lIns="91440" tIns="45720" rIns="91440" bIns="45720" numCol="1" rtlCol="0" anchor="t" anchorCtr="0" compatLnSpc="1">
                <a:prstTxWarp prst="textNoShape">
                  <a:avLst/>
                </a:prstTxWarp>
                <a:noAutofit/>
              </a:bodyPr>
              <a:lstStyle/>
              <a:p>
                <a:pPr algn="ctr">
                  <a:defRPr/>
                </a:pPr>
                <a:endParaRPr lang="en-US" kern="0">
                  <a:ln>
                    <a:solidFill>
                      <a:srgbClr val="FFFFFF">
                        <a:alpha val="0"/>
                      </a:srgbClr>
                    </a:solidFill>
                  </a:ln>
                  <a:solidFill>
                    <a:srgbClr val="44546A"/>
                  </a:solidFill>
                </a:endParaRPr>
              </a:p>
            </p:txBody>
          </p:sp>
          <p:sp>
            <p:nvSpPr>
              <p:cNvPr id="195" name="Freeform 194"/>
              <p:cNvSpPr/>
              <p:nvPr/>
            </p:nvSpPr>
            <p:spPr>
              <a:xfrm>
                <a:off x="4888707" y="5854458"/>
                <a:ext cx="388142" cy="292717"/>
              </a:xfrm>
              <a:custGeom>
                <a:avLst/>
                <a:gdLst>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0 w 392906"/>
                  <a:gd name="connsiteY19"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4763 w 392906"/>
                  <a:gd name="connsiteY19" fmla="*/ 140494 h 300038"/>
                  <a:gd name="connsiteX20" fmla="*/ 0 w 392906"/>
                  <a:gd name="connsiteY20"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7890 w 392906"/>
                  <a:gd name="connsiteY19" fmla="*/ 142057 h 300038"/>
                  <a:gd name="connsiteX20" fmla="*/ 0 w 392906"/>
                  <a:gd name="connsiteY20" fmla="*/ 176213 h 300038"/>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9256"/>
                  <a:gd name="connsiteX1" fmla="*/ 132459 w 392906"/>
                  <a:gd name="connsiteY1" fmla="*/ 299256 h 299256"/>
                  <a:gd name="connsiteX2" fmla="*/ 157163 w 392906"/>
                  <a:gd name="connsiteY2" fmla="*/ 285786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6814" h="299256">
                    <a:moveTo>
                      <a:pt x="0" y="173868"/>
                    </a:moveTo>
                    <a:lnTo>
                      <a:pt x="132459" y="299256"/>
                    </a:lnTo>
                    <a:cubicBezTo>
                      <a:pt x="140694" y="294766"/>
                      <a:pt x="144700" y="290364"/>
                      <a:pt x="157945" y="288913"/>
                    </a:cubicBezTo>
                    <a:cubicBezTo>
                      <a:pt x="171190" y="287462"/>
                      <a:pt x="193675" y="288961"/>
                      <a:pt x="211931" y="290549"/>
                    </a:cubicBezTo>
                    <a:cubicBezTo>
                      <a:pt x="248311" y="279377"/>
                      <a:pt x="267535" y="266488"/>
                      <a:pt x="285114" y="256249"/>
                    </a:cubicBezTo>
                    <a:cubicBezTo>
                      <a:pt x="302693" y="246010"/>
                      <a:pt x="296819" y="197468"/>
                      <a:pt x="324560" y="179412"/>
                    </a:cubicBezTo>
                    <a:cubicBezTo>
                      <a:pt x="321076" y="163433"/>
                      <a:pt x="308212" y="159180"/>
                      <a:pt x="301601" y="159616"/>
                    </a:cubicBezTo>
                    <a:cubicBezTo>
                      <a:pt x="273074" y="148205"/>
                      <a:pt x="267116" y="247024"/>
                      <a:pt x="222275" y="219966"/>
                    </a:cubicBezTo>
                    <a:cubicBezTo>
                      <a:pt x="241530" y="188220"/>
                      <a:pt x="371414" y="64666"/>
                      <a:pt x="396814" y="27757"/>
                    </a:cubicBezTo>
                    <a:cubicBezTo>
                      <a:pt x="394645" y="9931"/>
                      <a:pt x="384660" y="702"/>
                      <a:pt x="362168" y="2418"/>
                    </a:cubicBezTo>
                    <a:cubicBezTo>
                      <a:pt x="318439" y="44487"/>
                      <a:pt x="238561" y="139759"/>
                      <a:pt x="231763" y="132532"/>
                    </a:cubicBezTo>
                    <a:cubicBezTo>
                      <a:pt x="224965" y="125305"/>
                      <a:pt x="256864" y="100734"/>
                      <a:pt x="265101" y="85689"/>
                    </a:cubicBezTo>
                    <a:cubicBezTo>
                      <a:pt x="278281" y="72255"/>
                      <a:pt x="251595" y="54132"/>
                      <a:pt x="238198" y="53987"/>
                    </a:cubicBezTo>
                    <a:cubicBezTo>
                      <a:pt x="221529" y="67481"/>
                      <a:pt x="195032" y="102304"/>
                      <a:pt x="190536" y="96032"/>
                    </a:cubicBezTo>
                    <a:cubicBezTo>
                      <a:pt x="186040" y="89760"/>
                      <a:pt x="219015" y="61094"/>
                      <a:pt x="220602" y="49188"/>
                    </a:cubicBezTo>
                    <a:cubicBezTo>
                      <a:pt x="227825" y="39166"/>
                      <a:pt x="208471" y="22892"/>
                      <a:pt x="193808" y="24595"/>
                    </a:cubicBezTo>
                    <a:cubicBezTo>
                      <a:pt x="181902" y="27770"/>
                      <a:pt x="151991" y="72419"/>
                      <a:pt x="145256" y="64330"/>
                    </a:cubicBezTo>
                    <a:cubicBezTo>
                      <a:pt x="138521" y="56241"/>
                      <a:pt x="169027" y="38370"/>
                      <a:pt x="167470" y="27648"/>
                    </a:cubicBezTo>
                    <a:cubicBezTo>
                      <a:pt x="168676" y="4362"/>
                      <a:pt x="153467" y="1399"/>
                      <a:pt x="135913" y="0"/>
                    </a:cubicBezTo>
                    <a:cubicBezTo>
                      <a:pt x="94638" y="49213"/>
                      <a:pt x="12865" y="126764"/>
                      <a:pt x="7890" y="139712"/>
                    </a:cubicBezTo>
                    <a:cubicBezTo>
                      <a:pt x="2915" y="152660"/>
                      <a:pt x="2630" y="162483"/>
                      <a:pt x="0" y="173868"/>
                    </a:cubicBezTo>
                    <a:close/>
                  </a:path>
                </a:pathLst>
              </a:custGeom>
              <a:grpFill/>
              <a:ln w="12700"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defRPr/>
                </a:pPr>
                <a:endParaRPr lang="en-US" kern="0" dirty="0" err="1">
                  <a:ln>
                    <a:solidFill>
                      <a:srgbClr val="FFFFFF">
                        <a:alpha val="0"/>
                      </a:srgbClr>
                    </a:solidFill>
                  </a:ln>
                  <a:solidFill>
                    <a:srgbClr val="44546A"/>
                  </a:solidFill>
                  <a:ea typeface="Segoe UI" pitchFamily="34" charset="0"/>
                  <a:cs typeface="Segoe UI" pitchFamily="34" charset="0"/>
                </a:endParaRPr>
              </a:p>
            </p:txBody>
          </p:sp>
        </p:grpSp>
        <p:pic>
          <p:nvPicPr>
            <p:cNvPr id="184" name="Picture 42"/>
            <p:cNvPicPr>
              <a:picLocks noChangeAspect="1"/>
            </p:cNvPicPr>
            <p:nvPr/>
          </p:nvPicPr>
          <p:blipFill>
            <a:blip r:embed="rId3"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5807405" y="2755642"/>
              <a:ext cx="162079" cy="122803"/>
            </a:xfrm>
            <a:prstGeom prst="rect">
              <a:avLst/>
            </a:prstGeom>
          </p:spPr>
        </p:pic>
        <p:sp>
          <p:nvSpPr>
            <p:cNvPr id="185" name="Rectangle 9"/>
            <p:cNvSpPr>
              <a:spLocks/>
            </p:cNvSpPr>
            <p:nvPr/>
          </p:nvSpPr>
          <p:spPr>
            <a:xfrm>
              <a:off x="6099074" y="2839087"/>
              <a:ext cx="438912" cy="438912"/>
            </a:xfrm>
            <a:custGeom>
              <a:avLst/>
              <a:gdLst/>
              <a:ahLst/>
              <a:cxnLst/>
              <a:rect l="l" t="t" r="r" b="b"/>
              <a:pathLst>
                <a:path w="4564503" h="4737272">
                  <a:moveTo>
                    <a:pt x="2067077" y="2571753"/>
                  </a:moveTo>
                  <a:lnTo>
                    <a:pt x="2217131" y="2752123"/>
                  </a:lnTo>
                  <a:lnTo>
                    <a:pt x="2084296" y="3664815"/>
                  </a:lnTo>
                  <a:lnTo>
                    <a:pt x="2273645" y="3806826"/>
                  </a:lnTo>
                  <a:lnTo>
                    <a:pt x="2480209" y="3664815"/>
                  </a:lnTo>
                  <a:lnTo>
                    <a:pt x="2339593" y="2761473"/>
                  </a:lnTo>
                  <a:lnTo>
                    <a:pt x="2497425" y="2571753"/>
                  </a:lnTo>
                  <a:close/>
                  <a:moveTo>
                    <a:pt x="2282251" y="640385"/>
                  </a:moveTo>
                  <a:cubicBezTo>
                    <a:pt x="2461399" y="634821"/>
                    <a:pt x="2645737" y="685253"/>
                    <a:pt x="2747218" y="813366"/>
                  </a:cubicBezTo>
                  <a:cubicBezTo>
                    <a:pt x="2953429" y="1073694"/>
                    <a:pt x="2984165" y="1616341"/>
                    <a:pt x="2742427" y="1981847"/>
                  </a:cubicBezTo>
                  <a:cubicBezTo>
                    <a:pt x="2687855" y="2074886"/>
                    <a:pt x="2625473" y="2128867"/>
                    <a:pt x="2624231" y="2255474"/>
                  </a:cubicBezTo>
                  <a:cubicBezTo>
                    <a:pt x="2635642" y="2368997"/>
                    <a:pt x="2719564" y="2459843"/>
                    <a:pt x="2829834" y="2481475"/>
                  </a:cubicBezTo>
                  <a:cubicBezTo>
                    <a:pt x="3253259" y="2658471"/>
                    <a:pt x="3428827" y="2871572"/>
                    <a:pt x="3507427" y="3131275"/>
                  </a:cubicBezTo>
                  <a:cubicBezTo>
                    <a:pt x="3561121" y="3257121"/>
                    <a:pt x="3586947" y="3406015"/>
                    <a:pt x="3576384" y="3579582"/>
                  </a:cubicBezTo>
                  <a:cubicBezTo>
                    <a:pt x="3562800" y="3652357"/>
                    <a:pt x="3549215" y="3669186"/>
                    <a:pt x="3419438" y="3772084"/>
                  </a:cubicBezTo>
                  <a:cubicBezTo>
                    <a:pt x="3042762" y="4049231"/>
                    <a:pt x="2650672" y="4155148"/>
                    <a:pt x="2282251" y="4147927"/>
                  </a:cubicBezTo>
                  <a:cubicBezTo>
                    <a:pt x="1913831" y="4155148"/>
                    <a:pt x="1521741" y="4049231"/>
                    <a:pt x="1145064" y="3772084"/>
                  </a:cubicBezTo>
                  <a:cubicBezTo>
                    <a:pt x="1015288" y="3669186"/>
                    <a:pt x="1001703" y="3652357"/>
                    <a:pt x="988119" y="3579582"/>
                  </a:cubicBezTo>
                  <a:cubicBezTo>
                    <a:pt x="977555" y="3406015"/>
                    <a:pt x="1003382" y="3257121"/>
                    <a:pt x="1057075" y="3131275"/>
                  </a:cubicBezTo>
                  <a:cubicBezTo>
                    <a:pt x="1135676" y="2871572"/>
                    <a:pt x="1311244" y="2658471"/>
                    <a:pt x="1734669" y="2481475"/>
                  </a:cubicBezTo>
                  <a:cubicBezTo>
                    <a:pt x="1844939" y="2459843"/>
                    <a:pt x="1928861" y="2368997"/>
                    <a:pt x="1940271" y="2255474"/>
                  </a:cubicBezTo>
                  <a:cubicBezTo>
                    <a:pt x="1939030" y="2128867"/>
                    <a:pt x="1876647" y="2074886"/>
                    <a:pt x="1822075" y="1981847"/>
                  </a:cubicBezTo>
                  <a:cubicBezTo>
                    <a:pt x="1580337" y="1616341"/>
                    <a:pt x="1611074" y="1073694"/>
                    <a:pt x="1817284" y="813366"/>
                  </a:cubicBezTo>
                  <a:cubicBezTo>
                    <a:pt x="1918766" y="685253"/>
                    <a:pt x="2103104" y="634821"/>
                    <a:pt x="2282251" y="640385"/>
                  </a:cubicBezTo>
                  <a:close/>
                  <a:moveTo>
                    <a:pt x="2343151" y="50971"/>
                  </a:moveTo>
                  <a:cubicBezTo>
                    <a:pt x="2515326" y="50971"/>
                    <a:pt x="2683165" y="69541"/>
                    <a:pt x="2844496" y="106064"/>
                  </a:cubicBezTo>
                  <a:lnTo>
                    <a:pt x="2825548" y="250532"/>
                  </a:lnTo>
                  <a:cubicBezTo>
                    <a:pt x="2670561" y="214118"/>
                    <a:pt x="2509001" y="195752"/>
                    <a:pt x="2343151" y="195752"/>
                  </a:cubicBezTo>
                  <a:cubicBezTo>
                    <a:pt x="1129025" y="195752"/>
                    <a:pt x="144780" y="1179996"/>
                    <a:pt x="144780" y="2394122"/>
                  </a:cubicBezTo>
                  <a:cubicBezTo>
                    <a:pt x="144780" y="3608248"/>
                    <a:pt x="1129025" y="4592492"/>
                    <a:pt x="2343151" y="4592493"/>
                  </a:cubicBezTo>
                  <a:cubicBezTo>
                    <a:pt x="3317057" y="4592492"/>
                    <a:pt x="4143048" y="3959193"/>
                    <a:pt x="4430376" y="3081483"/>
                  </a:cubicBezTo>
                  <a:lnTo>
                    <a:pt x="4564503" y="3135859"/>
                  </a:lnTo>
                  <a:cubicBezTo>
                    <a:pt x="4255798" y="4066694"/>
                    <a:pt x="3377784" y="4737272"/>
                    <a:pt x="2343150" y="4737272"/>
                  </a:cubicBezTo>
                  <a:cubicBezTo>
                    <a:pt x="1049065" y="4737272"/>
                    <a:pt x="0" y="3688208"/>
                    <a:pt x="0" y="2394122"/>
                  </a:cubicBezTo>
                  <a:cubicBezTo>
                    <a:pt x="0" y="1100036"/>
                    <a:pt x="1049065" y="50972"/>
                    <a:pt x="2343151" y="50971"/>
                  </a:cubicBezTo>
                  <a:close/>
                  <a:moveTo>
                    <a:pt x="2881402" y="0"/>
                  </a:moveTo>
                  <a:lnTo>
                    <a:pt x="3067078" y="226308"/>
                  </a:lnTo>
                  <a:lnTo>
                    <a:pt x="2832168" y="400975"/>
                  </a:lnTo>
                  <a:close/>
                </a:path>
              </a:pathLst>
            </a:custGeom>
            <a:solidFill>
              <a:srgbClr val="7F7F7F"/>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defRPr/>
              </a:pPr>
              <a:endParaRPr lang="en-US" sz="1200" kern="0" dirty="0" err="1">
                <a:solidFill>
                  <a:prstClr val="white"/>
                </a:solidFill>
              </a:endParaRPr>
            </a:p>
          </p:txBody>
        </p:sp>
        <p:grpSp>
          <p:nvGrpSpPr>
            <p:cNvPr id="186" name="Group 9"/>
            <p:cNvGrpSpPr>
              <a:grpSpLocks/>
            </p:cNvGrpSpPr>
            <p:nvPr/>
          </p:nvGrpSpPr>
          <p:grpSpPr bwMode="auto">
            <a:xfrm>
              <a:off x="5794575" y="3218649"/>
              <a:ext cx="190686" cy="156029"/>
              <a:chOff x="6940223" y="1895560"/>
              <a:chExt cx="721993" cy="641901"/>
            </a:xfrm>
            <a:solidFill>
              <a:schemeClr val="bg1">
                <a:lumMod val="95000"/>
              </a:schemeClr>
            </a:solidFill>
          </p:grpSpPr>
          <p:cxnSp>
            <p:nvCxnSpPr>
              <p:cNvPr id="188" name="Straight Connector 10"/>
              <p:cNvCxnSpPr/>
              <p:nvPr/>
            </p:nvCxnSpPr>
            <p:spPr>
              <a:xfrm flipV="1">
                <a:off x="7247609" y="1895560"/>
                <a:ext cx="294081" cy="641901"/>
              </a:xfrm>
              <a:prstGeom prst="line">
                <a:avLst/>
              </a:prstGeom>
              <a:grpFill/>
              <a:ln w="38100" cap="rnd" cmpd="sng" algn="ctr">
                <a:solidFill>
                  <a:srgbClr val="7F7F7F"/>
                </a:solidFill>
                <a:prstDash val="sysDot"/>
              </a:ln>
              <a:effectLst/>
            </p:spPr>
          </p:cxnSp>
          <p:grpSp>
            <p:nvGrpSpPr>
              <p:cNvPr id="189" name="Group 11"/>
              <p:cNvGrpSpPr>
                <a:grpSpLocks/>
              </p:cNvGrpSpPr>
              <p:nvPr/>
            </p:nvGrpSpPr>
            <p:grpSpPr bwMode="auto">
              <a:xfrm>
                <a:off x="6940223" y="2011636"/>
                <a:ext cx="721993" cy="430704"/>
                <a:chOff x="6997583" y="1705969"/>
                <a:chExt cx="1039555" cy="620144"/>
              </a:xfrm>
              <a:grpFill/>
            </p:grpSpPr>
            <p:pic>
              <p:nvPicPr>
                <p:cNvPr id="190" name="Picture 47" descr="C:\Users\sakuu\Documents\Ballmer MGX 2011\Tile Icons\Calendar.png"/>
                <p:cNvPicPr>
                  <a:picLocks noChangeAspect="1" noChangeArrowheads="1"/>
                </p:cNvPicPr>
                <p:nvPr/>
              </p:nvPicPr>
              <p:blipFill>
                <a:blip r:embed="rId5" cstate="screen">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black">
                <a:xfrm>
                  <a:off x="7458341" y="1774201"/>
                  <a:ext cx="578797" cy="551912"/>
                </a:xfrm>
                <a:prstGeom prst="rect">
                  <a:avLst/>
                </a:prstGeom>
                <a:grpFill/>
                <a:extLst>
                  <a:ext uri="{909E8E84-426E-40dd-AFC4-6F175D3DCCD1}">
                    <a14:hiddenFill xmlns:a14="http://schemas.microsoft.com/office/drawing/2010/main" xmlns="">
                      <a:solidFill>
                        <a:srgbClr val="FFFFFF"/>
                      </a:solidFill>
                    </a14:hiddenFill>
                  </a:ext>
                </a:extLst>
              </p:spPr>
            </p:pic>
            <p:sp>
              <p:nvSpPr>
                <p:cNvPr id="191" name="Freeform 113"/>
                <p:cNvSpPr>
                  <a:spLocks noEditPoints="1"/>
                </p:cNvSpPr>
                <p:nvPr/>
              </p:nvSpPr>
              <p:spPr bwMode="black">
                <a:xfrm>
                  <a:off x="6997583" y="1705969"/>
                  <a:ext cx="424935" cy="48747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7F7F7F"/>
                </a:solidFill>
                <a:ln>
                  <a:noFill/>
                </a:ln>
                <a:extLst/>
              </p:spPr>
              <p:txBody>
                <a:bodyPr/>
                <a:lstStyle/>
                <a:p>
                  <a:pPr defTabSz="914400">
                    <a:defRPr/>
                  </a:pPr>
                  <a:endParaRPr lang="en-US" sz="1050" kern="0">
                    <a:solidFill>
                      <a:srgbClr val="000000"/>
                    </a:solidFill>
                  </a:endParaRPr>
                </a:p>
              </p:txBody>
            </p:sp>
          </p:grpSp>
        </p:grpSp>
        <p:sp>
          <p:nvSpPr>
            <p:cNvPr id="187" name="Freeform 73"/>
            <p:cNvSpPr>
              <a:spLocks noEditPoints="1"/>
            </p:cNvSpPr>
            <p:nvPr/>
          </p:nvSpPr>
          <p:spPr bwMode="black">
            <a:xfrm>
              <a:off x="6646247" y="3186281"/>
              <a:ext cx="185208" cy="17476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lumMod val="50000"/>
              </a:schemeClr>
            </a:solidFill>
            <a:ln w="9525">
              <a:noFill/>
              <a:round/>
              <a:headEnd/>
              <a:tailEnd/>
            </a:ln>
          </p:spPr>
          <p:txBody>
            <a:bodyPr/>
            <a:lstStyle/>
            <a:p>
              <a:pPr algn="ctr" defTabSz="1088105"/>
              <a:endParaRPr lang="en-US" sz="2200">
                <a:ln>
                  <a:solidFill>
                    <a:srgbClr val="505050">
                      <a:alpha val="0"/>
                    </a:srgbClr>
                  </a:solidFill>
                </a:ln>
                <a:solidFill>
                  <a:srgbClr val="505050"/>
                </a:solidFill>
              </a:endParaRPr>
            </a:p>
          </p:txBody>
        </p:sp>
      </p:grpSp>
      <p:grpSp>
        <p:nvGrpSpPr>
          <p:cNvPr id="205" name="Group 204"/>
          <p:cNvGrpSpPr/>
          <p:nvPr/>
        </p:nvGrpSpPr>
        <p:grpSpPr>
          <a:xfrm>
            <a:off x="5939043" y="3170911"/>
            <a:ext cx="742320" cy="783049"/>
            <a:chOff x="5760840" y="2470790"/>
            <a:chExt cx="1103454" cy="1163997"/>
          </a:xfrm>
        </p:grpSpPr>
        <p:grpSp>
          <p:nvGrpSpPr>
            <p:cNvPr id="206" name="Group 205"/>
            <p:cNvGrpSpPr>
              <a:grpSpLocks/>
            </p:cNvGrpSpPr>
            <p:nvPr/>
          </p:nvGrpSpPr>
          <p:grpSpPr>
            <a:xfrm>
              <a:off x="5835818" y="2637004"/>
              <a:ext cx="965424" cy="843079"/>
              <a:chOff x="3576277" y="1473954"/>
              <a:chExt cx="4798544" cy="4260681"/>
            </a:xfrm>
            <a:solidFill>
              <a:schemeClr val="bg1">
                <a:lumMod val="50000"/>
              </a:schemeClr>
            </a:solidFill>
          </p:grpSpPr>
          <p:sp>
            <p:nvSpPr>
              <p:cNvPr id="236" name="Freeform 235"/>
              <p:cNvSpPr/>
              <p:nvPr/>
            </p:nvSpPr>
            <p:spPr bwMode="auto">
              <a:xfrm>
                <a:off x="4166794"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37" name="Freeform 236"/>
              <p:cNvSpPr/>
              <p:nvPr/>
            </p:nvSpPr>
            <p:spPr bwMode="auto">
              <a:xfrm flipH="1">
                <a:off x="6100719" y="1473954"/>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38" name="Freeform 237"/>
              <p:cNvSpPr/>
              <p:nvPr/>
            </p:nvSpPr>
            <p:spPr bwMode="auto">
              <a:xfrm flipV="1">
                <a:off x="4166794"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40" name="Freeform 239"/>
              <p:cNvSpPr/>
              <p:nvPr/>
            </p:nvSpPr>
            <p:spPr bwMode="auto">
              <a:xfrm flipH="1" flipV="1">
                <a:off x="6100719" y="4617908"/>
                <a:ext cx="1693500" cy="1116727"/>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43" name="Freeform 242"/>
              <p:cNvSpPr/>
              <p:nvPr/>
            </p:nvSpPr>
            <p:spPr bwMode="auto">
              <a:xfrm rot="17954294">
                <a:off x="3288256"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sp>
            <p:nvSpPr>
              <p:cNvPr id="244" name="Freeform 243"/>
              <p:cNvSpPr/>
              <p:nvPr/>
            </p:nvSpPr>
            <p:spPr bwMode="auto">
              <a:xfrm rot="3645706" flipH="1">
                <a:off x="6969782" y="3068887"/>
                <a:ext cx="1693059" cy="1117018"/>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2400" kern="0" spc="-50" dirty="0">
                  <a:ln>
                    <a:solidFill>
                      <a:srgbClr val="FFFFFF">
                        <a:alpha val="0"/>
                      </a:srgbClr>
                    </a:solidFill>
                  </a:ln>
                  <a:solidFill>
                    <a:srgbClr val="44546A"/>
                  </a:solidFill>
                  <a:ea typeface="Segoe UI" pitchFamily="34" charset="0"/>
                  <a:cs typeface="Segoe UI" pitchFamily="34" charset="0"/>
                </a:endParaRPr>
              </a:p>
            </p:txBody>
          </p:sp>
        </p:grpSp>
        <p:sp>
          <p:nvSpPr>
            <p:cNvPr id="207" name="Freeform 7"/>
            <p:cNvSpPr>
              <a:spLocks noEditPoints="1"/>
            </p:cNvSpPr>
            <p:nvPr/>
          </p:nvSpPr>
          <p:spPr bwMode="auto">
            <a:xfrm>
              <a:off x="6609086" y="2674774"/>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endParaRPr lang="en-US" sz="2400" kern="0" dirty="0">
                <a:ln>
                  <a:solidFill>
                    <a:srgbClr val="FFFFFF">
                      <a:alpha val="0"/>
                    </a:srgbClr>
                  </a:solidFill>
                </a:ln>
                <a:solidFill>
                  <a:srgbClr val="44546A"/>
                </a:solidFill>
              </a:endParaRPr>
            </a:p>
          </p:txBody>
        </p:sp>
        <p:sp>
          <p:nvSpPr>
            <p:cNvPr id="208" name="Freeform 138"/>
            <p:cNvSpPr>
              <a:spLocks noChangeAspect="1" noEditPoints="1"/>
            </p:cNvSpPr>
            <p:nvPr/>
          </p:nvSpPr>
          <p:spPr bwMode="black">
            <a:xfrm>
              <a:off x="6664759" y="2716842"/>
              <a:ext cx="143863" cy="176195"/>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ysClr val="window" lastClr="FFFFFF">
                <a:lumMod val="50000"/>
              </a:sysClr>
            </a:solidFill>
            <a:ln>
              <a:noFill/>
            </a:ln>
            <a:extLst/>
          </p:spPr>
          <p:txBody>
            <a:bodyPr vert="horz" wrap="square" lIns="91440" tIns="45720" rIns="91440" bIns="45720" numCol="1" anchor="t" anchorCtr="0" compatLnSpc="1">
              <a:prstTxWarp prst="textNoShape">
                <a:avLst/>
              </a:prstTxWarp>
              <a:noAutofit/>
            </a:bodyPr>
            <a:lstStyle/>
            <a:p>
              <a:pPr>
                <a:defRPr/>
              </a:pPr>
              <a:endParaRPr lang="en-US" sz="2000" kern="0">
                <a:ln>
                  <a:solidFill>
                    <a:srgbClr val="FFFFFF">
                      <a:alpha val="0"/>
                    </a:srgbClr>
                  </a:solidFill>
                </a:ln>
                <a:solidFill>
                  <a:srgbClr val="44546A"/>
                </a:solidFill>
              </a:endParaRPr>
            </a:p>
          </p:txBody>
        </p:sp>
        <p:sp>
          <p:nvSpPr>
            <p:cNvPr id="210" name="Freeform 7"/>
            <p:cNvSpPr>
              <a:spLocks noEditPoints="1"/>
            </p:cNvSpPr>
            <p:nvPr/>
          </p:nvSpPr>
          <p:spPr bwMode="auto">
            <a:xfrm>
              <a:off x="6605670" y="3146922"/>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14" name="Freeform 7"/>
            <p:cNvSpPr>
              <a:spLocks noEditPoints="1"/>
            </p:cNvSpPr>
            <p:nvPr/>
          </p:nvSpPr>
          <p:spPr bwMode="auto">
            <a:xfrm>
              <a:off x="5766963" y="317243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15" name="Freeform 7"/>
            <p:cNvSpPr>
              <a:spLocks noEditPoints="1"/>
            </p:cNvSpPr>
            <p:nvPr/>
          </p:nvSpPr>
          <p:spPr bwMode="auto">
            <a:xfrm>
              <a:off x="5760840" y="2689027"/>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16" name="Freeform 7"/>
            <p:cNvSpPr>
              <a:spLocks noEditPoints="1"/>
            </p:cNvSpPr>
            <p:nvPr/>
          </p:nvSpPr>
          <p:spPr bwMode="auto">
            <a:xfrm>
              <a:off x="6190926" y="2470790"/>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sp>
          <p:nvSpPr>
            <p:cNvPr id="217" name="original cloud"/>
            <p:cNvSpPr>
              <a:spLocks noChangeAspect="1"/>
            </p:cNvSpPr>
            <p:nvPr/>
          </p:nvSpPr>
          <p:spPr bwMode="black">
            <a:xfrm>
              <a:off x="6232032" y="2546232"/>
              <a:ext cx="172996" cy="10514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50000"/>
              </a:schemeClr>
            </a:solidFill>
            <a:ln>
              <a:noFill/>
            </a:ln>
            <a:extLst/>
          </p:spPr>
          <p:txBody>
            <a:bodyPr vert="horz" wrap="square" lIns="121920" tIns="60960" rIns="121920" bIns="60960" numCol="1" anchor="t" anchorCtr="0" compatLnSpc="1">
              <a:prstTxWarp prst="textNoShape">
                <a:avLst/>
              </a:prstTxWarp>
              <a:noAutofit/>
            </a:bodyPr>
            <a:lstStyle/>
            <a:p>
              <a:pPr defTabSz="776791">
                <a:defRPr/>
              </a:pPr>
              <a:endParaRPr lang="en-US" sz="2000" kern="0" dirty="0">
                <a:ln>
                  <a:solidFill>
                    <a:srgbClr val="FFFFFF">
                      <a:alpha val="0"/>
                    </a:srgbClr>
                  </a:solidFill>
                </a:ln>
                <a:solidFill>
                  <a:srgbClr val="44546A"/>
                </a:solidFill>
              </a:endParaRPr>
            </a:p>
          </p:txBody>
        </p:sp>
        <p:sp>
          <p:nvSpPr>
            <p:cNvPr id="218" name="Freeform 7"/>
            <p:cNvSpPr>
              <a:spLocks noEditPoints="1"/>
            </p:cNvSpPr>
            <p:nvPr/>
          </p:nvSpPr>
          <p:spPr bwMode="auto">
            <a:xfrm>
              <a:off x="6190926" y="3378755"/>
              <a:ext cx="255208" cy="256032"/>
            </a:xfrm>
            <a:prstGeom prst="ellipse">
              <a:avLst/>
            </a:prstGeom>
            <a:solidFill>
              <a:sysClr val="window" lastClr="FFFFFF"/>
            </a:solidFill>
            <a:ln w="12700">
              <a:solidFill>
                <a:schemeClr val="bg1">
                  <a:lumMod val="50000"/>
                </a:schemeClr>
              </a:solidFill>
            </a:ln>
            <a:effectLst/>
            <a:extLst/>
          </p:spPr>
          <p:txBody>
            <a:bodyPr vert="horz" wrap="square" lIns="91440" tIns="45720" rIns="91440" bIns="45720" numCol="1" anchor="t" anchorCtr="0" compatLnSpc="1">
              <a:prstTxWarp prst="textNoShape">
                <a:avLst/>
              </a:prstTxWarp>
              <a:noAutofit/>
            </a:bodyPr>
            <a:lstStyle/>
            <a:p>
              <a:pPr defTabSz="1218900">
                <a:defRPr/>
              </a:pPr>
              <a:endParaRPr lang="en-US" sz="2400" kern="0" dirty="0">
                <a:ln>
                  <a:solidFill>
                    <a:srgbClr val="FFFFFF">
                      <a:alpha val="0"/>
                    </a:srgbClr>
                  </a:solidFill>
                </a:ln>
                <a:solidFill>
                  <a:srgbClr val="44546A"/>
                </a:solidFill>
              </a:endParaRPr>
            </a:p>
          </p:txBody>
        </p:sp>
        <p:grpSp>
          <p:nvGrpSpPr>
            <p:cNvPr id="219" name="Group 218"/>
            <p:cNvGrpSpPr/>
            <p:nvPr/>
          </p:nvGrpSpPr>
          <p:grpSpPr>
            <a:xfrm>
              <a:off x="6209498" y="3479631"/>
              <a:ext cx="218065" cy="67360"/>
              <a:chOff x="4888707" y="5496501"/>
              <a:chExt cx="2071733" cy="650674"/>
            </a:xfrm>
            <a:solidFill>
              <a:srgbClr val="7F7F7F"/>
            </a:solidFill>
          </p:grpSpPr>
          <p:sp>
            <p:nvSpPr>
              <p:cNvPr id="228" name="Freeform 61"/>
              <p:cNvSpPr>
                <a:spLocks/>
              </p:cNvSpPr>
              <p:nvPr/>
            </p:nvSpPr>
            <p:spPr bwMode="black">
              <a:xfrm rot="10800000">
                <a:off x="5227783" y="5496501"/>
                <a:ext cx="411263" cy="594652"/>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ln w="12700">
                <a:noFill/>
              </a:ln>
              <a:extLst/>
            </p:spPr>
            <p:txBody>
              <a:bodyPr vert="horz" wrap="square" lIns="91440" tIns="45720" rIns="91440" bIns="45720"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230" name="Freeform 20"/>
              <p:cNvSpPr>
                <a:spLocks noEditPoints="1"/>
              </p:cNvSpPr>
              <p:nvPr/>
            </p:nvSpPr>
            <p:spPr bwMode="black">
              <a:xfrm>
                <a:off x="5734595" y="5507339"/>
                <a:ext cx="839742" cy="58381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grpFill/>
              <a:ln w="12700">
                <a:noFill/>
              </a:ln>
              <a:extLst/>
            </p:spPr>
            <p:txBody>
              <a:bodyPr vert="horz" wrap="square" lIns="82305" tIns="41153" rIns="82305" bIns="41153" numCol="1" anchor="t" anchorCtr="0" compatLnSpc="1">
                <a:prstTxWarp prst="textNoShape">
                  <a:avLst/>
                </a:prstTxWarp>
                <a:noAutofit/>
              </a:bodyPr>
              <a:lstStyle/>
              <a:p>
                <a:pPr>
                  <a:defRPr/>
                </a:pPr>
                <a:endParaRPr lang="en-US" sz="900" kern="0" dirty="0">
                  <a:ln>
                    <a:solidFill>
                      <a:srgbClr val="FFFFFF">
                        <a:alpha val="0"/>
                      </a:srgbClr>
                    </a:solidFill>
                  </a:ln>
                  <a:solidFill>
                    <a:srgbClr val="44546A"/>
                  </a:solidFill>
                </a:endParaRPr>
              </a:p>
            </p:txBody>
          </p:sp>
          <p:sp>
            <p:nvSpPr>
              <p:cNvPr id="231" name="Rounded Rectangle 4"/>
              <p:cNvSpPr/>
              <p:nvPr/>
            </p:nvSpPr>
            <p:spPr bwMode="auto">
              <a:xfrm>
                <a:off x="6657183" y="5507336"/>
                <a:ext cx="303257" cy="582786"/>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grpFill/>
              <a:ln w="12700">
                <a:noFill/>
              </a:ln>
              <a:extLst/>
            </p:spPr>
            <p:txBody>
              <a:bodyPr vert="horz" wrap="square" lIns="91440" tIns="45720" rIns="91440" bIns="45720" numCol="1" rtlCol="0" anchor="t" anchorCtr="0" compatLnSpc="1">
                <a:prstTxWarp prst="textNoShape">
                  <a:avLst/>
                </a:prstTxWarp>
                <a:noAutofit/>
              </a:bodyPr>
              <a:lstStyle/>
              <a:p>
                <a:pPr algn="ctr">
                  <a:defRPr/>
                </a:pPr>
                <a:endParaRPr lang="en-US" kern="0">
                  <a:ln>
                    <a:solidFill>
                      <a:srgbClr val="FFFFFF">
                        <a:alpha val="0"/>
                      </a:srgbClr>
                    </a:solidFill>
                  </a:ln>
                  <a:solidFill>
                    <a:srgbClr val="44546A"/>
                  </a:solidFill>
                </a:endParaRPr>
              </a:p>
            </p:txBody>
          </p:sp>
          <p:sp>
            <p:nvSpPr>
              <p:cNvPr id="232" name="Freeform 231"/>
              <p:cNvSpPr/>
              <p:nvPr/>
            </p:nvSpPr>
            <p:spPr>
              <a:xfrm>
                <a:off x="4888707" y="5854458"/>
                <a:ext cx="388142" cy="292717"/>
              </a:xfrm>
              <a:custGeom>
                <a:avLst/>
                <a:gdLst>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0 w 392906"/>
                  <a:gd name="connsiteY19"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4763 w 392906"/>
                  <a:gd name="connsiteY19" fmla="*/ 140494 h 300038"/>
                  <a:gd name="connsiteX20" fmla="*/ 0 w 392906"/>
                  <a:gd name="connsiteY20" fmla="*/ 176213 h 300038"/>
                  <a:gd name="connsiteX0" fmla="*/ 0 w 392906"/>
                  <a:gd name="connsiteY0" fmla="*/ 176213 h 300038"/>
                  <a:gd name="connsiteX1" fmla="*/ 126206 w 392906"/>
                  <a:gd name="connsiteY1" fmla="*/ 300038 h 300038"/>
                  <a:gd name="connsiteX2" fmla="*/ 157163 w 392906"/>
                  <a:gd name="connsiteY2" fmla="*/ 288131 h 300038"/>
                  <a:gd name="connsiteX3" fmla="*/ 211931 w 392906"/>
                  <a:gd name="connsiteY3" fmla="*/ 292894 h 300038"/>
                  <a:gd name="connsiteX4" fmla="*/ 295275 w 392906"/>
                  <a:gd name="connsiteY4" fmla="*/ 247650 h 300038"/>
                  <a:gd name="connsiteX5" fmla="*/ 319088 w 392906"/>
                  <a:gd name="connsiteY5" fmla="*/ 180975 h 300038"/>
                  <a:gd name="connsiteX6" fmla="*/ 300038 w 392906"/>
                  <a:gd name="connsiteY6" fmla="*/ 164306 h 300038"/>
                  <a:gd name="connsiteX7" fmla="*/ 223838 w 392906"/>
                  <a:gd name="connsiteY7" fmla="*/ 226219 h 300038"/>
                  <a:gd name="connsiteX8" fmla="*/ 392906 w 392906"/>
                  <a:gd name="connsiteY8" fmla="*/ 26194 h 300038"/>
                  <a:gd name="connsiteX9" fmla="*/ 376238 w 392906"/>
                  <a:gd name="connsiteY9" fmla="*/ 4763 h 300038"/>
                  <a:gd name="connsiteX10" fmla="*/ 230981 w 392906"/>
                  <a:gd name="connsiteY10" fmla="*/ 130969 h 300038"/>
                  <a:gd name="connsiteX11" fmla="*/ 264319 w 392906"/>
                  <a:gd name="connsiteY11" fmla="*/ 83344 h 300038"/>
                  <a:gd name="connsiteX12" fmla="*/ 242888 w 392906"/>
                  <a:gd name="connsiteY12" fmla="*/ 54769 h 300038"/>
                  <a:gd name="connsiteX13" fmla="*/ 192881 w 392906"/>
                  <a:gd name="connsiteY13" fmla="*/ 95250 h 300038"/>
                  <a:gd name="connsiteX14" fmla="*/ 216694 w 392906"/>
                  <a:gd name="connsiteY14" fmla="*/ 47625 h 300038"/>
                  <a:gd name="connsiteX15" fmla="*/ 202406 w 392906"/>
                  <a:gd name="connsiteY15" fmla="*/ 23813 h 300038"/>
                  <a:gd name="connsiteX16" fmla="*/ 145256 w 392906"/>
                  <a:gd name="connsiteY16" fmla="*/ 66675 h 300038"/>
                  <a:gd name="connsiteX17" fmla="*/ 166688 w 392906"/>
                  <a:gd name="connsiteY17" fmla="*/ 19050 h 300038"/>
                  <a:gd name="connsiteX18" fmla="*/ 147638 w 392906"/>
                  <a:gd name="connsiteY18" fmla="*/ 0 h 300038"/>
                  <a:gd name="connsiteX19" fmla="*/ 7890 w 392906"/>
                  <a:gd name="connsiteY19" fmla="*/ 142057 h 300038"/>
                  <a:gd name="connsiteX20" fmla="*/ 0 w 392906"/>
                  <a:gd name="connsiteY20" fmla="*/ 176213 h 300038"/>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6688 w 392906"/>
                  <a:gd name="connsiteY17" fmla="*/ 16705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7693"/>
                  <a:gd name="connsiteX1" fmla="*/ 126206 w 392906"/>
                  <a:gd name="connsiteY1" fmla="*/ 297693 h 297693"/>
                  <a:gd name="connsiteX2" fmla="*/ 157163 w 392906"/>
                  <a:gd name="connsiteY2" fmla="*/ 285786 h 297693"/>
                  <a:gd name="connsiteX3" fmla="*/ 211931 w 392906"/>
                  <a:gd name="connsiteY3" fmla="*/ 290549 h 297693"/>
                  <a:gd name="connsiteX4" fmla="*/ 295275 w 392906"/>
                  <a:gd name="connsiteY4" fmla="*/ 245305 h 297693"/>
                  <a:gd name="connsiteX5" fmla="*/ 319088 w 392906"/>
                  <a:gd name="connsiteY5" fmla="*/ 178630 h 297693"/>
                  <a:gd name="connsiteX6" fmla="*/ 300038 w 392906"/>
                  <a:gd name="connsiteY6" fmla="*/ 161961 h 297693"/>
                  <a:gd name="connsiteX7" fmla="*/ 223838 w 392906"/>
                  <a:gd name="connsiteY7" fmla="*/ 223874 h 297693"/>
                  <a:gd name="connsiteX8" fmla="*/ 392906 w 392906"/>
                  <a:gd name="connsiteY8" fmla="*/ 23849 h 297693"/>
                  <a:gd name="connsiteX9" fmla="*/ 376238 w 392906"/>
                  <a:gd name="connsiteY9" fmla="*/ 2418 h 297693"/>
                  <a:gd name="connsiteX10" fmla="*/ 230981 w 392906"/>
                  <a:gd name="connsiteY10" fmla="*/ 128624 h 297693"/>
                  <a:gd name="connsiteX11" fmla="*/ 264319 w 392906"/>
                  <a:gd name="connsiteY11" fmla="*/ 80999 h 297693"/>
                  <a:gd name="connsiteX12" fmla="*/ 242888 w 392906"/>
                  <a:gd name="connsiteY12" fmla="*/ 52424 h 297693"/>
                  <a:gd name="connsiteX13" fmla="*/ 192881 w 392906"/>
                  <a:gd name="connsiteY13" fmla="*/ 92905 h 297693"/>
                  <a:gd name="connsiteX14" fmla="*/ 216694 w 392906"/>
                  <a:gd name="connsiteY14" fmla="*/ 45280 h 297693"/>
                  <a:gd name="connsiteX15" fmla="*/ 202406 w 392906"/>
                  <a:gd name="connsiteY15" fmla="*/ 21468 h 297693"/>
                  <a:gd name="connsiteX16" fmla="*/ 145256 w 392906"/>
                  <a:gd name="connsiteY16" fmla="*/ 64330 h 297693"/>
                  <a:gd name="connsiteX17" fmla="*/ 167470 w 392906"/>
                  <a:gd name="connsiteY17" fmla="*/ 27648 h 297693"/>
                  <a:gd name="connsiteX18" fmla="*/ 135913 w 392906"/>
                  <a:gd name="connsiteY18" fmla="*/ 0 h 297693"/>
                  <a:gd name="connsiteX19" fmla="*/ 7890 w 392906"/>
                  <a:gd name="connsiteY19" fmla="*/ 139712 h 297693"/>
                  <a:gd name="connsiteX20" fmla="*/ 0 w 392906"/>
                  <a:gd name="connsiteY20" fmla="*/ 173868 h 297693"/>
                  <a:gd name="connsiteX0" fmla="*/ 0 w 392906"/>
                  <a:gd name="connsiteY0" fmla="*/ 173868 h 299256"/>
                  <a:gd name="connsiteX1" fmla="*/ 132459 w 392906"/>
                  <a:gd name="connsiteY1" fmla="*/ 299256 h 299256"/>
                  <a:gd name="connsiteX2" fmla="*/ 157163 w 392906"/>
                  <a:gd name="connsiteY2" fmla="*/ 285786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19088 w 392906"/>
                  <a:gd name="connsiteY5" fmla="*/ 178630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2906"/>
                  <a:gd name="connsiteY0" fmla="*/ 173868 h 299256"/>
                  <a:gd name="connsiteX1" fmla="*/ 132459 w 392906"/>
                  <a:gd name="connsiteY1" fmla="*/ 299256 h 299256"/>
                  <a:gd name="connsiteX2" fmla="*/ 157945 w 392906"/>
                  <a:gd name="connsiteY2" fmla="*/ 288913 h 299256"/>
                  <a:gd name="connsiteX3" fmla="*/ 211931 w 392906"/>
                  <a:gd name="connsiteY3" fmla="*/ 290549 h 299256"/>
                  <a:gd name="connsiteX4" fmla="*/ 295275 w 392906"/>
                  <a:gd name="connsiteY4" fmla="*/ 245305 h 299256"/>
                  <a:gd name="connsiteX5" fmla="*/ 324560 w 392906"/>
                  <a:gd name="connsiteY5" fmla="*/ 179412 h 299256"/>
                  <a:gd name="connsiteX6" fmla="*/ 300038 w 392906"/>
                  <a:gd name="connsiteY6" fmla="*/ 161961 h 299256"/>
                  <a:gd name="connsiteX7" fmla="*/ 223838 w 392906"/>
                  <a:gd name="connsiteY7" fmla="*/ 223874 h 299256"/>
                  <a:gd name="connsiteX8" fmla="*/ 392906 w 392906"/>
                  <a:gd name="connsiteY8" fmla="*/ 23849 h 299256"/>
                  <a:gd name="connsiteX9" fmla="*/ 376238 w 392906"/>
                  <a:gd name="connsiteY9" fmla="*/ 2418 h 299256"/>
                  <a:gd name="connsiteX10" fmla="*/ 230981 w 392906"/>
                  <a:gd name="connsiteY10" fmla="*/ 128624 h 299256"/>
                  <a:gd name="connsiteX11" fmla="*/ 264319 w 392906"/>
                  <a:gd name="connsiteY11" fmla="*/ 80999 h 299256"/>
                  <a:gd name="connsiteX12" fmla="*/ 242888 w 392906"/>
                  <a:gd name="connsiteY12" fmla="*/ 52424 h 299256"/>
                  <a:gd name="connsiteX13" fmla="*/ 192881 w 392906"/>
                  <a:gd name="connsiteY13" fmla="*/ 92905 h 299256"/>
                  <a:gd name="connsiteX14" fmla="*/ 216694 w 392906"/>
                  <a:gd name="connsiteY14" fmla="*/ 45280 h 299256"/>
                  <a:gd name="connsiteX15" fmla="*/ 202406 w 392906"/>
                  <a:gd name="connsiteY15" fmla="*/ 21468 h 299256"/>
                  <a:gd name="connsiteX16" fmla="*/ 145256 w 392906"/>
                  <a:gd name="connsiteY16" fmla="*/ 64330 h 299256"/>
                  <a:gd name="connsiteX17" fmla="*/ 167470 w 392906"/>
                  <a:gd name="connsiteY17" fmla="*/ 27648 h 299256"/>
                  <a:gd name="connsiteX18" fmla="*/ 135913 w 392906"/>
                  <a:gd name="connsiteY18" fmla="*/ 0 h 299256"/>
                  <a:gd name="connsiteX19" fmla="*/ 7890 w 392906"/>
                  <a:gd name="connsiteY19" fmla="*/ 139712 h 299256"/>
                  <a:gd name="connsiteX20" fmla="*/ 0 w 392906"/>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7623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0981 w 396814"/>
                  <a:gd name="connsiteY10" fmla="*/ 128624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4319 w 396814"/>
                  <a:gd name="connsiteY11" fmla="*/ 80999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2881 w 396814"/>
                  <a:gd name="connsiteY13" fmla="*/ 92905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16694 w 396814"/>
                  <a:gd name="connsiteY14" fmla="*/ 45280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202406 w 396814"/>
                  <a:gd name="connsiteY15" fmla="*/ 21468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42888 w 396814"/>
                  <a:gd name="connsiteY12" fmla="*/ 52424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3344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0038 w 396814"/>
                  <a:gd name="connsiteY6" fmla="*/ 161961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4530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838 w 396814"/>
                  <a:gd name="connsiteY4" fmla="*/ 247650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5275 w 396814"/>
                  <a:gd name="connsiteY4" fmla="*/ 25312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6057 w 396814"/>
                  <a:gd name="connsiteY4" fmla="*/ 249995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3712 w 396814"/>
                  <a:gd name="connsiteY4" fmla="*/ 248432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92149 w 396814"/>
                  <a:gd name="connsiteY4" fmla="*/ 253904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3838 w 396814"/>
                  <a:gd name="connsiteY7" fmla="*/ 223874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 name="connsiteX0" fmla="*/ 0 w 396814"/>
                  <a:gd name="connsiteY0" fmla="*/ 173868 h 299256"/>
                  <a:gd name="connsiteX1" fmla="*/ 132459 w 396814"/>
                  <a:gd name="connsiteY1" fmla="*/ 299256 h 299256"/>
                  <a:gd name="connsiteX2" fmla="*/ 157945 w 396814"/>
                  <a:gd name="connsiteY2" fmla="*/ 288913 h 299256"/>
                  <a:gd name="connsiteX3" fmla="*/ 211931 w 396814"/>
                  <a:gd name="connsiteY3" fmla="*/ 290549 h 299256"/>
                  <a:gd name="connsiteX4" fmla="*/ 285114 w 396814"/>
                  <a:gd name="connsiteY4" fmla="*/ 256249 h 299256"/>
                  <a:gd name="connsiteX5" fmla="*/ 324560 w 396814"/>
                  <a:gd name="connsiteY5" fmla="*/ 179412 h 299256"/>
                  <a:gd name="connsiteX6" fmla="*/ 301601 w 396814"/>
                  <a:gd name="connsiteY6" fmla="*/ 159616 h 299256"/>
                  <a:gd name="connsiteX7" fmla="*/ 222275 w 396814"/>
                  <a:gd name="connsiteY7" fmla="*/ 219966 h 299256"/>
                  <a:gd name="connsiteX8" fmla="*/ 396814 w 396814"/>
                  <a:gd name="connsiteY8" fmla="*/ 27757 h 299256"/>
                  <a:gd name="connsiteX9" fmla="*/ 362168 w 396814"/>
                  <a:gd name="connsiteY9" fmla="*/ 2418 h 299256"/>
                  <a:gd name="connsiteX10" fmla="*/ 231763 w 396814"/>
                  <a:gd name="connsiteY10" fmla="*/ 132532 h 299256"/>
                  <a:gd name="connsiteX11" fmla="*/ 265101 w 396814"/>
                  <a:gd name="connsiteY11" fmla="*/ 85689 h 299256"/>
                  <a:gd name="connsiteX12" fmla="*/ 238198 w 396814"/>
                  <a:gd name="connsiteY12" fmla="*/ 53987 h 299256"/>
                  <a:gd name="connsiteX13" fmla="*/ 190536 w 396814"/>
                  <a:gd name="connsiteY13" fmla="*/ 96032 h 299256"/>
                  <a:gd name="connsiteX14" fmla="*/ 220602 w 396814"/>
                  <a:gd name="connsiteY14" fmla="*/ 49188 h 299256"/>
                  <a:gd name="connsiteX15" fmla="*/ 193808 w 396814"/>
                  <a:gd name="connsiteY15" fmla="*/ 24595 h 299256"/>
                  <a:gd name="connsiteX16" fmla="*/ 145256 w 396814"/>
                  <a:gd name="connsiteY16" fmla="*/ 64330 h 299256"/>
                  <a:gd name="connsiteX17" fmla="*/ 167470 w 396814"/>
                  <a:gd name="connsiteY17" fmla="*/ 27648 h 299256"/>
                  <a:gd name="connsiteX18" fmla="*/ 135913 w 396814"/>
                  <a:gd name="connsiteY18" fmla="*/ 0 h 299256"/>
                  <a:gd name="connsiteX19" fmla="*/ 7890 w 396814"/>
                  <a:gd name="connsiteY19" fmla="*/ 139712 h 299256"/>
                  <a:gd name="connsiteX20" fmla="*/ 0 w 396814"/>
                  <a:gd name="connsiteY20" fmla="*/ 173868 h 29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6814" h="299256">
                    <a:moveTo>
                      <a:pt x="0" y="173868"/>
                    </a:moveTo>
                    <a:lnTo>
                      <a:pt x="132459" y="299256"/>
                    </a:lnTo>
                    <a:cubicBezTo>
                      <a:pt x="140694" y="294766"/>
                      <a:pt x="144700" y="290364"/>
                      <a:pt x="157945" y="288913"/>
                    </a:cubicBezTo>
                    <a:cubicBezTo>
                      <a:pt x="171190" y="287462"/>
                      <a:pt x="193675" y="288961"/>
                      <a:pt x="211931" y="290549"/>
                    </a:cubicBezTo>
                    <a:cubicBezTo>
                      <a:pt x="248311" y="279377"/>
                      <a:pt x="267535" y="266488"/>
                      <a:pt x="285114" y="256249"/>
                    </a:cubicBezTo>
                    <a:cubicBezTo>
                      <a:pt x="302693" y="246010"/>
                      <a:pt x="296819" y="197468"/>
                      <a:pt x="324560" y="179412"/>
                    </a:cubicBezTo>
                    <a:cubicBezTo>
                      <a:pt x="321076" y="163433"/>
                      <a:pt x="308212" y="159180"/>
                      <a:pt x="301601" y="159616"/>
                    </a:cubicBezTo>
                    <a:cubicBezTo>
                      <a:pt x="273074" y="148205"/>
                      <a:pt x="267116" y="247024"/>
                      <a:pt x="222275" y="219966"/>
                    </a:cubicBezTo>
                    <a:cubicBezTo>
                      <a:pt x="241530" y="188220"/>
                      <a:pt x="371414" y="64666"/>
                      <a:pt x="396814" y="27757"/>
                    </a:cubicBezTo>
                    <a:cubicBezTo>
                      <a:pt x="394645" y="9931"/>
                      <a:pt x="384660" y="702"/>
                      <a:pt x="362168" y="2418"/>
                    </a:cubicBezTo>
                    <a:cubicBezTo>
                      <a:pt x="318439" y="44487"/>
                      <a:pt x="238561" y="139759"/>
                      <a:pt x="231763" y="132532"/>
                    </a:cubicBezTo>
                    <a:cubicBezTo>
                      <a:pt x="224965" y="125305"/>
                      <a:pt x="256864" y="100734"/>
                      <a:pt x="265101" y="85689"/>
                    </a:cubicBezTo>
                    <a:cubicBezTo>
                      <a:pt x="278281" y="72255"/>
                      <a:pt x="251595" y="54132"/>
                      <a:pt x="238198" y="53987"/>
                    </a:cubicBezTo>
                    <a:cubicBezTo>
                      <a:pt x="221529" y="67481"/>
                      <a:pt x="195032" y="102304"/>
                      <a:pt x="190536" y="96032"/>
                    </a:cubicBezTo>
                    <a:cubicBezTo>
                      <a:pt x="186040" y="89760"/>
                      <a:pt x="219015" y="61094"/>
                      <a:pt x="220602" y="49188"/>
                    </a:cubicBezTo>
                    <a:cubicBezTo>
                      <a:pt x="227825" y="39166"/>
                      <a:pt x="208471" y="22892"/>
                      <a:pt x="193808" y="24595"/>
                    </a:cubicBezTo>
                    <a:cubicBezTo>
                      <a:pt x="181902" y="27770"/>
                      <a:pt x="151991" y="72419"/>
                      <a:pt x="145256" y="64330"/>
                    </a:cubicBezTo>
                    <a:cubicBezTo>
                      <a:pt x="138521" y="56241"/>
                      <a:pt x="169027" y="38370"/>
                      <a:pt x="167470" y="27648"/>
                    </a:cubicBezTo>
                    <a:cubicBezTo>
                      <a:pt x="168676" y="4362"/>
                      <a:pt x="153467" y="1399"/>
                      <a:pt x="135913" y="0"/>
                    </a:cubicBezTo>
                    <a:cubicBezTo>
                      <a:pt x="94638" y="49213"/>
                      <a:pt x="12865" y="126764"/>
                      <a:pt x="7890" y="139712"/>
                    </a:cubicBezTo>
                    <a:cubicBezTo>
                      <a:pt x="2915" y="152660"/>
                      <a:pt x="2630" y="162483"/>
                      <a:pt x="0" y="173868"/>
                    </a:cubicBezTo>
                    <a:close/>
                  </a:path>
                </a:pathLst>
              </a:custGeom>
              <a:grpFill/>
              <a:ln w="12700"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defRPr/>
                </a:pPr>
                <a:endParaRPr lang="en-US" kern="0" dirty="0" err="1">
                  <a:ln>
                    <a:solidFill>
                      <a:srgbClr val="FFFFFF">
                        <a:alpha val="0"/>
                      </a:srgbClr>
                    </a:solidFill>
                  </a:ln>
                  <a:solidFill>
                    <a:srgbClr val="44546A"/>
                  </a:solidFill>
                  <a:ea typeface="Segoe UI" pitchFamily="34" charset="0"/>
                  <a:cs typeface="Segoe UI" pitchFamily="34" charset="0"/>
                </a:endParaRPr>
              </a:p>
            </p:txBody>
          </p:sp>
        </p:grpSp>
        <p:pic>
          <p:nvPicPr>
            <p:cNvPr id="220" name="Picture 42"/>
            <p:cNvPicPr>
              <a:picLocks noChangeAspect="1"/>
            </p:cNvPicPr>
            <p:nvPr/>
          </p:nvPicPr>
          <p:blipFill>
            <a:blip r:embed="rId3" cstate="screen">
              <a:duotone>
                <a:prstClr val="black"/>
                <a:schemeClr val="accent5">
                  <a:tint val="45000"/>
                  <a:satMod val="400000"/>
                </a:schemeClr>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bwMode="auto">
            <a:xfrm>
              <a:off x="5807405" y="2755642"/>
              <a:ext cx="162079" cy="122803"/>
            </a:xfrm>
            <a:prstGeom prst="rect">
              <a:avLst/>
            </a:prstGeom>
          </p:spPr>
        </p:pic>
        <p:grpSp>
          <p:nvGrpSpPr>
            <p:cNvPr id="222" name="Group 9"/>
            <p:cNvGrpSpPr>
              <a:grpSpLocks/>
            </p:cNvGrpSpPr>
            <p:nvPr/>
          </p:nvGrpSpPr>
          <p:grpSpPr bwMode="auto">
            <a:xfrm>
              <a:off x="5794575" y="3218649"/>
              <a:ext cx="190686" cy="156029"/>
              <a:chOff x="6940223" y="1895560"/>
              <a:chExt cx="721993" cy="641901"/>
            </a:xfrm>
            <a:solidFill>
              <a:schemeClr val="bg1">
                <a:lumMod val="95000"/>
              </a:schemeClr>
            </a:solidFill>
          </p:grpSpPr>
          <p:cxnSp>
            <p:nvCxnSpPr>
              <p:cNvPr id="224" name="Straight Connector 10"/>
              <p:cNvCxnSpPr/>
              <p:nvPr/>
            </p:nvCxnSpPr>
            <p:spPr>
              <a:xfrm flipV="1">
                <a:off x="7247609" y="1895560"/>
                <a:ext cx="294081" cy="641901"/>
              </a:xfrm>
              <a:prstGeom prst="line">
                <a:avLst/>
              </a:prstGeom>
              <a:grpFill/>
              <a:ln w="38100" cap="rnd" cmpd="sng" algn="ctr">
                <a:solidFill>
                  <a:srgbClr val="7F7F7F"/>
                </a:solidFill>
                <a:prstDash val="sysDot"/>
              </a:ln>
              <a:effectLst/>
            </p:spPr>
          </p:cxnSp>
          <p:grpSp>
            <p:nvGrpSpPr>
              <p:cNvPr id="225" name="Group 11"/>
              <p:cNvGrpSpPr>
                <a:grpSpLocks/>
              </p:cNvGrpSpPr>
              <p:nvPr/>
            </p:nvGrpSpPr>
            <p:grpSpPr bwMode="auto">
              <a:xfrm>
                <a:off x="6940223" y="2011636"/>
                <a:ext cx="721993" cy="430704"/>
                <a:chOff x="6997583" y="1705969"/>
                <a:chExt cx="1039555" cy="620144"/>
              </a:xfrm>
              <a:grpFill/>
            </p:grpSpPr>
            <p:pic>
              <p:nvPicPr>
                <p:cNvPr id="226" name="Picture 47" descr="C:\Users\sakuu\Documents\Ballmer MGX 2011\Tile Icons\Calendar.png"/>
                <p:cNvPicPr>
                  <a:picLocks noChangeAspect="1" noChangeArrowheads="1"/>
                </p:cNvPicPr>
                <p:nvPr/>
              </p:nvPicPr>
              <p:blipFill>
                <a:blip r:embed="rId5" cstate="screen">
                  <a:duotone>
                    <a:prstClr val="black"/>
                    <a:schemeClr val="accent5">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black">
                <a:xfrm>
                  <a:off x="7458341" y="1774201"/>
                  <a:ext cx="578797" cy="551912"/>
                </a:xfrm>
                <a:prstGeom prst="rect">
                  <a:avLst/>
                </a:prstGeom>
                <a:grpFill/>
                <a:extLst>
                  <a:ext uri="{909E8E84-426E-40dd-AFC4-6F175D3DCCD1}">
                    <a14:hiddenFill xmlns:a14="http://schemas.microsoft.com/office/drawing/2010/main" xmlns="">
                      <a:solidFill>
                        <a:srgbClr val="FFFFFF"/>
                      </a:solidFill>
                    </a14:hiddenFill>
                  </a:ext>
                </a:extLst>
              </p:spPr>
            </p:pic>
            <p:sp>
              <p:nvSpPr>
                <p:cNvPr id="227" name="Freeform 113"/>
                <p:cNvSpPr>
                  <a:spLocks noEditPoints="1"/>
                </p:cNvSpPr>
                <p:nvPr/>
              </p:nvSpPr>
              <p:spPr bwMode="black">
                <a:xfrm>
                  <a:off x="6997583" y="1705969"/>
                  <a:ext cx="424935" cy="487476"/>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rgbClr val="7F7F7F"/>
                </a:solidFill>
                <a:ln>
                  <a:noFill/>
                </a:ln>
                <a:extLst/>
              </p:spPr>
              <p:txBody>
                <a:bodyPr/>
                <a:lstStyle/>
                <a:p>
                  <a:pPr defTabSz="914400">
                    <a:defRPr/>
                  </a:pPr>
                  <a:endParaRPr lang="en-US" sz="1050" kern="0">
                    <a:solidFill>
                      <a:srgbClr val="000000"/>
                    </a:solidFill>
                  </a:endParaRPr>
                </a:p>
              </p:txBody>
            </p:sp>
          </p:grpSp>
        </p:grpSp>
        <p:sp>
          <p:nvSpPr>
            <p:cNvPr id="223" name="Freeform 73"/>
            <p:cNvSpPr>
              <a:spLocks noEditPoints="1"/>
            </p:cNvSpPr>
            <p:nvPr/>
          </p:nvSpPr>
          <p:spPr bwMode="black">
            <a:xfrm>
              <a:off x="6646247" y="3186281"/>
              <a:ext cx="185208" cy="17476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lumMod val="50000"/>
              </a:schemeClr>
            </a:solidFill>
            <a:ln w="9525">
              <a:noFill/>
              <a:round/>
              <a:headEnd/>
              <a:tailEnd/>
            </a:ln>
          </p:spPr>
          <p:txBody>
            <a:bodyPr/>
            <a:lstStyle/>
            <a:p>
              <a:pPr algn="ctr" defTabSz="1088105"/>
              <a:endParaRPr lang="en-US" sz="2200">
                <a:ln>
                  <a:solidFill>
                    <a:srgbClr val="505050">
                      <a:alpha val="0"/>
                    </a:srgbClr>
                  </a:solidFill>
                </a:ln>
                <a:solidFill>
                  <a:srgbClr val="505050"/>
                </a:solidFill>
              </a:endParaRPr>
            </a:p>
          </p:txBody>
        </p:sp>
      </p:grpSp>
      <p:grpSp>
        <p:nvGrpSpPr>
          <p:cNvPr id="247" name="Group 246"/>
          <p:cNvGrpSpPr>
            <a:grpSpLocks noChangeAspect="1"/>
          </p:cNvGrpSpPr>
          <p:nvPr/>
        </p:nvGrpSpPr>
        <p:grpSpPr>
          <a:xfrm>
            <a:off x="6111913" y="3450375"/>
            <a:ext cx="421256" cy="201249"/>
            <a:chOff x="335107" y="1984056"/>
            <a:chExt cx="8623119" cy="4119564"/>
          </a:xfrm>
          <a:solidFill>
            <a:schemeClr val="bg1">
              <a:lumMod val="50000"/>
            </a:schemeClr>
          </a:solidFill>
        </p:grpSpPr>
        <p:sp>
          <p:nvSpPr>
            <p:cNvPr id="257" name="Freeform 256"/>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285" name="Man's Body"/>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86" name="Man's Body"/>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87" name="Man's Body"/>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88" name="Man's Body"/>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89" name="Man's Body"/>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90" name="Man's Body"/>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291" name="Freeform 290"/>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sp>
          <p:nvSpPr>
            <p:cNvPr id="292" name="Freeform 291"/>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grpSp>
      <p:sp>
        <p:nvSpPr>
          <p:cNvPr id="293" name="TextBox 292"/>
          <p:cNvSpPr txBox="1"/>
          <p:nvPr/>
        </p:nvSpPr>
        <p:spPr>
          <a:xfrm>
            <a:off x="5851842" y="2916611"/>
            <a:ext cx="929742"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360 Citizen View</a:t>
            </a:r>
          </a:p>
        </p:txBody>
      </p:sp>
      <p:sp>
        <p:nvSpPr>
          <p:cNvPr id="294" name="TextBox 293"/>
          <p:cNvSpPr txBox="1"/>
          <p:nvPr/>
        </p:nvSpPr>
        <p:spPr>
          <a:xfrm>
            <a:off x="5758584" y="3941166"/>
            <a:ext cx="1160574"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360 Population View</a:t>
            </a:r>
          </a:p>
        </p:txBody>
      </p:sp>
      <p:grpSp>
        <p:nvGrpSpPr>
          <p:cNvPr id="175" name="Group 174"/>
          <p:cNvGrpSpPr/>
          <p:nvPr/>
        </p:nvGrpSpPr>
        <p:grpSpPr>
          <a:xfrm>
            <a:off x="11190602" y="3308136"/>
            <a:ext cx="372864" cy="297508"/>
            <a:chOff x="928913" y="3884413"/>
            <a:chExt cx="2166935" cy="1728997"/>
          </a:xfrm>
          <a:solidFill>
            <a:schemeClr val="bg1">
              <a:lumMod val="50000"/>
            </a:schemeClr>
          </a:solidFill>
        </p:grpSpPr>
        <p:sp>
          <p:nvSpPr>
            <p:cNvPr id="203" name="Freeform 202"/>
            <p:cNvSpPr/>
            <p:nvPr/>
          </p:nvSpPr>
          <p:spPr>
            <a:xfrm>
              <a:off x="928913" y="3979926"/>
              <a:ext cx="686989" cy="1633484"/>
            </a:xfrm>
            <a:custGeom>
              <a:avLst/>
              <a:gdLst>
                <a:gd name="connsiteX0" fmla="*/ 762448 w 1004418"/>
                <a:gd name="connsiteY0" fmla="*/ 1549280 h 1748166"/>
                <a:gd name="connsiteX1" fmla="*/ 762448 w 1004418"/>
                <a:gd name="connsiteY1" fmla="*/ 1660335 h 1748166"/>
                <a:gd name="connsiteX2" fmla="*/ 942296 w 1004418"/>
                <a:gd name="connsiteY2" fmla="*/ 1660335 h 1748166"/>
                <a:gd name="connsiteX3" fmla="*/ 942296 w 1004418"/>
                <a:gd name="connsiteY3" fmla="*/ 1549280 h 1748166"/>
                <a:gd name="connsiteX4" fmla="*/ 526885 w 1004418"/>
                <a:gd name="connsiteY4" fmla="*/ 1549280 h 1748166"/>
                <a:gd name="connsiteX5" fmla="*/ 526885 w 1004418"/>
                <a:gd name="connsiteY5" fmla="*/ 1660335 h 1748166"/>
                <a:gd name="connsiteX6" fmla="*/ 706733 w 1004418"/>
                <a:gd name="connsiteY6" fmla="*/ 1660335 h 1748166"/>
                <a:gd name="connsiteX7" fmla="*/ 706733 w 1004418"/>
                <a:gd name="connsiteY7" fmla="*/ 1549280 h 1748166"/>
                <a:gd name="connsiteX8" fmla="*/ 291323 w 1004418"/>
                <a:gd name="connsiteY8" fmla="*/ 1549280 h 1748166"/>
                <a:gd name="connsiteX9" fmla="*/ 291323 w 1004418"/>
                <a:gd name="connsiteY9" fmla="*/ 1660335 h 1748166"/>
                <a:gd name="connsiteX10" fmla="*/ 471171 w 1004418"/>
                <a:gd name="connsiteY10" fmla="*/ 1660335 h 1748166"/>
                <a:gd name="connsiteX11" fmla="*/ 471171 w 1004418"/>
                <a:gd name="connsiteY11" fmla="*/ 1549280 h 1748166"/>
                <a:gd name="connsiteX12" fmla="*/ 55761 w 1004418"/>
                <a:gd name="connsiteY12" fmla="*/ 1549280 h 1748166"/>
                <a:gd name="connsiteX13" fmla="*/ 55761 w 1004418"/>
                <a:gd name="connsiteY13" fmla="*/ 1660335 h 1748166"/>
                <a:gd name="connsiteX14" fmla="*/ 235609 w 1004418"/>
                <a:gd name="connsiteY14" fmla="*/ 1660335 h 1748166"/>
                <a:gd name="connsiteX15" fmla="*/ 235609 w 1004418"/>
                <a:gd name="connsiteY15" fmla="*/ 1549280 h 1748166"/>
                <a:gd name="connsiteX16" fmla="*/ 762448 w 1004418"/>
                <a:gd name="connsiteY16" fmla="*/ 1387515 h 1748166"/>
                <a:gd name="connsiteX17" fmla="*/ 762448 w 1004418"/>
                <a:gd name="connsiteY17" fmla="*/ 1498570 h 1748166"/>
                <a:gd name="connsiteX18" fmla="*/ 942296 w 1004418"/>
                <a:gd name="connsiteY18" fmla="*/ 1498570 h 1748166"/>
                <a:gd name="connsiteX19" fmla="*/ 942296 w 1004418"/>
                <a:gd name="connsiteY19" fmla="*/ 1387515 h 1748166"/>
                <a:gd name="connsiteX20" fmla="*/ 526885 w 1004418"/>
                <a:gd name="connsiteY20" fmla="*/ 1387515 h 1748166"/>
                <a:gd name="connsiteX21" fmla="*/ 526885 w 1004418"/>
                <a:gd name="connsiteY21" fmla="*/ 1498570 h 1748166"/>
                <a:gd name="connsiteX22" fmla="*/ 706733 w 1004418"/>
                <a:gd name="connsiteY22" fmla="*/ 1498570 h 1748166"/>
                <a:gd name="connsiteX23" fmla="*/ 706733 w 1004418"/>
                <a:gd name="connsiteY23" fmla="*/ 1387515 h 1748166"/>
                <a:gd name="connsiteX24" fmla="*/ 291323 w 1004418"/>
                <a:gd name="connsiteY24" fmla="*/ 1387515 h 1748166"/>
                <a:gd name="connsiteX25" fmla="*/ 291323 w 1004418"/>
                <a:gd name="connsiteY25" fmla="*/ 1498570 h 1748166"/>
                <a:gd name="connsiteX26" fmla="*/ 471171 w 1004418"/>
                <a:gd name="connsiteY26" fmla="*/ 1498570 h 1748166"/>
                <a:gd name="connsiteX27" fmla="*/ 471171 w 1004418"/>
                <a:gd name="connsiteY27" fmla="*/ 1387515 h 1748166"/>
                <a:gd name="connsiteX28" fmla="*/ 55761 w 1004418"/>
                <a:gd name="connsiteY28" fmla="*/ 1387515 h 1748166"/>
                <a:gd name="connsiteX29" fmla="*/ 55761 w 1004418"/>
                <a:gd name="connsiteY29" fmla="*/ 1498570 h 1748166"/>
                <a:gd name="connsiteX30" fmla="*/ 235609 w 1004418"/>
                <a:gd name="connsiteY30" fmla="*/ 1498570 h 1748166"/>
                <a:gd name="connsiteX31" fmla="*/ 235609 w 1004418"/>
                <a:gd name="connsiteY31" fmla="*/ 1387515 h 1748166"/>
                <a:gd name="connsiteX32" fmla="*/ 762448 w 1004418"/>
                <a:gd name="connsiteY32" fmla="*/ 1225750 h 1748166"/>
                <a:gd name="connsiteX33" fmla="*/ 762448 w 1004418"/>
                <a:gd name="connsiteY33" fmla="*/ 1336805 h 1748166"/>
                <a:gd name="connsiteX34" fmla="*/ 942296 w 1004418"/>
                <a:gd name="connsiteY34" fmla="*/ 1336805 h 1748166"/>
                <a:gd name="connsiteX35" fmla="*/ 942296 w 1004418"/>
                <a:gd name="connsiteY35" fmla="*/ 1225750 h 1748166"/>
                <a:gd name="connsiteX36" fmla="*/ 526885 w 1004418"/>
                <a:gd name="connsiteY36" fmla="*/ 1225750 h 1748166"/>
                <a:gd name="connsiteX37" fmla="*/ 526885 w 1004418"/>
                <a:gd name="connsiteY37" fmla="*/ 1336805 h 1748166"/>
                <a:gd name="connsiteX38" fmla="*/ 706733 w 1004418"/>
                <a:gd name="connsiteY38" fmla="*/ 1336805 h 1748166"/>
                <a:gd name="connsiteX39" fmla="*/ 706733 w 1004418"/>
                <a:gd name="connsiteY39" fmla="*/ 1225750 h 1748166"/>
                <a:gd name="connsiteX40" fmla="*/ 291323 w 1004418"/>
                <a:gd name="connsiteY40" fmla="*/ 1225750 h 1748166"/>
                <a:gd name="connsiteX41" fmla="*/ 291323 w 1004418"/>
                <a:gd name="connsiteY41" fmla="*/ 1336805 h 1748166"/>
                <a:gd name="connsiteX42" fmla="*/ 471171 w 1004418"/>
                <a:gd name="connsiteY42" fmla="*/ 1336805 h 1748166"/>
                <a:gd name="connsiteX43" fmla="*/ 471171 w 1004418"/>
                <a:gd name="connsiteY43" fmla="*/ 1225750 h 1748166"/>
                <a:gd name="connsiteX44" fmla="*/ 55761 w 1004418"/>
                <a:gd name="connsiteY44" fmla="*/ 1225750 h 1748166"/>
                <a:gd name="connsiteX45" fmla="*/ 55761 w 1004418"/>
                <a:gd name="connsiteY45" fmla="*/ 1336805 h 1748166"/>
                <a:gd name="connsiteX46" fmla="*/ 235609 w 1004418"/>
                <a:gd name="connsiteY46" fmla="*/ 1336805 h 1748166"/>
                <a:gd name="connsiteX47" fmla="*/ 235609 w 1004418"/>
                <a:gd name="connsiteY47" fmla="*/ 1225750 h 1748166"/>
                <a:gd name="connsiteX48" fmla="*/ 762448 w 1004418"/>
                <a:gd name="connsiteY48" fmla="*/ 1063985 h 1748166"/>
                <a:gd name="connsiteX49" fmla="*/ 762448 w 1004418"/>
                <a:gd name="connsiteY49" fmla="*/ 1175040 h 1748166"/>
                <a:gd name="connsiteX50" fmla="*/ 942296 w 1004418"/>
                <a:gd name="connsiteY50" fmla="*/ 1175040 h 1748166"/>
                <a:gd name="connsiteX51" fmla="*/ 942296 w 1004418"/>
                <a:gd name="connsiteY51" fmla="*/ 1063985 h 1748166"/>
                <a:gd name="connsiteX52" fmla="*/ 526885 w 1004418"/>
                <a:gd name="connsiteY52" fmla="*/ 1063985 h 1748166"/>
                <a:gd name="connsiteX53" fmla="*/ 526885 w 1004418"/>
                <a:gd name="connsiteY53" fmla="*/ 1175040 h 1748166"/>
                <a:gd name="connsiteX54" fmla="*/ 706733 w 1004418"/>
                <a:gd name="connsiteY54" fmla="*/ 1175040 h 1748166"/>
                <a:gd name="connsiteX55" fmla="*/ 706733 w 1004418"/>
                <a:gd name="connsiteY55" fmla="*/ 1063985 h 1748166"/>
                <a:gd name="connsiteX56" fmla="*/ 291323 w 1004418"/>
                <a:gd name="connsiteY56" fmla="*/ 1063985 h 1748166"/>
                <a:gd name="connsiteX57" fmla="*/ 291323 w 1004418"/>
                <a:gd name="connsiteY57" fmla="*/ 1175040 h 1748166"/>
                <a:gd name="connsiteX58" fmla="*/ 471171 w 1004418"/>
                <a:gd name="connsiteY58" fmla="*/ 1175040 h 1748166"/>
                <a:gd name="connsiteX59" fmla="*/ 471171 w 1004418"/>
                <a:gd name="connsiteY59" fmla="*/ 1063985 h 1748166"/>
                <a:gd name="connsiteX60" fmla="*/ 55761 w 1004418"/>
                <a:gd name="connsiteY60" fmla="*/ 1063985 h 1748166"/>
                <a:gd name="connsiteX61" fmla="*/ 55761 w 1004418"/>
                <a:gd name="connsiteY61" fmla="*/ 1175040 h 1748166"/>
                <a:gd name="connsiteX62" fmla="*/ 235609 w 1004418"/>
                <a:gd name="connsiteY62" fmla="*/ 1175040 h 1748166"/>
                <a:gd name="connsiteX63" fmla="*/ 235609 w 1004418"/>
                <a:gd name="connsiteY63" fmla="*/ 1063985 h 1748166"/>
                <a:gd name="connsiteX64" fmla="*/ 762448 w 1004418"/>
                <a:gd name="connsiteY64" fmla="*/ 902220 h 1748166"/>
                <a:gd name="connsiteX65" fmla="*/ 762448 w 1004418"/>
                <a:gd name="connsiteY65" fmla="*/ 1013275 h 1748166"/>
                <a:gd name="connsiteX66" fmla="*/ 942296 w 1004418"/>
                <a:gd name="connsiteY66" fmla="*/ 1013275 h 1748166"/>
                <a:gd name="connsiteX67" fmla="*/ 942296 w 1004418"/>
                <a:gd name="connsiteY67" fmla="*/ 902220 h 1748166"/>
                <a:gd name="connsiteX68" fmla="*/ 526885 w 1004418"/>
                <a:gd name="connsiteY68" fmla="*/ 902220 h 1748166"/>
                <a:gd name="connsiteX69" fmla="*/ 526885 w 1004418"/>
                <a:gd name="connsiteY69" fmla="*/ 1013275 h 1748166"/>
                <a:gd name="connsiteX70" fmla="*/ 706733 w 1004418"/>
                <a:gd name="connsiteY70" fmla="*/ 1013275 h 1748166"/>
                <a:gd name="connsiteX71" fmla="*/ 706733 w 1004418"/>
                <a:gd name="connsiteY71" fmla="*/ 902220 h 1748166"/>
                <a:gd name="connsiteX72" fmla="*/ 291323 w 1004418"/>
                <a:gd name="connsiteY72" fmla="*/ 902220 h 1748166"/>
                <a:gd name="connsiteX73" fmla="*/ 291323 w 1004418"/>
                <a:gd name="connsiteY73" fmla="*/ 1013275 h 1748166"/>
                <a:gd name="connsiteX74" fmla="*/ 471171 w 1004418"/>
                <a:gd name="connsiteY74" fmla="*/ 1013275 h 1748166"/>
                <a:gd name="connsiteX75" fmla="*/ 471171 w 1004418"/>
                <a:gd name="connsiteY75" fmla="*/ 902220 h 1748166"/>
                <a:gd name="connsiteX76" fmla="*/ 55761 w 1004418"/>
                <a:gd name="connsiteY76" fmla="*/ 902220 h 1748166"/>
                <a:gd name="connsiteX77" fmla="*/ 55761 w 1004418"/>
                <a:gd name="connsiteY77" fmla="*/ 1013275 h 1748166"/>
                <a:gd name="connsiteX78" fmla="*/ 235609 w 1004418"/>
                <a:gd name="connsiteY78" fmla="*/ 1013275 h 1748166"/>
                <a:gd name="connsiteX79" fmla="*/ 235609 w 1004418"/>
                <a:gd name="connsiteY79" fmla="*/ 902220 h 1748166"/>
                <a:gd name="connsiteX80" fmla="*/ 762448 w 1004418"/>
                <a:gd name="connsiteY80" fmla="*/ 740455 h 1748166"/>
                <a:gd name="connsiteX81" fmla="*/ 762448 w 1004418"/>
                <a:gd name="connsiteY81" fmla="*/ 851510 h 1748166"/>
                <a:gd name="connsiteX82" fmla="*/ 942296 w 1004418"/>
                <a:gd name="connsiteY82" fmla="*/ 851510 h 1748166"/>
                <a:gd name="connsiteX83" fmla="*/ 942296 w 1004418"/>
                <a:gd name="connsiteY83" fmla="*/ 740455 h 1748166"/>
                <a:gd name="connsiteX84" fmla="*/ 526885 w 1004418"/>
                <a:gd name="connsiteY84" fmla="*/ 740455 h 1748166"/>
                <a:gd name="connsiteX85" fmla="*/ 526885 w 1004418"/>
                <a:gd name="connsiteY85" fmla="*/ 851510 h 1748166"/>
                <a:gd name="connsiteX86" fmla="*/ 706733 w 1004418"/>
                <a:gd name="connsiteY86" fmla="*/ 851510 h 1748166"/>
                <a:gd name="connsiteX87" fmla="*/ 706733 w 1004418"/>
                <a:gd name="connsiteY87" fmla="*/ 740455 h 1748166"/>
                <a:gd name="connsiteX88" fmla="*/ 291323 w 1004418"/>
                <a:gd name="connsiteY88" fmla="*/ 740455 h 1748166"/>
                <a:gd name="connsiteX89" fmla="*/ 291323 w 1004418"/>
                <a:gd name="connsiteY89" fmla="*/ 851510 h 1748166"/>
                <a:gd name="connsiteX90" fmla="*/ 471171 w 1004418"/>
                <a:gd name="connsiteY90" fmla="*/ 851510 h 1748166"/>
                <a:gd name="connsiteX91" fmla="*/ 471171 w 1004418"/>
                <a:gd name="connsiteY91" fmla="*/ 740455 h 1748166"/>
                <a:gd name="connsiteX92" fmla="*/ 55761 w 1004418"/>
                <a:gd name="connsiteY92" fmla="*/ 740455 h 1748166"/>
                <a:gd name="connsiteX93" fmla="*/ 55761 w 1004418"/>
                <a:gd name="connsiteY93" fmla="*/ 851510 h 1748166"/>
                <a:gd name="connsiteX94" fmla="*/ 235609 w 1004418"/>
                <a:gd name="connsiteY94" fmla="*/ 851510 h 1748166"/>
                <a:gd name="connsiteX95" fmla="*/ 235609 w 1004418"/>
                <a:gd name="connsiteY95" fmla="*/ 740455 h 1748166"/>
                <a:gd name="connsiteX96" fmla="*/ 762448 w 1004418"/>
                <a:gd name="connsiteY96" fmla="*/ 578690 h 1748166"/>
                <a:gd name="connsiteX97" fmla="*/ 762448 w 1004418"/>
                <a:gd name="connsiteY97" fmla="*/ 689745 h 1748166"/>
                <a:gd name="connsiteX98" fmla="*/ 942296 w 1004418"/>
                <a:gd name="connsiteY98" fmla="*/ 689745 h 1748166"/>
                <a:gd name="connsiteX99" fmla="*/ 942296 w 1004418"/>
                <a:gd name="connsiteY99" fmla="*/ 578690 h 1748166"/>
                <a:gd name="connsiteX100" fmla="*/ 526885 w 1004418"/>
                <a:gd name="connsiteY100" fmla="*/ 578690 h 1748166"/>
                <a:gd name="connsiteX101" fmla="*/ 526885 w 1004418"/>
                <a:gd name="connsiteY101" fmla="*/ 689745 h 1748166"/>
                <a:gd name="connsiteX102" fmla="*/ 706733 w 1004418"/>
                <a:gd name="connsiteY102" fmla="*/ 689745 h 1748166"/>
                <a:gd name="connsiteX103" fmla="*/ 706733 w 1004418"/>
                <a:gd name="connsiteY103" fmla="*/ 578690 h 1748166"/>
                <a:gd name="connsiteX104" fmla="*/ 291323 w 1004418"/>
                <a:gd name="connsiteY104" fmla="*/ 578690 h 1748166"/>
                <a:gd name="connsiteX105" fmla="*/ 291323 w 1004418"/>
                <a:gd name="connsiteY105" fmla="*/ 689745 h 1748166"/>
                <a:gd name="connsiteX106" fmla="*/ 471171 w 1004418"/>
                <a:gd name="connsiteY106" fmla="*/ 689745 h 1748166"/>
                <a:gd name="connsiteX107" fmla="*/ 471171 w 1004418"/>
                <a:gd name="connsiteY107" fmla="*/ 578690 h 1748166"/>
                <a:gd name="connsiteX108" fmla="*/ 55761 w 1004418"/>
                <a:gd name="connsiteY108" fmla="*/ 578690 h 1748166"/>
                <a:gd name="connsiteX109" fmla="*/ 55761 w 1004418"/>
                <a:gd name="connsiteY109" fmla="*/ 689745 h 1748166"/>
                <a:gd name="connsiteX110" fmla="*/ 235609 w 1004418"/>
                <a:gd name="connsiteY110" fmla="*/ 689745 h 1748166"/>
                <a:gd name="connsiteX111" fmla="*/ 235609 w 1004418"/>
                <a:gd name="connsiteY111" fmla="*/ 578690 h 1748166"/>
                <a:gd name="connsiteX112" fmla="*/ 762448 w 1004418"/>
                <a:gd name="connsiteY112" fmla="*/ 416925 h 1748166"/>
                <a:gd name="connsiteX113" fmla="*/ 762448 w 1004418"/>
                <a:gd name="connsiteY113" fmla="*/ 527980 h 1748166"/>
                <a:gd name="connsiteX114" fmla="*/ 942296 w 1004418"/>
                <a:gd name="connsiteY114" fmla="*/ 527980 h 1748166"/>
                <a:gd name="connsiteX115" fmla="*/ 942296 w 1004418"/>
                <a:gd name="connsiteY115" fmla="*/ 416925 h 1748166"/>
                <a:gd name="connsiteX116" fmla="*/ 526885 w 1004418"/>
                <a:gd name="connsiteY116" fmla="*/ 416925 h 1748166"/>
                <a:gd name="connsiteX117" fmla="*/ 526885 w 1004418"/>
                <a:gd name="connsiteY117" fmla="*/ 527980 h 1748166"/>
                <a:gd name="connsiteX118" fmla="*/ 706733 w 1004418"/>
                <a:gd name="connsiteY118" fmla="*/ 527980 h 1748166"/>
                <a:gd name="connsiteX119" fmla="*/ 706733 w 1004418"/>
                <a:gd name="connsiteY119" fmla="*/ 416925 h 1748166"/>
                <a:gd name="connsiteX120" fmla="*/ 291323 w 1004418"/>
                <a:gd name="connsiteY120" fmla="*/ 416925 h 1748166"/>
                <a:gd name="connsiteX121" fmla="*/ 291323 w 1004418"/>
                <a:gd name="connsiteY121" fmla="*/ 527980 h 1748166"/>
                <a:gd name="connsiteX122" fmla="*/ 471171 w 1004418"/>
                <a:gd name="connsiteY122" fmla="*/ 527980 h 1748166"/>
                <a:gd name="connsiteX123" fmla="*/ 471171 w 1004418"/>
                <a:gd name="connsiteY123" fmla="*/ 416925 h 1748166"/>
                <a:gd name="connsiteX124" fmla="*/ 55761 w 1004418"/>
                <a:gd name="connsiteY124" fmla="*/ 416925 h 1748166"/>
                <a:gd name="connsiteX125" fmla="*/ 55761 w 1004418"/>
                <a:gd name="connsiteY125" fmla="*/ 527980 h 1748166"/>
                <a:gd name="connsiteX126" fmla="*/ 235609 w 1004418"/>
                <a:gd name="connsiteY126" fmla="*/ 527980 h 1748166"/>
                <a:gd name="connsiteX127" fmla="*/ 235609 w 1004418"/>
                <a:gd name="connsiteY127" fmla="*/ 416925 h 1748166"/>
                <a:gd name="connsiteX128" fmla="*/ 762448 w 1004418"/>
                <a:gd name="connsiteY128" fmla="*/ 255160 h 1748166"/>
                <a:gd name="connsiteX129" fmla="*/ 762448 w 1004418"/>
                <a:gd name="connsiteY129" fmla="*/ 366215 h 1748166"/>
                <a:gd name="connsiteX130" fmla="*/ 942296 w 1004418"/>
                <a:gd name="connsiteY130" fmla="*/ 366215 h 1748166"/>
                <a:gd name="connsiteX131" fmla="*/ 942296 w 1004418"/>
                <a:gd name="connsiteY131" fmla="*/ 255160 h 1748166"/>
                <a:gd name="connsiteX132" fmla="*/ 526885 w 1004418"/>
                <a:gd name="connsiteY132" fmla="*/ 255160 h 1748166"/>
                <a:gd name="connsiteX133" fmla="*/ 526885 w 1004418"/>
                <a:gd name="connsiteY133" fmla="*/ 366215 h 1748166"/>
                <a:gd name="connsiteX134" fmla="*/ 706733 w 1004418"/>
                <a:gd name="connsiteY134" fmla="*/ 366215 h 1748166"/>
                <a:gd name="connsiteX135" fmla="*/ 706733 w 1004418"/>
                <a:gd name="connsiteY135" fmla="*/ 255160 h 1748166"/>
                <a:gd name="connsiteX136" fmla="*/ 291323 w 1004418"/>
                <a:gd name="connsiteY136" fmla="*/ 255160 h 1748166"/>
                <a:gd name="connsiteX137" fmla="*/ 291323 w 1004418"/>
                <a:gd name="connsiteY137" fmla="*/ 366215 h 1748166"/>
                <a:gd name="connsiteX138" fmla="*/ 471171 w 1004418"/>
                <a:gd name="connsiteY138" fmla="*/ 366215 h 1748166"/>
                <a:gd name="connsiteX139" fmla="*/ 471171 w 1004418"/>
                <a:gd name="connsiteY139" fmla="*/ 255160 h 1748166"/>
                <a:gd name="connsiteX140" fmla="*/ 55761 w 1004418"/>
                <a:gd name="connsiteY140" fmla="*/ 255160 h 1748166"/>
                <a:gd name="connsiteX141" fmla="*/ 55761 w 1004418"/>
                <a:gd name="connsiteY141" fmla="*/ 366215 h 1748166"/>
                <a:gd name="connsiteX142" fmla="*/ 235609 w 1004418"/>
                <a:gd name="connsiteY142" fmla="*/ 366215 h 1748166"/>
                <a:gd name="connsiteX143" fmla="*/ 235609 w 1004418"/>
                <a:gd name="connsiteY143" fmla="*/ 255160 h 1748166"/>
                <a:gd name="connsiteX144" fmla="*/ 762448 w 1004418"/>
                <a:gd name="connsiteY144" fmla="*/ 93395 h 1748166"/>
                <a:gd name="connsiteX145" fmla="*/ 762448 w 1004418"/>
                <a:gd name="connsiteY145" fmla="*/ 204450 h 1748166"/>
                <a:gd name="connsiteX146" fmla="*/ 942296 w 1004418"/>
                <a:gd name="connsiteY146" fmla="*/ 204450 h 1748166"/>
                <a:gd name="connsiteX147" fmla="*/ 942296 w 1004418"/>
                <a:gd name="connsiteY147" fmla="*/ 93395 h 1748166"/>
                <a:gd name="connsiteX148" fmla="*/ 526885 w 1004418"/>
                <a:gd name="connsiteY148" fmla="*/ 93395 h 1748166"/>
                <a:gd name="connsiteX149" fmla="*/ 526885 w 1004418"/>
                <a:gd name="connsiteY149" fmla="*/ 204450 h 1748166"/>
                <a:gd name="connsiteX150" fmla="*/ 706733 w 1004418"/>
                <a:gd name="connsiteY150" fmla="*/ 204450 h 1748166"/>
                <a:gd name="connsiteX151" fmla="*/ 706733 w 1004418"/>
                <a:gd name="connsiteY151" fmla="*/ 93395 h 1748166"/>
                <a:gd name="connsiteX152" fmla="*/ 291323 w 1004418"/>
                <a:gd name="connsiteY152" fmla="*/ 93395 h 1748166"/>
                <a:gd name="connsiteX153" fmla="*/ 291323 w 1004418"/>
                <a:gd name="connsiteY153" fmla="*/ 204450 h 1748166"/>
                <a:gd name="connsiteX154" fmla="*/ 471171 w 1004418"/>
                <a:gd name="connsiteY154" fmla="*/ 204450 h 1748166"/>
                <a:gd name="connsiteX155" fmla="*/ 471171 w 1004418"/>
                <a:gd name="connsiteY155" fmla="*/ 93395 h 1748166"/>
                <a:gd name="connsiteX156" fmla="*/ 55761 w 1004418"/>
                <a:gd name="connsiteY156" fmla="*/ 93395 h 1748166"/>
                <a:gd name="connsiteX157" fmla="*/ 55761 w 1004418"/>
                <a:gd name="connsiteY157" fmla="*/ 204450 h 1748166"/>
                <a:gd name="connsiteX158" fmla="*/ 235609 w 1004418"/>
                <a:gd name="connsiteY158" fmla="*/ 204450 h 1748166"/>
                <a:gd name="connsiteX159" fmla="*/ 235609 w 1004418"/>
                <a:gd name="connsiteY159" fmla="*/ 93395 h 1748166"/>
                <a:gd name="connsiteX160" fmla="*/ 0 w 1004418"/>
                <a:gd name="connsiteY160" fmla="*/ 0 h 1748166"/>
                <a:gd name="connsiteX161" fmla="*/ 1004418 w 1004418"/>
                <a:gd name="connsiteY161" fmla="*/ 0 h 1748166"/>
                <a:gd name="connsiteX162" fmla="*/ 1004418 w 1004418"/>
                <a:gd name="connsiteY162" fmla="*/ 1748166 h 1748166"/>
                <a:gd name="connsiteX163" fmla="*/ 0 w 1004418"/>
                <a:gd name="connsiteY163" fmla="*/ 1748166 h 174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004418" h="1748166">
                  <a:moveTo>
                    <a:pt x="762448" y="1549280"/>
                  </a:moveTo>
                  <a:lnTo>
                    <a:pt x="762448" y="1660335"/>
                  </a:lnTo>
                  <a:lnTo>
                    <a:pt x="942296" y="1660335"/>
                  </a:lnTo>
                  <a:lnTo>
                    <a:pt x="942296" y="1549280"/>
                  </a:lnTo>
                  <a:close/>
                  <a:moveTo>
                    <a:pt x="526885" y="1549280"/>
                  </a:moveTo>
                  <a:lnTo>
                    <a:pt x="526885" y="1660335"/>
                  </a:lnTo>
                  <a:lnTo>
                    <a:pt x="706733" y="1660335"/>
                  </a:lnTo>
                  <a:lnTo>
                    <a:pt x="706733" y="1549280"/>
                  </a:lnTo>
                  <a:close/>
                  <a:moveTo>
                    <a:pt x="291323" y="1549280"/>
                  </a:moveTo>
                  <a:lnTo>
                    <a:pt x="291323" y="1660335"/>
                  </a:lnTo>
                  <a:lnTo>
                    <a:pt x="471171" y="1660335"/>
                  </a:lnTo>
                  <a:lnTo>
                    <a:pt x="471171" y="1549280"/>
                  </a:lnTo>
                  <a:close/>
                  <a:moveTo>
                    <a:pt x="55761" y="1549280"/>
                  </a:moveTo>
                  <a:lnTo>
                    <a:pt x="55761" y="1660335"/>
                  </a:lnTo>
                  <a:lnTo>
                    <a:pt x="235609" y="1660335"/>
                  </a:lnTo>
                  <a:lnTo>
                    <a:pt x="235609" y="1549280"/>
                  </a:lnTo>
                  <a:close/>
                  <a:moveTo>
                    <a:pt x="762448" y="1387515"/>
                  </a:moveTo>
                  <a:lnTo>
                    <a:pt x="762448" y="1498570"/>
                  </a:lnTo>
                  <a:lnTo>
                    <a:pt x="942296" y="1498570"/>
                  </a:lnTo>
                  <a:lnTo>
                    <a:pt x="942296" y="1387515"/>
                  </a:lnTo>
                  <a:close/>
                  <a:moveTo>
                    <a:pt x="526885" y="1387515"/>
                  </a:moveTo>
                  <a:lnTo>
                    <a:pt x="526885" y="1498570"/>
                  </a:lnTo>
                  <a:lnTo>
                    <a:pt x="706733" y="1498570"/>
                  </a:lnTo>
                  <a:lnTo>
                    <a:pt x="706733" y="1387515"/>
                  </a:lnTo>
                  <a:close/>
                  <a:moveTo>
                    <a:pt x="291323" y="1387515"/>
                  </a:moveTo>
                  <a:lnTo>
                    <a:pt x="291323" y="1498570"/>
                  </a:lnTo>
                  <a:lnTo>
                    <a:pt x="471171" y="1498570"/>
                  </a:lnTo>
                  <a:lnTo>
                    <a:pt x="471171" y="1387515"/>
                  </a:lnTo>
                  <a:close/>
                  <a:moveTo>
                    <a:pt x="55761" y="1387515"/>
                  </a:moveTo>
                  <a:lnTo>
                    <a:pt x="55761" y="1498570"/>
                  </a:lnTo>
                  <a:lnTo>
                    <a:pt x="235609" y="1498570"/>
                  </a:lnTo>
                  <a:lnTo>
                    <a:pt x="235609" y="1387515"/>
                  </a:lnTo>
                  <a:close/>
                  <a:moveTo>
                    <a:pt x="762448" y="1225750"/>
                  </a:moveTo>
                  <a:lnTo>
                    <a:pt x="762448" y="1336805"/>
                  </a:lnTo>
                  <a:lnTo>
                    <a:pt x="942296" y="1336805"/>
                  </a:lnTo>
                  <a:lnTo>
                    <a:pt x="942296" y="1225750"/>
                  </a:lnTo>
                  <a:close/>
                  <a:moveTo>
                    <a:pt x="526885" y="1225750"/>
                  </a:moveTo>
                  <a:lnTo>
                    <a:pt x="526885" y="1336805"/>
                  </a:lnTo>
                  <a:lnTo>
                    <a:pt x="706733" y="1336805"/>
                  </a:lnTo>
                  <a:lnTo>
                    <a:pt x="706733" y="1225750"/>
                  </a:lnTo>
                  <a:close/>
                  <a:moveTo>
                    <a:pt x="291323" y="1225750"/>
                  </a:moveTo>
                  <a:lnTo>
                    <a:pt x="291323" y="1336805"/>
                  </a:lnTo>
                  <a:lnTo>
                    <a:pt x="471171" y="1336805"/>
                  </a:lnTo>
                  <a:lnTo>
                    <a:pt x="471171" y="1225750"/>
                  </a:lnTo>
                  <a:close/>
                  <a:moveTo>
                    <a:pt x="55761" y="1225750"/>
                  </a:moveTo>
                  <a:lnTo>
                    <a:pt x="55761" y="1336805"/>
                  </a:lnTo>
                  <a:lnTo>
                    <a:pt x="235609" y="1336805"/>
                  </a:lnTo>
                  <a:lnTo>
                    <a:pt x="235609" y="1225750"/>
                  </a:lnTo>
                  <a:close/>
                  <a:moveTo>
                    <a:pt x="762448" y="1063985"/>
                  </a:moveTo>
                  <a:lnTo>
                    <a:pt x="762448" y="1175040"/>
                  </a:lnTo>
                  <a:lnTo>
                    <a:pt x="942296" y="1175040"/>
                  </a:lnTo>
                  <a:lnTo>
                    <a:pt x="942296" y="1063985"/>
                  </a:lnTo>
                  <a:close/>
                  <a:moveTo>
                    <a:pt x="526885" y="1063985"/>
                  </a:moveTo>
                  <a:lnTo>
                    <a:pt x="526885" y="1175040"/>
                  </a:lnTo>
                  <a:lnTo>
                    <a:pt x="706733" y="1175040"/>
                  </a:lnTo>
                  <a:lnTo>
                    <a:pt x="706733" y="1063985"/>
                  </a:lnTo>
                  <a:close/>
                  <a:moveTo>
                    <a:pt x="291323" y="1063985"/>
                  </a:moveTo>
                  <a:lnTo>
                    <a:pt x="291323" y="1175040"/>
                  </a:lnTo>
                  <a:lnTo>
                    <a:pt x="471171" y="1175040"/>
                  </a:lnTo>
                  <a:lnTo>
                    <a:pt x="471171" y="1063985"/>
                  </a:lnTo>
                  <a:close/>
                  <a:moveTo>
                    <a:pt x="55761" y="1063985"/>
                  </a:moveTo>
                  <a:lnTo>
                    <a:pt x="55761" y="1175040"/>
                  </a:lnTo>
                  <a:lnTo>
                    <a:pt x="235609" y="1175040"/>
                  </a:lnTo>
                  <a:lnTo>
                    <a:pt x="235609" y="1063985"/>
                  </a:lnTo>
                  <a:close/>
                  <a:moveTo>
                    <a:pt x="762448" y="902220"/>
                  </a:moveTo>
                  <a:lnTo>
                    <a:pt x="762448" y="1013275"/>
                  </a:lnTo>
                  <a:lnTo>
                    <a:pt x="942296" y="1013275"/>
                  </a:lnTo>
                  <a:lnTo>
                    <a:pt x="942296" y="902220"/>
                  </a:lnTo>
                  <a:close/>
                  <a:moveTo>
                    <a:pt x="526885" y="902220"/>
                  </a:moveTo>
                  <a:lnTo>
                    <a:pt x="526885" y="1013275"/>
                  </a:lnTo>
                  <a:lnTo>
                    <a:pt x="706733" y="1013275"/>
                  </a:lnTo>
                  <a:lnTo>
                    <a:pt x="706733" y="902220"/>
                  </a:lnTo>
                  <a:close/>
                  <a:moveTo>
                    <a:pt x="291323" y="902220"/>
                  </a:moveTo>
                  <a:lnTo>
                    <a:pt x="291323" y="1013275"/>
                  </a:lnTo>
                  <a:lnTo>
                    <a:pt x="471171" y="1013275"/>
                  </a:lnTo>
                  <a:lnTo>
                    <a:pt x="471171" y="902220"/>
                  </a:lnTo>
                  <a:close/>
                  <a:moveTo>
                    <a:pt x="55761" y="902220"/>
                  </a:moveTo>
                  <a:lnTo>
                    <a:pt x="55761" y="1013275"/>
                  </a:lnTo>
                  <a:lnTo>
                    <a:pt x="235609" y="1013275"/>
                  </a:lnTo>
                  <a:lnTo>
                    <a:pt x="235609" y="902220"/>
                  </a:lnTo>
                  <a:close/>
                  <a:moveTo>
                    <a:pt x="762448" y="740455"/>
                  </a:moveTo>
                  <a:lnTo>
                    <a:pt x="762448" y="851510"/>
                  </a:lnTo>
                  <a:lnTo>
                    <a:pt x="942296" y="851510"/>
                  </a:lnTo>
                  <a:lnTo>
                    <a:pt x="942296" y="740455"/>
                  </a:lnTo>
                  <a:close/>
                  <a:moveTo>
                    <a:pt x="526885" y="740455"/>
                  </a:moveTo>
                  <a:lnTo>
                    <a:pt x="526885" y="851510"/>
                  </a:lnTo>
                  <a:lnTo>
                    <a:pt x="706733" y="851510"/>
                  </a:lnTo>
                  <a:lnTo>
                    <a:pt x="706733" y="740455"/>
                  </a:lnTo>
                  <a:close/>
                  <a:moveTo>
                    <a:pt x="291323" y="740455"/>
                  </a:moveTo>
                  <a:lnTo>
                    <a:pt x="291323" y="851510"/>
                  </a:lnTo>
                  <a:lnTo>
                    <a:pt x="471171" y="851510"/>
                  </a:lnTo>
                  <a:lnTo>
                    <a:pt x="471171" y="740455"/>
                  </a:lnTo>
                  <a:close/>
                  <a:moveTo>
                    <a:pt x="55761" y="740455"/>
                  </a:moveTo>
                  <a:lnTo>
                    <a:pt x="55761" y="851510"/>
                  </a:lnTo>
                  <a:lnTo>
                    <a:pt x="235609" y="851510"/>
                  </a:lnTo>
                  <a:lnTo>
                    <a:pt x="235609" y="740455"/>
                  </a:lnTo>
                  <a:close/>
                  <a:moveTo>
                    <a:pt x="762448" y="578690"/>
                  </a:moveTo>
                  <a:lnTo>
                    <a:pt x="762448" y="689745"/>
                  </a:lnTo>
                  <a:lnTo>
                    <a:pt x="942296" y="689745"/>
                  </a:lnTo>
                  <a:lnTo>
                    <a:pt x="942296" y="578690"/>
                  </a:lnTo>
                  <a:close/>
                  <a:moveTo>
                    <a:pt x="526885" y="578690"/>
                  </a:moveTo>
                  <a:lnTo>
                    <a:pt x="526885" y="689745"/>
                  </a:lnTo>
                  <a:lnTo>
                    <a:pt x="706733" y="689745"/>
                  </a:lnTo>
                  <a:lnTo>
                    <a:pt x="706733" y="578690"/>
                  </a:lnTo>
                  <a:close/>
                  <a:moveTo>
                    <a:pt x="291323" y="578690"/>
                  </a:moveTo>
                  <a:lnTo>
                    <a:pt x="291323" y="689745"/>
                  </a:lnTo>
                  <a:lnTo>
                    <a:pt x="471171" y="689745"/>
                  </a:lnTo>
                  <a:lnTo>
                    <a:pt x="471171" y="578690"/>
                  </a:lnTo>
                  <a:close/>
                  <a:moveTo>
                    <a:pt x="55761" y="578690"/>
                  </a:moveTo>
                  <a:lnTo>
                    <a:pt x="55761" y="689745"/>
                  </a:lnTo>
                  <a:lnTo>
                    <a:pt x="235609" y="689745"/>
                  </a:lnTo>
                  <a:lnTo>
                    <a:pt x="235609" y="578690"/>
                  </a:lnTo>
                  <a:close/>
                  <a:moveTo>
                    <a:pt x="762448" y="416925"/>
                  </a:moveTo>
                  <a:lnTo>
                    <a:pt x="762448" y="527980"/>
                  </a:lnTo>
                  <a:lnTo>
                    <a:pt x="942296" y="527980"/>
                  </a:lnTo>
                  <a:lnTo>
                    <a:pt x="942296" y="416925"/>
                  </a:lnTo>
                  <a:close/>
                  <a:moveTo>
                    <a:pt x="526885" y="416925"/>
                  </a:moveTo>
                  <a:lnTo>
                    <a:pt x="526885" y="527980"/>
                  </a:lnTo>
                  <a:lnTo>
                    <a:pt x="706733" y="527980"/>
                  </a:lnTo>
                  <a:lnTo>
                    <a:pt x="706733" y="416925"/>
                  </a:lnTo>
                  <a:close/>
                  <a:moveTo>
                    <a:pt x="291323" y="416925"/>
                  </a:moveTo>
                  <a:lnTo>
                    <a:pt x="291323" y="527980"/>
                  </a:lnTo>
                  <a:lnTo>
                    <a:pt x="471171" y="527980"/>
                  </a:lnTo>
                  <a:lnTo>
                    <a:pt x="471171" y="416925"/>
                  </a:lnTo>
                  <a:close/>
                  <a:moveTo>
                    <a:pt x="55761" y="416925"/>
                  </a:moveTo>
                  <a:lnTo>
                    <a:pt x="55761" y="527980"/>
                  </a:lnTo>
                  <a:lnTo>
                    <a:pt x="235609" y="527980"/>
                  </a:lnTo>
                  <a:lnTo>
                    <a:pt x="235609" y="416925"/>
                  </a:lnTo>
                  <a:close/>
                  <a:moveTo>
                    <a:pt x="762448" y="255160"/>
                  </a:moveTo>
                  <a:lnTo>
                    <a:pt x="762448" y="366215"/>
                  </a:lnTo>
                  <a:lnTo>
                    <a:pt x="942296" y="366215"/>
                  </a:lnTo>
                  <a:lnTo>
                    <a:pt x="942296" y="255160"/>
                  </a:lnTo>
                  <a:close/>
                  <a:moveTo>
                    <a:pt x="526885" y="255160"/>
                  </a:moveTo>
                  <a:lnTo>
                    <a:pt x="526885" y="366215"/>
                  </a:lnTo>
                  <a:lnTo>
                    <a:pt x="706733" y="366215"/>
                  </a:lnTo>
                  <a:lnTo>
                    <a:pt x="706733" y="255160"/>
                  </a:lnTo>
                  <a:close/>
                  <a:moveTo>
                    <a:pt x="291323" y="255160"/>
                  </a:moveTo>
                  <a:lnTo>
                    <a:pt x="291323" y="366215"/>
                  </a:lnTo>
                  <a:lnTo>
                    <a:pt x="471171" y="366215"/>
                  </a:lnTo>
                  <a:lnTo>
                    <a:pt x="471171" y="255160"/>
                  </a:lnTo>
                  <a:close/>
                  <a:moveTo>
                    <a:pt x="55761" y="255160"/>
                  </a:moveTo>
                  <a:lnTo>
                    <a:pt x="55761" y="366215"/>
                  </a:lnTo>
                  <a:lnTo>
                    <a:pt x="235609" y="366215"/>
                  </a:lnTo>
                  <a:lnTo>
                    <a:pt x="235609" y="255160"/>
                  </a:lnTo>
                  <a:close/>
                  <a:moveTo>
                    <a:pt x="762448" y="93395"/>
                  </a:moveTo>
                  <a:lnTo>
                    <a:pt x="762448" y="204450"/>
                  </a:lnTo>
                  <a:lnTo>
                    <a:pt x="942296" y="204450"/>
                  </a:lnTo>
                  <a:lnTo>
                    <a:pt x="942296" y="93395"/>
                  </a:lnTo>
                  <a:close/>
                  <a:moveTo>
                    <a:pt x="526885" y="93395"/>
                  </a:moveTo>
                  <a:lnTo>
                    <a:pt x="526885" y="204450"/>
                  </a:lnTo>
                  <a:lnTo>
                    <a:pt x="706733" y="204450"/>
                  </a:lnTo>
                  <a:lnTo>
                    <a:pt x="706733" y="93395"/>
                  </a:lnTo>
                  <a:close/>
                  <a:moveTo>
                    <a:pt x="291323" y="93395"/>
                  </a:moveTo>
                  <a:lnTo>
                    <a:pt x="291323" y="204450"/>
                  </a:lnTo>
                  <a:lnTo>
                    <a:pt x="471171" y="204450"/>
                  </a:lnTo>
                  <a:lnTo>
                    <a:pt x="471171" y="93395"/>
                  </a:lnTo>
                  <a:close/>
                  <a:moveTo>
                    <a:pt x="55761" y="93395"/>
                  </a:moveTo>
                  <a:lnTo>
                    <a:pt x="55761" y="204450"/>
                  </a:lnTo>
                  <a:lnTo>
                    <a:pt x="235609" y="204450"/>
                  </a:lnTo>
                  <a:lnTo>
                    <a:pt x="235609" y="93395"/>
                  </a:lnTo>
                  <a:close/>
                  <a:moveTo>
                    <a:pt x="0" y="0"/>
                  </a:moveTo>
                  <a:lnTo>
                    <a:pt x="1004418" y="0"/>
                  </a:lnTo>
                  <a:lnTo>
                    <a:pt x="1004418" y="1748166"/>
                  </a:lnTo>
                  <a:lnTo>
                    <a:pt x="0" y="17481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204" name="Freeform 203"/>
            <p:cNvSpPr/>
            <p:nvPr/>
          </p:nvSpPr>
          <p:spPr>
            <a:xfrm>
              <a:off x="1664036" y="4253206"/>
              <a:ext cx="417678" cy="1360203"/>
            </a:xfrm>
            <a:custGeom>
              <a:avLst/>
              <a:gdLst>
                <a:gd name="connsiteX0" fmla="*/ 396674 w 522562"/>
                <a:gd name="connsiteY0" fmla="*/ 1580850 h 1701769"/>
                <a:gd name="connsiteX1" fmla="*/ 396674 w 522562"/>
                <a:gd name="connsiteY1" fmla="*/ 1648369 h 1701769"/>
                <a:gd name="connsiteX2" fmla="*/ 490242 w 522562"/>
                <a:gd name="connsiteY2" fmla="*/ 1648369 h 1701769"/>
                <a:gd name="connsiteX3" fmla="*/ 490242 w 522562"/>
                <a:gd name="connsiteY3" fmla="*/ 1580850 h 1701769"/>
                <a:gd name="connsiteX4" fmla="*/ 274119 w 522562"/>
                <a:gd name="connsiteY4" fmla="*/ 1580850 h 1701769"/>
                <a:gd name="connsiteX5" fmla="*/ 274119 w 522562"/>
                <a:gd name="connsiteY5" fmla="*/ 1648369 h 1701769"/>
                <a:gd name="connsiteX6" fmla="*/ 367687 w 522562"/>
                <a:gd name="connsiteY6" fmla="*/ 1648369 h 1701769"/>
                <a:gd name="connsiteX7" fmla="*/ 367687 w 522562"/>
                <a:gd name="connsiteY7" fmla="*/ 1580850 h 1701769"/>
                <a:gd name="connsiteX8" fmla="*/ 151565 w 522562"/>
                <a:gd name="connsiteY8" fmla="*/ 1580850 h 1701769"/>
                <a:gd name="connsiteX9" fmla="*/ 151565 w 522562"/>
                <a:gd name="connsiteY9" fmla="*/ 1648369 h 1701769"/>
                <a:gd name="connsiteX10" fmla="*/ 245133 w 522562"/>
                <a:gd name="connsiteY10" fmla="*/ 1648369 h 1701769"/>
                <a:gd name="connsiteX11" fmla="*/ 245133 w 522562"/>
                <a:gd name="connsiteY11" fmla="*/ 1580850 h 1701769"/>
                <a:gd name="connsiteX12" fmla="*/ 29010 w 522562"/>
                <a:gd name="connsiteY12" fmla="*/ 1580850 h 1701769"/>
                <a:gd name="connsiteX13" fmla="*/ 29010 w 522562"/>
                <a:gd name="connsiteY13" fmla="*/ 1648369 h 1701769"/>
                <a:gd name="connsiteX14" fmla="*/ 122579 w 522562"/>
                <a:gd name="connsiteY14" fmla="*/ 1648369 h 1701769"/>
                <a:gd name="connsiteX15" fmla="*/ 122579 w 522562"/>
                <a:gd name="connsiteY15" fmla="*/ 1580850 h 1701769"/>
                <a:gd name="connsiteX16" fmla="*/ 396674 w 522562"/>
                <a:gd name="connsiteY16" fmla="*/ 1482500 h 1701769"/>
                <a:gd name="connsiteX17" fmla="*/ 396674 w 522562"/>
                <a:gd name="connsiteY17" fmla="*/ 1550019 h 1701769"/>
                <a:gd name="connsiteX18" fmla="*/ 490242 w 522562"/>
                <a:gd name="connsiteY18" fmla="*/ 1550019 h 1701769"/>
                <a:gd name="connsiteX19" fmla="*/ 490242 w 522562"/>
                <a:gd name="connsiteY19" fmla="*/ 1482500 h 1701769"/>
                <a:gd name="connsiteX20" fmla="*/ 274119 w 522562"/>
                <a:gd name="connsiteY20" fmla="*/ 1482500 h 1701769"/>
                <a:gd name="connsiteX21" fmla="*/ 274119 w 522562"/>
                <a:gd name="connsiteY21" fmla="*/ 1550019 h 1701769"/>
                <a:gd name="connsiteX22" fmla="*/ 367687 w 522562"/>
                <a:gd name="connsiteY22" fmla="*/ 1550019 h 1701769"/>
                <a:gd name="connsiteX23" fmla="*/ 367687 w 522562"/>
                <a:gd name="connsiteY23" fmla="*/ 1482500 h 1701769"/>
                <a:gd name="connsiteX24" fmla="*/ 151565 w 522562"/>
                <a:gd name="connsiteY24" fmla="*/ 1482500 h 1701769"/>
                <a:gd name="connsiteX25" fmla="*/ 151565 w 522562"/>
                <a:gd name="connsiteY25" fmla="*/ 1550019 h 1701769"/>
                <a:gd name="connsiteX26" fmla="*/ 245133 w 522562"/>
                <a:gd name="connsiteY26" fmla="*/ 1550019 h 1701769"/>
                <a:gd name="connsiteX27" fmla="*/ 245133 w 522562"/>
                <a:gd name="connsiteY27" fmla="*/ 1482500 h 1701769"/>
                <a:gd name="connsiteX28" fmla="*/ 29010 w 522562"/>
                <a:gd name="connsiteY28" fmla="*/ 1482500 h 1701769"/>
                <a:gd name="connsiteX29" fmla="*/ 29010 w 522562"/>
                <a:gd name="connsiteY29" fmla="*/ 1550019 h 1701769"/>
                <a:gd name="connsiteX30" fmla="*/ 122579 w 522562"/>
                <a:gd name="connsiteY30" fmla="*/ 1550019 h 1701769"/>
                <a:gd name="connsiteX31" fmla="*/ 122579 w 522562"/>
                <a:gd name="connsiteY31" fmla="*/ 1482500 h 1701769"/>
                <a:gd name="connsiteX32" fmla="*/ 396674 w 522562"/>
                <a:gd name="connsiteY32" fmla="*/ 1384149 h 1701769"/>
                <a:gd name="connsiteX33" fmla="*/ 396674 w 522562"/>
                <a:gd name="connsiteY33" fmla="*/ 1451669 h 1701769"/>
                <a:gd name="connsiteX34" fmla="*/ 490242 w 522562"/>
                <a:gd name="connsiteY34" fmla="*/ 1451669 h 1701769"/>
                <a:gd name="connsiteX35" fmla="*/ 490242 w 522562"/>
                <a:gd name="connsiteY35" fmla="*/ 1384149 h 1701769"/>
                <a:gd name="connsiteX36" fmla="*/ 274119 w 522562"/>
                <a:gd name="connsiteY36" fmla="*/ 1384149 h 1701769"/>
                <a:gd name="connsiteX37" fmla="*/ 274119 w 522562"/>
                <a:gd name="connsiteY37" fmla="*/ 1451669 h 1701769"/>
                <a:gd name="connsiteX38" fmla="*/ 367687 w 522562"/>
                <a:gd name="connsiteY38" fmla="*/ 1451669 h 1701769"/>
                <a:gd name="connsiteX39" fmla="*/ 367687 w 522562"/>
                <a:gd name="connsiteY39" fmla="*/ 1384149 h 1701769"/>
                <a:gd name="connsiteX40" fmla="*/ 151565 w 522562"/>
                <a:gd name="connsiteY40" fmla="*/ 1384149 h 1701769"/>
                <a:gd name="connsiteX41" fmla="*/ 151565 w 522562"/>
                <a:gd name="connsiteY41" fmla="*/ 1451669 h 1701769"/>
                <a:gd name="connsiteX42" fmla="*/ 245133 w 522562"/>
                <a:gd name="connsiteY42" fmla="*/ 1451669 h 1701769"/>
                <a:gd name="connsiteX43" fmla="*/ 245133 w 522562"/>
                <a:gd name="connsiteY43" fmla="*/ 1384149 h 1701769"/>
                <a:gd name="connsiteX44" fmla="*/ 29010 w 522562"/>
                <a:gd name="connsiteY44" fmla="*/ 1384149 h 1701769"/>
                <a:gd name="connsiteX45" fmla="*/ 29010 w 522562"/>
                <a:gd name="connsiteY45" fmla="*/ 1451669 h 1701769"/>
                <a:gd name="connsiteX46" fmla="*/ 122579 w 522562"/>
                <a:gd name="connsiteY46" fmla="*/ 1451669 h 1701769"/>
                <a:gd name="connsiteX47" fmla="*/ 122579 w 522562"/>
                <a:gd name="connsiteY47" fmla="*/ 1384149 h 1701769"/>
                <a:gd name="connsiteX48" fmla="*/ 396674 w 522562"/>
                <a:gd name="connsiteY48" fmla="*/ 1285799 h 1701769"/>
                <a:gd name="connsiteX49" fmla="*/ 396674 w 522562"/>
                <a:gd name="connsiteY49" fmla="*/ 1353318 h 1701769"/>
                <a:gd name="connsiteX50" fmla="*/ 490242 w 522562"/>
                <a:gd name="connsiteY50" fmla="*/ 1353318 h 1701769"/>
                <a:gd name="connsiteX51" fmla="*/ 490242 w 522562"/>
                <a:gd name="connsiteY51" fmla="*/ 1285799 h 1701769"/>
                <a:gd name="connsiteX52" fmla="*/ 274119 w 522562"/>
                <a:gd name="connsiteY52" fmla="*/ 1285799 h 1701769"/>
                <a:gd name="connsiteX53" fmla="*/ 274119 w 522562"/>
                <a:gd name="connsiteY53" fmla="*/ 1353318 h 1701769"/>
                <a:gd name="connsiteX54" fmla="*/ 367687 w 522562"/>
                <a:gd name="connsiteY54" fmla="*/ 1353318 h 1701769"/>
                <a:gd name="connsiteX55" fmla="*/ 367687 w 522562"/>
                <a:gd name="connsiteY55" fmla="*/ 1285799 h 1701769"/>
                <a:gd name="connsiteX56" fmla="*/ 151565 w 522562"/>
                <a:gd name="connsiteY56" fmla="*/ 1285799 h 1701769"/>
                <a:gd name="connsiteX57" fmla="*/ 151565 w 522562"/>
                <a:gd name="connsiteY57" fmla="*/ 1353318 h 1701769"/>
                <a:gd name="connsiteX58" fmla="*/ 245133 w 522562"/>
                <a:gd name="connsiteY58" fmla="*/ 1353318 h 1701769"/>
                <a:gd name="connsiteX59" fmla="*/ 245133 w 522562"/>
                <a:gd name="connsiteY59" fmla="*/ 1285799 h 1701769"/>
                <a:gd name="connsiteX60" fmla="*/ 29010 w 522562"/>
                <a:gd name="connsiteY60" fmla="*/ 1285799 h 1701769"/>
                <a:gd name="connsiteX61" fmla="*/ 29010 w 522562"/>
                <a:gd name="connsiteY61" fmla="*/ 1353318 h 1701769"/>
                <a:gd name="connsiteX62" fmla="*/ 122579 w 522562"/>
                <a:gd name="connsiteY62" fmla="*/ 1353318 h 1701769"/>
                <a:gd name="connsiteX63" fmla="*/ 122579 w 522562"/>
                <a:gd name="connsiteY63" fmla="*/ 1285799 h 1701769"/>
                <a:gd name="connsiteX64" fmla="*/ 396674 w 522562"/>
                <a:gd name="connsiteY64" fmla="*/ 1187448 h 1701769"/>
                <a:gd name="connsiteX65" fmla="*/ 396674 w 522562"/>
                <a:gd name="connsiteY65" fmla="*/ 1254968 h 1701769"/>
                <a:gd name="connsiteX66" fmla="*/ 490242 w 522562"/>
                <a:gd name="connsiteY66" fmla="*/ 1254968 h 1701769"/>
                <a:gd name="connsiteX67" fmla="*/ 490242 w 522562"/>
                <a:gd name="connsiteY67" fmla="*/ 1187448 h 1701769"/>
                <a:gd name="connsiteX68" fmla="*/ 274119 w 522562"/>
                <a:gd name="connsiteY68" fmla="*/ 1187448 h 1701769"/>
                <a:gd name="connsiteX69" fmla="*/ 274119 w 522562"/>
                <a:gd name="connsiteY69" fmla="*/ 1254968 h 1701769"/>
                <a:gd name="connsiteX70" fmla="*/ 367687 w 522562"/>
                <a:gd name="connsiteY70" fmla="*/ 1254968 h 1701769"/>
                <a:gd name="connsiteX71" fmla="*/ 367687 w 522562"/>
                <a:gd name="connsiteY71" fmla="*/ 1187448 h 1701769"/>
                <a:gd name="connsiteX72" fmla="*/ 151565 w 522562"/>
                <a:gd name="connsiteY72" fmla="*/ 1187448 h 1701769"/>
                <a:gd name="connsiteX73" fmla="*/ 151565 w 522562"/>
                <a:gd name="connsiteY73" fmla="*/ 1254968 h 1701769"/>
                <a:gd name="connsiteX74" fmla="*/ 245133 w 522562"/>
                <a:gd name="connsiteY74" fmla="*/ 1254968 h 1701769"/>
                <a:gd name="connsiteX75" fmla="*/ 245133 w 522562"/>
                <a:gd name="connsiteY75" fmla="*/ 1187448 h 1701769"/>
                <a:gd name="connsiteX76" fmla="*/ 29010 w 522562"/>
                <a:gd name="connsiteY76" fmla="*/ 1187448 h 1701769"/>
                <a:gd name="connsiteX77" fmla="*/ 29010 w 522562"/>
                <a:gd name="connsiteY77" fmla="*/ 1254968 h 1701769"/>
                <a:gd name="connsiteX78" fmla="*/ 122579 w 522562"/>
                <a:gd name="connsiteY78" fmla="*/ 1254968 h 1701769"/>
                <a:gd name="connsiteX79" fmla="*/ 122579 w 522562"/>
                <a:gd name="connsiteY79" fmla="*/ 1187448 h 1701769"/>
                <a:gd name="connsiteX80" fmla="*/ 396674 w 522562"/>
                <a:gd name="connsiteY80" fmla="*/ 1089098 h 1701769"/>
                <a:gd name="connsiteX81" fmla="*/ 396674 w 522562"/>
                <a:gd name="connsiteY81" fmla="*/ 1156618 h 1701769"/>
                <a:gd name="connsiteX82" fmla="*/ 490242 w 522562"/>
                <a:gd name="connsiteY82" fmla="*/ 1156618 h 1701769"/>
                <a:gd name="connsiteX83" fmla="*/ 490242 w 522562"/>
                <a:gd name="connsiteY83" fmla="*/ 1089098 h 1701769"/>
                <a:gd name="connsiteX84" fmla="*/ 274119 w 522562"/>
                <a:gd name="connsiteY84" fmla="*/ 1089098 h 1701769"/>
                <a:gd name="connsiteX85" fmla="*/ 274119 w 522562"/>
                <a:gd name="connsiteY85" fmla="*/ 1156618 h 1701769"/>
                <a:gd name="connsiteX86" fmla="*/ 367687 w 522562"/>
                <a:gd name="connsiteY86" fmla="*/ 1156618 h 1701769"/>
                <a:gd name="connsiteX87" fmla="*/ 367687 w 522562"/>
                <a:gd name="connsiteY87" fmla="*/ 1089098 h 1701769"/>
                <a:gd name="connsiteX88" fmla="*/ 151565 w 522562"/>
                <a:gd name="connsiteY88" fmla="*/ 1089098 h 1701769"/>
                <a:gd name="connsiteX89" fmla="*/ 151565 w 522562"/>
                <a:gd name="connsiteY89" fmla="*/ 1156618 h 1701769"/>
                <a:gd name="connsiteX90" fmla="*/ 245133 w 522562"/>
                <a:gd name="connsiteY90" fmla="*/ 1156618 h 1701769"/>
                <a:gd name="connsiteX91" fmla="*/ 245133 w 522562"/>
                <a:gd name="connsiteY91" fmla="*/ 1089098 h 1701769"/>
                <a:gd name="connsiteX92" fmla="*/ 29010 w 522562"/>
                <a:gd name="connsiteY92" fmla="*/ 1089098 h 1701769"/>
                <a:gd name="connsiteX93" fmla="*/ 29010 w 522562"/>
                <a:gd name="connsiteY93" fmla="*/ 1156618 h 1701769"/>
                <a:gd name="connsiteX94" fmla="*/ 122579 w 522562"/>
                <a:gd name="connsiteY94" fmla="*/ 1156618 h 1701769"/>
                <a:gd name="connsiteX95" fmla="*/ 122579 w 522562"/>
                <a:gd name="connsiteY95" fmla="*/ 1089098 h 1701769"/>
                <a:gd name="connsiteX96" fmla="*/ 396674 w 522562"/>
                <a:gd name="connsiteY96" fmla="*/ 990748 h 1701769"/>
                <a:gd name="connsiteX97" fmla="*/ 396674 w 522562"/>
                <a:gd name="connsiteY97" fmla="*/ 1058267 h 1701769"/>
                <a:gd name="connsiteX98" fmla="*/ 490242 w 522562"/>
                <a:gd name="connsiteY98" fmla="*/ 1058267 h 1701769"/>
                <a:gd name="connsiteX99" fmla="*/ 490242 w 522562"/>
                <a:gd name="connsiteY99" fmla="*/ 990748 h 1701769"/>
                <a:gd name="connsiteX100" fmla="*/ 274119 w 522562"/>
                <a:gd name="connsiteY100" fmla="*/ 990748 h 1701769"/>
                <a:gd name="connsiteX101" fmla="*/ 274119 w 522562"/>
                <a:gd name="connsiteY101" fmla="*/ 1058267 h 1701769"/>
                <a:gd name="connsiteX102" fmla="*/ 367687 w 522562"/>
                <a:gd name="connsiteY102" fmla="*/ 1058267 h 1701769"/>
                <a:gd name="connsiteX103" fmla="*/ 367687 w 522562"/>
                <a:gd name="connsiteY103" fmla="*/ 990748 h 1701769"/>
                <a:gd name="connsiteX104" fmla="*/ 151565 w 522562"/>
                <a:gd name="connsiteY104" fmla="*/ 990748 h 1701769"/>
                <a:gd name="connsiteX105" fmla="*/ 151565 w 522562"/>
                <a:gd name="connsiteY105" fmla="*/ 1058267 h 1701769"/>
                <a:gd name="connsiteX106" fmla="*/ 245133 w 522562"/>
                <a:gd name="connsiteY106" fmla="*/ 1058267 h 1701769"/>
                <a:gd name="connsiteX107" fmla="*/ 245133 w 522562"/>
                <a:gd name="connsiteY107" fmla="*/ 990748 h 1701769"/>
                <a:gd name="connsiteX108" fmla="*/ 29010 w 522562"/>
                <a:gd name="connsiteY108" fmla="*/ 990748 h 1701769"/>
                <a:gd name="connsiteX109" fmla="*/ 29010 w 522562"/>
                <a:gd name="connsiteY109" fmla="*/ 1058267 h 1701769"/>
                <a:gd name="connsiteX110" fmla="*/ 122579 w 522562"/>
                <a:gd name="connsiteY110" fmla="*/ 1058267 h 1701769"/>
                <a:gd name="connsiteX111" fmla="*/ 122579 w 522562"/>
                <a:gd name="connsiteY111" fmla="*/ 990748 h 1701769"/>
                <a:gd name="connsiteX112" fmla="*/ 396674 w 522562"/>
                <a:gd name="connsiteY112" fmla="*/ 892397 h 1701769"/>
                <a:gd name="connsiteX113" fmla="*/ 396674 w 522562"/>
                <a:gd name="connsiteY113" fmla="*/ 959917 h 1701769"/>
                <a:gd name="connsiteX114" fmla="*/ 490242 w 522562"/>
                <a:gd name="connsiteY114" fmla="*/ 959917 h 1701769"/>
                <a:gd name="connsiteX115" fmla="*/ 490242 w 522562"/>
                <a:gd name="connsiteY115" fmla="*/ 892397 h 1701769"/>
                <a:gd name="connsiteX116" fmla="*/ 274119 w 522562"/>
                <a:gd name="connsiteY116" fmla="*/ 892397 h 1701769"/>
                <a:gd name="connsiteX117" fmla="*/ 274119 w 522562"/>
                <a:gd name="connsiteY117" fmla="*/ 959917 h 1701769"/>
                <a:gd name="connsiteX118" fmla="*/ 367687 w 522562"/>
                <a:gd name="connsiteY118" fmla="*/ 959917 h 1701769"/>
                <a:gd name="connsiteX119" fmla="*/ 367687 w 522562"/>
                <a:gd name="connsiteY119" fmla="*/ 892397 h 1701769"/>
                <a:gd name="connsiteX120" fmla="*/ 151565 w 522562"/>
                <a:gd name="connsiteY120" fmla="*/ 892397 h 1701769"/>
                <a:gd name="connsiteX121" fmla="*/ 151565 w 522562"/>
                <a:gd name="connsiteY121" fmla="*/ 959917 h 1701769"/>
                <a:gd name="connsiteX122" fmla="*/ 245133 w 522562"/>
                <a:gd name="connsiteY122" fmla="*/ 959917 h 1701769"/>
                <a:gd name="connsiteX123" fmla="*/ 245133 w 522562"/>
                <a:gd name="connsiteY123" fmla="*/ 892397 h 1701769"/>
                <a:gd name="connsiteX124" fmla="*/ 29010 w 522562"/>
                <a:gd name="connsiteY124" fmla="*/ 892397 h 1701769"/>
                <a:gd name="connsiteX125" fmla="*/ 29010 w 522562"/>
                <a:gd name="connsiteY125" fmla="*/ 959917 h 1701769"/>
                <a:gd name="connsiteX126" fmla="*/ 122579 w 522562"/>
                <a:gd name="connsiteY126" fmla="*/ 959917 h 1701769"/>
                <a:gd name="connsiteX127" fmla="*/ 122579 w 522562"/>
                <a:gd name="connsiteY127" fmla="*/ 892397 h 1701769"/>
                <a:gd name="connsiteX128" fmla="*/ 396674 w 522562"/>
                <a:gd name="connsiteY128" fmla="*/ 794047 h 1701769"/>
                <a:gd name="connsiteX129" fmla="*/ 396674 w 522562"/>
                <a:gd name="connsiteY129" fmla="*/ 861567 h 1701769"/>
                <a:gd name="connsiteX130" fmla="*/ 490242 w 522562"/>
                <a:gd name="connsiteY130" fmla="*/ 861567 h 1701769"/>
                <a:gd name="connsiteX131" fmla="*/ 490242 w 522562"/>
                <a:gd name="connsiteY131" fmla="*/ 794047 h 1701769"/>
                <a:gd name="connsiteX132" fmla="*/ 274119 w 522562"/>
                <a:gd name="connsiteY132" fmla="*/ 794047 h 1701769"/>
                <a:gd name="connsiteX133" fmla="*/ 274119 w 522562"/>
                <a:gd name="connsiteY133" fmla="*/ 861567 h 1701769"/>
                <a:gd name="connsiteX134" fmla="*/ 367687 w 522562"/>
                <a:gd name="connsiteY134" fmla="*/ 861567 h 1701769"/>
                <a:gd name="connsiteX135" fmla="*/ 367687 w 522562"/>
                <a:gd name="connsiteY135" fmla="*/ 794047 h 1701769"/>
                <a:gd name="connsiteX136" fmla="*/ 151565 w 522562"/>
                <a:gd name="connsiteY136" fmla="*/ 794047 h 1701769"/>
                <a:gd name="connsiteX137" fmla="*/ 151565 w 522562"/>
                <a:gd name="connsiteY137" fmla="*/ 861567 h 1701769"/>
                <a:gd name="connsiteX138" fmla="*/ 245133 w 522562"/>
                <a:gd name="connsiteY138" fmla="*/ 861567 h 1701769"/>
                <a:gd name="connsiteX139" fmla="*/ 245133 w 522562"/>
                <a:gd name="connsiteY139" fmla="*/ 794047 h 1701769"/>
                <a:gd name="connsiteX140" fmla="*/ 29010 w 522562"/>
                <a:gd name="connsiteY140" fmla="*/ 794047 h 1701769"/>
                <a:gd name="connsiteX141" fmla="*/ 29010 w 522562"/>
                <a:gd name="connsiteY141" fmla="*/ 861567 h 1701769"/>
                <a:gd name="connsiteX142" fmla="*/ 122579 w 522562"/>
                <a:gd name="connsiteY142" fmla="*/ 861567 h 1701769"/>
                <a:gd name="connsiteX143" fmla="*/ 122579 w 522562"/>
                <a:gd name="connsiteY143" fmla="*/ 794047 h 1701769"/>
                <a:gd name="connsiteX144" fmla="*/ 396674 w 522562"/>
                <a:gd name="connsiteY144" fmla="*/ 695697 h 1701769"/>
                <a:gd name="connsiteX145" fmla="*/ 396674 w 522562"/>
                <a:gd name="connsiteY145" fmla="*/ 763216 h 1701769"/>
                <a:gd name="connsiteX146" fmla="*/ 490242 w 522562"/>
                <a:gd name="connsiteY146" fmla="*/ 763216 h 1701769"/>
                <a:gd name="connsiteX147" fmla="*/ 490242 w 522562"/>
                <a:gd name="connsiteY147" fmla="*/ 695697 h 1701769"/>
                <a:gd name="connsiteX148" fmla="*/ 274119 w 522562"/>
                <a:gd name="connsiteY148" fmla="*/ 695697 h 1701769"/>
                <a:gd name="connsiteX149" fmla="*/ 274119 w 522562"/>
                <a:gd name="connsiteY149" fmla="*/ 763216 h 1701769"/>
                <a:gd name="connsiteX150" fmla="*/ 367687 w 522562"/>
                <a:gd name="connsiteY150" fmla="*/ 763216 h 1701769"/>
                <a:gd name="connsiteX151" fmla="*/ 367687 w 522562"/>
                <a:gd name="connsiteY151" fmla="*/ 695697 h 1701769"/>
                <a:gd name="connsiteX152" fmla="*/ 151565 w 522562"/>
                <a:gd name="connsiteY152" fmla="*/ 695697 h 1701769"/>
                <a:gd name="connsiteX153" fmla="*/ 151565 w 522562"/>
                <a:gd name="connsiteY153" fmla="*/ 763216 h 1701769"/>
                <a:gd name="connsiteX154" fmla="*/ 245133 w 522562"/>
                <a:gd name="connsiteY154" fmla="*/ 763216 h 1701769"/>
                <a:gd name="connsiteX155" fmla="*/ 245133 w 522562"/>
                <a:gd name="connsiteY155" fmla="*/ 695697 h 1701769"/>
                <a:gd name="connsiteX156" fmla="*/ 29010 w 522562"/>
                <a:gd name="connsiteY156" fmla="*/ 695697 h 1701769"/>
                <a:gd name="connsiteX157" fmla="*/ 29010 w 522562"/>
                <a:gd name="connsiteY157" fmla="*/ 763216 h 1701769"/>
                <a:gd name="connsiteX158" fmla="*/ 122579 w 522562"/>
                <a:gd name="connsiteY158" fmla="*/ 763216 h 1701769"/>
                <a:gd name="connsiteX159" fmla="*/ 122579 w 522562"/>
                <a:gd name="connsiteY159" fmla="*/ 695697 h 1701769"/>
                <a:gd name="connsiteX160" fmla="*/ 0 w 522562"/>
                <a:gd name="connsiteY160" fmla="*/ 638914 h 1701769"/>
                <a:gd name="connsiteX161" fmla="*/ 522562 w 522562"/>
                <a:gd name="connsiteY161" fmla="*/ 638914 h 1701769"/>
                <a:gd name="connsiteX162" fmla="*/ 522562 w 522562"/>
                <a:gd name="connsiteY162" fmla="*/ 1701769 h 1701769"/>
                <a:gd name="connsiteX163" fmla="*/ 0 w 522562"/>
                <a:gd name="connsiteY163" fmla="*/ 1701769 h 1701769"/>
                <a:gd name="connsiteX164" fmla="*/ 236999 w 522562"/>
                <a:gd name="connsiteY164" fmla="*/ 0 h 1701769"/>
                <a:gd name="connsiteX165" fmla="*/ 285564 w 522562"/>
                <a:gd name="connsiteY165" fmla="*/ 0 h 1701769"/>
                <a:gd name="connsiteX166" fmla="*/ 309847 w 522562"/>
                <a:gd name="connsiteY166" fmla="*/ 633349 h 1701769"/>
                <a:gd name="connsiteX167" fmla="*/ 212716 w 522562"/>
                <a:gd name="connsiteY167" fmla="*/ 633349 h 170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522562" h="1701769">
                  <a:moveTo>
                    <a:pt x="396674" y="1580850"/>
                  </a:moveTo>
                  <a:lnTo>
                    <a:pt x="396674" y="1648369"/>
                  </a:lnTo>
                  <a:lnTo>
                    <a:pt x="490242" y="1648369"/>
                  </a:lnTo>
                  <a:lnTo>
                    <a:pt x="490242" y="1580850"/>
                  </a:lnTo>
                  <a:close/>
                  <a:moveTo>
                    <a:pt x="274119" y="1580850"/>
                  </a:moveTo>
                  <a:lnTo>
                    <a:pt x="274119" y="1648369"/>
                  </a:lnTo>
                  <a:lnTo>
                    <a:pt x="367687" y="1648369"/>
                  </a:lnTo>
                  <a:lnTo>
                    <a:pt x="367687" y="1580850"/>
                  </a:lnTo>
                  <a:close/>
                  <a:moveTo>
                    <a:pt x="151565" y="1580850"/>
                  </a:moveTo>
                  <a:lnTo>
                    <a:pt x="151565" y="1648369"/>
                  </a:lnTo>
                  <a:lnTo>
                    <a:pt x="245133" y="1648369"/>
                  </a:lnTo>
                  <a:lnTo>
                    <a:pt x="245133" y="1580850"/>
                  </a:lnTo>
                  <a:close/>
                  <a:moveTo>
                    <a:pt x="29010" y="1580850"/>
                  </a:moveTo>
                  <a:lnTo>
                    <a:pt x="29010" y="1648369"/>
                  </a:lnTo>
                  <a:lnTo>
                    <a:pt x="122579" y="1648369"/>
                  </a:lnTo>
                  <a:lnTo>
                    <a:pt x="122579" y="1580850"/>
                  </a:lnTo>
                  <a:close/>
                  <a:moveTo>
                    <a:pt x="396674" y="1482500"/>
                  </a:moveTo>
                  <a:lnTo>
                    <a:pt x="396674" y="1550019"/>
                  </a:lnTo>
                  <a:lnTo>
                    <a:pt x="490242" y="1550019"/>
                  </a:lnTo>
                  <a:lnTo>
                    <a:pt x="490242" y="1482500"/>
                  </a:lnTo>
                  <a:close/>
                  <a:moveTo>
                    <a:pt x="274119" y="1482500"/>
                  </a:moveTo>
                  <a:lnTo>
                    <a:pt x="274119" y="1550019"/>
                  </a:lnTo>
                  <a:lnTo>
                    <a:pt x="367687" y="1550019"/>
                  </a:lnTo>
                  <a:lnTo>
                    <a:pt x="367687" y="1482500"/>
                  </a:lnTo>
                  <a:close/>
                  <a:moveTo>
                    <a:pt x="151565" y="1482500"/>
                  </a:moveTo>
                  <a:lnTo>
                    <a:pt x="151565" y="1550019"/>
                  </a:lnTo>
                  <a:lnTo>
                    <a:pt x="245133" y="1550019"/>
                  </a:lnTo>
                  <a:lnTo>
                    <a:pt x="245133" y="1482500"/>
                  </a:lnTo>
                  <a:close/>
                  <a:moveTo>
                    <a:pt x="29010" y="1482500"/>
                  </a:moveTo>
                  <a:lnTo>
                    <a:pt x="29010" y="1550019"/>
                  </a:lnTo>
                  <a:lnTo>
                    <a:pt x="122579" y="1550019"/>
                  </a:lnTo>
                  <a:lnTo>
                    <a:pt x="122579" y="1482500"/>
                  </a:lnTo>
                  <a:close/>
                  <a:moveTo>
                    <a:pt x="396674" y="1384149"/>
                  </a:moveTo>
                  <a:lnTo>
                    <a:pt x="396674" y="1451669"/>
                  </a:lnTo>
                  <a:lnTo>
                    <a:pt x="490242" y="1451669"/>
                  </a:lnTo>
                  <a:lnTo>
                    <a:pt x="490242" y="1384149"/>
                  </a:lnTo>
                  <a:close/>
                  <a:moveTo>
                    <a:pt x="274119" y="1384149"/>
                  </a:moveTo>
                  <a:lnTo>
                    <a:pt x="274119" y="1451669"/>
                  </a:lnTo>
                  <a:lnTo>
                    <a:pt x="367687" y="1451669"/>
                  </a:lnTo>
                  <a:lnTo>
                    <a:pt x="367687" y="1384149"/>
                  </a:lnTo>
                  <a:close/>
                  <a:moveTo>
                    <a:pt x="151565" y="1384149"/>
                  </a:moveTo>
                  <a:lnTo>
                    <a:pt x="151565" y="1451669"/>
                  </a:lnTo>
                  <a:lnTo>
                    <a:pt x="245133" y="1451669"/>
                  </a:lnTo>
                  <a:lnTo>
                    <a:pt x="245133" y="1384149"/>
                  </a:lnTo>
                  <a:close/>
                  <a:moveTo>
                    <a:pt x="29010" y="1384149"/>
                  </a:moveTo>
                  <a:lnTo>
                    <a:pt x="29010" y="1451669"/>
                  </a:lnTo>
                  <a:lnTo>
                    <a:pt x="122579" y="1451669"/>
                  </a:lnTo>
                  <a:lnTo>
                    <a:pt x="122579" y="1384149"/>
                  </a:lnTo>
                  <a:close/>
                  <a:moveTo>
                    <a:pt x="396674" y="1285799"/>
                  </a:moveTo>
                  <a:lnTo>
                    <a:pt x="396674" y="1353318"/>
                  </a:lnTo>
                  <a:lnTo>
                    <a:pt x="490242" y="1353318"/>
                  </a:lnTo>
                  <a:lnTo>
                    <a:pt x="490242" y="1285799"/>
                  </a:lnTo>
                  <a:close/>
                  <a:moveTo>
                    <a:pt x="274119" y="1285799"/>
                  </a:moveTo>
                  <a:lnTo>
                    <a:pt x="274119" y="1353318"/>
                  </a:lnTo>
                  <a:lnTo>
                    <a:pt x="367687" y="1353318"/>
                  </a:lnTo>
                  <a:lnTo>
                    <a:pt x="367687" y="1285799"/>
                  </a:lnTo>
                  <a:close/>
                  <a:moveTo>
                    <a:pt x="151565" y="1285799"/>
                  </a:moveTo>
                  <a:lnTo>
                    <a:pt x="151565" y="1353318"/>
                  </a:lnTo>
                  <a:lnTo>
                    <a:pt x="245133" y="1353318"/>
                  </a:lnTo>
                  <a:lnTo>
                    <a:pt x="245133" y="1285799"/>
                  </a:lnTo>
                  <a:close/>
                  <a:moveTo>
                    <a:pt x="29010" y="1285799"/>
                  </a:moveTo>
                  <a:lnTo>
                    <a:pt x="29010" y="1353318"/>
                  </a:lnTo>
                  <a:lnTo>
                    <a:pt x="122579" y="1353318"/>
                  </a:lnTo>
                  <a:lnTo>
                    <a:pt x="122579" y="1285799"/>
                  </a:lnTo>
                  <a:close/>
                  <a:moveTo>
                    <a:pt x="396674" y="1187448"/>
                  </a:moveTo>
                  <a:lnTo>
                    <a:pt x="396674" y="1254968"/>
                  </a:lnTo>
                  <a:lnTo>
                    <a:pt x="490242" y="1254968"/>
                  </a:lnTo>
                  <a:lnTo>
                    <a:pt x="490242" y="1187448"/>
                  </a:lnTo>
                  <a:close/>
                  <a:moveTo>
                    <a:pt x="274119" y="1187448"/>
                  </a:moveTo>
                  <a:lnTo>
                    <a:pt x="274119" y="1254968"/>
                  </a:lnTo>
                  <a:lnTo>
                    <a:pt x="367687" y="1254968"/>
                  </a:lnTo>
                  <a:lnTo>
                    <a:pt x="367687" y="1187448"/>
                  </a:lnTo>
                  <a:close/>
                  <a:moveTo>
                    <a:pt x="151565" y="1187448"/>
                  </a:moveTo>
                  <a:lnTo>
                    <a:pt x="151565" y="1254968"/>
                  </a:lnTo>
                  <a:lnTo>
                    <a:pt x="245133" y="1254968"/>
                  </a:lnTo>
                  <a:lnTo>
                    <a:pt x="245133" y="1187448"/>
                  </a:lnTo>
                  <a:close/>
                  <a:moveTo>
                    <a:pt x="29010" y="1187448"/>
                  </a:moveTo>
                  <a:lnTo>
                    <a:pt x="29010" y="1254968"/>
                  </a:lnTo>
                  <a:lnTo>
                    <a:pt x="122579" y="1254968"/>
                  </a:lnTo>
                  <a:lnTo>
                    <a:pt x="122579" y="1187448"/>
                  </a:lnTo>
                  <a:close/>
                  <a:moveTo>
                    <a:pt x="396674" y="1089098"/>
                  </a:moveTo>
                  <a:lnTo>
                    <a:pt x="396674" y="1156618"/>
                  </a:lnTo>
                  <a:lnTo>
                    <a:pt x="490242" y="1156618"/>
                  </a:lnTo>
                  <a:lnTo>
                    <a:pt x="490242" y="1089098"/>
                  </a:lnTo>
                  <a:close/>
                  <a:moveTo>
                    <a:pt x="274119" y="1089098"/>
                  </a:moveTo>
                  <a:lnTo>
                    <a:pt x="274119" y="1156618"/>
                  </a:lnTo>
                  <a:lnTo>
                    <a:pt x="367687" y="1156618"/>
                  </a:lnTo>
                  <a:lnTo>
                    <a:pt x="367687" y="1089098"/>
                  </a:lnTo>
                  <a:close/>
                  <a:moveTo>
                    <a:pt x="151565" y="1089098"/>
                  </a:moveTo>
                  <a:lnTo>
                    <a:pt x="151565" y="1156618"/>
                  </a:lnTo>
                  <a:lnTo>
                    <a:pt x="245133" y="1156618"/>
                  </a:lnTo>
                  <a:lnTo>
                    <a:pt x="245133" y="1089098"/>
                  </a:lnTo>
                  <a:close/>
                  <a:moveTo>
                    <a:pt x="29010" y="1089098"/>
                  </a:moveTo>
                  <a:lnTo>
                    <a:pt x="29010" y="1156618"/>
                  </a:lnTo>
                  <a:lnTo>
                    <a:pt x="122579" y="1156618"/>
                  </a:lnTo>
                  <a:lnTo>
                    <a:pt x="122579" y="1089098"/>
                  </a:lnTo>
                  <a:close/>
                  <a:moveTo>
                    <a:pt x="396674" y="990748"/>
                  </a:moveTo>
                  <a:lnTo>
                    <a:pt x="396674" y="1058267"/>
                  </a:lnTo>
                  <a:lnTo>
                    <a:pt x="490242" y="1058267"/>
                  </a:lnTo>
                  <a:lnTo>
                    <a:pt x="490242" y="990748"/>
                  </a:lnTo>
                  <a:close/>
                  <a:moveTo>
                    <a:pt x="274119" y="990748"/>
                  </a:moveTo>
                  <a:lnTo>
                    <a:pt x="274119" y="1058267"/>
                  </a:lnTo>
                  <a:lnTo>
                    <a:pt x="367687" y="1058267"/>
                  </a:lnTo>
                  <a:lnTo>
                    <a:pt x="367687" y="990748"/>
                  </a:lnTo>
                  <a:close/>
                  <a:moveTo>
                    <a:pt x="151565" y="990748"/>
                  </a:moveTo>
                  <a:lnTo>
                    <a:pt x="151565" y="1058267"/>
                  </a:lnTo>
                  <a:lnTo>
                    <a:pt x="245133" y="1058267"/>
                  </a:lnTo>
                  <a:lnTo>
                    <a:pt x="245133" y="990748"/>
                  </a:lnTo>
                  <a:close/>
                  <a:moveTo>
                    <a:pt x="29010" y="990748"/>
                  </a:moveTo>
                  <a:lnTo>
                    <a:pt x="29010" y="1058267"/>
                  </a:lnTo>
                  <a:lnTo>
                    <a:pt x="122579" y="1058267"/>
                  </a:lnTo>
                  <a:lnTo>
                    <a:pt x="122579" y="990748"/>
                  </a:lnTo>
                  <a:close/>
                  <a:moveTo>
                    <a:pt x="396674" y="892397"/>
                  </a:moveTo>
                  <a:lnTo>
                    <a:pt x="396674" y="959917"/>
                  </a:lnTo>
                  <a:lnTo>
                    <a:pt x="490242" y="959917"/>
                  </a:lnTo>
                  <a:lnTo>
                    <a:pt x="490242" y="892397"/>
                  </a:lnTo>
                  <a:close/>
                  <a:moveTo>
                    <a:pt x="274119" y="892397"/>
                  </a:moveTo>
                  <a:lnTo>
                    <a:pt x="274119" y="959917"/>
                  </a:lnTo>
                  <a:lnTo>
                    <a:pt x="367687" y="959917"/>
                  </a:lnTo>
                  <a:lnTo>
                    <a:pt x="367687" y="892397"/>
                  </a:lnTo>
                  <a:close/>
                  <a:moveTo>
                    <a:pt x="151565" y="892397"/>
                  </a:moveTo>
                  <a:lnTo>
                    <a:pt x="151565" y="959917"/>
                  </a:lnTo>
                  <a:lnTo>
                    <a:pt x="245133" y="959917"/>
                  </a:lnTo>
                  <a:lnTo>
                    <a:pt x="245133" y="892397"/>
                  </a:lnTo>
                  <a:close/>
                  <a:moveTo>
                    <a:pt x="29010" y="892397"/>
                  </a:moveTo>
                  <a:lnTo>
                    <a:pt x="29010" y="959917"/>
                  </a:lnTo>
                  <a:lnTo>
                    <a:pt x="122579" y="959917"/>
                  </a:lnTo>
                  <a:lnTo>
                    <a:pt x="122579" y="892397"/>
                  </a:lnTo>
                  <a:close/>
                  <a:moveTo>
                    <a:pt x="396674" y="794047"/>
                  </a:moveTo>
                  <a:lnTo>
                    <a:pt x="396674" y="861567"/>
                  </a:lnTo>
                  <a:lnTo>
                    <a:pt x="490242" y="861567"/>
                  </a:lnTo>
                  <a:lnTo>
                    <a:pt x="490242" y="794047"/>
                  </a:lnTo>
                  <a:close/>
                  <a:moveTo>
                    <a:pt x="274119" y="794047"/>
                  </a:moveTo>
                  <a:lnTo>
                    <a:pt x="274119" y="861567"/>
                  </a:lnTo>
                  <a:lnTo>
                    <a:pt x="367687" y="861567"/>
                  </a:lnTo>
                  <a:lnTo>
                    <a:pt x="367687" y="794047"/>
                  </a:lnTo>
                  <a:close/>
                  <a:moveTo>
                    <a:pt x="151565" y="794047"/>
                  </a:moveTo>
                  <a:lnTo>
                    <a:pt x="151565" y="861567"/>
                  </a:lnTo>
                  <a:lnTo>
                    <a:pt x="245133" y="861567"/>
                  </a:lnTo>
                  <a:lnTo>
                    <a:pt x="245133" y="794047"/>
                  </a:lnTo>
                  <a:close/>
                  <a:moveTo>
                    <a:pt x="29010" y="794047"/>
                  </a:moveTo>
                  <a:lnTo>
                    <a:pt x="29010" y="861567"/>
                  </a:lnTo>
                  <a:lnTo>
                    <a:pt x="122579" y="861567"/>
                  </a:lnTo>
                  <a:lnTo>
                    <a:pt x="122579" y="794047"/>
                  </a:lnTo>
                  <a:close/>
                  <a:moveTo>
                    <a:pt x="396674" y="695697"/>
                  </a:moveTo>
                  <a:lnTo>
                    <a:pt x="396674" y="763216"/>
                  </a:lnTo>
                  <a:lnTo>
                    <a:pt x="490242" y="763216"/>
                  </a:lnTo>
                  <a:lnTo>
                    <a:pt x="490242" y="695697"/>
                  </a:lnTo>
                  <a:close/>
                  <a:moveTo>
                    <a:pt x="274119" y="695697"/>
                  </a:moveTo>
                  <a:lnTo>
                    <a:pt x="274119" y="763216"/>
                  </a:lnTo>
                  <a:lnTo>
                    <a:pt x="367687" y="763216"/>
                  </a:lnTo>
                  <a:lnTo>
                    <a:pt x="367687" y="695697"/>
                  </a:lnTo>
                  <a:close/>
                  <a:moveTo>
                    <a:pt x="151565" y="695697"/>
                  </a:moveTo>
                  <a:lnTo>
                    <a:pt x="151565" y="763216"/>
                  </a:lnTo>
                  <a:lnTo>
                    <a:pt x="245133" y="763216"/>
                  </a:lnTo>
                  <a:lnTo>
                    <a:pt x="245133" y="695697"/>
                  </a:lnTo>
                  <a:close/>
                  <a:moveTo>
                    <a:pt x="29010" y="695697"/>
                  </a:moveTo>
                  <a:lnTo>
                    <a:pt x="29010" y="763216"/>
                  </a:lnTo>
                  <a:lnTo>
                    <a:pt x="122579" y="763216"/>
                  </a:lnTo>
                  <a:lnTo>
                    <a:pt x="122579" y="695697"/>
                  </a:lnTo>
                  <a:close/>
                  <a:moveTo>
                    <a:pt x="0" y="638914"/>
                  </a:moveTo>
                  <a:lnTo>
                    <a:pt x="522562" y="638914"/>
                  </a:lnTo>
                  <a:lnTo>
                    <a:pt x="522562" y="1701769"/>
                  </a:lnTo>
                  <a:lnTo>
                    <a:pt x="0" y="1701769"/>
                  </a:lnTo>
                  <a:close/>
                  <a:moveTo>
                    <a:pt x="236999" y="0"/>
                  </a:moveTo>
                  <a:lnTo>
                    <a:pt x="285564" y="0"/>
                  </a:lnTo>
                  <a:lnTo>
                    <a:pt x="309847" y="633349"/>
                  </a:lnTo>
                  <a:lnTo>
                    <a:pt x="212716" y="63334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221" name="Round Same Side Corner Rectangle 220"/>
            <p:cNvSpPr/>
            <p:nvPr/>
          </p:nvSpPr>
          <p:spPr>
            <a:xfrm>
              <a:off x="1100660" y="3884413"/>
              <a:ext cx="343495" cy="103540"/>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246" name="Freeform 245"/>
            <p:cNvSpPr/>
            <p:nvPr/>
          </p:nvSpPr>
          <p:spPr>
            <a:xfrm>
              <a:off x="2129849" y="4212602"/>
              <a:ext cx="965999" cy="1400808"/>
            </a:xfrm>
            <a:custGeom>
              <a:avLst/>
              <a:gdLst>
                <a:gd name="connsiteX0" fmla="*/ 854488 w 1026319"/>
                <a:gd name="connsiteY0" fmla="*/ 1243372 h 1488280"/>
                <a:gd name="connsiteX1" fmla="*/ 854488 w 1026319"/>
                <a:gd name="connsiteY1" fmla="*/ 1343956 h 1488280"/>
                <a:gd name="connsiteX2" fmla="*/ 956882 w 1026319"/>
                <a:gd name="connsiteY2" fmla="*/ 1343956 h 1488280"/>
                <a:gd name="connsiteX3" fmla="*/ 956882 w 1026319"/>
                <a:gd name="connsiteY3" fmla="*/ 1243372 h 1488280"/>
                <a:gd name="connsiteX4" fmla="*/ 686181 w 1026319"/>
                <a:gd name="connsiteY4" fmla="*/ 1243372 h 1488280"/>
                <a:gd name="connsiteX5" fmla="*/ 686181 w 1026319"/>
                <a:gd name="connsiteY5" fmla="*/ 1343956 h 1488280"/>
                <a:gd name="connsiteX6" fmla="*/ 788575 w 1026319"/>
                <a:gd name="connsiteY6" fmla="*/ 1343956 h 1488280"/>
                <a:gd name="connsiteX7" fmla="*/ 788575 w 1026319"/>
                <a:gd name="connsiteY7" fmla="*/ 1243372 h 1488280"/>
                <a:gd name="connsiteX8" fmla="*/ 390144 w 1026319"/>
                <a:gd name="connsiteY8" fmla="*/ 1243372 h 1488280"/>
                <a:gd name="connsiteX9" fmla="*/ 390144 w 1026319"/>
                <a:gd name="connsiteY9" fmla="*/ 1343956 h 1488280"/>
                <a:gd name="connsiteX10" fmla="*/ 492538 w 1026319"/>
                <a:gd name="connsiteY10" fmla="*/ 1343956 h 1488280"/>
                <a:gd name="connsiteX11" fmla="*/ 492538 w 1026319"/>
                <a:gd name="connsiteY11" fmla="*/ 1243372 h 1488280"/>
                <a:gd name="connsiteX12" fmla="*/ 221837 w 1026319"/>
                <a:gd name="connsiteY12" fmla="*/ 1243372 h 1488280"/>
                <a:gd name="connsiteX13" fmla="*/ 221837 w 1026319"/>
                <a:gd name="connsiteY13" fmla="*/ 1343956 h 1488280"/>
                <a:gd name="connsiteX14" fmla="*/ 324231 w 1026319"/>
                <a:gd name="connsiteY14" fmla="*/ 1343956 h 1488280"/>
                <a:gd name="connsiteX15" fmla="*/ 324231 w 1026319"/>
                <a:gd name="connsiteY15" fmla="*/ 1243372 h 1488280"/>
                <a:gd name="connsiteX16" fmla="*/ 59912 w 1026319"/>
                <a:gd name="connsiteY16" fmla="*/ 1243372 h 1488280"/>
                <a:gd name="connsiteX17" fmla="*/ 59912 w 1026319"/>
                <a:gd name="connsiteY17" fmla="*/ 1343956 h 1488280"/>
                <a:gd name="connsiteX18" fmla="*/ 162306 w 1026319"/>
                <a:gd name="connsiteY18" fmla="*/ 1343956 h 1488280"/>
                <a:gd name="connsiteX19" fmla="*/ 162306 w 1026319"/>
                <a:gd name="connsiteY19" fmla="*/ 1243372 h 1488280"/>
                <a:gd name="connsiteX20" fmla="*/ 854488 w 1026319"/>
                <a:gd name="connsiteY20" fmla="*/ 1041995 h 1488280"/>
                <a:gd name="connsiteX21" fmla="*/ 854488 w 1026319"/>
                <a:gd name="connsiteY21" fmla="*/ 1142579 h 1488280"/>
                <a:gd name="connsiteX22" fmla="*/ 956882 w 1026319"/>
                <a:gd name="connsiteY22" fmla="*/ 1142579 h 1488280"/>
                <a:gd name="connsiteX23" fmla="*/ 956882 w 1026319"/>
                <a:gd name="connsiteY23" fmla="*/ 1041995 h 1488280"/>
                <a:gd name="connsiteX24" fmla="*/ 686181 w 1026319"/>
                <a:gd name="connsiteY24" fmla="*/ 1041995 h 1488280"/>
                <a:gd name="connsiteX25" fmla="*/ 686181 w 1026319"/>
                <a:gd name="connsiteY25" fmla="*/ 1142579 h 1488280"/>
                <a:gd name="connsiteX26" fmla="*/ 788575 w 1026319"/>
                <a:gd name="connsiteY26" fmla="*/ 1142579 h 1488280"/>
                <a:gd name="connsiteX27" fmla="*/ 788575 w 1026319"/>
                <a:gd name="connsiteY27" fmla="*/ 1041995 h 1488280"/>
                <a:gd name="connsiteX28" fmla="*/ 390144 w 1026319"/>
                <a:gd name="connsiteY28" fmla="*/ 1041995 h 1488280"/>
                <a:gd name="connsiteX29" fmla="*/ 390144 w 1026319"/>
                <a:gd name="connsiteY29" fmla="*/ 1142579 h 1488280"/>
                <a:gd name="connsiteX30" fmla="*/ 492538 w 1026319"/>
                <a:gd name="connsiteY30" fmla="*/ 1142579 h 1488280"/>
                <a:gd name="connsiteX31" fmla="*/ 492538 w 1026319"/>
                <a:gd name="connsiteY31" fmla="*/ 1041995 h 1488280"/>
                <a:gd name="connsiteX32" fmla="*/ 221837 w 1026319"/>
                <a:gd name="connsiteY32" fmla="*/ 1041995 h 1488280"/>
                <a:gd name="connsiteX33" fmla="*/ 221837 w 1026319"/>
                <a:gd name="connsiteY33" fmla="*/ 1142579 h 1488280"/>
                <a:gd name="connsiteX34" fmla="*/ 324231 w 1026319"/>
                <a:gd name="connsiteY34" fmla="*/ 1142579 h 1488280"/>
                <a:gd name="connsiteX35" fmla="*/ 324231 w 1026319"/>
                <a:gd name="connsiteY35" fmla="*/ 1041995 h 1488280"/>
                <a:gd name="connsiteX36" fmla="*/ 59912 w 1026319"/>
                <a:gd name="connsiteY36" fmla="*/ 1041995 h 1488280"/>
                <a:gd name="connsiteX37" fmla="*/ 59912 w 1026319"/>
                <a:gd name="connsiteY37" fmla="*/ 1142579 h 1488280"/>
                <a:gd name="connsiteX38" fmla="*/ 162306 w 1026319"/>
                <a:gd name="connsiteY38" fmla="*/ 1142579 h 1488280"/>
                <a:gd name="connsiteX39" fmla="*/ 162306 w 1026319"/>
                <a:gd name="connsiteY39" fmla="*/ 1041995 h 1488280"/>
                <a:gd name="connsiteX40" fmla="*/ 854488 w 1026319"/>
                <a:gd name="connsiteY40" fmla="*/ 840618 h 1488280"/>
                <a:gd name="connsiteX41" fmla="*/ 854488 w 1026319"/>
                <a:gd name="connsiteY41" fmla="*/ 941202 h 1488280"/>
                <a:gd name="connsiteX42" fmla="*/ 956882 w 1026319"/>
                <a:gd name="connsiteY42" fmla="*/ 941202 h 1488280"/>
                <a:gd name="connsiteX43" fmla="*/ 956882 w 1026319"/>
                <a:gd name="connsiteY43" fmla="*/ 840618 h 1488280"/>
                <a:gd name="connsiteX44" fmla="*/ 686181 w 1026319"/>
                <a:gd name="connsiteY44" fmla="*/ 840618 h 1488280"/>
                <a:gd name="connsiteX45" fmla="*/ 686181 w 1026319"/>
                <a:gd name="connsiteY45" fmla="*/ 941202 h 1488280"/>
                <a:gd name="connsiteX46" fmla="*/ 788575 w 1026319"/>
                <a:gd name="connsiteY46" fmla="*/ 941202 h 1488280"/>
                <a:gd name="connsiteX47" fmla="*/ 788575 w 1026319"/>
                <a:gd name="connsiteY47" fmla="*/ 840618 h 1488280"/>
                <a:gd name="connsiteX48" fmla="*/ 390144 w 1026319"/>
                <a:gd name="connsiteY48" fmla="*/ 840618 h 1488280"/>
                <a:gd name="connsiteX49" fmla="*/ 390144 w 1026319"/>
                <a:gd name="connsiteY49" fmla="*/ 941202 h 1488280"/>
                <a:gd name="connsiteX50" fmla="*/ 492538 w 1026319"/>
                <a:gd name="connsiteY50" fmla="*/ 941202 h 1488280"/>
                <a:gd name="connsiteX51" fmla="*/ 492538 w 1026319"/>
                <a:gd name="connsiteY51" fmla="*/ 840618 h 1488280"/>
                <a:gd name="connsiteX52" fmla="*/ 221837 w 1026319"/>
                <a:gd name="connsiteY52" fmla="*/ 840618 h 1488280"/>
                <a:gd name="connsiteX53" fmla="*/ 221837 w 1026319"/>
                <a:gd name="connsiteY53" fmla="*/ 941202 h 1488280"/>
                <a:gd name="connsiteX54" fmla="*/ 324231 w 1026319"/>
                <a:gd name="connsiteY54" fmla="*/ 941202 h 1488280"/>
                <a:gd name="connsiteX55" fmla="*/ 324231 w 1026319"/>
                <a:gd name="connsiteY55" fmla="*/ 840618 h 1488280"/>
                <a:gd name="connsiteX56" fmla="*/ 59912 w 1026319"/>
                <a:gd name="connsiteY56" fmla="*/ 840618 h 1488280"/>
                <a:gd name="connsiteX57" fmla="*/ 59912 w 1026319"/>
                <a:gd name="connsiteY57" fmla="*/ 941202 h 1488280"/>
                <a:gd name="connsiteX58" fmla="*/ 162306 w 1026319"/>
                <a:gd name="connsiteY58" fmla="*/ 941202 h 1488280"/>
                <a:gd name="connsiteX59" fmla="*/ 162306 w 1026319"/>
                <a:gd name="connsiteY59" fmla="*/ 840618 h 1488280"/>
                <a:gd name="connsiteX60" fmla="*/ 390144 w 1026319"/>
                <a:gd name="connsiteY60" fmla="*/ 639241 h 1488280"/>
                <a:gd name="connsiteX61" fmla="*/ 390144 w 1026319"/>
                <a:gd name="connsiteY61" fmla="*/ 739825 h 1488280"/>
                <a:gd name="connsiteX62" fmla="*/ 492538 w 1026319"/>
                <a:gd name="connsiteY62" fmla="*/ 739825 h 1488280"/>
                <a:gd name="connsiteX63" fmla="*/ 492538 w 1026319"/>
                <a:gd name="connsiteY63" fmla="*/ 639241 h 1488280"/>
                <a:gd name="connsiteX64" fmla="*/ 221837 w 1026319"/>
                <a:gd name="connsiteY64" fmla="*/ 639241 h 1488280"/>
                <a:gd name="connsiteX65" fmla="*/ 221837 w 1026319"/>
                <a:gd name="connsiteY65" fmla="*/ 739825 h 1488280"/>
                <a:gd name="connsiteX66" fmla="*/ 324231 w 1026319"/>
                <a:gd name="connsiteY66" fmla="*/ 739825 h 1488280"/>
                <a:gd name="connsiteX67" fmla="*/ 324231 w 1026319"/>
                <a:gd name="connsiteY67" fmla="*/ 639241 h 1488280"/>
                <a:gd name="connsiteX68" fmla="*/ 59912 w 1026319"/>
                <a:gd name="connsiteY68" fmla="*/ 639241 h 1488280"/>
                <a:gd name="connsiteX69" fmla="*/ 59912 w 1026319"/>
                <a:gd name="connsiteY69" fmla="*/ 739825 h 1488280"/>
                <a:gd name="connsiteX70" fmla="*/ 162306 w 1026319"/>
                <a:gd name="connsiteY70" fmla="*/ 739825 h 1488280"/>
                <a:gd name="connsiteX71" fmla="*/ 162306 w 1026319"/>
                <a:gd name="connsiteY71" fmla="*/ 639241 h 1488280"/>
                <a:gd name="connsiteX72" fmla="*/ 854488 w 1026319"/>
                <a:gd name="connsiteY72" fmla="*/ 616953 h 1488280"/>
                <a:gd name="connsiteX73" fmla="*/ 854488 w 1026319"/>
                <a:gd name="connsiteY73" fmla="*/ 717537 h 1488280"/>
                <a:gd name="connsiteX74" fmla="*/ 956882 w 1026319"/>
                <a:gd name="connsiteY74" fmla="*/ 717537 h 1488280"/>
                <a:gd name="connsiteX75" fmla="*/ 956882 w 1026319"/>
                <a:gd name="connsiteY75" fmla="*/ 616953 h 1488280"/>
                <a:gd name="connsiteX76" fmla="*/ 686181 w 1026319"/>
                <a:gd name="connsiteY76" fmla="*/ 616953 h 1488280"/>
                <a:gd name="connsiteX77" fmla="*/ 686181 w 1026319"/>
                <a:gd name="connsiteY77" fmla="*/ 717537 h 1488280"/>
                <a:gd name="connsiteX78" fmla="*/ 788575 w 1026319"/>
                <a:gd name="connsiteY78" fmla="*/ 717537 h 1488280"/>
                <a:gd name="connsiteX79" fmla="*/ 788575 w 1026319"/>
                <a:gd name="connsiteY79" fmla="*/ 616953 h 1488280"/>
                <a:gd name="connsiteX80" fmla="*/ 0 w 1026319"/>
                <a:gd name="connsiteY80" fmla="*/ 488156 h 1488280"/>
                <a:gd name="connsiteX81" fmla="*/ 552450 w 1026319"/>
                <a:gd name="connsiteY81" fmla="*/ 488156 h 1488280"/>
                <a:gd name="connsiteX82" fmla="*/ 552450 w 1026319"/>
                <a:gd name="connsiteY82" fmla="*/ 1488280 h 1488280"/>
                <a:gd name="connsiteX83" fmla="*/ 0 w 1026319"/>
                <a:gd name="connsiteY83" fmla="*/ 1488280 h 1488280"/>
                <a:gd name="connsiteX84" fmla="*/ 854488 w 1026319"/>
                <a:gd name="connsiteY84" fmla="*/ 414052 h 1488280"/>
                <a:gd name="connsiteX85" fmla="*/ 854488 w 1026319"/>
                <a:gd name="connsiteY85" fmla="*/ 514636 h 1488280"/>
                <a:gd name="connsiteX86" fmla="*/ 956882 w 1026319"/>
                <a:gd name="connsiteY86" fmla="*/ 514636 h 1488280"/>
                <a:gd name="connsiteX87" fmla="*/ 956882 w 1026319"/>
                <a:gd name="connsiteY87" fmla="*/ 414052 h 1488280"/>
                <a:gd name="connsiteX88" fmla="*/ 686181 w 1026319"/>
                <a:gd name="connsiteY88" fmla="*/ 414052 h 1488280"/>
                <a:gd name="connsiteX89" fmla="*/ 686181 w 1026319"/>
                <a:gd name="connsiteY89" fmla="*/ 514636 h 1488280"/>
                <a:gd name="connsiteX90" fmla="*/ 788575 w 1026319"/>
                <a:gd name="connsiteY90" fmla="*/ 514636 h 1488280"/>
                <a:gd name="connsiteX91" fmla="*/ 788575 w 1026319"/>
                <a:gd name="connsiteY91" fmla="*/ 414052 h 1488280"/>
                <a:gd name="connsiteX92" fmla="*/ 287274 w 1026319"/>
                <a:gd name="connsiteY92" fmla="*/ 388144 h 1488280"/>
                <a:gd name="connsiteX93" fmla="*/ 552450 w 1026319"/>
                <a:gd name="connsiteY93" fmla="*/ 388144 h 1488280"/>
                <a:gd name="connsiteX94" fmla="*/ 552450 w 1026319"/>
                <a:gd name="connsiteY94" fmla="*/ 464344 h 1488280"/>
                <a:gd name="connsiteX95" fmla="*/ 287274 w 1026319"/>
                <a:gd name="connsiteY95" fmla="*/ 464344 h 1488280"/>
                <a:gd name="connsiteX96" fmla="*/ 0 w 1026319"/>
                <a:gd name="connsiteY96" fmla="*/ 388144 h 1488280"/>
                <a:gd name="connsiteX97" fmla="*/ 265176 w 1026319"/>
                <a:gd name="connsiteY97" fmla="*/ 388144 h 1488280"/>
                <a:gd name="connsiteX98" fmla="*/ 265176 w 1026319"/>
                <a:gd name="connsiteY98" fmla="*/ 464344 h 1488280"/>
                <a:gd name="connsiteX99" fmla="*/ 0 w 1026319"/>
                <a:gd name="connsiteY99" fmla="*/ 464344 h 1488280"/>
                <a:gd name="connsiteX100" fmla="*/ 854488 w 1026319"/>
                <a:gd name="connsiteY100" fmla="*/ 218750 h 1488280"/>
                <a:gd name="connsiteX101" fmla="*/ 854488 w 1026319"/>
                <a:gd name="connsiteY101" fmla="*/ 319334 h 1488280"/>
                <a:gd name="connsiteX102" fmla="*/ 956882 w 1026319"/>
                <a:gd name="connsiteY102" fmla="*/ 319334 h 1488280"/>
                <a:gd name="connsiteX103" fmla="*/ 956882 w 1026319"/>
                <a:gd name="connsiteY103" fmla="*/ 218750 h 1488280"/>
                <a:gd name="connsiteX104" fmla="*/ 686181 w 1026319"/>
                <a:gd name="connsiteY104" fmla="*/ 218750 h 1488280"/>
                <a:gd name="connsiteX105" fmla="*/ 686181 w 1026319"/>
                <a:gd name="connsiteY105" fmla="*/ 319334 h 1488280"/>
                <a:gd name="connsiteX106" fmla="*/ 788575 w 1026319"/>
                <a:gd name="connsiteY106" fmla="*/ 319334 h 1488280"/>
                <a:gd name="connsiteX107" fmla="*/ 788575 w 1026319"/>
                <a:gd name="connsiteY107" fmla="*/ 218750 h 1488280"/>
                <a:gd name="connsiteX108" fmla="*/ 616744 w 1026319"/>
                <a:gd name="connsiteY108" fmla="*/ 100011 h 1488280"/>
                <a:gd name="connsiteX109" fmla="*/ 1026319 w 1026319"/>
                <a:gd name="connsiteY109" fmla="*/ 100011 h 1488280"/>
                <a:gd name="connsiteX110" fmla="*/ 1026319 w 1026319"/>
                <a:gd name="connsiteY110" fmla="*/ 1488280 h 1488280"/>
                <a:gd name="connsiteX111" fmla="*/ 616744 w 1026319"/>
                <a:gd name="connsiteY111" fmla="*/ 1488280 h 1488280"/>
                <a:gd name="connsiteX112" fmla="*/ 616744 w 1026319"/>
                <a:gd name="connsiteY112" fmla="*/ 0 h 1488280"/>
                <a:gd name="connsiteX113" fmla="*/ 1026319 w 1026319"/>
                <a:gd name="connsiteY113" fmla="*/ 0 h 1488280"/>
                <a:gd name="connsiteX114" fmla="*/ 1026319 w 1026319"/>
                <a:gd name="connsiteY114" fmla="*/ 76200 h 1488280"/>
                <a:gd name="connsiteX115" fmla="*/ 616744 w 1026319"/>
                <a:gd name="connsiteY115" fmla="*/ 76200 h 148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026319" h="1488280">
                  <a:moveTo>
                    <a:pt x="854488" y="1243372"/>
                  </a:moveTo>
                  <a:lnTo>
                    <a:pt x="854488" y="1343956"/>
                  </a:lnTo>
                  <a:lnTo>
                    <a:pt x="956882" y="1343956"/>
                  </a:lnTo>
                  <a:lnTo>
                    <a:pt x="956882" y="1243372"/>
                  </a:lnTo>
                  <a:close/>
                  <a:moveTo>
                    <a:pt x="686181" y="1243372"/>
                  </a:moveTo>
                  <a:lnTo>
                    <a:pt x="686181" y="1343956"/>
                  </a:lnTo>
                  <a:lnTo>
                    <a:pt x="788575" y="1343956"/>
                  </a:lnTo>
                  <a:lnTo>
                    <a:pt x="788575" y="1243372"/>
                  </a:lnTo>
                  <a:close/>
                  <a:moveTo>
                    <a:pt x="390144" y="1243372"/>
                  </a:moveTo>
                  <a:lnTo>
                    <a:pt x="390144" y="1343956"/>
                  </a:lnTo>
                  <a:lnTo>
                    <a:pt x="492538" y="1343956"/>
                  </a:lnTo>
                  <a:lnTo>
                    <a:pt x="492538" y="1243372"/>
                  </a:lnTo>
                  <a:close/>
                  <a:moveTo>
                    <a:pt x="221837" y="1243372"/>
                  </a:moveTo>
                  <a:lnTo>
                    <a:pt x="221837" y="1343956"/>
                  </a:lnTo>
                  <a:lnTo>
                    <a:pt x="324231" y="1343956"/>
                  </a:lnTo>
                  <a:lnTo>
                    <a:pt x="324231" y="1243372"/>
                  </a:lnTo>
                  <a:close/>
                  <a:moveTo>
                    <a:pt x="59912" y="1243372"/>
                  </a:moveTo>
                  <a:lnTo>
                    <a:pt x="59912" y="1343956"/>
                  </a:lnTo>
                  <a:lnTo>
                    <a:pt x="162306" y="1343956"/>
                  </a:lnTo>
                  <a:lnTo>
                    <a:pt x="162306" y="1243372"/>
                  </a:lnTo>
                  <a:close/>
                  <a:moveTo>
                    <a:pt x="854488" y="1041995"/>
                  </a:moveTo>
                  <a:lnTo>
                    <a:pt x="854488" y="1142579"/>
                  </a:lnTo>
                  <a:lnTo>
                    <a:pt x="956882" y="1142579"/>
                  </a:lnTo>
                  <a:lnTo>
                    <a:pt x="956882" y="1041995"/>
                  </a:lnTo>
                  <a:close/>
                  <a:moveTo>
                    <a:pt x="686181" y="1041995"/>
                  </a:moveTo>
                  <a:lnTo>
                    <a:pt x="686181" y="1142579"/>
                  </a:lnTo>
                  <a:lnTo>
                    <a:pt x="788575" y="1142579"/>
                  </a:lnTo>
                  <a:lnTo>
                    <a:pt x="788575" y="1041995"/>
                  </a:lnTo>
                  <a:close/>
                  <a:moveTo>
                    <a:pt x="390144" y="1041995"/>
                  </a:moveTo>
                  <a:lnTo>
                    <a:pt x="390144" y="1142579"/>
                  </a:lnTo>
                  <a:lnTo>
                    <a:pt x="492538" y="1142579"/>
                  </a:lnTo>
                  <a:lnTo>
                    <a:pt x="492538" y="1041995"/>
                  </a:lnTo>
                  <a:close/>
                  <a:moveTo>
                    <a:pt x="221837" y="1041995"/>
                  </a:moveTo>
                  <a:lnTo>
                    <a:pt x="221837" y="1142579"/>
                  </a:lnTo>
                  <a:lnTo>
                    <a:pt x="324231" y="1142579"/>
                  </a:lnTo>
                  <a:lnTo>
                    <a:pt x="324231" y="1041995"/>
                  </a:lnTo>
                  <a:close/>
                  <a:moveTo>
                    <a:pt x="59912" y="1041995"/>
                  </a:moveTo>
                  <a:lnTo>
                    <a:pt x="59912" y="1142579"/>
                  </a:lnTo>
                  <a:lnTo>
                    <a:pt x="162306" y="1142579"/>
                  </a:lnTo>
                  <a:lnTo>
                    <a:pt x="162306" y="1041995"/>
                  </a:lnTo>
                  <a:close/>
                  <a:moveTo>
                    <a:pt x="854488" y="840618"/>
                  </a:moveTo>
                  <a:lnTo>
                    <a:pt x="854488" y="941202"/>
                  </a:lnTo>
                  <a:lnTo>
                    <a:pt x="956882" y="941202"/>
                  </a:lnTo>
                  <a:lnTo>
                    <a:pt x="956882" y="840618"/>
                  </a:lnTo>
                  <a:close/>
                  <a:moveTo>
                    <a:pt x="686181" y="840618"/>
                  </a:moveTo>
                  <a:lnTo>
                    <a:pt x="686181" y="941202"/>
                  </a:lnTo>
                  <a:lnTo>
                    <a:pt x="788575" y="941202"/>
                  </a:lnTo>
                  <a:lnTo>
                    <a:pt x="788575" y="840618"/>
                  </a:lnTo>
                  <a:close/>
                  <a:moveTo>
                    <a:pt x="390144" y="840618"/>
                  </a:moveTo>
                  <a:lnTo>
                    <a:pt x="390144" y="941202"/>
                  </a:lnTo>
                  <a:lnTo>
                    <a:pt x="492538" y="941202"/>
                  </a:lnTo>
                  <a:lnTo>
                    <a:pt x="492538" y="840618"/>
                  </a:lnTo>
                  <a:close/>
                  <a:moveTo>
                    <a:pt x="221837" y="840618"/>
                  </a:moveTo>
                  <a:lnTo>
                    <a:pt x="221837" y="941202"/>
                  </a:lnTo>
                  <a:lnTo>
                    <a:pt x="324231" y="941202"/>
                  </a:lnTo>
                  <a:lnTo>
                    <a:pt x="324231" y="840618"/>
                  </a:lnTo>
                  <a:close/>
                  <a:moveTo>
                    <a:pt x="59912" y="840618"/>
                  </a:moveTo>
                  <a:lnTo>
                    <a:pt x="59912" y="941202"/>
                  </a:lnTo>
                  <a:lnTo>
                    <a:pt x="162306" y="941202"/>
                  </a:lnTo>
                  <a:lnTo>
                    <a:pt x="162306" y="840618"/>
                  </a:lnTo>
                  <a:close/>
                  <a:moveTo>
                    <a:pt x="390144" y="639241"/>
                  </a:moveTo>
                  <a:lnTo>
                    <a:pt x="390144" y="739825"/>
                  </a:lnTo>
                  <a:lnTo>
                    <a:pt x="492538" y="739825"/>
                  </a:lnTo>
                  <a:lnTo>
                    <a:pt x="492538" y="639241"/>
                  </a:lnTo>
                  <a:close/>
                  <a:moveTo>
                    <a:pt x="221837" y="639241"/>
                  </a:moveTo>
                  <a:lnTo>
                    <a:pt x="221837" y="739825"/>
                  </a:lnTo>
                  <a:lnTo>
                    <a:pt x="324231" y="739825"/>
                  </a:lnTo>
                  <a:lnTo>
                    <a:pt x="324231" y="639241"/>
                  </a:lnTo>
                  <a:close/>
                  <a:moveTo>
                    <a:pt x="59912" y="639241"/>
                  </a:moveTo>
                  <a:lnTo>
                    <a:pt x="59912" y="739825"/>
                  </a:lnTo>
                  <a:lnTo>
                    <a:pt x="162306" y="739825"/>
                  </a:lnTo>
                  <a:lnTo>
                    <a:pt x="162306" y="639241"/>
                  </a:lnTo>
                  <a:close/>
                  <a:moveTo>
                    <a:pt x="854488" y="616953"/>
                  </a:moveTo>
                  <a:lnTo>
                    <a:pt x="854488" y="717537"/>
                  </a:lnTo>
                  <a:lnTo>
                    <a:pt x="956882" y="717537"/>
                  </a:lnTo>
                  <a:lnTo>
                    <a:pt x="956882" y="616953"/>
                  </a:lnTo>
                  <a:close/>
                  <a:moveTo>
                    <a:pt x="686181" y="616953"/>
                  </a:moveTo>
                  <a:lnTo>
                    <a:pt x="686181" y="717537"/>
                  </a:lnTo>
                  <a:lnTo>
                    <a:pt x="788575" y="717537"/>
                  </a:lnTo>
                  <a:lnTo>
                    <a:pt x="788575" y="616953"/>
                  </a:lnTo>
                  <a:close/>
                  <a:moveTo>
                    <a:pt x="0" y="488156"/>
                  </a:moveTo>
                  <a:lnTo>
                    <a:pt x="552450" y="488156"/>
                  </a:lnTo>
                  <a:lnTo>
                    <a:pt x="552450" y="1488280"/>
                  </a:lnTo>
                  <a:lnTo>
                    <a:pt x="0" y="1488280"/>
                  </a:lnTo>
                  <a:close/>
                  <a:moveTo>
                    <a:pt x="854488" y="414052"/>
                  </a:moveTo>
                  <a:lnTo>
                    <a:pt x="854488" y="514636"/>
                  </a:lnTo>
                  <a:lnTo>
                    <a:pt x="956882" y="514636"/>
                  </a:lnTo>
                  <a:lnTo>
                    <a:pt x="956882" y="414052"/>
                  </a:lnTo>
                  <a:close/>
                  <a:moveTo>
                    <a:pt x="686181" y="414052"/>
                  </a:moveTo>
                  <a:lnTo>
                    <a:pt x="686181" y="514636"/>
                  </a:lnTo>
                  <a:lnTo>
                    <a:pt x="788575" y="514636"/>
                  </a:lnTo>
                  <a:lnTo>
                    <a:pt x="788575" y="414052"/>
                  </a:lnTo>
                  <a:close/>
                  <a:moveTo>
                    <a:pt x="287274" y="388144"/>
                  </a:moveTo>
                  <a:lnTo>
                    <a:pt x="552450" y="388144"/>
                  </a:lnTo>
                  <a:lnTo>
                    <a:pt x="552450" y="464344"/>
                  </a:lnTo>
                  <a:lnTo>
                    <a:pt x="287274" y="464344"/>
                  </a:lnTo>
                  <a:close/>
                  <a:moveTo>
                    <a:pt x="0" y="388144"/>
                  </a:moveTo>
                  <a:lnTo>
                    <a:pt x="265176" y="388144"/>
                  </a:lnTo>
                  <a:lnTo>
                    <a:pt x="265176" y="464344"/>
                  </a:lnTo>
                  <a:lnTo>
                    <a:pt x="0" y="464344"/>
                  </a:lnTo>
                  <a:close/>
                  <a:moveTo>
                    <a:pt x="854488" y="218750"/>
                  </a:moveTo>
                  <a:lnTo>
                    <a:pt x="854488" y="319334"/>
                  </a:lnTo>
                  <a:lnTo>
                    <a:pt x="956882" y="319334"/>
                  </a:lnTo>
                  <a:lnTo>
                    <a:pt x="956882" y="218750"/>
                  </a:lnTo>
                  <a:close/>
                  <a:moveTo>
                    <a:pt x="686181" y="218750"/>
                  </a:moveTo>
                  <a:lnTo>
                    <a:pt x="686181" y="319334"/>
                  </a:lnTo>
                  <a:lnTo>
                    <a:pt x="788575" y="319334"/>
                  </a:lnTo>
                  <a:lnTo>
                    <a:pt x="788575" y="218750"/>
                  </a:lnTo>
                  <a:close/>
                  <a:moveTo>
                    <a:pt x="616744" y="100011"/>
                  </a:moveTo>
                  <a:lnTo>
                    <a:pt x="1026319" y="100011"/>
                  </a:lnTo>
                  <a:lnTo>
                    <a:pt x="1026319" y="1488280"/>
                  </a:lnTo>
                  <a:lnTo>
                    <a:pt x="616744" y="1488280"/>
                  </a:lnTo>
                  <a:close/>
                  <a:moveTo>
                    <a:pt x="616744" y="0"/>
                  </a:moveTo>
                  <a:lnTo>
                    <a:pt x="1026319" y="0"/>
                  </a:lnTo>
                  <a:lnTo>
                    <a:pt x="1026319" y="76200"/>
                  </a:lnTo>
                  <a:lnTo>
                    <a:pt x="616744" y="762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err="1">
                <a:solidFill>
                  <a:srgbClr val="505050"/>
                </a:solidFill>
              </a:endParaRPr>
            </a:p>
          </p:txBody>
        </p:sp>
      </p:grpSp>
      <p:sp>
        <p:nvSpPr>
          <p:cNvPr id="260" name="TextBox 259"/>
          <p:cNvSpPr txBox="1"/>
          <p:nvPr/>
        </p:nvSpPr>
        <p:spPr>
          <a:xfrm>
            <a:off x="7632056" y="2280771"/>
            <a:ext cx="88166" cy="369332"/>
          </a:xfrm>
          <a:prstGeom prst="rect">
            <a:avLst/>
          </a:prstGeom>
        </p:spPr>
        <p:txBody>
          <a:bodyPr vert="horz" wrap="none" lIns="0" tIns="0" rIns="0" bIns="0" rtlCol="0" anchor="t">
            <a:spAutoFit/>
          </a:bodyPr>
          <a:lstStyle/>
          <a:p>
            <a:pPr algn="ctr" defTabSz="1088105"/>
            <a:r>
              <a:rPr lang="en-US" sz="2400" b="1" dirty="0" err="1">
                <a:solidFill>
                  <a:schemeClr val="bg1">
                    <a:lumMod val="50000"/>
                  </a:schemeClr>
                </a:solidFill>
                <a:ea typeface="Segoe UI" pitchFamily="34" charset="0"/>
                <a:cs typeface="Segoe UI" pitchFamily="34" charset="0"/>
              </a:rPr>
              <a:t>i</a:t>
            </a:r>
            <a:endParaRPr lang="en-US" sz="2400" b="1" dirty="0">
              <a:solidFill>
                <a:schemeClr val="bg1">
                  <a:lumMod val="50000"/>
                </a:schemeClr>
              </a:solidFill>
              <a:ea typeface="Segoe UI" pitchFamily="34" charset="0"/>
              <a:cs typeface="Segoe UI" pitchFamily="34" charset="0"/>
            </a:endParaRPr>
          </a:p>
        </p:txBody>
      </p:sp>
      <p:grpSp>
        <p:nvGrpSpPr>
          <p:cNvPr id="295" name="Group 294"/>
          <p:cNvGrpSpPr/>
          <p:nvPr/>
        </p:nvGrpSpPr>
        <p:grpSpPr>
          <a:xfrm>
            <a:off x="1304527" y="1964001"/>
            <a:ext cx="458595" cy="571440"/>
            <a:chOff x="9753600" y="378783"/>
            <a:chExt cx="1448804" cy="1805307"/>
          </a:xfrm>
        </p:grpSpPr>
        <p:sp>
          <p:nvSpPr>
            <p:cNvPr id="296" name="Freeform 295"/>
            <p:cNvSpPr/>
            <p:nvPr/>
          </p:nvSpPr>
          <p:spPr>
            <a:xfrm>
              <a:off x="9896022" y="378783"/>
              <a:ext cx="1163960" cy="1805307"/>
            </a:xfrm>
            <a:custGeom>
              <a:avLst/>
              <a:gdLst>
                <a:gd name="connsiteX0" fmla="*/ 990541 w 1163960"/>
                <a:gd name="connsiteY0" fmla="*/ 1274832 h 1805307"/>
                <a:gd name="connsiteX1" fmla="*/ 990541 w 1163960"/>
                <a:gd name="connsiteY1" fmla="*/ 1562630 h 1805307"/>
                <a:gd name="connsiteX2" fmla="*/ 1091271 w 1163960"/>
                <a:gd name="connsiteY2" fmla="*/ 1562630 h 1805307"/>
                <a:gd name="connsiteX3" fmla="*/ 1091271 w 1163960"/>
                <a:gd name="connsiteY3" fmla="*/ 1274832 h 1805307"/>
                <a:gd name="connsiteX4" fmla="*/ 806970 w 1163960"/>
                <a:gd name="connsiteY4" fmla="*/ 1274832 h 1805307"/>
                <a:gd name="connsiteX5" fmla="*/ 806970 w 1163960"/>
                <a:gd name="connsiteY5" fmla="*/ 1562630 h 1805307"/>
                <a:gd name="connsiteX6" fmla="*/ 907700 w 1163960"/>
                <a:gd name="connsiteY6" fmla="*/ 1562630 h 1805307"/>
                <a:gd name="connsiteX7" fmla="*/ 907700 w 1163960"/>
                <a:gd name="connsiteY7" fmla="*/ 1274832 h 1805307"/>
                <a:gd name="connsiteX8" fmla="*/ 623400 w 1163960"/>
                <a:gd name="connsiteY8" fmla="*/ 1274832 h 1805307"/>
                <a:gd name="connsiteX9" fmla="*/ 623400 w 1163960"/>
                <a:gd name="connsiteY9" fmla="*/ 1562630 h 1805307"/>
                <a:gd name="connsiteX10" fmla="*/ 724130 w 1163960"/>
                <a:gd name="connsiteY10" fmla="*/ 1562630 h 1805307"/>
                <a:gd name="connsiteX11" fmla="*/ 724130 w 1163960"/>
                <a:gd name="connsiteY11" fmla="*/ 1274832 h 1805307"/>
                <a:gd name="connsiteX12" fmla="*/ 439830 w 1163960"/>
                <a:gd name="connsiteY12" fmla="*/ 1274832 h 1805307"/>
                <a:gd name="connsiteX13" fmla="*/ 439830 w 1163960"/>
                <a:gd name="connsiteY13" fmla="*/ 1562630 h 1805307"/>
                <a:gd name="connsiteX14" fmla="*/ 540560 w 1163960"/>
                <a:gd name="connsiteY14" fmla="*/ 1562630 h 1805307"/>
                <a:gd name="connsiteX15" fmla="*/ 540560 w 1163960"/>
                <a:gd name="connsiteY15" fmla="*/ 1274832 h 1805307"/>
                <a:gd name="connsiteX16" fmla="*/ 256260 w 1163960"/>
                <a:gd name="connsiteY16" fmla="*/ 1274832 h 1805307"/>
                <a:gd name="connsiteX17" fmla="*/ 256260 w 1163960"/>
                <a:gd name="connsiteY17" fmla="*/ 1562630 h 1805307"/>
                <a:gd name="connsiteX18" fmla="*/ 356990 w 1163960"/>
                <a:gd name="connsiteY18" fmla="*/ 1562630 h 1805307"/>
                <a:gd name="connsiteX19" fmla="*/ 356990 w 1163960"/>
                <a:gd name="connsiteY19" fmla="*/ 1274832 h 1805307"/>
                <a:gd name="connsiteX20" fmla="*/ 72690 w 1163960"/>
                <a:gd name="connsiteY20" fmla="*/ 1274832 h 1805307"/>
                <a:gd name="connsiteX21" fmla="*/ 72690 w 1163960"/>
                <a:gd name="connsiteY21" fmla="*/ 1562630 h 1805307"/>
                <a:gd name="connsiteX22" fmla="*/ 173420 w 1163960"/>
                <a:gd name="connsiteY22" fmla="*/ 1562630 h 1805307"/>
                <a:gd name="connsiteX23" fmla="*/ 173420 w 1163960"/>
                <a:gd name="connsiteY23" fmla="*/ 1274832 h 1805307"/>
                <a:gd name="connsiteX24" fmla="*/ 579059 w 1163960"/>
                <a:gd name="connsiteY24" fmla="*/ 937467 h 1805307"/>
                <a:gd name="connsiteX25" fmla="*/ 1062364 w 1163960"/>
                <a:gd name="connsiteY25" fmla="*/ 1232336 h 1805307"/>
                <a:gd name="connsiteX26" fmla="*/ 1163960 w 1163960"/>
                <a:gd name="connsiteY26" fmla="*/ 1232336 h 1805307"/>
                <a:gd name="connsiteX27" fmla="*/ 1163960 w 1163960"/>
                <a:gd name="connsiteY27" fmla="*/ 1805307 h 1805307"/>
                <a:gd name="connsiteX28" fmla="*/ 0 w 1163960"/>
                <a:gd name="connsiteY28" fmla="*/ 1805307 h 1805307"/>
                <a:gd name="connsiteX29" fmla="*/ 0 w 1163960"/>
                <a:gd name="connsiteY29" fmla="*/ 1232336 h 1805307"/>
                <a:gd name="connsiteX30" fmla="*/ 101596 w 1163960"/>
                <a:gd name="connsiteY30" fmla="*/ 1232336 h 1805307"/>
                <a:gd name="connsiteX31" fmla="*/ 563905 w 1163960"/>
                <a:gd name="connsiteY31" fmla="*/ 0 h 1805307"/>
                <a:gd name="connsiteX32" fmla="*/ 600055 w 1163960"/>
                <a:gd name="connsiteY32" fmla="*/ 0 h 1805307"/>
                <a:gd name="connsiteX33" fmla="*/ 619818 w 1163960"/>
                <a:gd name="connsiteY33" fmla="*/ 19763 h 1805307"/>
                <a:gd name="connsiteX34" fmla="*/ 619818 w 1163960"/>
                <a:gd name="connsiteY34" fmla="*/ 115221 h 1805307"/>
                <a:gd name="connsiteX35" fmla="*/ 663060 w 1163960"/>
                <a:gd name="connsiteY35" fmla="*/ 115221 h 1805307"/>
                <a:gd name="connsiteX36" fmla="*/ 663060 w 1163960"/>
                <a:gd name="connsiteY36" fmla="*/ 264772 h 1805307"/>
                <a:gd name="connsiteX37" fmla="*/ 891526 w 1163960"/>
                <a:gd name="connsiteY37" fmla="*/ 538643 h 1805307"/>
                <a:gd name="connsiteX38" fmla="*/ 911709 w 1163960"/>
                <a:gd name="connsiteY38" fmla="*/ 538643 h 1805307"/>
                <a:gd name="connsiteX39" fmla="*/ 911709 w 1163960"/>
                <a:gd name="connsiteY39" fmla="*/ 681887 h 1805307"/>
                <a:gd name="connsiteX40" fmla="*/ 947745 w 1163960"/>
                <a:gd name="connsiteY40" fmla="*/ 681887 h 1805307"/>
                <a:gd name="connsiteX41" fmla="*/ 947745 w 1163960"/>
                <a:gd name="connsiteY41" fmla="*/ 908914 h 1805307"/>
                <a:gd name="connsiteX42" fmla="*/ 998195 w 1163960"/>
                <a:gd name="connsiteY42" fmla="*/ 908914 h 1805307"/>
                <a:gd name="connsiteX43" fmla="*/ 998195 w 1163960"/>
                <a:gd name="connsiteY43" fmla="*/ 1098778 h 1805307"/>
                <a:gd name="connsiteX44" fmla="*/ 883240 w 1163960"/>
                <a:gd name="connsiteY44" fmla="*/ 1028484 h 1805307"/>
                <a:gd name="connsiteX45" fmla="*/ 883240 w 1163960"/>
                <a:gd name="connsiteY45" fmla="*/ 774062 h 1805307"/>
                <a:gd name="connsiteX46" fmla="*/ 782510 w 1163960"/>
                <a:gd name="connsiteY46" fmla="*/ 774062 h 1805307"/>
                <a:gd name="connsiteX47" fmla="*/ 782510 w 1163960"/>
                <a:gd name="connsiteY47" fmla="*/ 966888 h 1805307"/>
                <a:gd name="connsiteX48" fmla="*/ 715978 w 1163960"/>
                <a:gd name="connsiteY48" fmla="*/ 926204 h 1805307"/>
                <a:gd name="connsiteX49" fmla="*/ 715978 w 1163960"/>
                <a:gd name="connsiteY49" fmla="*/ 774064 h 1805307"/>
                <a:gd name="connsiteX50" fmla="*/ 615248 w 1163960"/>
                <a:gd name="connsiteY50" fmla="*/ 774064 h 1805307"/>
                <a:gd name="connsiteX51" fmla="*/ 615248 w 1163960"/>
                <a:gd name="connsiteY51" fmla="*/ 864607 h 1805307"/>
                <a:gd name="connsiteX52" fmla="*/ 579059 w 1163960"/>
                <a:gd name="connsiteY52" fmla="*/ 842478 h 1805307"/>
                <a:gd name="connsiteX53" fmla="*/ 548714 w 1163960"/>
                <a:gd name="connsiteY53" fmla="*/ 861034 h 1805307"/>
                <a:gd name="connsiteX54" fmla="*/ 548714 w 1163960"/>
                <a:gd name="connsiteY54" fmla="*/ 774064 h 1805307"/>
                <a:gd name="connsiteX55" fmla="*/ 447985 w 1163960"/>
                <a:gd name="connsiteY55" fmla="*/ 774064 h 1805307"/>
                <a:gd name="connsiteX56" fmla="*/ 447985 w 1163960"/>
                <a:gd name="connsiteY56" fmla="*/ 922629 h 1805307"/>
                <a:gd name="connsiteX57" fmla="*/ 381451 w 1163960"/>
                <a:gd name="connsiteY57" fmla="*/ 963314 h 1805307"/>
                <a:gd name="connsiteX58" fmla="*/ 381451 w 1163960"/>
                <a:gd name="connsiteY58" fmla="*/ 774064 h 1805307"/>
                <a:gd name="connsiteX59" fmla="*/ 280721 w 1163960"/>
                <a:gd name="connsiteY59" fmla="*/ 774064 h 1805307"/>
                <a:gd name="connsiteX60" fmla="*/ 280721 w 1163960"/>
                <a:gd name="connsiteY60" fmla="*/ 1024911 h 1805307"/>
                <a:gd name="connsiteX61" fmla="*/ 165766 w 1163960"/>
                <a:gd name="connsiteY61" fmla="*/ 1095204 h 1805307"/>
                <a:gd name="connsiteX62" fmla="*/ 165766 w 1163960"/>
                <a:gd name="connsiteY62" fmla="*/ 908914 h 1805307"/>
                <a:gd name="connsiteX63" fmla="*/ 216215 w 1163960"/>
                <a:gd name="connsiteY63" fmla="*/ 908914 h 1805307"/>
                <a:gd name="connsiteX64" fmla="*/ 216215 w 1163960"/>
                <a:gd name="connsiteY64" fmla="*/ 681887 h 1805307"/>
                <a:gd name="connsiteX65" fmla="*/ 252251 w 1163960"/>
                <a:gd name="connsiteY65" fmla="*/ 681887 h 1805307"/>
                <a:gd name="connsiteX66" fmla="*/ 252251 w 1163960"/>
                <a:gd name="connsiteY66" fmla="*/ 538643 h 1805307"/>
                <a:gd name="connsiteX67" fmla="*/ 272434 w 1163960"/>
                <a:gd name="connsiteY67" fmla="*/ 538643 h 1805307"/>
                <a:gd name="connsiteX68" fmla="*/ 500900 w 1163960"/>
                <a:gd name="connsiteY68" fmla="*/ 264772 h 1805307"/>
                <a:gd name="connsiteX69" fmla="*/ 500900 w 1163960"/>
                <a:gd name="connsiteY69" fmla="*/ 115221 h 1805307"/>
                <a:gd name="connsiteX70" fmla="*/ 544142 w 1163960"/>
                <a:gd name="connsiteY70" fmla="*/ 115221 h 1805307"/>
                <a:gd name="connsiteX71" fmla="*/ 544142 w 1163960"/>
                <a:gd name="connsiteY71" fmla="*/ 19763 h 1805307"/>
                <a:gd name="connsiteX72" fmla="*/ 563905 w 1163960"/>
                <a:gd name="connsiteY72" fmla="*/ 0 h 180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63960" h="1805307">
                  <a:moveTo>
                    <a:pt x="990541" y="1274832"/>
                  </a:moveTo>
                  <a:lnTo>
                    <a:pt x="990541" y="1562630"/>
                  </a:lnTo>
                  <a:lnTo>
                    <a:pt x="1091271" y="1562630"/>
                  </a:lnTo>
                  <a:lnTo>
                    <a:pt x="1091271" y="1274832"/>
                  </a:lnTo>
                  <a:close/>
                  <a:moveTo>
                    <a:pt x="806970" y="1274832"/>
                  </a:moveTo>
                  <a:lnTo>
                    <a:pt x="806970" y="1562630"/>
                  </a:lnTo>
                  <a:lnTo>
                    <a:pt x="907700" y="1562630"/>
                  </a:lnTo>
                  <a:lnTo>
                    <a:pt x="907700" y="1274832"/>
                  </a:lnTo>
                  <a:close/>
                  <a:moveTo>
                    <a:pt x="623400" y="1274832"/>
                  </a:moveTo>
                  <a:lnTo>
                    <a:pt x="623400" y="1562630"/>
                  </a:lnTo>
                  <a:lnTo>
                    <a:pt x="724130" y="1562630"/>
                  </a:lnTo>
                  <a:lnTo>
                    <a:pt x="724130" y="1274832"/>
                  </a:lnTo>
                  <a:close/>
                  <a:moveTo>
                    <a:pt x="439830" y="1274832"/>
                  </a:moveTo>
                  <a:lnTo>
                    <a:pt x="439830" y="1562630"/>
                  </a:lnTo>
                  <a:lnTo>
                    <a:pt x="540560" y="1562630"/>
                  </a:lnTo>
                  <a:lnTo>
                    <a:pt x="540560" y="1274832"/>
                  </a:lnTo>
                  <a:close/>
                  <a:moveTo>
                    <a:pt x="256260" y="1274832"/>
                  </a:moveTo>
                  <a:lnTo>
                    <a:pt x="256260" y="1562630"/>
                  </a:lnTo>
                  <a:lnTo>
                    <a:pt x="356990" y="1562630"/>
                  </a:lnTo>
                  <a:lnTo>
                    <a:pt x="356990" y="1274832"/>
                  </a:lnTo>
                  <a:close/>
                  <a:moveTo>
                    <a:pt x="72690" y="1274832"/>
                  </a:moveTo>
                  <a:lnTo>
                    <a:pt x="72690" y="1562630"/>
                  </a:lnTo>
                  <a:lnTo>
                    <a:pt x="173420" y="1562630"/>
                  </a:lnTo>
                  <a:lnTo>
                    <a:pt x="173420" y="1274832"/>
                  </a:lnTo>
                  <a:close/>
                  <a:moveTo>
                    <a:pt x="579059" y="937467"/>
                  </a:moveTo>
                  <a:lnTo>
                    <a:pt x="1062364" y="1232336"/>
                  </a:lnTo>
                  <a:lnTo>
                    <a:pt x="1163960" y="1232336"/>
                  </a:lnTo>
                  <a:lnTo>
                    <a:pt x="1163960" y="1805307"/>
                  </a:lnTo>
                  <a:lnTo>
                    <a:pt x="0" y="1805307"/>
                  </a:lnTo>
                  <a:lnTo>
                    <a:pt x="0" y="1232336"/>
                  </a:lnTo>
                  <a:lnTo>
                    <a:pt x="101596" y="1232336"/>
                  </a:lnTo>
                  <a:close/>
                  <a:moveTo>
                    <a:pt x="563905" y="0"/>
                  </a:moveTo>
                  <a:lnTo>
                    <a:pt x="600055" y="0"/>
                  </a:lnTo>
                  <a:cubicBezTo>
                    <a:pt x="610970" y="0"/>
                    <a:pt x="619818" y="8848"/>
                    <a:pt x="619818" y="19763"/>
                  </a:cubicBezTo>
                  <a:lnTo>
                    <a:pt x="619818" y="115221"/>
                  </a:lnTo>
                  <a:lnTo>
                    <a:pt x="663060" y="115221"/>
                  </a:lnTo>
                  <a:lnTo>
                    <a:pt x="663060" y="264772"/>
                  </a:lnTo>
                  <a:cubicBezTo>
                    <a:pt x="792316" y="289557"/>
                    <a:pt x="890126" y="402518"/>
                    <a:pt x="891526" y="538643"/>
                  </a:cubicBezTo>
                  <a:lnTo>
                    <a:pt x="911709" y="538643"/>
                  </a:lnTo>
                  <a:lnTo>
                    <a:pt x="911709" y="681887"/>
                  </a:lnTo>
                  <a:lnTo>
                    <a:pt x="947745" y="681887"/>
                  </a:lnTo>
                  <a:lnTo>
                    <a:pt x="947745" y="908914"/>
                  </a:lnTo>
                  <a:lnTo>
                    <a:pt x="998195" y="908914"/>
                  </a:lnTo>
                  <a:lnTo>
                    <a:pt x="998195" y="1098778"/>
                  </a:lnTo>
                  <a:lnTo>
                    <a:pt x="883240" y="1028484"/>
                  </a:lnTo>
                  <a:lnTo>
                    <a:pt x="883240" y="774062"/>
                  </a:lnTo>
                  <a:lnTo>
                    <a:pt x="782510" y="774062"/>
                  </a:lnTo>
                  <a:lnTo>
                    <a:pt x="782510" y="966888"/>
                  </a:lnTo>
                  <a:lnTo>
                    <a:pt x="715978" y="926204"/>
                  </a:lnTo>
                  <a:lnTo>
                    <a:pt x="715978" y="774064"/>
                  </a:lnTo>
                  <a:lnTo>
                    <a:pt x="615248" y="774064"/>
                  </a:lnTo>
                  <a:lnTo>
                    <a:pt x="615248" y="864607"/>
                  </a:lnTo>
                  <a:lnTo>
                    <a:pt x="579059" y="842478"/>
                  </a:lnTo>
                  <a:lnTo>
                    <a:pt x="548714" y="861034"/>
                  </a:lnTo>
                  <a:lnTo>
                    <a:pt x="548714" y="774064"/>
                  </a:lnTo>
                  <a:lnTo>
                    <a:pt x="447985" y="774064"/>
                  </a:lnTo>
                  <a:lnTo>
                    <a:pt x="447985" y="922629"/>
                  </a:lnTo>
                  <a:lnTo>
                    <a:pt x="381451" y="963314"/>
                  </a:lnTo>
                  <a:lnTo>
                    <a:pt x="381451" y="774064"/>
                  </a:lnTo>
                  <a:lnTo>
                    <a:pt x="280721" y="774064"/>
                  </a:lnTo>
                  <a:lnTo>
                    <a:pt x="280721" y="1024911"/>
                  </a:lnTo>
                  <a:lnTo>
                    <a:pt x="165766" y="1095204"/>
                  </a:lnTo>
                  <a:lnTo>
                    <a:pt x="165766" y="908914"/>
                  </a:lnTo>
                  <a:lnTo>
                    <a:pt x="216215" y="908914"/>
                  </a:lnTo>
                  <a:lnTo>
                    <a:pt x="216215" y="681887"/>
                  </a:lnTo>
                  <a:lnTo>
                    <a:pt x="252251" y="681887"/>
                  </a:lnTo>
                  <a:lnTo>
                    <a:pt x="252251" y="538643"/>
                  </a:lnTo>
                  <a:lnTo>
                    <a:pt x="272434" y="538643"/>
                  </a:lnTo>
                  <a:cubicBezTo>
                    <a:pt x="273834" y="402518"/>
                    <a:pt x="371644" y="289557"/>
                    <a:pt x="500900" y="264772"/>
                  </a:cubicBezTo>
                  <a:lnTo>
                    <a:pt x="500900" y="115221"/>
                  </a:lnTo>
                  <a:lnTo>
                    <a:pt x="544142" y="115221"/>
                  </a:lnTo>
                  <a:lnTo>
                    <a:pt x="544142" y="19763"/>
                  </a:lnTo>
                  <a:cubicBezTo>
                    <a:pt x="544142" y="8848"/>
                    <a:pt x="552990" y="0"/>
                    <a:pt x="563905"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297" name="Rectangle 296"/>
            <p:cNvSpPr/>
            <p:nvPr/>
          </p:nvSpPr>
          <p:spPr>
            <a:xfrm>
              <a:off x="9753600" y="1538288"/>
              <a:ext cx="80963" cy="64580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sp>
          <p:nvSpPr>
            <p:cNvPr id="298" name="Rectangle 297"/>
            <p:cNvSpPr/>
            <p:nvPr/>
          </p:nvSpPr>
          <p:spPr>
            <a:xfrm>
              <a:off x="11121441" y="1538288"/>
              <a:ext cx="80963" cy="64580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endParaRPr lang="en-US" sz="1200" dirty="0" err="1">
                <a:solidFill>
                  <a:prstClr val="white"/>
                </a:solidFill>
              </a:endParaRPr>
            </a:p>
          </p:txBody>
        </p:sp>
      </p:grpSp>
      <p:sp>
        <p:nvSpPr>
          <p:cNvPr id="318" name="Freeform 317"/>
          <p:cNvSpPr/>
          <p:nvPr/>
        </p:nvSpPr>
        <p:spPr bwMode="auto">
          <a:xfrm>
            <a:off x="8168048" y="2267675"/>
            <a:ext cx="286722" cy="266896"/>
          </a:xfrm>
          <a:custGeom>
            <a:avLst/>
            <a:gdLst>
              <a:gd name="connsiteX0" fmla="*/ 396062 w 942035"/>
              <a:gd name="connsiteY0" fmla="*/ 301954 h 876895"/>
              <a:gd name="connsiteX1" fmla="*/ 396062 w 942035"/>
              <a:gd name="connsiteY1" fmla="*/ 461202 h 876895"/>
              <a:gd name="connsiteX2" fmla="*/ 236814 w 942035"/>
              <a:gd name="connsiteY2" fmla="*/ 461202 h 876895"/>
              <a:gd name="connsiteX3" fmla="*/ 236814 w 942035"/>
              <a:gd name="connsiteY3" fmla="*/ 611114 h 876895"/>
              <a:gd name="connsiteX4" fmla="*/ 396062 w 942035"/>
              <a:gd name="connsiteY4" fmla="*/ 611114 h 876895"/>
              <a:gd name="connsiteX5" fmla="*/ 396062 w 942035"/>
              <a:gd name="connsiteY5" fmla="*/ 770362 h 876895"/>
              <a:gd name="connsiteX6" fmla="*/ 545973 w 942035"/>
              <a:gd name="connsiteY6" fmla="*/ 770362 h 876895"/>
              <a:gd name="connsiteX7" fmla="*/ 545973 w 942035"/>
              <a:gd name="connsiteY7" fmla="*/ 611114 h 876895"/>
              <a:gd name="connsiteX8" fmla="*/ 705221 w 942035"/>
              <a:gd name="connsiteY8" fmla="*/ 611114 h 876895"/>
              <a:gd name="connsiteX9" fmla="*/ 705221 w 942035"/>
              <a:gd name="connsiteY9" fmla="*/ 461202 h 876895"/>
              <a:gd name="connsiteX10" fmla="*/ 545973 w 942035"/>
              <a:gd name="connsiteY10" fmla="*/ 461202 h 876895"/>
              <a:gd name="connsiteX11" fmla="*/ 545973 w 942035"/>
              <a:gd name="connsiteY11" fmla="*/ 301954 h 876895"/>
              <a:gd name="connsiteX12" fmla="*/ 634519 w 942035"/>
              <a:gd name="connsiteY12" fmla="*/ 175948 h 876895"/>
              <a:gd name="connsiteX13" fmla="*/ 611659 w 942035"/>
              <a:gd name="connsiteY13" fmla="*/ 198808 h 876895"/>
              <a:gd name="connsiteX14" fmla="*/ 634519 w 942035"/>
              <a:gd name="connsiteY14" fmla="*/ 221668 h 876895"/>
              <a:gd name="connsiteX15" fmla="*/ 657379 w 942035"/>
              <a:gd name="connsiteY15" fmla="*/ 198808 h 876895"/>
              <a:gd name="connsiteX16" fmla="*/ 634519 w 942035"/>
              <a:gd name="connsiteY16" fmla="*/ 175948 h 876895"/>
              <a:gd name="connsiteX17" fmla="*/ 307258 w 942035"/>
              <a:gd name="connsiteY17" fmla="*/ 175948 h 876895"/>
              <a:gd name="connsiteX18" fmla="*/ 284398 w 942035"/>
              <a:gd name="connsiteY18" fmla="*/ 198808 h 876895"/>
              <a:gd name="connsiteX19" fmla="*/ 307258 w 942035"/>
              <a:gd name="connsiteY19" fmla="*/ 221668 h 876895"/>
              <a:gd name="connsiteX20" fmla="*/ 330118 w 942035"/>
              <a:gd name="connsiteY20" fmla="*/ 198808 h 876895"/>
              <a:gd name="connsiteX21" fmla="*/ 307258 w 942035"/>
              <a:gd name="connsiteY21" fmla="*/ 175948 h 876895"/>
              <a:gd name="connsiteX22" fmla="*/ 376581 w 942035"/>
              <a:gd name="connsiteY22" fmla="*/ 39406 h 876895"/>
              <a:gd name="connsiteX23" fmla="*/ 329031 w 942035"/>
              <a:gd name="connsiteY23" fmla="*/ 86956 h 876895"/>
              <a:gd name="connsiteX24" fmla="*/ 329031 w 942035"/>
              <a:gd name="connsiteY24" fmla="*/ 149323 h 876895"/>
              <a:gd name="connsiteX25" fmla="*/ 353764 w 942035"/>
              <a:gd name="connsiteY25" fmla="*/ 183397 h 876895"/>
              <a:gd name="connsiteX26" fmla="*/ 588271 w 942035"/>
              <a:gd name="connsiteY26" fmla="*/ 183397 h 876895"/>
              <a:gd name="connsiteX27" fmla="*/ 614326 w 942035"/>
              <a:gd name="connsiteY27" fmla="*/ 149323 h 876895"/>
              <a:gd name="connsiteX28" fmla="*/ 614326 w 942035"/>
              <a:gd name="connsiteY28" fmla="*/ 86956 h 876895"/>
              <a:gd name="connsiteX29" fmla="*/ 566776 w 942035"/>
              <a:gd name="connsiteY29" fmla="*/ 39406 h 876895"/>
              <a:gd name="connsiteX30" fmla="*/ 350311 w 942035"/>
              <a:gd name="connsiteY30" fmla="*/ 0 h 876895"/>
              <a:gd name="connsiteX31" fmla="*/ 593047 w 942035"/>
              <a:gd name="connsiteY31" fmla="*/ 0 h 876895"/>
              <a:gd name="connsiteX32" fmla="*/ 653733 w 942035"/>
              <a:gd name="connsiteY32" fmla="*/ 60686 h 876895"/>
              <a:gd name="connsiteX33" fmla="*/ 653733 w 942035"/>
              <a:gd name="connsiteY33" fmla="*/ 149323 h 876895"/>
              <a:gd name="connsiteX34" fmla="*/ 678465 w 942035"/>
              <a:gd name="connsiteY34" fmla="*/ 183397 h 876895"/>
              <a:gd name="connsiteX35" fmla="*/ 826450 w 942035"/>
              <a:gd name="connsiteY35" fmla="*/ 183397 h 876895"/>
              <a:gd name="connsiteX36" fmla="*/ 942035 w 942035"/>
              <a:gd name="connsiteY36" fmla="*/ 298982 h 876895"/>
              <a:gd name="connsiteX37" fmla="*/ 942035 w 942035"/>
              <a:gd name="connsiteY37" fmla="*/ 761310 h 876895"/>
              <a:gd name="connsiteX38" fmla="*/ 826450 w 942035"/>
              <a:gd name="connsiteY38" fmla="*/ 876895 h 876895"/>
              <a:gd name="connsiteX39" fmla="*/ 115586 w 942035"/>
              <a:gd name="connsiteY39" fmla="*/ 876895 h 876895"/>
              <a:gd name="connsiteX40" fmla="*/ 0 w 942035"/>
              <a:gd name="connsiteY40" fmla="*/ 761310 h 876895"/>
              <a:gd name="connsiteX41" fmla="*/ 0 w 942035"/>
              <a:gd name="connsiteY41" fmla="*/ 298982 h 876895"/>
              <a:gd name="connsiteX42" fmla="*/ 115586 w 942035"/>
              <a:gd name="connsiteY42" fmla="*/ 183397 h 876895"/>
              <a:gd name="connsiteX43" fmla="*/ 263570 w 942035"/>
              <a:gd name="connsiteY43" fmla="*/ 183397 h 876895"/>
              <a:gd name="connsiteX44" fmla="*/ 289625 w 942035"/>
              <a:gd name="connsiteY44" fmla="*/ 149323 h 876895"/>
              <a:gd name="connsiteX45" fmla="*/ 289625 w 942035"/>
              <a:gd name="connsiteY45" fmla="*/ 60686 h 876895"/>
              <a:gd name="connsiteX46" fmla="*/ 350311 w 942035"/>
              <a:gd name="connsiteY46" fmla="*/ 0 h 87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42035" h="876895">
                <a:moveTo>
                  <a:pt x="396062" y="301954"/>
                </a:moveTo>
                <a:lnTo>
                  <a:pt x="396062" y="461202"/>
                </a:lnTo>
                <a:lnTo>
                  <a:pt x="236814" y="461202"/>
                </a:lnTo>
                <a:lnTo>
                  <a:pt x="236814" y="611114"/>
                </a:lnTo>
                <a:lnTo>
                  <a:pt x="396062" y="611114"/>
                </a:lnTo>
                <a:lnTo>
                  <a:pt x="396062" y="770362"/>
                </a:lnTo>
                <a:lnTo>
                  <a:pt x="545973" y="770362"/>
                </a:lnTo>
                <a:lnTo>
                  <a:pt x="545973" y="611114"/>
                </a:lnTo>
                <a:lnTo>
                  <a:pt x="705221" y="611114"/>
                </a:lnTo>
                <a:lnTo>
                  <a:pt x="705221" y="461202"/>
                </a:lnTo>
                <a:lnTo>
                  <a:pt x="545973" y="461202"/>
                </a:lnTo>
                <a:lnTo>
                  <a:pt x="545973" y="301954"/>
                </a:lnTo>
                <a:close/>
                <a:moveTo>
                  <a:pt x="634519" y="175948"/>
                </a:moveTo>
                <a:cubicBezTo>
                  <a:pt x="621894" y="175948"/>
                  <a:pt x="611659" y="186183"/>
                  <a:pt x="611659" y="198808"/>
                </a:cubicBezTo>
                <a:cubicBezTo>
                  <a:pt x="611659" y="211433"/>
                  <a:pt x="621894" y="221668"/>
                  <a:pt x="634519" y="221668"/>
                </a:cubicBezTo>
                <a:cubicBezTo>
                  <a:pt x="647144" y="221668"/>
                  <a:pt x="657379" y="211433"/>
                  <a:pt x="657379" y="198808"/>
                </a:cubicBezTo>
                <a:cubicBezTo>
                  <a:pt x="657379" y="186183"/>
                  <a:pt x="647144" y="175948"/>
                  <a:pt x="634519" y="175948"/>
                </a:cubicBezTo>
                <a:close/>
                <a:moveTo>
                  <a:pt x="307258" y="175948"/>
                </a:moveTo>
                <a:cubicBezTo>
                  <a:pt x="294633" y="175948"/>
                  <a:pt x="284398" y="186183"/>
                  <a:pt x="284398" y="198808"/>
                </a:cubicBezTo>
                <a:cubicBezTo>
                  <a:pt x="284398" y="211433"/>
                  <a:pt x="294633" y="221668"/>
                  <a:pt x="307258" y="221668"/>
                </a:cubicBezTo>
                <a:cubicBezTo>
                  <a:pt x="319883" y="221668"/>
                  <a:pt x="330118" y="211433"/>
                  <a:pt x="330118" y="198808"/>
                </a:cubicBezTo>
                <a:cubicBezTo>
                  <a:pt x="330118" y="186183"/>
                  <a:pt x="319883" y="175948"/>
                  <a:pt x="307258" y="175948"/>
                </a:cubicBezTo>
                <a:close/>
                <a:moveTo>
                  <a:pt x="376581" y="39406"/>
                </a:moveTo>
                <a:cubicBezTo>
                  <a:pt x="350320" y="39406"/>
                  <a:pt x="329031" y="60695"/>
                  <a:pt x="329031" y="86956"/>
                </a:cubicBezTo>
                <a:lnTo>
                  <a:pt x="329031" y="149323"/>
                </a:lnTo>
                <a:lnTo>
                  <a:pt x="353764" y="183397"/>
                </a:lnTo>
                <a:lnTo>
                  <a:pt x="588271" y="183397"/>
                </a:lnTo>
                <a:lnTo>
                  <a:pt x="614326" y="149323"/>
                </a:lnTo>
                <a:lnTo>
                  <a:pt x="614326" y="86956"/>
                </a:lnTo>
                <a:cubicBezTo>
                  <a:pt x="614326" y="60695"/>
                  <a:pt x="593037" y="39406"/>
                  <a:pt x="566776" y="39406"/>
                </a:cubicBezTo>
                <a:close/>
                <a:moveTo>
                  <a:pt x="350311" y="0"/>
                </a:moveTo>
                <a:lnTo>
                  <a:pt x="593047" y="0"/>
                </a:lnTo>
                <a:cubicBezTo>
                  <a:pt x="626563" y="0"/>
                  <a:pt x="653733" y="27170"/>
                  <a:pt x="653733" y="60686"/>
                </a:cubicBezTo>
                <a:lnTo>
                  <a:pt x="653733" y="149323"/>
                </a:lnTo>
                <a:lnTo>
                  <a:pt x="678465" y="183397"/>
                </a:lnTo>
                <a:lnTo>
                  <a:pt x="826450" y="183397"/>
                </a:lnTo>
                <a:cubicBezTo>
                  <a:pt x="890286" y="183397"/>
                  <a:pt x="942035" y="235146"/>
                  <a:pt x="942035" y="298982"/>
                </a:cubicBezTo>
                <a:lnTo>
                  <a:pt x="942035" y="761310"/>
                </a:lnTo>
                <a:cubicBezTo>
                  <a:pt x="942035" y="825146"/>
                  <a:pt x="890286" y="876895"/>
                  <a:pt x="826450" y="876895"/>
                </a:cubicBezTo>
                <a:lnTo>
                  <a:pt x="115586" y="876895"/>
                </a:lnTo>
                <a:cubicBezTo>
                  <a:pt x="51749" y="876895"/>
                  <a:pt x="0" y="825146"/>
                  <a:pt x="0" y="761310"/>
                </a:cubicBezTo>
                <a:lnTo>
                  <a:pt x="0" y="298982"/>
                </a:lnTo>
                <a:cubicBezTo>
                  <a:pt x="0" y="235146"/>
                  <a:pt x="51749" y="183397"/>
                  <a:pt x="115586" y="183397"/>
                </a:cubicBezTo>
                <a:lnTo>
                  <a:pt x="263570" y="183397"/>
                </a:lnTo>
                <a:lnTo>
                  <a:pt x="289625" y="149323"/>
                </a:lnTo>
                <a:lnTo>
                  <a:pt x="289625" y="60686"/>
                </a:lnTo>
                <a:cubicBezTo>
                  <a:pt x="289625" y="27170"/>
                  <a:pt x="316795" y="0"/>
                  <a:pt x="350311" y="0"/>
                </a:cubicBezTo>
                <a:close/>
              </a:path>
            </a:pathLst>
          </a:cu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914400" eaLnBrk="0" fontAlgn="base" hangingPunct="0">
              <a:spcBef>
                <a:spcPct val="0"/>
              </a:spcBef>
              <a:spcAft>
                <a:spcPct val="0"/>
              </a:spcAft>
            </a:pPr>
            <a:endParaRPr lang="en-US" sz="1800">
              <a:solidFill>
                <a:srgbClr val="505050"/>
              </a:solidFill>
              <a:latin typeface="Arial" charset="0"/>
            </a:endParaRPr>
          </a:p>
        </p:txBody>
      </p:sp>
      <p:sp>
        <p:nvSpPr>
          <p:cNvPr id="319" name="Freeform 318"/>
          <p:cNvSpPr/>
          <p:nvPr/>
        </p:nvSpPr>
        <p:spPr>
          <a:xfrm>
            <a:off x="8096887" y="2805772"/>
            <a:ext cx="438238" cy="318430"/>
          </a:xfrm>
          <a:custGeom>
            <a:avLst/>
            <a:gdLst/>
            <a:ahLst/>
            <a:cxnLst/>
            <a:rect l="l" t="t" r="r" b="b"/>
            <a:pathLst>
              <a:path w="1652587" h="1200794">
                <a:moveTo>
                  <a:pt x="314325" y="495300"/>
                </a:moveTo>
                <a:cubicBezTo>
                  <a:pt x="817562" y="700088"/>
                  <a:pt x="932657" y="628650"/>
                  <a:pt x="1381125" y="509588"/>
                </a:cubicBezTo>
                <a:lnTo>
                  <a:pt x="1381125" y="807244"/>
                </a:lnTo>
                <a:cubicBezTo>
                  <a:pt x="1163637" y="909637"/>
                  <a:pt x="734218" y="990601"/>
                  <a:pt x="314325" y="807244"/>
                </a:cubicBezTo>
                <a:close/>
                <a:moveTo>
                  <a:pt x="97631" y="402432"/>
                </a:moveTo>
                <a:lnTo>
                  <a:pt x="126206" y="535782"/>
                </a:lnTo>
                <a:lnTo>
                  <a:pt x="140493" y="664370"/>
                </a:lnTo>
                <a:lnTo>
                  <a:pt x="150018" y="716757"/>
                </a:lnTo>
                <a:lnTo>
                  <a:pt x="150018" y="1050132"/>
                </a:lnTo>
                <a:lnTo>
                  <a:pt x="176212" y="1143001"/>
                </a:lnTo>
                <a:cubicBezTo>
                  <a:pt x="141287" y="1204120"/>
                  <a:pt x="82549" y="1229519"/>
                  <a:pt x="0" y="1154907"/>
                </a:cubicBezTo>
                <a:lnTo>
                  <a:pt x="30956" y="1069182"/>
                </a:lnTo>
                <a:cubicBezTo>
                  <a:pt x="30162" y="1002507"/>
                  <a:pt x="29369" y="935832"/>
                  <a:pt x="28575" y="869157"/>
                </a:cubicBezTo>
                <a:lnTo>
                  <a:pt x="47625" y="831057"/>
                </a:lnTo>
                <a:lnTo>
                  <a:pt x="42862" y="638176"/>
                </a:lnTo>
                <a:lnTo>
                  <a:pt x="66675" y="609601"/>
                </a:lnTo>
                <a:cubicBezTo>
                  <a:pt x="67469" y="563564"/>
                  <a:pt x="68262" y="517526"/>
                  <a:pt x="69056" y="471489"/>
                </a:cubicBezTo>
                <a:lnTo>
                  <a:pt x="83343" y="461964"/>
                </a:lnTo>
                <a:close/>
                <a:moveTo>
                  <a:pt x="838200" y="0"/>
                </a:moveTo>
                <a:lnTo>
                  <a:pt x="909637" y="0"/>
                </a:lnTo>
                <a:lnTo>
                  <a:pt x="1652587" y="214313"/>
                </a:lnTo>
                <a:lnTo>
                  <a:pt x="900112" y="431006"/>
                </a:lnTo>
                <a:lnTo>
                  <a:pt x="821531" y="431006"/>
                </a:lnTo>
                <a:lnTo>
                  <a:pt x="7143" y="21907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a:solidFill>
                <a:prstClr val="white"/>
              </a:solidFill>
            </a:endParaRPr>
          </a:p>
        </p:txBody>
      </p:sp>
      <p:grpSp>
        <p:nvGrpSpPr>
          <p:cNvPr id="320" name="Group 319"/>
          <p:cNvGrpSpPr>
            <a:grpSpLocks noChangeAspect="1"/>
          </p:cNvGrpSpPr>
          <p:nvPr/>
        </p:nvGrpSpPr>
        <p:grpSpPr bwMode="black">
          <a:xfrm>
            <a:off x="7432409" y="2849418"/>
            <a:ext cx="442086" cy="269213"/>
            <a:chOff x="10387012" y="4179358"/>
            <a:chExt cx="974726" cy="593725"/>
          </a:xfrm>
          <a:solidFill>
            <a:schemeClr val="bg1">
              <a:lumMod val="50000"/>
            </a:schemeClr>
          </a:solidFill>
        </p:grpSpPr>
        <p:sp>
          <p:nvSpPr>
            <p:cNvPr id="321"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600">
                <a:solidFill>
                  <a:srgbClr val="505050"/>
                </a:solidFill>
              </a:endParaRPr>
            </a:p>
          </p:txBody>
        </p:sp>
        <p:sp>
          <p:nvSpPr>
            <p:cNvPr id="32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600">
                <a:solidFill>
                  <a:srgbClr val="505050"/>
                </a:solidFill>
              </a:endParaRPr>
            </a:p>
          </p:txBody>
        </p:sp>
        <p:sp>
          <p:nvSpPr>
            <p:cNvPr id="323"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600">
                <a:solidFill>
                  <a:srgbClr val="505050"/>
                </a:solidFill>
              </a:endParaRPr>
            </a:p>
          </p:txBody>
        </p:sp>
        <p:sp>
          <p:nvSpPr>
            <p:cNvPr id="324"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600">
                <a:solidFill>
                  <a:srgbClr val="505050"/>
                </a:solidFill>
              </a:endParaRPr>
            </a:p>
          </p:txBody>
        </p:sp>
        <p:sp>
          <p:nvSpPr>
            <p:cNvPr id="325"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600">
                <a:solidFill>
                  <a:srgbClr val="505050"/>
                </a:solidFill>
              </a:endParaRPr>
            </a:p>
          </p:txBody>
        </p:sp>
      </p:grpSp>
      <p:sp>
        <p:nvSpPr>
          <p:cNvPr id="326" name="TextBox 325"/>
          <p:cNvSpPr txBox="1"/>
          <p:nvPr/>
        </p:nvSpPr>
        <p:spPr>
          <a:xfrm>
            <a:off x="7505867" y="3605644"/>
            <a:ext cx="830356" cy="153888"/>
          </a:xfrm>
          <a:prstGeom prst="rect">
            <a:avLst/>
          </a:prstGeom>
        </p:spPr>
        <p:txBody>
          <a:bodyPr vert="horz" wrap="none" lIns="0" tIns="0" rIns="0" bIns="0" rtlCol="0" anchor="t">
            <a:spAutoFit/>
          </a:bodyPr>
          <a:lstStyle/>
          <a:p>
            <a:pPr algn="ctr" defTabSz="1088105"/>
            <a:r>
              <a:rPr lang="en-US" sz="1000" dirty="0">
                <a:solidFill>
                  <a:srgbClr val="505050"/>
                </a:solidFill>
                <a:ea typeface="Segoe UI" pitchFamily="34" charset="0"/>
                <a:cs typeface="Segoe UI" pitchFamily="34" charset="0"/>
              </a:rPr>
              <a:t>Transportation</a:t>
            </a:r>
          </a:p>
        </p:txBody>
      </p:sp>
      <p:pic>
        <p:nvPicPr>
          <p:cNvPr id="328" name="Picture 327"/>
          <p:cNvPicPr>
            <a:picLocks noChangeAspect="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641231" y="3343150"/>
            <a:ext cx="642315" cy="321158"/>
          </a:xfrm>
          <a:prstGeom prst="rect">
            <a:avLst/>
          </a:prstGeom>
        </p:spPr>
      </p:pic>
      <p:sp>
        <p:nvSpPr>
          <p:cNvPr id="330" name="Rounded Rectangle 14"/>
          <p:cNvSpPr>
            <a:spLocks noChangeAspect="1"/>
          </p:cNvSpPr>
          <p:nvPr/>
        </p:nvSpPr>
        <p:spPr>
          <a:xfrm>
            <a:off x="961026" y="3316761"/>
            <a:ext cx="411480" cy="320418"/>
          </a:xfrm>
          <a:custGeom>
            <a:avLst/>
            <a:gdLst/>
            <a:ahLst/>
            <a:cxnLst/>
            <a:rect l="l" t="t" r="r" b="b"/>
            <a:pathLst>
              <a:path w="3990453" h="3107352">
                <a:moveTo>
                  <a:pt x="1044313" y="1824213"/>
                </a:moveTo>
                <a:cubicBezTo>
                  <a:pt x="879214" y="1853582"/>
                  <a:pt x="856988" y="1925813"/>
                  <a:pt x="849051" y="1976613"/>
                </a:cubicBezTo>
                <a:cubicBezTo>
                  <a:pt x="850639" y="2101232"/>
                  <a:pt x="916520" y="2125838"/>
                  <a:pt x="982401" y="2143301"/>
                </a:cubicBezTo>
                <a:cubicBezTo>
                  <a:pt x="981606" y="2027413"/>
                  <a:pt x="1007007" y="1913907"/>
                  <a:pt x="1044313" y="1824213"/>
                </a:cubicBezTo>
                <a:close/>
                <a:moveTo>
                  <a:pt x="1146389" y="1732866"/>
                </a:moveTo>
                <a:cubicBezTo>
                  <a:pt x="1536777" y="1716429"/>
                  <a:pt x="2259533" y="2211218"/>
                  <a:pt x="2823724" y="2265356"/>
                </a:cubicBezTo>
                <a:cubicBezTo>
                  <a:pt x="3163290" y="2309425"/>
                  <a:pt x="3162514" y="2274572"/>
                  <a:pt x="3181724" y="2279127"/>
                </a:cubicBezTo>
                <a:cubicBezTo>
                  <a:pt x="3173302" y="2321259"/>
                  <a:pt x="2879991" y="2312685"/>
                  <a:pt x="2824688" y="2309352"/>
                </a:cubicBezTo>
                <a:cubicBezTo>
                  <a:pt x="2825662" y="2348291"/>
                  <a:pt x="2827323" y="2378705"/>
                  <a:pt x="2825488" y="2419520"/>
                </a:cubicBezTo>
                <a:cubicBezTo>
                  <a:pt x="2825488" y="2496439"/>
                  <a:pt x="2776195" y="2507632"/>
                  <a:pt x="2718326" y="2507632"/>
                </a:cubicBezTo>
                <a:cubicBezTo>
                  <a:pt x="2713566" y="2535413"/>
                  <a:pt x="2725475" y="2577481"/>
                  <a:pt x="2704046" y="2590974"/>
                </a:cubicBezTo>
                <a:cubicBezTo>
                  <a:pt x="2450841" y="2720356"/>
                  <a:pt x="2166680" y="2664000"/>
                  <a:pt x="1937288" y="2640982"/>
                </a:cubicBezTo>
                <a:cubicBezTo>
                  <a:pt x="1762738" y="2598120"/>
                  <a:pt x="1808696" y="2458338"/>
                  <a:pt x="1808696" y="2400469"/>
                </a:cubicBezTo>
                <a:cubicBezTo>
                  <a:pt x="1790439" y="2385630"/>
                  <a:pt x="1757895" y="2392222"/>
                  <a:pt x="1756307" y="2336902"/>
                </a:cubicBezTo>
                <a:cubicBezTo>
                  <a:pt x="1756417" y="2274240"/>
                  <a:pt x="1760029" y="2115081"/>
                  <a:pt x="1771829" y="1969370"/>
                </a:cubicBezTo>
                <a:cubicBezTo>
                  <a:pt x="1758945" y="1959213"/>
                  <a:pt x="1736535" y="1956200"/>
                  <a:pt x="1711744" y="1950805"/>
                </a:cubicBezTo>
                <a:cubicBezTo>
                  <a:pt x="1703530" y="2068162"/>
                  <a:pt x="1686457" y="2216055"/>
                  <a:pt x="1692013" y="2355233"/>
                </a:cubicBezTo>
                <a:cubicBezTo>
                  <a:pt x="1706566" y="2402328"/>
                  <a:pt x="1721119" y="2427993"/>
                  <a:pt x="1749959" y="2446514"/>
                </a:cubicBezTo>
                <a:cubicBezTo>
                  <a:pt x="1558023" y="2446514"/>
                  <a:pt x="1325603" y="2479852"/>
                  <a:pt x="1155099" y="2425083"/>
                </a:cubicBezTo>
                <a:cubicBezTo>
                  <a:pt x="1133535" y="2418601"/>
                  <a:pt x="1123101" y="2404951"/>
                  <a:pt x="1115750" y="2343325"/>
                </a:cubicBezTo>
                <a:cubicBezTo>
                  <a:pt x="1117526" y="2315809"/>
                  <a:pt x="1136786" y="2262341"/>
                  <a:pt x="1068126" y="2283795"/>
                </a:cubicBezTo>
                <a:cubicBezTo>
                  <a:pt x="993514" y="2285779"/>
                  <a:pt x="993909" y="2296075"/>
                  <a:pt x="982400" y="2226645"/>
                </a:cubicBezTo>
                <a:cubicBezTo>
                  <a:pt x="746656" y="2221485"/>
                  <a:pt x="680378" y="1771826"/>
                  <a:pt x="1072888" y="1743251"/>
                </a:cubicBezTo>
                <a:cubicBezTo>
                  <a:pt x="1095814" y="1737329"/>
                  <a:pt x="1120363" y="1733961"/>
                  <a:pt x="1146389" y="1732866"/>
                </a:cubicBezTo>
                <a:close/>
                <a:moveTo>
                  <a:pt x="1503829" y="942357"/>
                </a:moveTo>
                <a:cubicBezTo>
                  <a:pt x="1672640" y="942357"/>
                  <a:pt x="1809488" y="1079205"/>
                  <a:pt x="1809488" y="1248016"/>
                </a:cubicBezTo>
                <a:cubicBezTo>
                  <a:pt x="1809488" y="1367915"/>
                  <a:pt x="1740454" y="1471689"/>
                  <a:pt x="1639408" y="1520643"/>
                </a:cubicBezTo>
                <a:cubicBezTo>
                  <a:pt x="1720888" y="1538571"/>
                  <a:pt x="1794337" y="1577455"/>
                  <a:pt x="1854777" y="1631145"/>
                </a:cubicBezTo>
                <a:cubicBezTo>
                  <a:pt x="1807127" y="1687432"/>
                  <a:pt x="1769942" y="1748571"/>
                  <a:pt x="1744717" y="1818800"/>
                </a:cubicBezTo>
                <a:cubicBezTo>
                  <a:pt x="1513152" y="1706106"/>
                  <a:pt x="1307384" y="1629597"/>
                  <a:pt x="1113358" y="1681426"/>
                </a:cubicBezTo>
                <a:cubicBezTo>
                  <a:pt x="1116013" y="1677595"/>
                  <a:pt x="1119277" y="1673689"/>
                  <a:pt x="1122894" y="1669432"/>
                </a:cubicBezTo>
                <a:cubicBezTo>
                  <a:pt x="1182608" y="1603593"/>
                  <a:pt x="1271865" y="1546616"/>
                  <a:pt x="1371376" y="1522340"/>
                </a:cubicBezTo>
                <a:cubicBezTo>
                  <a:pt x="1268674" y="1473885"/>
                  <a:pt x="1198170" y="1369184"/>
                  <a:pt x="1198170" y="1248016"/>
                </a:cubicBezTo>
                <a:cubicBezTo>
                  <a:pt x="1198170" y="1079205"/>
                  <a:pt x="1335018" y="942357"/>
                  <a:pt x="1503829" y="942357"/>
                </a:cubicBezTo>
                <a:close/>
                <a:moveTo>
                  <a:pt x="2257163" y="852002"/>
                </a:moveTo>
                <a:cubicBezTo>
                  <a:pt x="2455308" y="852002"/>
                  <a:pt x="2615937" y="1012631"/>
                  <a:pt x="2615937" y="1210776"/>
                </a:cubicBezTo>
                <a:cubicBezTo>
                  <a:pt x="2615937" y="1348850"/>
                  <a:pt x="2537939" y="1468708"/>
                  <a:pt x="2422835" y="1527232"/>
                </a:cubicBezTo>
                <a:cubicBezTo>
                  <a:pt x="2482442" y="1537663"/>
                  <a:pt x="2537381" y="1561603"/>
                  <a:pt x="2584724" y="1595613"/>
                </a:cubicBezTo>
                <a:cubicBezTo>
                  <a:pt x="2664965" y="1654765"/>
                  <a:pt x="2725793" y="1751248"/>
                  <a:pt x="2765173" y="1875948"/>
                </a:cubicBezTo>
                <a:cubicBezTo>
                  <a:pt x="2866662" y="1848546"/>
                  <a:pt x="3003161" y="1750282"/>
                  <a:pt x="3125526" y="1583707"/>
                </a:cubicBezTo>
                <a:cubicBezTo>
                  <a:pt x="3147751" y="1636095"/>
                  <a:pt x="2929469" y="1905176"/>
                  <a:pt x="2785008" y="1931370"/>
                </a:cubicBezTo>
                <a:cubicBezTo>
                  <a:pt x="2797896" y="2030096"/>
                  <a:pt x="2825071" y="2119296"/>
                  <a:pt x="2823672" y="2227547"/>
                </a:cubicBezTo>
                <a:cubicBezTo>
                  <a:pt x="2424531" y="2172907"/>
                  <a:pt x="2093899" y="1989358"/>
                  <a:pt x="1804167" y="1847281"/>
                </a:cubicBezTo>
                <a:cubicBezTo>
                  <a:pt x="1846994" y="1697123"/>
                  <a:pt x="1957836" y="1574770"/>
                  <a:pt x="2106803" y="1535543"/>
                </a:cubicBezTo>
                <a:cubicBezTo>
                  <a:pt x="1983572" y="1479468"/>
                  <a:pt x="1898389" y="1355069"/>
                  <a:pt x="1898389" y="1210776"/>
                </a:cubicBezTo>
                <a:cubicBezTo>
                  <a:pt x="1898389" y="1012631"/>
                  <a:pt x="2059018" y="852002"/>
                  <a:pt x="2257163" y="852002"/>
                </a:cubicBezTo>
                <a:close/>
                <a:moveTo>
                  <a:pt x="199040" y="752858"/>
                </a:moveTo>
                <a:lnTo>
                  <a:pt x="199040" y="2908076"/>
                </a:lnTo>
                <a:lnTo>
                  <a:pt x="3791413" y="2908076"/>
                </a:lnTo>
                <a:lnTo>
                  <a:pt x="3791413" y="752858"/>
                </a:lnTo>
                <a:close/>
                <a:moveTo>
                  <a:pt x="182159" y="547131"/>
                </a:moveTo>
                <a:lnTo>
                  <a:pt x="3808294" y="547131"/>
                </a:lnTo>
                <a:cubicBezTo>
                  <a:pt x="3908897" y="547131"/>
                  <a:pt x="3990453" y="628687"/>
                  <a:pt x="3990453" y="729290"/>
                </a:cubicBezTo>
                <a:lnTo>
                  <a:pt x="3990453" y="2925195"/>
                </a:lnTo>
                <a:cubicBezTo>
                  <a:pt x="3990453" y="3025798"/>
                  <a:pt x="3908897" y="3107352"/>
                  <a:pt x="3808294" y="3107352"/>
                </a:cubicBezTo>
                <a:lnTo>
                  <a:pt x="182159" y="3107352"/>
                </a:lnTo>
                <a:cubicBezTo>
                  <a:pt x="81556" y="3107352"/>
                  <a:pt x="0" y="3025798"/>
                  <a:pt x="0" y="2925195"/>
                </a:cubicBezTo>
                <a:lnTo>
                  <a:pt x="0" y="729290"/>
                </a:lnTo>
                <a:cubicBezTo>
                  <a:pt x="0" y="628687"/>
                  <a:pt x="81556" y="547131"/>
                  <a:pt x="182159" y="547131"/>
                </a:cubicBezTo>
                <a:close/>
                <a:moveTo>
                  <a:pt x="3005386" y="243747"/>
                </a:moveTo>
                <a:lnTo>
                  <a:pt x="3005386" y="275647"/>
                </a:lnTo>
                <a:lnTo>
                  <a:pt x="3183153" y="275647"/>
                </a:lnTo>
                <a:lnTo>
                  <a:pt x="3183153" y="243747"/>
                </a:lnTo>
                <a:close/>
                <a:moveTo>
                  <a:pt x="3300679" y="145624"/>
                </a:moveTo>
                <a:lnTo>
                  <a:pt x="3402631" y="145624"/>
                </a:lnTo>
                <a:lnTo>
                  <a:pt x="3402631" y="247578"/>
                </a:lnTo>
                <a:lnTo>
                  <a:pt x="3300679" y="247578"/>
                </a:lnTo>
                <a:close/>
                <a:moveTo>
                  <a:pt x="3272608" y="117555"/>
                </a:moveTo>
                <a:lnTo>
                  <a:pt x="3272608" y="275647"/>
                </a:lnTo>
                <a:lnTo>
                  <a:pt x="3430700" y="275647"/>
                </a:lnTo>
                <a:lnTo>
                  <a:pt x="3430700" y="117555"/>
                </a:lnTo>
                <a:close/>
                <a:moveTo>
                  <a:pt x="3590754" y="103106"/>
                </a:moveTo>
                <a:lnTo>
                  <a:pt x="3557180" y="133327"/>
                </a:lnTo>
                <a:lnTo>
                  <a:pt x="3616978" y="199761"/>
                </a:lnTo>
                <a:lnTo>
                  <a:pt x="3550543" y="259559"/>
                </a:lnTo>
                <a:lnTo>
                  <a:pt x="3580764" y="293135"/>
                </a:lnTo>
                <a:lnTo>
                  <a:pt x="3647199" y="233335"/>
                </a:lnTo>
                <a:lnTo>
                  <a:pt x="3706998" y="299771"/>
                </a:lnTo>
                <a:lnTo>
                  <a:pt x="3740572" y="269549"/>
                </a:lnTo>
                <a:lnTo>
                  <a:pt x="3680774" y="203114"/>
                </a:lnTo>
                <a:lnTo>
                  <a:pt x="3747209" y="143317"/>
                </a:lnTo>
                <a:lnTo>
                  <a:pt x="3716988" y="109743"/>
                </a:lnTo>
                <a:lnTo>
                  <a:pt x="3650554" y="169541"/>
                </a:lnTo>
                <a:close/>
                <a:moveTo>
                  <a:pt x="190912" y="0"/>
                </a:moveTo>
                <a:lnTo>
                  <a:pt x="2858630" y="0"/>
                </a:lnTo>
                <a:lnTo>
                  <a:pt x="3799541" y="0"/>
                </a:lnTo>
                <a:lnTo>
                  <a:pt x="3815584" y="0"/>
                </a:lnTo>
                <a:lnTo>
                  <a:pt x="3815584" y="1618"/>
                </a:lnTo>
                <a:cubicBezTo>
                  <a:pt x="3913556" y="8856"/>
                  <a:pt x="3990453" y="90904"/>
                  <a:pt x="3990453" y="190912"/>
                </a:cubicBezTo>
                <a:lnTo>
                  <a:pt x="3990453" y="492263"/>
                </a:lnTo>
                <a:lnTo>
                  <a:pt x="3988177" y="489851"/>
                </a:lnTo>
                <a:cubicBezTo>
                  <a:pt x="3984130" y="436334"/>
                  <a:pt x="3938977" y="394796"/>
                  <a:pt x="3884122" y="394796"/>
                </a:cubicBezTo>
                <a:lnTo>
                  <a:pt x="1015383" y="394796"/>
                </a:lnTo>
                <a:lnTo>
                  <a:pt x="321519" y="392958"/>
                </a:lnTo>
                <a:lnTo>
                  <a:pt x="270175" y="394796"/>
                </a:lnTo>
                <a:lnTo>
                  <a:pt x="106331" y="394796"/>
                </a:lnTo>
                <a:cubicBezTo>
                  <a:pt x="51497" y="394796"/>
                  <a:pt x="6359" y="436302"/>
                  <a:pt x="2288" y="489790"/>
                </a:cubicBezTo>
                <a:cubicBezTo>
                  <a:pt x="1319" y="490456"/>
                  <a:pt x="656" y="491357"/>
                  <a:pt x="0" y="492263"/>
                </a:cubicBezTo>
                <a:lnTo>
                  <a:pt x="0" y="190912"/>
                </a:lnTo>
                <a:cubicBezTo>
                  <a:pt x="0" y="85475"/>
                  <a:pt x="85475" y="0"/>
                  <a:pt x="190912" y="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nvGrpSpPr>
          <p:cNvPr id="331" name="Group 330"/>
          <p:cNvGrpSpPr>
            <a:grpSpLocks noChangeAspect="1"/>
          </p:cNvGrpSpPr>
          <p:nvPr/>
        </p:nvGrpSpPr>
        <p:grpSpPr>
          <a:xfrm>
            <a:off x="2143616" y="3107904"/>
            <a:ext cx="531203" cy="369667"/>
            <a:chOff x="6453077" y="805982"/>
            <a:chExt cx="825293" cy="574326"/>
          </a:xfrm>
          <a:solidFill>
            <a:schemeClr val="bg1">
              <a:lumMod val="50000"/>
            </a:schemeClr>
          </a:solidFill>
        </p:grpSpPr>
        <p:sp>
          <p:nvSpPr>
            <p:cNvPr id="333" name="Freeform 332"/>
            <p:cNvSpPr/>
            <p:nvPr/>
          </p:nvSpPr>
          <p:spPr>
            <a:xfrm>
              <a:off x="6796514" y="805982"/>
              <a:ext cx="481856" cy="542507"/>
            </a:xfrm>
            <a:custGeom>
              <a:avLst/>
              <a:gdLst/>
              <a:ahLst/>
              <a:cxnLst/>
              <a:rect l="l" t="t" r="r" b="b"/>
              <a:pathLst>
                <a:path w="607369" h="683818">
                  <a:moveTo>
                    <a:pt x="195512" y="442921"/>
                  </a:moveTo>
                  <a:lnTo>
                    <a:pt x="203915" y="450677"/>
                  </a:lnTo>
                  <a:cubicBezTo>
                    <a:pt x="206284" y="453801"/>
                    <a:pt x="210270" y="457249"/>
                    <a:pt x="209732" y="461665"/>
                  </a:cubicBezTo>
                  <a:cubicBezTo>
                    <a:pt x="209194" y="466082"/>
                    <a:pt x="202622" y="472330"/>
                    <a:pt x="200683" y="477178"/>
                  </a:cubicBezTo>
                  <a:cubicBezTo>
                    <a:pt x="198744" y="482026"/>
                    <a:pt x="198420" y="483750"/>
                    <a:pt x="198097" y="490752"/>
                  </a:cubicBezTo>
                  <a:cubicBezTo>
                    <a:pt x="197774" y="497754"/>
                    <a:pt x="197882" y="503248"/>
                    <a:pt x="198744" y="519192"/>
                  </a:cubicBezTo>
                  <a:cubicBezTo>
                    <a:pt x="199605" y="535135"/>
                    <a:pt x="200898" y="567129"/>
                    <a:pt x="203268" y="586412"/>
                  </a:cubicBezTo>
                  <a:cubicBezTo>
                    <a:pt x="203305" y="586709"/>
                    <a:pt x="203342" y="587004"/>
                    <a:pt x="203444" y="587291"/>
                  </a:cubicBezTo>
                  <a:cubicBezTo>
                    <a:pt x="198951" y="579212"/>
                    <a:pt x="195079" y="572241"/>
                    <a:pt x="192120" y="566747"/>
                  </a:cubicBezTo>
                  <a:cubicBezTo>
                    <a:pt x="169895" y="525472"/>
                    <a:pt x="178230" y="546903"/>
                    <a:pt x="156402" y="535791"/>
                  </a:cubicBezTo>
                  <a:lnTo>
                    <a:pt x="152203" y="534063"/>
                  </a:lnTo>
                  <a:lnTo>
                    <a:pt x="166425" y="505617"/>
                  </a:lnTo>
                  <a:cubicBezTo>
                    <a:pt x="170519" y="498077"/>
                    <a:pt x="172135" y="495599"/>
                    <a:pt x="175475" y="491398"/>
                  </a:cubicBezTo>
                  <a:cubicBezTo>
                    <a:pt x="178815" y="487197"/>
                    <a:pt x="186678" y="483104"/>
                    <a:pt x="187756" y="479763"/>
                  </a:cubicBezTo>
                  <a:cubicBezTo>
                    <a:pt x="188833" y="476424"/>
                    <a:pt x="183447" y="474808"/>
                    <a:pt x="181939" y="471361"/>
                  </a:cubicBezTo>
                  <a:cubicBezTo>
                    <a:pt x="180431" y="467913"/>
                    <a:pt x="177845" y="463281"/>
                    <a:pt x="178707" y="459080"/>
                  </a:cubicBezTo>
                  <a:lnTo>
                    <a:pt x="187109" y="446153"/>
                  </a:lnTo>
                  <a:cubicBezTo>
                    <a:pt x="189910" y="443460"/>
                    <a:pt x="192711" y="442167"/>
                    <a:pt x="195512" y="442921"/>
                  </a:cubicBezTo>
                  <a:close/>
                  <a:moveTo>
                    <a:pt x="153370" y="407630"/>
                  </a:moveTo>
                  <a:cubicBezTo>
                    <a:pt x="162493" y="421788"/>
                    <a:pt x="169895" y="433362"/>
                    <a:pt x="179662" y="438122"/>
                  </a:cubicBezTo>
                  <a:cubicBezTo>
                    <a:pt x="175210" y="445612"/>
                    <a:pt x="169382" y="452621"/>
                    <a:pt x="168882" y="461407"/>
                  </a:cubicBezTo>
                  <a:cubicBezTo>
                    <a:pt x="168020" y="468559"/>
                    <a:pt x="174915" y="473127"/>
                    <a:pt x="176639" y="478987"/>
                  </a:cubicBezTo>
                  <a:cubicBezTo>
                    <a:pt x="162957" y="482986"/>
                    <a:pt x="151150" y="508057"/>
                    <a:pt x="139197" y="526680"/>
                  </a:cubicBezTo>
                  <a:cubicBezTo>
                    <a:pt x="140282" y="513678"/>
                    <a:pt x="141517" y="502928"/>
                    <a:pt x="143028" y="495535"/>
                  </a:cubicBezTo>
                  <a:cubicBezTo>
                    <a:pt x="150957" y="461407"/>
                    <a:pt x="163022" y="451066"/>
                    <a:pt x="153370" y="407630"/>
                  </a:cubicBezTo>
                  <a:close/>
                  <a:moveTo>
                    <a:pt x="134754" y="392117"/>
                  </a:moveTo>
                  <a:lnTo>
                    <a:pt x="135789" y="435552"/>
                  </a:lnTo>
                  <a:cubicBezTo>
                    <a:pt x="125458" y="453184"/>
                    <a:pt x="120411" y="484026"/>
                    <a:pt x="118255" y="520091"/>
                  </a:cubicBezTo>
                  <a:cubicBezTo>
                    <a:pt x="99728" y="512972"/>
                    <a:pt x="79029" y="506031"/>
                    <a:pt x="61152" y="500072"/>
                  </a:cubicBezTo>
                  <a:cubicBezTo>
                    <a:pt x="36628" y="491897"/>
                    <a:pt x="30350" y="474715"/>
                    <a:pt x="0" y="470962"/>
                  </a:cubicBezTo>
                  <a:cubicBezTo>
                    <a:pt x="37094" y="449870"/>
                    <a:pt x="78830" y="431637"/>
                    <a:pt x="116140" y="420040"/>
                  </a:cubicBezTo>
                  <a:cubicBezTo>
                    <a:pt x="123379" y="415903"/>
                    <a:pt x="124412" y="399356"/>
                    <a:pt x="134754" y="392117"/>
                  </a:cubicBezTo>
                  <a:close/>
                  <a:moveTo>
                    <a:pt x="303324" y="351785"/>
                  </a:moveTo>
                  <a:cubicBezTo>
                    <a:pt x="305048" y="410042"/>
                    <a:pt x="271610" y="480711"/>
                    <a:pt x="249547" y="529663"/>
                  </a:cubicBezTo>
                  <a:cubicBezTo>
                    <a:pt x="239218" y="557323"/>
                    <a:pt x="229955" y="583651"/>
                    <a:pt x="222478" y="610148"/>
                  </a:cubicBezTo>
                  <a:cubicBezTo>
                    <a:pt x="207936" y="563435"/>
                    <a:pt x="215779" y="523691"/>
                    <a:pt x="211283" y="480022"/>
                  </a:cubicBezTo>
                  <a:cubicBezTo>
                    <a:pt x="214558" y="474593"/>
                    <a:pt x="221064" y="472395"/>
                    <a:pt x="221107" y="463734"/>
                  </a:cubicBezTo>
                  <a:cubicBezTo>
                    <a:pt x="219703" y="454942"/>
                    <a:pt x="215491" y="444467"/>
                    <a:pt x="205197" y="435604"/>
                  </a:cubicBezTo>
                  <a:cubicBezTo>
                    <a:pt x="240077" y="421806"/>
                    <a:pt x="284089" y="382831"/>
                    <a:pt x="303324" y="351785"/>
                  </a:cubicBezTo>
                  <a:close/>
                  <a:moveTo>
                    <a:pt x="279538" y="341442"/>
                  </a:moveTo>
                  <a:cubicBezTo>
                    <a:pt x="257347" y="358894"/>
                    <a:pt x="224814" y="379901"/>
                    <a:pt x="195511" y="380225"/>
                  </a:cubicBezTo>
                  <a:cubicBezTo>
                    <a:pt x="182477" y="380656"/>
                    <a:pt x="170088" y="375915"/>
                    <a:pt x="157377" y="373761"/>
                  </a:cubicBezTo>
                  <a:cubicBezTo>
                    <a:pt x="170950" y="380440"/>
                    <a:pt x="173859" y="393259"/>
                    <a:pt x="198097" y="393798"/>
                  </a:cubicBezTo>
                  <a:cubicBezTo>
                    <a:pt x="216195" y="393798"/>
                    <a:pt x="257885" y="367298"/>
                    <a:pt x="279538" y="341442"/>
                  </a:cubicBezTo>
                  <a:close/>
                  <a:moveTo>
                    <a:pt x="314700" y="329033"/>
                  </a:moveTo>
                  <a:cubicBezTo>
                    <a:pt x="336417" y="347993"/>
                    <a:pt x="351930" y="376260"/>
                    <a:pt x="376749" y="395219"/>
                  </a:cubicBezTo>
                  <a:cubicBezTo>
                    <a:pt x="443626" y="416938"/>
                    <a:pt x="508434" y="443826"/>
                    <a:pt x="543251" y="472783"/>
                  </a:cubicBezTo>
                  <a:cubicBezTo>
                    <a:pt x="619435" y="519321"/>
                    <a:pt x="601509" y="596883"/>
                    <a:pt x="607369" y="637216"/>
                  </a:cubicBezTo>
                  <a:cubicBezTo>
                    <a:pt x="571862" y="655487"/>
                    <a:pt x="534288" y="642732"/>
                    <a:pt x="497748" y="645489"/>
                  </a:cubicBezTo>
                  <a:cubicBezTo>
                    <a:pt x="414732" y="679003"/>
                    <a:pt x="335008" y="674673"/>
                    <a:pt x="254244" y="683818"/>
                  </a:cubicBezTo>
                  <a:cubicBezTo>
                    <a:pt x="248807" y="671599"/>
                    <a:pt x="242634" y="659530"/>
                    <a:pt x="236204" y="647995"/>
                  </a:cubicBezTo>
                  <a:cubicBezTo>
                    <a:pt x="270444" y="522124"/>
                    <a:pt x="347385" y="369500"/>
                    <a:pt x="314700" y="329033"/>
                  </a:cubicBezTo>
                  <a:close/>
                  <a:moveTo>
                    <a:pt x="175260" y="166"/>
                  </a:moveTo>
                  <a:cubicBezTo>
                    <a:pt x="185026" y="-409"/>
                    <a:pt x="196660" y="453"/>
                    <a:pt x="210593" y="3613"/>
                  </a:cubicBezTo>
                  <a:cubicBezTo>
                    <a:pt x="224526" y="6773"/>
                    <a:pt x="245641" y="14386"/>
                    <a:pt x="258854" y="19125"/>
                  </a:cubicBezTo>
                  <a:cubicBezTo>
                    <a:pt x="272069" y="23866"/>
                    <a:pt x="282697" y="28606"/>
                    <a:pt x="289879" y="32053"/>
                  </a:cubicBezTo>
                  <a:cubicBezTo>
                    <a:pt x="297061" y="35500"/>
                    <a:pt x="296343" y="33346"/>
                    <a:pt x="301945" y="39809"/>
                  </a:cubicBezTo>
                  <a:cubicBezTo>
                    <a:pt x="307547" y="46273"/>
                    <a:pt x="317314" y="58338"/>
                    <a:pt x="323490" y="70835"/>
                  </a:cubicBezTo>
                  <a:cubicBezTo>
                    <a:pt x="329667" y="83331"/>
                    <a:pt x="336417" y="101285"/>
                    <a:pt x="339002" y="114787"/>
                  </a:cubicBezTo>
                  <a:cubicBezTo>
                    <a:pt x="341585" y="128277"/>
                    <a:pt x="339007" y="151802"/>
                    <a:pt x="339002" y="151844"/>
                  </a:cubicBezTo>
                  <a:lnTo>
                    <a:pt x="339595" y="159709"/>
                  </a:lnTo>
                  <a:cubicBezTo>
                    <a:pt x="339792" y="161217"/>
                    <a:pt x="339792" y="161827"/>
                    <a:pt x="339002" y="162186"/>
                  </a:cubicBezTo>
                  <a:cubicBezTo>
                    <a:pt x="337423" y="162905"/>
                    <a:pt x="332395" y="157159"/>
                    <a:pt x="329523" y="156154"/>
                  </a:cubicBezTo>
                  <a:cubicBezTo>
                    <a:pt x="326649" y="155149"/>
                    <a:pt x="323921" y="155580"/>
                    <a:pt x="321766" y="156154"/>
                  </a:cubicBezTo>
                  <a:cubicBezTo>
                    <a:pt x="319612" y="156729"/>
                    <a:pt x="318607" y="161037"/>
                    <a:pt x="316596" y="159601"/>
                  </a:cubicBezTo>
                  <a:lnTo>
                    <a:pt x="314735" y="156951"/>
                  </a:lnTo>
                  <a:lnTo>
                    <a:pt x="313615" y="179355"/>
                  </a:lnTo>
                  <a:lnTo>
                    <a:pt x="314222" y="186622"/>
                  </a:lnTo>
                  <a:cubicBezTo>
                    <a:pt x="315937" y="183907"/>
                    <a:pt x="316926" y="174790"/>
                    <a:pt x="318966" y="172097"/>
                  </a:cubicBezTo>
                  <a:cubicBezTo>
                    <a:pt x="321659" y="168542"/>
                    <a:pt x="325429" y="165310"/>
                    <a:pt x="328661" y="165633"/>
                  </a:cubicBezTo>
                  <a:lnTo>
                    <a:pt x="338357" y="174036"/>
                  </a:lnTo>
                  <a:cubicBezTo>
                    <a:pt x="340403" y="178669"/>
                    <a:pt x="341481" y="184163"/>
                    <a:pt x="340941" y="193427"/>
                  </a:cubicBezTo>
                  <a:cubicBezTo>
                    <a:pt x="340403" y="202691"/>
                    <a:pt x="336417" y="218743"/>
                    <a:pt x="335125" y="229623"/>
                  </a:cubicBezTo>
                  <a:cubicBezTo>
                    <a:pt x="333832" y="240504"/>
                    <a:pt x="334909" y="251491"/>
                    <a:pt x="333185" y="258709"/>
                  </a:cubicBezTo>
                  <a:cubicBezTo>
                    <a:pt x="331462" y="265927"/>
                    <a:pt x="327907" y="269805"/>
                    <a:pt x="324783" y="272929"/>
                  </a:cubicBezTo>
                  <a:cubicBezTo>
                    <a:pt x="321659" y="276053"/>
                    <a:pt x="316811" y="271959"/>
                    <a:pt x="314442" y="277454"/>
                  </a:cubicBezTo>
                  <a:cubicBezTo>
                    <a:pt x="312071" y="282947"/>
                    <a:pt x="312394" y="298352"/>
                    <a:pt x="310563" y="305893"/>
                  </a:cubicBezTo>
                  <a:cubicBezTo>
                    <a:pt x="308732" y="313435"/>
                    <a:pt x="305177" y="316558"/>
                    <a:pt x="303454" y="322699"/>
                  </a:cubicBezTo>
                  <a:cubicBezTo>
                    <a:pt x="301730" y="328840"/>
                    <a:pt x="303022" y="336381"/>
                    <a:pt x="300221" y="342735"/>
                  </a:cubicBezTo>
                  <a:cubicBezTo>
                    <a:pt x="297420" y="349091"/>
                    <a:pt x="293758" y="352862"/>
                    <a:pt x="286648" y="360834"/>
                  </a:cubicBezTo>
                  <a:cubicBezTo>
                    <a:pt x="279538" y="368805"/>
                    <a:pt x="271459" y="379901"/>
                    <a:pt x="257562" y="390566"/>
                  </a:cubicBezTo>
                  <a:cubicBezTo>
                    <a:pt x="243665" y="401231"/>
                    <a:pt x="216087" y="419006"/>
                    <a:pt x="203268" y="424824"/>
                  </a:cubicBezTo>
                  <a:cubicBezTo>
                    <a:pt x="190449" y="430640"/>
                    <a:pt x="188617" y="430101"/>
                    <a:pt x="180646" y="425470"/>
                  </a:cubicBezTo>
                  <a:cubicBezTo>
                    <a:pt x="172673" y="420838"/>
                    <a:pt x="162224" y="405325"/>
                    <a:pt x="155438" y="397029"/>
                  </a:cubicBezTo>
                  <a:cubicBezTo>
                    <a:pt x="148652" y="388735"/>
                    <a:pt x="143157" y="381733"/>
                    <a:pt x="139926" y="375700"/>
                  </a:cubicBezTo>
                  <a:cubicBezTo>
                    <a:pt x="136694" y="369668"/>
                    <a:pt x="140572" y="368482"/>
                    <a:pt x="136047" y="360834"/>
                  </a:cubicBezTo>
                  <a:cubicBezTo>
                    <a:pt x="131523" y="353185"/>
                    <a:pt x="118918" y="342412"/>
                    <a:pt x="112779" y="329809"/>
                  </a:cubicBezTo>
                  <a:cubicBezTo>
                    <a:pt x="106638" y="317205"/>
                    <a:pt x="100390" y="294690"/>
                    <a:pt x="99205" y="285210"/>
                  </a:cubicBezTo>
                  <a:cubicBezTo>
                    <a:pt x="98020" y="275730"/>
                    <a:pt x="92850" y="282947"/>
                    <a:pt x="90156" y="280685"/>
                  </a:cubicBezTo>
                  <a:cubicBezTo>
                    <a:pt x="87463" y="278423"/>
                    <a:pt x="84124" y="277023"/>
                    <a:pt x="83046" y="271636"/>
                  </a:cubicBezTo>
                  <a:lnTo>
                    <a:pt x="83692" y="248367"/>
                  </a:lnTo>
                  <a:cubicBezTo>
                    <a:pt x="83585" y="240181"/>
                    <a:pt x="84554" y="231562"/>
                    <a:pt x="82400" y="222514"/>
                  </a:cubicBezTo>
                  <a:cubicBezTo>
                    <a:pt x="80245" y="213464"/>
                    <a:pt x="72058" y="201399"/>
                    <a:pt x="70765" y="194074"/>
                  </a:cubicBezTo>
                  <a:cubicBezTo>
                    <a:pt x="69473" y="186748"/>
                    <a:pt x="71628" y="178561"/>
                    <a:pt x="76140" y="179776"/>
                  </a:cubicBezTo>
                  <a:lnTo>
                    <a:pt x="73324" y="163813"/>
                  </a:lnTo>
                  <a:lnTo>
                    <a:pt x="72704" y="163048"/>
                  </a:lnTo>
                  <a:cubicBezTo>
                    <a:pt x="69545" y="153568"/>
                    <a:pt x="63943" y="124985"/>
                    <a:pt x="64086" y="111339"/>
                  </a:cubicBezTo>
                  <a:cubicBezTo>
                    <a:pt x="64230" y="97694"/>
                    <a:pt x="68827" y="92236"/>
                    <a:pt x="73566" y="81177"/>
                  </a:cubicBezTo>
                  <a:cubicBezTo>
                    <a:pt x="78306" y="70116"/>
                    <a:pt x="85344" y="54747"/>
                    <a:pt x="92526" y="44980"/>
                  </a:cubicBezTo>
                  <a:cubicBezTo>
                    <a:pt x="99708" y="35213"/>
                    <a:pt x="106746" y="28894"/>
                    <a:pt x="116657" y="22573"/>
                  </a:cubicBezTo>
                  <a:cubicBezTo>
                    <a:pt x="126567" y="16253"/>
                    <a:pt x="142224" y="10795"/>
                    <a:pt x="151990" y="7061"/>
                  </a:cubicBezTo>
                  <a:cubicBezTo>
                    <a:pt x="161758" y="3326"/>
                    <a:pt x="165492" y="740"/>
                    <a:pt x="175260" y="1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34" name="Freeform 333"/>
            <p:cNvSpPr/>
            <p:nvPr/>
          </p:nvSpPr>
          <p:spPr>
            <a:xfrm>
              <a:off x="6453077" y="874629"/>
              <a:ext cx="515226" cy="505679"/>
            </a:xfrm>
            <a:custGeom>
              <a:avLst/>
              <a:gdLst>
                <a:gd name="connsiteX0" fmla="*/ 992965 w 1413367"/>
                <a:gd name="connsiteY0" fmla="*/ 998817 h 1522526"/>
                <a:gd name="connsiteX1" fmla="*/ 1003490 w 1413367"/>
                <a:gd name="connsiteY1" fmla="*/ 1002500 h 1522526"/>
                <a:gd name="connsiteX2" fmla="*/ 1110648 w 1413367"/>
                <a:gd name="connsiteY2" fmla="*/ 1036732 h 1522526"/>
                <a:gd name="connsiteX3" fmla="*/ 1228224 w 1413367"/>
                <a:gd name="connsiteY3" fmla="*/ 1091799 h 1522526"/>
                <a:gd name="connsiteX4" fmla="*/ 1293710 w 1413367"/>
                <a:gd name="connsiteY4" fmla="*/ 1137937 h 1522526"/>
                <a:gd name="connsiteX5" fmla="*/ 1323178 w 1413367"/>
                <a:gd name="connsiteY5" fmla="*/ 1187646 h 1522526"/>
                <a:gd name="connsiteX6" fmla="*/ 1340257 w 1413367"/>
                <a:gd name="connsiteY6" fmla="*/ 1220010 h 1522526"/>
                <a:gd name="connsiteX7" fmla="*/ 1413367 w 1413367"/>
                <a:gd name="connsiteY7" fmla="*/ 1463277 h 1522526"/>
                <a:gd name="connsiteX8" fmla="*/ 1177029 w 1413367"/>
                <a:gd name="connsiteY8" fmla="*/ 1493045 h 1522526"/>
                <a:gd name="connsiteX9" fmla="*/ 1132974 w 1413367"/>
                <a:gd name="connsiteY9" fmla="*/ 1439469 h 1522526"/>
                <a:gd name="connsiteX10" fmla="*/ 1151130 w 1413367"/>
                <a:gd name="connsiteY10" fmla="*/ 1492451 h 1522526"/>
                <a:gd name="connsiteX11" fmla="*/ 267073 w 1413367"/>
                <a:gd name="connsiteY11" fmla="*/ 1497214 h 1522526"/>
                <a:gd name="connsiteX12" fmla="*/ 250922 w 1413367"/>
                <a:gd name="connsiteY12" fmla="*/ 1492951 h 1522526"/>
                <a:gd name="connsiteX13" fmla="*/ 273457 w 1413367"/>
                <a:gd name="connsiteY13" fmla="*/ 1446229 h 1522526"/>
                <a:gd name="connsiteX14" fmla="*/ 221069 w 1413367"/>
                <a:gd name="connsiteY14" fmla="*/ 1493854 h 1522526"/>
                <a:gd name="connsiteX15" fmla="*/ 668 w 1413367"/>
                <a:gd name="connsiteY15" fmla="*/ 1482327 h 1522526"/>
                <a:gd name="connsiteX16" fmla="*/ 61391 w 1413367"/>
                <a:gd name="connsiteY16" fmla="*/ 1223961 h 1522526"/>
                <a:gd name="connsiteX17" fmla="*/ 92644 w 1413367"/>
                <a:gd name="connsiteY17" fmla="*/ 1157285 h 1522526"/>
                <a:gd name="connsiteX18" fmla="*/ 153665 w 1413367"/>
                <a:gd name="connsiteY18" fmla="*/ 1120077 h 1522526"/>
                <a:gd name="connsiteX19" fmla="*/ 251893 w 1413367"/>
                <a:gd name="connsiteY19" fmla="*/ 1078404 h 1522526"/>
                <a:gd name="connsiteX20" fmla="*/ 376911 w 1413367"/>
                <a:gd name="connsiteY20" fmla="*/ 1029290 h 1522526"/>
                <a:gd name="connsiteX21" fmla="*/ 410479 w 1413367"/>
                <a:gd name="connsiteY21" fmla="*/ 1016502 h 1522526"/>
                <a:gd name="connsiteX22" fmla="*/ 592543 w 1413367"/>
                <a:gd name="connsiteY22" fmla="*/ 1272398 h 1522526"/>
                <a:gd name="connsiteX23" fmla="*/ 763993 w 1413367"/>
                <a:gd name="connsiteY23" fmla="*/ 1379555 h 1522526"/>
                <a:gd name="connsiteX24" fmla="*/ 883056 w 1413367"/>
                <a:gd name="connsiteY24" fmla="*/ 1243823 h 1522526"/>
                <a:gd name="connsiteX25" fmla="*/ 992965 w 1413367"/>
                <a:gd name="connsiteY25" fmla="*/ 998817 h 1522526"/>
                <a:gd name="connsiteX26" fmla="*/ 856178 w 1413367"/>
                <a:gd name="connsiteY26" fmla="*/ 852696 h 1522526"/>
                <a:gd name="connsiteX27" fmla="*/ 851682 w 1413367"/>
                <a:gd name="connsiteY27" fmla="*/ 923321 h 1522526"/>
                <a:gd name="connsiteX28" fmla="*/ 959840 w 1413367"/>
                <a:gd name="connsiteY28" fmla="*/ 978198 h 1522526"/>
                <a:gd name="connsiteX29" fmla="*/ 885437 w 1413367"/>
                <a:gd name="connsiteY29" fmla="*/ 1177148 h 1522526"/>
                <a:gd name="connsiteX30" fmla="*/ 747325 w 1413367"/>
                <a:gd name="connsiteY30" fmla="*/ 1341455 h 1522526"/>
                <a:gd name="connsiteX31" fmla="*/ 556825 w 1413367"/>
                <a:gd name="connsiteY31" fmla="*/ 1191436 h 1522526"/>
                <a:gd name="connsiteX32" fmla="*/ 439913 w 1413367"/>
                <a:gd name="connsiteY32" fmla="*/ 1004825 h 1522526"/>
                <a:gd name="connsiteX33" fmla="*/ 551936 w 1413367"/>
                <a:gd name="connsiteY33" fmla="*/ 931359 h 1522526"/>
                <a:gd name="connsiteX34" fmla="*/ 550504 w 1413367"/>
                <a:gd name="connsiteY34" fmla="*/ 858311 h 1522526"/>
                <a:gd name="connsiteX35" fmla="*/ 621119 w 1413367"/>
                <a:gd name="connsiteY35" fmla="*/ 900922 h 1522526"/>
                <a:gd name="connsiteX36" fmla="*/ 728276 w 1413367"/>
                <a:gd name="connsiteY36" fmla="*/ 915210 h 1522526"/>
                <a:gd name="connsiteX37" fmla="*/ 821144 w 1413367"/>
                <a:gd name="connsiteY37" fmla="*/ 874729 h 1522526"/>
                <a:gd name="connsiteX38" fmla="*/ 856178 w 1413367"/>
                <a:gd name="connsiteY38" fmla="*/ 852696 h 1522526"/>
                <a:gd name="connsiteX39" fmla="*/ 1041767 w 1413367"/>
                <a:gd name="connsiteY39" fmla="*/ 314309 h 1522526"/>
                <a:gd name="connsiteX40" fmla="*/ 1048139 w 1413367"/>
                <a:gd name="connsiteY40" fmla="*/ 320855 h 1522526"/>
                <a:gd name="connsiteX41" fmla="*/ 1074929 w 1413367"/>
                <a:gd name="connsiteY41" fmla="*/ 428013 h 1522526"/>
                <a:gd name="connsiteX42" fmla="*/ 1101718 w 1413367"/>
                <a:gd name="connsiteY42" fmla="*/ 569403 h 1522526"/>
                <a:gd name="connsiteX43" fmla="*/ 1110648 w 1413367"/>
                <a:gd name="connsiteY43" fmla="*/ 704839 h 1522526"/>
                <a:gd name="connsiteX44" fmla="*/ 1107671 w 1413367"/>
                <a:gd name="connsiteY44" fmla="*/ 789672 h 1522526"/>
                <a:gd name="connsiteX45" fmla="*/ 1082370 w 1413367"/>
                <a:gd name="connsiteY45" fmla="*/ 850693 h 1522526"/>
                <a:gd name="connsiteX46" fmla="*/ 1036232 w 1413367"/>
                <a:gd name="connsiteY46" fmla="*/ 859623 h 1522526"/>
                <a:gd name="connsiteX47" fmla="*/ 963305 w 1413367"/>
                <a:gd name="connsiteY47" fmla="*/ 853670 h 1522526"/>
                <a:gd name="connsiteX48" fmla="*/ 908238 w 1413367"/>
                <a:gd name="connsiteY48" fmla="*/ 834322 h 1522526"/>
                <a:gd name="connsiteX49" fmla="*/ 915679 w 1413367"/>
                <a:gd name="connsiteY49" fmla="*/ 813485 h 1522526"/>
                <a:gd name="connsiteX50" fmla="*/ 945445 w 1413367"/>
                <a:gd name="connsiteY50" fmla="*/ 773301 h 1522526"/>
                <a:gd name="connsiteX51" fmla="*/ 973724 w 1413367"/>
                <a:gd name="connsiteY51" fmla="*/ 704839 h 1522526"/>
                <a:gd name="connsiteX52" fmla="*/ 979677 w 1413367"/>
                <a:gd name="connsiteY52" fmla="*/ 675072 h 1522526"/>
                <a:gd name="connsiteX53" fmla="*/ 997536 w 1413367"/>
                <a:gd name="connsiteY53" fmla="*/ 655725 h 1522526"/>
                <a:gd name="connsiteX54" fmla="*/ 1022838 w 1413367"/>
                <a:gd name="connsiteY54" fmla="*/ 579821 h 1522526"/>
                <a:gd name="connsiteX55" fmla="*/ 1040697 w 1413367"/>
                <a:gd name="connsiteY55" fmla="*/ 499452 h 1522526"/>
                <a:gd name="connsiteX56" fmla="*/ 1042186 w 1413367"/>
                <a:gd name="connsiteY56" fmla="*/ 463733 h 1522526"/>
                <a:gd name="connsiteX57" fmla="*/ 1025814 w 1413367"/>
                <a:gd name="connsiteY57" fmla="*/ 430990 h 1522526"/>
                <a:gd name="connsiteX58" fmla="*/ 1009443 w 1413367"/>
                <a:gd name="connsiteY58" fmla="*/ 416107 h 1522526"/>
                <a:gd name="connsiteX59" fmla="*/ 1006466 w 1413367"/>
                <a:gd name="connsiteY59" fmla="*/ 386340 h 1522526"/>
                <a:gd name="connsiteX60" fmla="*/ 1009443 w 1413367"/>
                <a:gd name="connsiteY60" fmla="*/ 350621 h 1522526"/>
                <a:gd name="connsiteX61" fmla="*/ 1024326 w 1413367"/>
                <a:gd name="connsiteY61" fmla="*/ 328297 h 1522526"/>
                <a:gd name="connsiteX62" fmla="*/ 1041767 w 1413367"/>
                <a:gd name="connsiteY62" fmla="*/ 314309 h 1522526"/>
                <a:gd name="connsiteX63" fmla="*/ 616358 w 1413367"/>
                <a:gd name="connsiteY63" fmla="*/ 96060 h 1522526"/>
                <a:gd name="connsiteX64" fmla="*/ 509202 w 1413367"/>
                <a:gd name="connsiteY64" fmla="*/ 431816 h 1522526"/>
                <a:gd name="connsiteX65" fmla="*/ 654458 w 1413367"/>
                <a:gd name="connsiteY65" fmla="*/ 184165 h 1522526"/>
                <a:gd name="connsiteX66" fmla="*/ 616358 w 1413367"/>
                <a:gd name="connsiteY66" fmla="*/ 96060 h 1522526"/>
                <a:gd name="connsiteX67" fmla="*/ 651876 w 1413367"/>
                <a:gd name="connsiteY67" fmla="*/ 0 h 1522526"/>
                <a:gd name="connsiteX68" fmla="*/ 696401 w 1413367"/>
                <a:gd name="connsiteY68" fmla="*/ 372 h 1522526"/>
                <a:gd name="connsiteX69" fmla="*/ 757918 w 1413367"/>
                <a:gd name="connsiteY69" fmla="*/ 6326 h 1522526"/>
                <a:gd name="connsiteX70" fmla="*/ 829357 w 1413367"/>
                <a:gd name="connsiteY70" fmla="*/ 38076 h 1522526"/>
                <a:gd name="connsiteX71" fmla="*/ 910718 w 1413367"/>
                <a:gd name="connsiteY71" fmla="*/ 103562 h 1522526"/>
                <a:gd name="connsiteX72" fmla="*/ 1005970 w 1413367"/>
                <a:gd name="connsiteY72" fmla="*/ 216673 h 1522526"/>
                <a:gd name="connsiteX73" fmla="*/ 1041689 w 1413367"/>
                <a:gd name="connsiteY73" fmla="*/ 276206 h 1522526"/>
                <a:gd name="connsiteX74" fmla="*/ 1025814 w 1413367"/>
                <a:gd name="connsiteY74" fmla="*/ 313909 h 1522526"/>
                <a:gd name="connsiteX75" fmla="*/ 992079 w 1413367"/>
                <a:gd name="connsiteY75" fmla="*/ 331769 h 1522526"/>
                <a:gd name="connsiteX76" fmla="*/ 968266 w 1413367"/>
                <a:gd name="connsiteY76" fmla="*/ 311925 h 1522526"/>
                <a:gd name="connsiteX77" fmla="*/ 914687 w 1413367"/>
                <a:gd name="connsiteY77" fmla="*/ 256361 h 1522526"/>
                <a:gd name="connsiteX78" fmla="*/ 819435 w 1413367"/>
                <a:gd name="connsiteY78" fmla="*/ 210720 h 1522526"/>
                <a:gd name="connsiteX79" fmla="*/ 716246 w 1413367"/>
                <a:gd name="connsiteY79" fmla="*/ 210720 h 1522526"/>
                <a:gd name="connsiteX80" fmla="*/ 850617 w 1413367"/>
                <a:gd name="connsiteY80" fmla="*/ 240487 h 1522526"/>
                <a:gd name="connsiteX81" fmla="*/ 916103 w 1413367"/>
                <a:gd name="connsiteY81" fmla="*/ 279721 h 1522526"/>
                <a:gd name="connsiteX82" fmla="*/ 978269 w 1413367"/>
                <a:gd name="connsiteY82" fmla="*/ 344718 h 1522526"/>
                <a:gd name="connsiteX83" fmla="*/ 969452 w 1413367"/>
                <a:gd name="connsiteY83" fmla="*/ 378896 h 1522526"/>
                <a:gd name="connsiteX84" fmla="*/ 969452 w 1413367"/>
                <a:gd name="connsiteY84" fmla="*/ 451651 h 1522526"/>
                <a:gd name="connsiteX85" fmla="*/ 1003488 w 1413367"/>
                <a:gd name="connsiteY85" fmla="*/ 478628 h 1522526"/>
                <a:gd name="connsiteX86" fmla="*/ 967232 w 1413367"/>
                <a:gd name="connsiteY86" fmla="*/ 638035 h 1522526"/>
                <a:gd name="connsiteX87" fmla="*/ 946515 w 1413367"/>
                <a:gd name="connsiteY87" fmla="*/ 651932 h 1522526"/>
                <a:gd name="connsiteX88" fmla="*/ 838644 w 1413367"/>
                <a:gd name="connsiteY88" fmla="*/ 831290 h 1522526"/>
                <a:gd name="connsiteX89" fmla="*/ 749707 w 1413367"/>
                <a:gd name="connsiteY89" fmla="*/ 893779 h 1522526"/>
                <a:gd name="connsiteX90" fmla="*/ 663982 w 1413367"/>
                <a:gd name="connsiteY90" fmla="*/ 893779 h 1522526"/>
                <a:gd name="connsiteX91" fmla="*/ 542921 w 1413367"/>
                <a:gd name="connsiteY91" fmla="*/ 821966 h 1522526"/>
                <a:gd name="connsiteX92" fmla="*/ 450782 w 1413367"/>
                <a:gd name="connsiteY92" fmla="*/ 643758 h 1522526"/>
                <a:gd name="connsiteX93" fmla="*/ 390111 w 1413367"/>
                <a:gd name="connsiteY93" fmla="*/ 503970 h 1522526"/>
                <a:gd name="connsiteX94" fmla="*/ 413787 w 1413367"/>
                <a:gd name="connsiteY94" fmla="*/ 464730 h 1522526"/>
                <a:gd name="connsiteX95" fmla="*/ 402973 w 1413367"/>
                <a:gd name="connsiteY95" fmla="*/ 399317 h 1522526"/>
                <a:gd name="connsiteX96" fmla="*/ 376911 w 1413367"/>
                <a:gd name="connsiteY96" fmla="*/ 419083 h 1522526"/>
                <a:gd name="connsiteX97" fmla="*/ 361036 w 1413367"/>
                <a:gd name="connsiteY97" fmla="*/ 438927 h 1522526"/>
                <a:gd name="connsiteX98" fmla="*/ 347145 w 1413367"/>
                <a:gd name="connsiteY98" fmla="*/ 476631 h 1522526"/>
                <a:gd name="connsiteX99" fmla="*/ 353098 w 1413367"/>
                <a:gd name="connsiteY99" fmla="*/ 514335 h 1522526"/>
                <a:gd name="connsiteX100" fmla="*/ 363020 w 1413367"/>
                <a:gd name="connsiteY100" fmla="*/ 571883 h 1522526"/>
                <a:gd name="connsiteX101" fmla="*/ 386833 w 1413367"/>
                <a:gd name="connsiteY101" fmla="*/ 665150 h 1522526"/>
                <a:gd name="connsiteX102" fmla="*/ 412630 w 1413367"/>
                <a:gd name="connsiteY102" fmla="*/ 686979 h 1522526"/>
                <a:gd name="connsiteX103" fmla="*/ 428506 w 1413367"/>
                <a:gd name="connsiteY103" fmla="*/ 728652 h 1522526"/>
                <a:gd name="connsiteX104" fmla="*/ 466210 w 1413367"/>
                <a:gd name="connsiteY104" fmla="*/ 802075 h 1522526"/>
                <a:gd name="connsiteX105" fmla="*/ 482085 w 1413367"/>
                <a:gd name="connsiteY105" fmla="*/ 847716 h 1522526"/>
                <a:gd name="connsiteX106" fmla="*/ 438428 w 1413367"/>
                <a:gd name="connsiteY106" fmla="*/ 859623 h 1522526"/>
                <a:gd name="connsiteX107" fmla="*/ 374927 w 1413367"/>
                <a:gd name="connsiteY107" fmla="*/ 867560 h 1522526"/>
                <a:gd name="connsiteX108" fmla="*/ 317379 w 1413367"/>
                <a:gd name="connsiteY108" fmla="*/ 853670 h 1522526"/>
                <a:gd name="connsiteX109" fmla="*/ 291581 w 1413367"/>
                <a:gd name="connsiteY109" fmla="*/ 810012 h 1522526"/>
                <a:gd name="connsiteX110" fmla="*/ 279675 w 1413367"/>
                <a:gd name="connsiteY110" fmla="*/ 732620 h 1522526"/>
                <a:gd name="connsiteX111" fmla="*/ 283644 w 1413367"/>
                <a:gd name="connsiteY111" fmla="*/ 631415 h 1522526"/>
                <a:gd name="connsiteX112" fmla="*/ 315394 w 1413367"/>
                <a:gd name="connsiteY112" fmla="*/ 415114 h 1522526"/>
                <a:gd name="connsiteX113" fmla="*/ 388817 w 1413367"/>
                <a:gd name="connsiteY113" fmla="*/ 194845 h 1522526"/>
                <a:gd name="connsiteX114" fmla="*/ 450334 w 1413367"/>
                <a:gd name="connsiteY114" fmla="*/ 93640 h 1522526"/>
                <a:gd name="connsiteX115" fmla="*/ 509867 w 1413367"/>
                <a:gd name="connsiteY115" fmla="*/ 44029 h 1522526"/>
                <a:gd name="connsiteX116" fmla="*/ 563446 w 1413367"/>
                <a:gd name="connsiteY116" fmla="*/ 36092 h 1522526"/>
                <a:gd name="connsiteX117" fmla="*/ 609087 w 1413367"/>
                <a:gd name="connsiteY117" fmla="*/ 4341 h 1522526"/>
                <a:gd name="connsiteX118" fmla="*/ 651876 w 1413367"/>
                <a:gd name="connsiteY118"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228224 w 1487186"/>
                <a:gd name="connsiteY3" fmla="*/ 1091799 h 1522526"/>
                <a:gd name="connsiteX4" fmla="*/ 1293710 w 1487186"/>
                <a:gd name="connsiteY4" fmla="*/ 1137937 h 1522526"/>
                <a:gd name="connsiteX5" fmla="*/ 1323178 w 1487186"/>
                <a:gd name="connsiteY5" fmla="*/ 1187646 h 1522526"/>
                <a:gd name="connsiteX6" fmla="*/ 1340257 w 1487186"/>
                <a:gd name="connsiteY6" fmla="*/ 1220010 h 1522526"/>
                <a:gd name="connsiteX7" fmla="*/ 1487186 w 1487186"/>
                <a:gd name="connsiteY7" fmla="*/ 1448990 h 1522526"/>
                <a:gd name="connsiteX8" fmla="*/ 1177029 w 1487186"/>
                <a:gd name="connsiteY8" fmla="*/ 1493045 h 1522526"/>
                <a:gd name="connsiteX9" fmla="*/ 1132974 w 1487186"/>
                <a:gd name="connsiteY9" fmla="*/ 1439469 h 1522526"/>
                <a:gd name="connsiteX10" fmla="*/ 1151130 w 1487186"/>
                <a:gd name="connsiteY10" fmla="*/ 1492451 h 1522526"/>
                <a:gd name="connsiteX11" fmla="*/ 267073 w 1487186"/>
                <a:gd name="connsiteY11" fmla="*/ 1497214 h 1522526"/>
                <a:gd name="connsiteX12" fmla="*/ 250922 w 1487186"/>
                <a:gd name="connsiteY12" fmla="*/ 1492951 h 1522526"/>
                <a:gd name="connsiteX13" fmla="*/ 273457 w 1487186"/>
                <a:gd name="connsiteY13" fmla="*/ 1446229 h 1522526"/>
                <a:gd name="connsiteX14" fmla="*/ 221069 w 1487186"/>
                <a:gd name="connsiteY14" fmla="*/ 1493854 h 1522526"/>
                <a:gd name="connsiteX15" fmla="*/ 668 w 1487186"/>
                <a:gd name="connsiteY15" fmla="*/ 1482327 h 1522526"/>
                <a:gd name="connsiteX16" fmla="*/ 61391 w 1487186"/>
                <a:gd name="connsiteY16" fmla="*/ 1223961 h 1522526"/>
                <a:gd name="connsiteX17" fmla="*/ 92644 w 1487186"/>
                <a:gd name="connsiteY17" fmla="*/ 1157285 h 1522526"/>
                <a:gd name="connsiteX18" fmla="*/ 153665 w 1487186"/>
                <a:gd name="connsiteY18" fmla="*/ 1120077 h 1522526"/>
                <a:gd name="connsiteX19" fmla="*/ 251893 w 1487186"/>
                <a:gd name="connsiteY19" fmla="*/ 1078404 h 1522526"/>
                <a:gd name="connsiteX20" fmla="*/ 376911 w 1487186"/>
                <a:gd name="connsiteY20" fmla="*/ 1029290 h 1522526"/>
                <a:gd name="connsiteX21" fmla="*/ 410479 w 1487186"/>
                <a:gd name="connsiteY21" fmla="*/ 1016502 h 1522526"/>
                <a:gd name="connsiteX22" fmla="*/ 592543 w 1487186"/>
                <a:gd name="connsiteY22" fmla="*/ 1272398 h 1522526"/>
                <a:gd name="connsiteX23" fmla="*/ 763993 w 1487186"/>
                <a:gd name="connsiteY23" fmla="*/ 1379555 h 1522526"/>
                <a:gd name="connsiteX24" fmla="*/ 883056 w 1487186"/>
                <a:gd name="connsiteY24" fmla="*/ 1243823 h 1522526"/>
                <a:gd name="connsiteX25" fmla="*/ 992965 w 1487186"/>
                <a:gd name="connsiteY25" fmla="*/ 998817 h 1522526"/>
                <a:gd name="connsiteX26" fmla="*/ 856178 w 1487186"/>
                <a:gd name="connsiteY26" fmla="*/ 852696 h 1522526"/>
                <a:gd name="connsiteX27" fmla="*/ 851682 w 1487186"/>
                <a:gd name="connsiteY27" fmla="*/ 923321 h 1522526"/>
                <a:gd name="connsiteX28" fmla="*/ 959840 w 1487186"/>
                <a:gd name="connsiteY28" fmla="*/ 978198 h 1522526"/>
                <a:gd name="connsiteX29" fmla="*/ 885437 w 1487186"/>
                <a:gd name="connsiteY29" fmla="*/ 1177148 h 1522526"/>
                <a:gd name="connsiteX30" fmla="*/ 747325 w 1487186"/>
                <a:gd name="connsiteY30" fmla="*/ 1341455 h 1522526"/>
                <a:gd name="connsiteX31" fmla="*/ 556825 w 1487186"/>
                <a:gd name="connsiteY31" fmla="*/ 1191436 h 1522526"/>
                <a:gd name="connsiteX32" fmla="*/ 439913 w 1487186"/>
                <a:gd name="connsiteY32" fmla="*/ 1004825 h 1522526"/>
                <a:gd name="connsiteX33" fmla="*/ 551936 w 1487186"/>
                <a:gd name="connsiteY33" fmla="*/ 931359 h 1522526"/>
                <a:gd name="connsiteX34" fmla="*/ 550504 w 1487186"/>
                <a:gd name="connsiteY34" fmla="*/ 858311 h 1522526"/>
                <a:gd name="connsiteX35" fmla="*/ 621119 w 1487186"/>
                <a:gd name="connsiteY35" fmla="*/ 900922 h 1522526"/>
                <a:gd name="connsiteX36" fmla="*/ 728276 w 1487186"/>
                <a:gd name="connsiteY36" fmla="*/ 915210 h 1522526"/>
                <a:gd name="connsiteX37" fmla="*/ 821144 w 1487186"/>
                <a:gd name="connsiteY37" fmla="*/ 874729 h 1522526"/>
                <a:gd name="connsiteX38" fmla="*/ 856178 w 1487186"/>
                <a:gd name="connsiteY38" fmla="*/ 852696 h 1522526"/>
                <a:gd name="connsiteX39" fmla="*/ 1041767 w 1487186"/>
                <a:gd name="connsiteY39" fmla="*/ 314309 h 1522526"/>
                <a:gd name="connsiteX40" fmla="*/ 1048139 w 1487186"/>
                <a:gd name="connsiteY40" fmla="*/ 320855 h 1522526"/>
                <a:gd name="connsiteX41" fmla="*/ 1074929 w 1487186"/>
                <a:gd name="connsiteY41" fmla="*/ 428013 h 1522526"/>
                <a:gd name="connsiteX42" fmla="*/ 1101718 w 1487186"/>
                <a:gd name="connsiteY42" fmla="*/ 569403 h 1522526"/>
                <a:gd name="connsiteX43" fmla="*/ 1110648 w 1487186"/>
                <a:gd name="connsiteY43" fmla="*/ 704839 h 1522526"/>
                <a:gd name="connsiteX44" fmla="*/ 1107671 w 1487186"/>
                <a:gd name="connsiteY44" fmla="*/ 789672 h 1522526"/>
                <a:gd name="connsiteX45" fmla="*/ 1082370 w 1487186"/>
                <a:gd name="connsiteY45" fmla="*/ 850693 h 1522526"/>
                <a:gd name="connsiteX46" fmla="*/ 1036232 w 1487186"/>
                <a:gd name="connsiteY46" fmla="*/ 859623 h 1522526"/>
                <a:gd name="connsiteX47" fmla="*/ 963305 w 1487186"/>
                <a:gd name="connsiteY47" fmla="*/ 853670 h 1522526"/>
                <a:gd name="connsiteX48" fmla="*/ 908238 w 1487186"/>
                <a:gd name="connsiteY48" fmla="*/ 834322 h 1522526"/>
                <a:gd name="connsiteX49" fmla="*/ 915679 w 1487186"/>
                <a:gd name="connsiteY49" fmla="*/ 813485 h 1522526"/>
                <a:gd name="connsiteX50" fmla="*/ 945445 w 1487186"/>
                <a:gd name="connsiteY50" fmla="*/ 773301 h 1522526"/>
                <a:gd name="connsiteX51" fmla="*/ 973724 w 1487186"/>
                <a:gd name="connsiteY51" fmla="*/ 704839 h 1522526"/>
                <a:gd name="connsiteX52" fmla="*/ 979677 w 1487186"/>
                <a:gd name="connsiteY52" fmla="*/ 675072 h 1522526"/>
                <a:gd name="connsiteX53" fmla="*/ 997536 w 1487186"/>
                <a:gd name="connsiteY53" fmla="*/ 655725 h 1522526"/>
                <a:gd name="connsiteX54" fmla="*/ 1022838 w 1487186"/>
                <a:gd name="connsiteY54" fmla="*/ 579821 h 1522526"/>
                <a:gd name="connsiteX55" fmla="*/ 1040697 w 1487186"/>
                <a:gd name="connsiteY55" fmla="*/ 499452 h 1522526"/>
                <a:gd name="connsiteX56" fmla="*/ 1042186 w 1487186"/>
                <a:gd name="connsiteY56" fmla="*/ 463733 h 1522526"/>
                <a:gd name="connsiteX57" fmla="*/ 1025814 w 1487186"/>
                <a:gd name="connsiteY57" fmla="*/ 430990 h 1522526"/>
                <a:gd name="connsiteX58" fmla="*/ 1009443 w 1487186"/>
                <a:gd name="connsiteY58" fmla="*/ 416107 h 1522526"/>
                <a:gd name="connsiteX59" fmla="*/ 1006466 w 1487186"/>
                <a:gd name="connsiteY59" fmla="*/ 386340 h 1522526"/>
                <a:gd name="connsiteX60" fmla="*/ 1009443 w 1487186"/>
                <a:gd name="connsiteY60" fmla="*/ 350621 h 1522526"/>
                <a:gd name="connsiteX61" fmla="*/ 1024326 w 1487186"/>
                <a:gd name="connsiteY61" fmla="*/ 328297 h 1522526"/>
                <a:gd name="connsiteX62" fmla="*/ 1041767 w 1487186"/>
                <a:gd name="connsiteY62" fmla="*/ 314309 h 1522526"/>
                <a:gd name="connsiteX63" fmla="*/ 616358 w 1487186"/>
                <a:gd name="connsiteY63" fmla="*/ 96060 h 1522526"/>
                <a:gd name="connsiteX64" fmla="*/ 509202 w 1487186"/>
                <a:gd name="connsiteY64" fmla="*/ 431816 h 1522526"/>
                <a:gd name="connsiteX65" fmla="*/ 654458 w 1487186"/>
                <a:gd name="connsiteY65" fmla="*/ 184165 h 1522526"/>
                <a:gd name="connsiteX66" fmla="*/ 616358 w 1487186"/>
                <a:gd name="connsiteY66" fmla="*/ 96060 h 1522526"/>
                <a:gd name="connsiteX67" fmla="*/ 651876 w 1487186"/>
                <a:gd name="connsiteY67" fmla="*/ 0 h 1522526"/>
                <a:gd name="connsiteX68" fmla="*/ 696401 w 1487186"/>
                <a:gd name="connsiteY68" fmla="*/ 372 h 1522526"/>
                <a:gd name="connsiteX69" fmla="*/ 757918 w 1487186"/>
                <a:gd name="connsiteY69" fmla="*/ 6326 h 1522526"/>
                <a:gd name="connsiteX70" fmla="*/ 829357 w 1487186"/>
                <a:gd name="connsiteY70" fmla="*/ 38076 h 1522526"/>
                <a:gd name="connsiteX71" fmla="*/ 910718 w 1487186"/>
                <a:gd name="connsiteY71" fmla="*/ 103562 h 1522526"/>
                <a:gd name="connsiteX72" fmla="*/ 1005970 w 1487186"/>
                <a:gd name="connsiteY72" fmla="*/ 216673 h 1522526"/>
                <a:gd name="connsiteX73" fmla="*/ 1041689 w 1487186"/>
                <a:gd name="connsiteY73" fmla="*/ 276206 h 1522526"/>
                <a:gd name="connsiteX74" fmla="*/ 1025814 w 1487186"/>
                <a:gd name="connsiteY74" fmla="*/ 313909 h 1522526"/>
                <a:gd name="connsiteX75" fmla="*/ 992079 w 1487186"/>
                <a:gd name="connsiteY75" fmla="*/ 331769 h 1522526"/>
                <a:gd name="connsiteX76" fmla="*/ 968266 w 1487186"/>
                <a:gd name="connsiteY76" fmla="*/ 311925 h 1522526"/>
                <a:gd name="connsiteX77" fmla="*/ 914687 w 1487186"/>
                <a:gd name="connsiteY77" fmla="*/ 256361 h 1522526"/>
                <a:gd name="connsiteX78" fmla="*/ 819435 w 1487186"/>
                <a:gd name="connsiteY78" fmla="*/ 210720 h 1522526"/>
                <a:gd name="connsiteX79" fmla="*/ 716246 w 1487186"/>
                <a:gd name="connsiteY79" fmla="*/ 210720 h 1522526"/>
                <a:gd name="connsiteX80" fmla="*/ 850617 w 1487186"/>
                <a:gd name="connsiteY80" fmla="*/ 240487 h 1522526"/>
                <a:gd name="connsiteX81" fmla="*/ 916103 w 1487186"/>
                <a:gd name="connsiteY81" fmla="*/ 279721 h 1522526"/>
                <a:gd name="connsiteX82" fmla="*/ 978269 w 1487186"/>
                <a:gd name="connsiteY82" fmla="*/ 344718 h 1522526"/>
                <a:gd name="connsiteX83" fmla="*/ 969452 w 1487186"/>
                <a:gd name="connsiteY83" fmla="*/ 378896 h 1522526"/>
                <a:gd name="connsiteX84" fmla="*/ 969452 w 1487186"/>
                <a:gd name="connsiteY84" fmla="*/ 451651 h 1522526"/>
                <a:gd name="connsiteX85" fmla="*/ 1003488 w 1487186"/>
                <a:gd name="connsiteY85" fmla="*/ 478628 h 1522526"/>
                <a:gd name="connsiteX86" fmla="*/ 967232 w 1487186"/>
                <a:gd name="connsiteY86" fmla="*/ 638035 h 1522526"/>
                <a:gd name="connsiteX87" fmla="*/ 946515 w 1487186"/>
                <a:gd name="connsiteY87" fmla="*/ 651932 h 1522526"/>
                <a:gd name="connsiteX88" fmla="*/ 838644 w 1487186"/>
                <a:gd name="connsiteY88" fmla="*/ 831290 h 1522526"/>
                <a:gd name="connsiteX89" fmla="*/ 749707 w 1487186"/>
                <a:gd name="connsiteY89" fmla="*/ 893779 h 1522526"/>
                <a:gd name="connsiteX90" fmla="*/ 663982 w 1487186"/>
                <a:gd name="connsiteY90" fmla="*/ 893779 h 1522526"/>
                <a:gd name="connsiteX91" fmla="*/ 542921 w 1487186"/>
                <a:gd name="connsiteY91" fmla="*/ 821966 h 1522526"/>
                <a:gd name="connsiteX92" fmla="*/ 450782 w 1487186"/>
                <a:gd name="connsiteY92" fmla="*/ 643758 h 1522526"/>
                <a:gd name="connsiteX93" fmla="*/ 390111 w 1487186"/>
                <a:gd name="connsiteY93" fmla="*/ 503970 h 1522526"/>
                <a:gd name="connsiteX94" fmla="*/ 413787 w 1487186"/>
                <a:gd name="connsiteY94" fmla="*/ 464730 h 1522526"/>
                <a:gd name="connsiteX95" fmla="*/ 402973 w 1487186"/>
                <a:gd name="connsiteY95" fmla="*/ 399317 h 1522526"/>
                <a:gd name="connsiteX96" fmla="*/ 376911 w 1487186"/>
                <a:gd name="connsiteY96" fmla="*/ 419083 h 1522526"/>
                <a:gd name="connsiteX97" fmla="*/ 361036 w 1487186"/>
                <a:gd name="connsiteY97" fmla="*/ 438927 h 1522526"/>
                <a:gd name="connsiteX98" fmla="*/ 347145 w 1487186"/>
                <a:gd name="connsiteY98" fmla="*/ 476631 h 1522526"/>
                <a:gd name="connsiteX99" fmla="*/ 353098 w 1487186"/>
                <a:gd name="connsiteY99" fmla="*/ 514335 h 1522526"/>
                <a:gd name="connsiteX100" fmla="*/ 363020 w 1487186"/>
                <a:gd name="connsiteY100" fmla="*/ 571883 h 1522526"/>
                <a:gd name="connsiteX101" fmla="*/ 386833 w 1487186"/>
                <a:gd name="connsiteY101" fmla="*/ 665150 h 1522526"/>
                <a:gd name="connsiteX102" fmla="*/ 412630 w 1487186"/>
                <a:gd name="connsiteY102" fmla="*/ 686979 h 1522526"/>
                <a:gd name="connsiteX103" fmla="*/ 428506 w 1487186"/>
                <a:gd name="connsiteY103" fmla="*/ 728652 h 1522526"/>
                <a:gd name="connsiteX104" fmla="*/ 466210 w 1487186"/>
                <a:gd name="connsiteY104" fmla="*/ 802075 h 1522526"/>
                <a:gd name="connsiteX105" fmla="*/ 482085 w 1487186"/>
                <a:gd name="connsiteY105" fmla="*/ 847716 h 1522526"/>
                <a:gd name="connsiteX106" fmla="*/ 438428 w 1487186"/>
                <a:gd name="connsiteY106" fmla="*/ 859623 h 1522526"/>
                <a:gd name="connsiteX107" fmla="*/ 374927 w 1487186"/>
                <a:gd name="connsiteY107" fmla="*/ 867560 h 1522526"/>
                <a:gd name="connsiteX108" fmla="*/ 317379 w 1487186"/>
                <a:gd name="connsiteY108" fmla="*/ 853670 h 1522526"/>
                <a:gd name="connsiteX109" fmla="*/ 291581 w 1487186"/>
                <a:gd name="connsiteY109" fmla="*/ 810012 h 1522526"/>
                <a:gd name="connsiteX110" fmla="*/ 279675 w 1487186"/>
                <a:gd name="connsiteY110" fmla="*/ 732620 h 1522526"/>
                <a:gd name="connsiteX111" fmla="*/ 283644 w 1487186"/>
                <a:gd name="connsiteY111" fmla="*/ 631415 h 1522526"/>
                <a:gd name="connsiteX112" fmla="*/ 315394 w 1487186"/>
                <a:gd name="connsiteY112" fmla="*/ 415114 h 1522526"/>
                <a:gd name="connsiteX113" fmla="*/ 388817 w 1487186"/>
                <a:gd name="connsiteY113" fmla="*/ 194845 h 1522526"/>
                <a:gd name="connsiteX114" fmla="*/ 450334 w 1487186"/>
                <a:gd name="connsiteY114" fmla="*/ 93640 h 1522526"/>
                <a:gd name="connsiteX115" fmla="*/ 509867 w 1487186"/>
                <a:gd name="connsiteY115" fmla="*/ 44029 h 1522526"/>
                <a:gd name="connsiteX116" fmla="*/ 563446 w 1487186"/>
                <a:gd name="connsiteY116" fmla="*/ 36092 h 1522526"/>
                <a:gd name="connsiteX117" fmla="*/ 609087 w 1487186"/>
                <a:gd name="connsiteY117" fmla="*/ 4341 h 1522526"/>
                <a:gd name="connsiteX118" fmla="*/ 651876 w 1487186"/>
                <a:gd name="connsiteY118" fmla="*/ 0 h 1522526"/>
                <a:gd name="connsiteX0" fmla="*/ 992965 w 1489754"/>
                <a:gd name="connsiteY0" fmla="*/ 998817 h 1522526"/>
                <a:gd name="connsiteX1" fmla="*/ 1003490 w 1489754"/>
                <a:gd name="connsiteY1" fmla="*/ 1002500 h 1522526"/>
                <a:gd name="connsiteX2" fmla="*/ 1110648 w 1489754"/>
                <a:gd name="connsiteY2" fmla="*/ 1036732 h 1522526"/>
                <a:gd name="connsiteX3" fmla="*/ 1228224 w 1489754"/>
                <a:gd name="connsiteY3" fmla="*/ 1091799 h 1522526"/>
                <a:gd name="connsiteX4" fmla="*/ 1293710 w 1489754"/>
                <a:gd name="connsiteY4" fmla="*/ 1137937 h 1522526"/>
                <a:gd name="connsiteX5" fmla="*/ 1323178 w 1489754"/>
                <a:gd name="connsiteY5" fmla="*/ 1187646 h 1522526"/>
                <a:gd name="connsiteX6" fmla="*/ 1487186 w 1489754"/>
                <a:gd name="connsiteY6" fmla="*/ 1448990 h 1522526"/>
                <a:gd name="connsiteX7" fmla="*/ 1177029 w 1489754"/>
                <a:gd name="connsiteY7" fmla="*/ 1493045 h 1522526"/>
                <a:gd name="connsiteX8" fmla="*/ 1132974 w 1489754"/>
                <a:gd name="connsiteY8" fmla="*/ 1439469 h 1522526"/>
                <a:gd name="connsiteX9" fmla="*/ 1151130 w 1489754"/>
                <a:gd name="connsiteY9" fmla="*/ 1492451 h 1522526"/>
                <a:gd name="connsiteX10" fmla="*/ 267073 w 1489754"/>
                <a:gd name="connsiteY10" fmla="*/ 1497214 h 1522526"/>
                <a:gd name="connsiteX11" fmla="*/ 250922 w 1489754"/>
                <a:gd name="connsiteY11" fmla="*/ 1492951 h 1522526"/>
                <a:gd name="connsiteX12" fmla="*/ 273457 w 1489754"/>
                <a:gd name="connsiteY12" fmla="*/ 1446229 h 1522526"/>
                <a:gd name="connsiteX13" fmla="*/ 221069 w 1489754"/>
                <a:gd name="connsiteY13" fmla="*/ 1493854 h 1522526"/>
                <a:gd name="connsiteX14" fmla="*/ 668 w 1489754"/>
                <a:gd name="connsiteY14" fmla="*/ 1482327 h 1522526"/>
                <a:gd name="connsiteX15" fmla="*/ 61391 w 1489754"/>
                <a:gd name="connsiteY15" fmla="*/ 1223961 h 1522526"/>
                <a:gd name="connsiteX16" fmla="*/ 92644 w 1489754"/>
                <a:gd name="connsiteY16" fmla="*/ 1157285 h 1522526"/>
                <a:gd name="connsiteX17" fmla="*/ 153665 w 1489754"/>
                <a:gd name="connsiteY17" fmla="*/ 1120077 h 1522526"/>
                <a:gd name="connsiteX18" fmla="*/ 251893 w 1489754"/>
                <a:gd name="connsiteY18" fmla="*/ 1078404 h 1522526"/>
                <a:gd name="connsiteX19" fmla="*/ 376911 w 1489754"/>
                <a:gd name="connsiteY19" fmla="*/ 1029290 h 1522526"/>
                <a:gd name="connsiteX20" fmla="*/ 410479 w 1489754"/>
                <a:gd name="connsiteY20" fmla="*/ 1016502 h 1522526"/>
                <a:gd name="connsiteX21" fmla="*/ 592543 w 1489754"/>
                <a:gd name="connsiteY21" fmla="*/ 1272398 h 1522526"/>
                <a:gd name="connsiteX22" fmla="*/ 763993 w 1489754"/>
                <a:gd name="connsiteY22" fmla="*/ 1379555 h 1522526"/>
                <a:gd name="connsiteX23" fmla="*/ 883056 w 1489754"/>
                <a:gd name="connsiteY23" fmla="*/ 1243823 h 1522526"/>
                <a:gd name="connsiteX24" fmla="*/ 992965 w 1489754"/>
                <a:gd name="connsiteY24" fmla="*/ 998817 h 1522526"/>
                <a:gd name="connsiteX25" fmla="*/ 856178 w 1489754"/>
                <a:gd name="connsiteY25" fmla="*/ 852696 h 1522526"/>
                <a:gd name="connsiteX26" fmla="*/ 851682 w 1489754"/>
                <a:gd name="connsiteY26" fmla="*/ 923321 h 1522526"/>
                <a:gd name="connsiteX27" fmla="*/ 959840 w 1489754"/>
                <a:gd name="connsiteY27" fmla="*/ 978198 h 1522526"/>
                <a:gd name="connsiteX28" fmla="*/ 885437 w 1489754"/>
                <a:gd name="connsiteY28" fmla="*/ 1177148 h 1522526"/>
                <a:gd name="connsiteX29" fmla="*/ 747325 w 1489754"/>
                <a:gd name="connsiteY29" fmla="*/ 1341455 h 1522526"/>
                <a:gd name="connsiteX30" fmla="*/ 556825 w 1489754"/>
                <a:gd name="connsiteY30" fmla="*/ 1191436 h 1522526"/>
                <a:gd name="connsiteX31" fmla="*/ 439913 w 1489754"/>
                <a:gd name="connsiteY31" fmla="*/ 1004825 h 1522526"/>
                <a:gd name="connsiteX32" fmla="*/ 551936 w 1489754"/>
                <a:gd name="connsiteY32" fmla="*/ 931359 h 1522526"/>
                <a:gd name="connsiteX33" fmla="*/ 550504 w 1489754"/>
                <a:gd name="connsiteY33" fmla="*/ 858311 h 1522526"/>
                <a:gd name="connsiteX34" fmla="*/ 621119 w 1489754"/>
                <a:gd name="connsiteY34" fmla="*/ 900922 h 1522526"/>
                <a:gd name="connsiteX35" fmla="*/ 728276 w 1489754"/>
                <a:gd name="connsiteY35" fmla="*/ 915210 h 1522526"/>
                <a:gd name="connsiteX36" fmla="*/ 821144 w 1489754"/>
                <a:gd name="connsiteY36" fmla="*/ 874729 h 1522526"/>
                <a:gd name="connsiteX37" fmla="*/ 856178 w 1489754"/>
                <a:gd name="connsiteY37" fmla="*/ 852696 h 1522526"/>
                <a:gd name="connsiteX38" fmla="*/ 1041767 w 1489754"/>
                <a:gd name="connsiteY38" fmla="*/ 314309 h 1522526"/>
                <a:gd name="connsiteX39" fmla="*/ 1048139 w 1489754"/>
                <a:gd name="connsiteY39" fmla="*/ 320855 h 1522526"/>
                <a:gd name="connsiteX40" fmla="*/ 1074929 w 1489754"/>
                <a:gd name="connsiteY40" fmla="*/ 428013 h 1522526"/>
                <a:gd name="connsiteX41" fmla="*/ 1101718 w 1489754"/>
                <a:gd name="connsiteY41" fmla="*/ 569403 h 1522526"/>
                <a:gd name="connsiteX42" fmla="*/ 1110648 w 1489754"/>
                <a:gd name="connsiteY42" fmla="*/ 704839 h 1522526"/>
                <a:gd name="connsiteX43" fmla="*/ 1107671 w 1489754"/>
                <a:gd name="connsiteY43" fmla="*/ 789672 h 1522526"/>
                <a:gd name="connsiteX44" fmla="*/ 1082370 w 1489754"/>
                <a:gd name="connsiteY44" fmla="*/ 850693 h 1522526"/>
                <a:gd name="connsiteX45" fmla="*/ 1036232 w 1489754"/>
                <a:gd name="connsiteY45" fmla="*/ 859623 h 1522526"/>
                <a:gd name="connsiteX46" fmla="*/ 963305 w 1489754"/>
                <a:gd name="connsiteY46" fmla="*/ 853670 h 1522526"/>
                <a:gd name="connsiteX47" fmla="*/ 908238 w 1489754"/>
                <a:gd name="connsiteY47" fmla="*/ 834322 h 1522526"/>
                <a:gd name="connsiteX48" fmla="*/ 915679 w 1489754"/>
                <a:gd name="connsiteY48" fmla="*/ 813485 h 1522526"/>
                <a:gd name="connsiteX49" fmla="*/ 945445 w 1489754"/>
                <a:gd name="connsiteY49" fmla="*/ 773301 h 1522526"/>
                <a:gd name="connsiteX50" fmla="*/ 973724 w 1489754"/>
                <a:gd name="connsiteY50" fmla="*/ 704839 h 1522526"/>
                <a:gd name="connsiteX51" fmla="*/ 979677 w 1489754"/>
                <a:gd name="connsiteY51" fmla="*/ 675072 h 1522526"/>
                <a:gd name="connsiteX52" fmla="*/ 997536 w 1489754"/>
                <a:gd name="connsiteY52" fmla="*/ 655725 h 1522526"/>
                <a:gd name="connsiteX53" fmla="*/ 1022838 w 1489754"/>
                <a:gd name="connsiteY53" fmla="*/ 579821 h 1522526"/>
                <a:gd name="connsiteX54" fmla="*/ 1040697 w 1489754"/>
                <a:gd name="connsiteY54" fmla="*/ 499452 h 1522526"/>
                <a:gd name="connsiteX55" fmla="*/ 1042186 w 1489754"/>
                <a:gd name="connsiteY55" fmla="*/ 463733 h 1522526"/>
                <a:gd name="connsiteX56" fmla="*/ 1025814 w 1489754"/>
                <a:gd name="connsiteY56" fmla="*/ 430990 h 1522526"/>
                <a:gd name="connsiteX57" fmla="*/ 1009443 w 1489754"/>
                <a:gd name="connsiteY57" fmla="*/ 416107 h 1522526"/>
                <a:gd name="connsiteX58" fmla="*/ 1006466 w 1489754"/>
                <a:gd name="connsiteY58" fmla="*/ 386340 h 1522526"/>
                <a:gd name="connsiteX59" fmla="*/ 1009443 w 1489754"/>
                <a:gd name="connsiteY59" fmla="*/ 350621 h 1522526"/>
                <a:gd name="connsiteX60" fmla="*/ 1024326 w 1489754"/>
                <a:gd name="connsiteY60" fmla="*/ 328297 h 1522526"/>
                <a:gd name="connsiteX61" fmla="*/ 1041767 w 1489754"/>
                <a:gd name="connsiteY61" fmla="*/ 314309 h 1522526"/>
                <a:gd name="connsiteX62" fmla="*/ 616358 w 1489754"/>
                <a:gd name="connsiteY62" fmla="*/ 96060 h 1522526"/>
                <a:gd name="connsiteX63" fmla="*/ 509202 w 1489754"/>
                <a:gd name="connsiteY63" fmla="*/ 431816 h 1522526"/>
                <a:gd name="connsiteX64" fmla="*/ 654458 w 1489754"/>
                <a:gd name="connsiteY64" fmla="*/ 184165 h 1522526"/>
                <a:gd name="connsiteX65" fmla="*/ 616358 w 1489754"/>
                <a:gd name="connsiteY65" fmla="*/ 96060 h 1522526"/>
                <a:gd name="connsiteX66" fmla="*/ 651876 w 1489754"/>
                <a:gd name="connsiteY66" fmla="*/ 0 h 1522526"/>
                <a:gd name="connsiteX67" fmla="*/ 696401 w 1489754"/>
                <a:gd name="connsiteY67" fmla="*/ 372 h 1522526"/>
                <a:gd name="connsiteX68" fmla="*/ 757918 w 1489754"/>
                <a:gd name="connsiteY68" fmla="*/ 6326 h 1522526"/>
                <a:gd name="connsiteX69" fmla="*/ 829357 w 1489754"/>
                <a:gd name="connsiteY69" fmla="*/ 38076 h 1522526"/>
                <a:gd name="connsiteX70" fmla="*/ 910718 w 1489754"/>
                <a:gd name="connsiteY70" fmla="*/ 103562 h 1522526"/>
                <a:gd name="connsiteX71" fmla="*/ 1005970 w 1489754"/>
                <a:gd name="connsiteY71" fmla="*/ 216673 h 1522526"/>
                <a:gd name="connsiteX72" fmla="*/ 1041689 w 1489754"/>
                <a:gd name="connsiteY72" fmla="*/ 276206 h 1522526"/>
                <a:gd name="connsiteX73" fmla="*/ 1025814 w 1489754"/>
                <a:gd name="connsiteY73" fmla="*/ 313909 h 1522526"/>
                <a:gd name="connsiteX74" fmla="*/ 992079 w 1489754"/>
                <a:gd name="connsiteY74" fmla="*/ 331769 h 1522526"/>
                <a:gd name="connsiteX75" fmla="*/ 968266 w 1489754"/>
                <a:gd name="connsiteY75" fmla="*/ 311925 h 1522526"/>
                <a:gd name="connsiteX76" fmla="*/ 914687 w 1489754"/>
                <a:gd name="connsiteY76" fmla="*/ 256361 h 1522526"/>
                <a:gd name="connsiteX77" fmla="*/ 819435 w 1489754"/>
                <a:gd name="connsiteY77" fmla="*/ 210720 h 1522526"/>
                <a:gd name="connsiteX78" fmla="*/ 716246 w 1489754"/>
                <a:gd name="connsiteY78" fmla="*/ 210720 h 1522526"/>
                <a:gd name="connsiteX79" fmla="*/ 850617 w 1489754"/>
                <a:gd name="connsiteY79" fmla="*/ 240487 h 1522526"/>
                <a:gd name="connsiteX80" fmla="*/ 916103 w 1489754"/>
                <a:gd name="connsiteY80" fmla="*/ 279721 h 1522526"/>
                <a:gd name="connsiteX81" fmla="*/ 978269 w 1489754"/>
                <a:gd name="connsiteY81" fmla="*/ 344718 h 1522526"/>
                <a:gd name="connsiteX82" fmla="*/ 969452 w 1489754"/>
                <a:gd name="connsiteY82" fmla="*/ 378896 h 1522526"/>
                <a:gd name="connsiteX83" fmla="*/ 969452 w 1489754"/>
                <a:gd name="connsiteY83" fmla="*/ 451651 h 1522526"/>
                <a:gd name="connsiteX84" fmla="*/ 1003488 w 1489754"/>
                <a:gd name="connsiteY84" fmla="*/ 478628 h 1522526"/>
                <a:gd name="connsiteX85" fmla="*/ 967232 w 1489754"/>
                <a:gd name="connsiteY85" fmla="*/ 638035 h 1522526"/>
                <a:gd name="connsiteX86" fmla="*/ 946515 w 1489754"/>
                <a:gd name="connsiteY86" fmla="*/ 651932 h 1522526"/>
                <a:gd name="connsiteX87" fmla="*/ 838644 w 1489754"/>
                <a:gd name="connsiteY87" fmla="*/ 831290 h 1522526"/>
                <a:gd name="connsiteX88" fmla="*/ 749707 w 1489754"/>
                <a:gd name="connsiteY88" fmla="*/ 893779 h 1522526"/>
                <a:gd name="connsiteX89" fmla="*/ 663982 w 1489754"/>
                <a:gd name="connsiteY89" fmla="*/ 893779 h 1522526"/>
                <a:gd name="connsiteX90" fmla="*/ 542921 w 1489754"/>
                <a:gd name="connsiteY90" fmla="*/ 821966 h 1522526"/>
                <a:gd name="connsiteX91" fmla="*/ 450782 w 1489754"/>
                <a:gd name="connsiteY91" fmla="*/ 643758 h 1522526"/>
                <a:gd name="connsiteX92" fmla="*/ 390111 w 1489754"/>
                <a:gd name="connsiteY92" fmla="*/ 503970 h 1522526"/>
                <a:gd name="connsiteX93" fmla="*/ 413787 w 1489754"/>
                <a:gd name="connsiteY93" fmla="*/ 464730 h 1522526"/>
                <a:gd name="connsiteX94" fmla="*/ 402973 w 1489754"/>
                <a:gd name="connsiteY94" fmla="*/ 399317 h 1522526"/>
                <a:gd name="connsiteX95" fmla="*/ 376911 w 1489754"/>
                <a:gd name="connsiteY95" fmla="*/ 419083 h 1522526"/>
                <a:gd name="connsiteX96" fmla="*/ 361036 w 1489754"/>
                <a:gd name="connsiteY96" fmla="*/ 438927 h 1522526"/>
                <a:gd name="connsiteX97" fmla="*/ 347145 w 1489754"/>
                <a:gd name="connsiteY97" fmla="*/ 476631 h 1522526"/>
                <a:gd name="connsiteX98" fmla="*/ 353098 w 1489754"/>
                <a:gd name="connsiteY98" fmla="*/ 514335 h 1522526"/>
                <a:gd name="connsiteX99" fmla="*/ 363020 w 1489754"/>
                <a:gd name="connsiteY99" fmla="*/ 571883 h 1522526"/>
                <a:gd name="connsiteX100" fmla="*/ 386833 w 1489754"/>
                <a:gd name="connsiteY100" fmla="*/ 665150 h 1522526"/>
                <a:gd name="connsiteX101" fmla="*/ 412630 w 1489754"/>
                <a:gd name="connsiteY101" fmla="*/ 686979 h 1522526"/>
                <a:gd name="connsiteX102" fmla="*/ 428506 w 1489754"/>
                <a:gd name="connsiteY102" fmla="*/ 728652 h 1522526"/>
                <a:gd name="connsiteX103" fmla="*/ 466210 w 1489754"/>
                <a:gd name="connsiteY103" fmla="*/ 802075 h 1522526"/>
                <a:gd name="connsiteX104" fmla="*/ 482085 w 1489754"/>
                <a:gd name="connsiteY104" fmla="*/ 847716 h 1522526"/>
                <a:gd name="connsiteX105" fmla="*/ 438428 w 1489754"/>
                <a:gd name="connsiteY105" fmla="*/ 859623 h 1522526"/>
                <a:gd name="connsiteX106" fmla="*/ 374927 w 1489754"/>
                <a:gd name="connsiteY106" fmla="*/ 867560 h 1522526"/>
                <a:gd name="connsiteX107" fmla="*/ 317379 w 1489754"/>
                <a:gd name="connsiteY107" fmla="*/ 853670 h 1522526"/>
                <a:gd name="connsiteX108" fmla="*/ 291581 w 1489754"/>
                <a:gd name="connsiteY108" fmla="*/ 810012 h 1522526"/>
                <a:gd name="connsiteX109" fmla="*/ 279675 w 1489754"/>
                <a:gd name="connsiteY109" fmla="*/ 732620 h 1522526"/>
                <a:gd name="connsiteX110" fmla="*/ 283644 w 1489754"/>
                <a:gd name="connsiteY110" fmla="*/ 631415 h 1522526"/>
                <a:gd name="connsiteX111" fmla="*/ 315394 w 1489754"/>
                <a:gd name="connsiteY111" fmla="*/ 415114 h 1522526"/>
                <a:gd name="connsiteX112" fmla="*/ 388817 w 1489754"/>
                <a:gd name="connsiteY112" fmla="*/ 194845 h 1522526"/>
                <a:gd name="connsiteX113" fmla="*/ 450334 w 1489754"/>
                <a:gd name="connsiteY113" fmla="*/ 93640 h 1522526"/>
                <a:gd name="connsiteX114" fmla="*/ 509867 w 1489754"/>
                <a:gd name="connsiteY114" fmla="*/ 44029 h 1522526"/>
                <a:gd name="connsiteX115" fmla="*/ 563446 w 1489754"/>
                <a:gd name="connsiteY115" fmla="*/ 36092 h 1522526"/>
                <a:gd name="connsiteX116" fmla="*/ 609087 w 1489754"/>
                <a:gd name="connsiteY116" fmla="*/ 4341 h 1522526"/>
                <a:gd name="connsiteX117" fmla="*/ 651876 w 1489754"/>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293710 w 1490589"/>
                <a:gd name="connsiteY4" fmla="*/ 1137937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319904 w 1490589"/>
                <a:gd name="connsiteY4" fmla="*/ 1106981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319904 w 1490589"/>
                <a:gd name="connsiteY3" fmla="*/ 1106981 h 1522526"/>
                <a:gd name="connsiteX4" fmla="*/ 1366040 w 1490589"/>
                <a:gd name="connsiteY4" fmla="*/ 1185265 h 1522526"/>
                <a:gd name="connsiteX5" fmla="*/ 1487186 w 1490589"/>
                <a:gd name="connsiteY5" fmla="*/ 1448990 h 1522526"/>
                <a:gd name="connsiteX6" fmla="*/ 1177029 w 1490589"/>
                <a:gd name="connsiteY6" fmla="*/ 1493045 h 1522526"/>
                <a:gd name="connsiteX7" fmla="*/ 1132974 w 1490589"/>
                <a:gd name="connsiteY7" fmla="*/ 1439469 h 1522526"/>
                <a:gd name="connsiteX8" fmla="*/ 1151130 w 1490589"/>
                <a:gd name="connsiteY8" fmla="*/ 1492451 h 1522526"/>
                <a:gd name="connsiteX9" fmla="*/ 267073 w 1490589"/>
                <a:gd name="connsiteY9" fmla="*/ 1497214 h 1522526"/>
                <a:gd name="connsiteX10" fmla="*/ 250922 w 1490589"/>
                <a:gd name="connsiteY10" fmla="*/ 1492951 h 1522526"/>
                <a:gd name="connsiteX11" fmla="*/ 273457 w 1490589"/>
                <a:gd name="connsiteY11" fmla="*/ 1446229 h 1522526"/>
                <a:gd name="connsiteX12" fmla="*/ 221069 w 1490589"/>
                <a:gd name="connsiteY12" fmla="*/ 1493854 h 1522526"/>
                <a:gd name="connsiteX13" fmla="*/ 668 w 1490589"/>
                <a:gd name="connsiteY13" fmla="*/ 1482327 h 1522526"/>
                <a:gd name="connsiteX14" fmla="*/ 61391 w 1490589"/>
                <a:gd name="connsiteY14" fmla="*/ 1223961 h 1522526"/>
                <a:gd name="connsiteX15" fmla="*/ 92644 w 1490589"/>
                <a:gd name="connsiteY15" fmla="*/ 1157285 h 1522526"/>
                <a:gd name="connsiteX16" fmla="*/ 153665 w 1490589"/>
                <a:gd name="connsiteY16" fmla="*/ 1120077 h 1522526"/>
                <a:gd name="connsiteX17" fmla="*/ 251893 w 1490589"/>
                <a:gd name="connsiteY17" fmla="*/ 1078404 h 1522526"/>
                <a:gd name="connsiteX18" fmla="*/ 376911 w 1490589"/>
                <a:gd name="connsiteY18" fmla="*/ 1029290 h 1522526"/>
                <a:gd name="connsiteX19" fmla="*/ 410479 w 1490589"/>
                <a:gd name="connsiteY19" fmla="*/ 1016502 h 1522526"/>
                <a:gd name="connsiteX20" fmla="*/ 592543 w 1490589"/>
                <a:gd name="connsiteY20" fmla="*/ 1272398 h 1522526"/>
                <a:gd name="connsiteX21" fmla="*/ 763993 w 1490589"/>
                <a:gd name="connsiteY21" fmla="*/ 1379555 h 1522526"/>
                <a:gd name="connsiteX22" fmla="*/ 883056 w 1490589"/>
                <a:gd name="connsiteY22" fmla="*/ 1243823 h 1522526"/>
                <a:gd name="connsiteX23" fmla="*/ 992965 w 1490589"/>
                <a:gd name="connsiteY23" fmla="*/ 998817 h 1522526"/>
                <a:gd name="connsiteX24" fmla="*/ 856178 w 1490589"/>
                <a:gd name="connsiteY24" fmla="*/ 852696 h 1522526"/>
                <a:gd name="connsiteX25" fmla="*/ 851682 w 1490589"/>
                <a:gd name="connsiteY25" fmla="*/ 923321 h 1522526"/>
                <a:gd name="connsiteX26" fmla="*/ 959840 w 1490589"/>
                <a:gd name="connsiteY26" fmla="*/ 978198 h 1522526"/>
                <a:gd name="connsiteX27" fmla="*/ 885437 w 1490589"/>
                <a:gd name="connsiteY27" fmla="*/ 1177148 h 1522526"/>
                <a:gd name="connsiteX28" fmla="*/ 747325 w 1490589"/>
                <a:gd name="connsiteY28" fmla="*/ 1341455 h 1522526"/>
                <a:gd name="connsiteX29" fmla="*/ 556825 w 1490589"/>
                <a:gd name="connsiteY29" fmla="*/ 1191436 h 1522526"/>
                <a:gd name="connsiteX30" fmla="*/ 439913 w 1490589"/>
                <a:gd name="connsiteY30" fmla="*/ 1004825 h 1522526"/>
                <a:gd name="connsiteX31" fmla="*/ 551936 w 1490589"/>
                <a:gd name="connsiteY31" fmla="*/ 931359 h 1522526"/>
                <a:gd name="connsiteX32" fmla="*/ 550504 w 1490589"/>
                <a:gd name="connsiteY32" fmla="*/ 858311 h 1522526"/>
                <a:gd name="connsiteX33" fmla="*/ 621119 w 1490589"/>
                <a:gd name="connsiteY33" fmla="*/ 900922 h 1522526"/>
                <a:gd name="connsiteX34" fmla="*/ 728276 w 1490589"/>
                <a:gd name="connsiteY34" fmla="*/ 915210 h 1522526"/>
                <a:gd name="connsiteX35" fmla="*/ 821144 w 1490589"/>
                <a:gd name="connsiteY35" fmla="*/ 874729 h 1522526"/>
                <a:gd name="connsiteX36" fmla="*/ 856178 w 1490589"/>
                <a:gd name="connsiteY36" fmla="*/ 852696 h 1522526"/>
                <a:gd name="connsiteX37" fmla="*/ 1041767 w 1490589"/>
                <a:gd name="connsiteY37" fmla="*/ 314309 h 1522526"/>
                <a:gd name="connsiteX38" fmla="*/ 1048139 w 1490589"/>
                <a:gd name="connsiteY38" fmla="*/ 320855 h 1522526"/>
                <a:gd name="connsiteX39" fmla="*/ 1074929 w 1490589"/>
                <a:gd name="connsiteY39" fmla="*/ 428013 h 1522526"/>
                <a:gd name="connsiteX40" fmla="*/ 1101718 w 1490589"/>
                <a:gd name="connsiteY40" fmla="*/ 569403 h 1522526"/>
                <a:gd name="connsiteX41" fmla="*/ 1110648 w 1490589"/>
                <a:gd name="connsiteY41" fmla="*/ 704839 h 1522526"/>
                <a:gd name="connsiteX42" fmla="*/ 1107671 w 1490589"/>
                <a:gd name="connsiteY42" fmla="*/ 789672 h 1522526"/>
                <a:gd name="connsiteX43" fmla="*/ 1082370 w 1490589"/>
                <a:gd name="connsiteY43" fmla="*/ 850693 h 1522526"/>
                <a:gd name="connsiteX44" fmla="*/ 1036232 w 1490589"/>
                <a:gd name="connsiteY44" fmla="*/ 859623 h 1522526"/>
                <a:gd name="connsiteX45" fmla="*/ 963305 w 1490589"/>
                <a:gd name="connsiteY45" fmla="*/ 853670 h 1522526"/>
                <a:gd name="connsiteX46" fmla="*/ 908238 w 1490589"/>
                <a:gd name="connsiteY46" fmla="*/ 834322 h 1522526"/>
                <a:gd name="connsiteX47" fmla="*/ 915679 w 1490589"/>
                <a:gd name="connsiteY47" fmla="*/ 813485 h 1522526"/>
                <a:gd name="connsiteX48" fmla="*/ 945445 w 1490589"/>
                <a:gd name="connsiteY48" fmla="*/ 773301 h 1522526"/>
                <a:gd name="connsiteX49" fmla="*/ 973724 w 1490589"/>
                <a:gd name="connsiteY49" fmla="*/ 704839 h 1522526"/>
                <a:gd name="connsiteX50" fmla="*/ 979677 w 1490589"/>
                <a:gd name="connsiteY50" fmla="*/ 675072 h 1522526"/>
                <a:gd name="connsiteX51" fmla="*/ 997536 w 1490589"/>
                <a:gd name="connsiteY51" fmla="*/ 655725 h 1522526"/>
                <a:gd name="connsiteX52" fmla="*/ 1022838 w 1490589"/>
                <a:gd name="connsiteY52" fmla="*/ 579821 h 1522526"/>
                <a:gd name="connsiteX53" fmla="*/ 1040697 w 1490589"/>
                <a:gd name="connsiteY53" fmla="*/ 499452 h 1522526"/>
                <a:gd name="connsiteX54" fmla="*/ 1042186 w 1490589"/>
                <a:gd name="connsiteY54" fmla="*/ 463733 h 1522526"/>
                <a:gd name="connsiteX55" fmla="*/ 1025814 w 1490589"/>
                <a:gd name="connsiteY55" fmla="*/ 430990 h 1522526"/>
                <a:gd name="connsiteX56" fmla="*/ 1009443 w 1490589"/>
                <a:gd name="connsiteY56" fmla="*/ 416107 h 1522526"/>
                <a:gd name="connsiteX57" fmla="*/ 1006466 w 1490589"/>
                <a:gd name="connsiteY57" fmla="*/ 386340 h 1522526"/>
                <a:gd name="connsiteX58" fmla="*/ 1009443 w 1490589"/>
                <a:gd name="connsiteY58" fmla="*/ 350621 h 1522526"/>
                <a:gd name="connsiteX59" fmla="*/ 1024326 w 1490589"/>
                <a:gd name="connsiteY59" fmla="*/ 328297 h 1522526"/>
                <a:gd name="connsiteX60" fmla="*/ 1041767 w 1490589"/>
                <a:gd name="connsiteY60" fmla="*/ 314309 h 1522526"/>
                <a:gd name="connsiteX61" fmla="*/ 616358 w 1490589"/>
                <a:gd name="connsiteY61" fmla="*/ 96060 h 1522526"/>
                <a:gd name="connsiteX62" fmla="*/ 509202 w 1490589"/>
                <a:gd name="connsiteY62" fmla="*/ 431816 h 1522526"/>
                <a:gd name="connsiteX63" fmla="*/ 654458 w 1490589"/>
                <a:gd name="connsiteY63" fmla="*/ 184165 h 1522526"/>
                <a:gd name="connsiteX64" fmla="*/ 616358 w 1490589"/>
                <a:gd name="connsiteY64" fmla="*/ 96060 h 1522526"/>
                <a:gd name="connsiteX65" fmla="*/ 651876 w 1490589"/>
                <a:gd name="connsiteY65" fmla="*/ 0 h 1522526"/>
                <a:gd name="connsiteX66" fmla="*/ 696401 w 1490589"/>
                <a:gd name="connsiteY66" fmla="*/ 372 h 1522526"/>
                <a:gd name="connsiteX67" fmla="*/ 757918 w 1490589"/>
                <a:gd name="connsiteY67" fmla="*/ 6326 h 1522526"/>
                <a:gd name="connsiteX68" fmla="*/ 829357 w 1490589"/>
                <a:gd name="connsiteY68" fmla="*/ 38076 h 1522526"/>
                <a:gd name="connsiteX69" fmla="*/ 910718 w 1490589"/>
                <a:gd name="connsiteY69" fmla="*/ 103562 h 1522526"/>
                <a:gd name="connsiteX70" fmla="*/ 1005970 w 1490589"/>
                <a:gd name="connsiteY70" fmla="*/ 216673 h 1522526"/>
                <a:gd name="connsiteX71" fmla="*/ 1041689 w 1490589"/>
                <a:gd name="connsiteY71" fmla="*/ 276206 h 1522526"/>
                <a:gd name="connsiteX72" fmla="*/ 1025814 w 1490589"/>
                <a:gd name="connsiteY72" fmla="*/ 313909 h 1522526"/>
                <a:gd name="connsiteX73" fmla="*/ 992079 w 1490589"/>
                <a:gd name="connsiteY73" fmla="*/ 331769 h 1522526"/>
                <a:gd name="connsiteX74" fmla="*/ 968266 w 1490589"/>
                <a:gd name="connsiteY74" fmla="*/ 311925 h 1522526"/>
                <a:gd name="connsiteX75" fmla="*/ 914687 w 1490589"/>
                <a:gd name="connsiteY75" fmla="*/ 256361 h 1522526"/>
                <a:gd name="connsiteX76" fmla="*/ 819435 w 1490589"/>
                <a:gd name="connsiteY76" fmla="*/ 210720 h 1522526"/>
                <a:gd name="connsiteX77" fmla="*/ 716246 w 1490589"/>
                <a:gd name="connsiteY77" fmla="*/ 210720 h 1522526"/>
                <a:gd name="connsiteX78" fmla="*/ 850617 w 1490589"/>
                <a:gd name="connsiteY78" fmla="*/ 240487 h 1522526"/>
                <a:gd name="connsiteX79" fmla="*/ 916103 w 1490589"/>
                <a:gd name="connsiteY79" fmla="*/ 279721 h 1522526"/>
                <a:gd name="connsiteX80" fmla="*/ 978269 w 1490589"/>
                <a:gd name="connsiteY80" fmla="*/ 344718 h 1522526"/>
                <a:gd name="connsiteX81" fmla="*/ 969452 w 1490589"/>
                <a:gd name="connsiteY81" fmla="*/ 378896 h 1522526"/>
                <a:gd name="connsiteX82" fmla="*/ 969452 w 1490589"/>
                <a:gd name="connsiteY82" fmla="*/ 451651 h 1522526"/>
                <a:gd name="connsiteX83" fmla="*/ 1003488 w 1490589"/>
                <a:gd name="connsiteY83" fmla="*/ 478628 h 1522526"/>
                <a:gd name="connsiteX84" fmla="*/ 967232 w 1490589"/>
                <a:gd name="connsiteY84" fmla="*/ 638035 h 1522526"/>
                <a:gd name="connsiteX85" fmla="*/ 946515 w 1490589"/>
                <a:gd name="connsiteY85" fmla="*/ 651932 h 1522526"/>
                <a:gd name="connsiteX86" fmla="*/ 838644 w 1490589"/>
                <a:gd name="connsiteY86" fmla="*/ 831290 h 1522526"/>
                <a:gd name="connsiteX87" fmla="*/ 749707 w 1490589"/>
                <a:gd name="connsiteY87" fmla="*/ 893779 h 1522526"/>
                <a:gd name="connsiteX88" fmla="*/ 663982 w 1490589"/>
                <a:gd name="connsiteY88" fmla="*/ 893779 h 1522526"/>
                <a:gd name="connsiteX89" fmla="*/ 542921 w 1490589"/>
                <a:gd name="connsiteY89" fmla="*/ 821966 h 1522526"/>
                <a:gd name="connsiteX90" fmla="*/ 450782 w 1490589"/>
                <a:gd name="connsiteY90" fmla="*/ 643758 h 1522526"/>
                <a:gd name="connsiteX91" fmla="*/ 390111 w 1490589"/>
                <a:gd name="connsiteY91" fmla="*/ 503970 h 1522526"/>
                <a:gd name="connsiteX92" fmla="*/ 413787 w 1490589"/>
                <a:gd name="connsiteY92" fmla="*/ 464730 h 1522526"/>
                <a:gd name="connsiteX93" fmla="*/ 402973 w 1490589"/>
                <a:gd name="connsiteY93" fmla="*/ 399317 h 1522526"/>
                <a:gd name="connsiteX94" fmla="*/ 376911 w 1490589"/>
                <a:gd name="connsiteY94" fmla="*/ 419083 h 1522526"/>
                <a:gd name="connsiteX95" fmla="*/ 361036 w 1490589"/>
                <a:gd name="connsiteY95" fmla="*/ 438927 h 1522526"/>
                <a:gd name="connsiteX96" fmla="*/ 347145 w 1490589"/>
                <a:gd name="connsiteY96" fmla="*/ 476631 h 1522526"/>
                <a:gd name="connsiteX97" fmla="*/ 353098 w 1490589"/>
                <a:gd name="connsiteY97" fmla="*/ 514335 h 1522526"/>
                <a:gd name="connsiteX98" fmla="*/ 363020 w 1490589"/>
                <a:gd name="connsiteY98" fmla="*/ 571883 h 1522526"/>
                <a:gd name="connsiteX99" fmla="*/ 386833 w 1490589"/>
                <a:gd name="connsiteY99" fmla="*/ 665150 h 1522526"/>
                <a:gd name="connsiteX100" fmla="*/ 412630 w 1490589"/>
                <a:gd name="connsiteY100" fmla="*/ 686979 h 1522526"/>
                <a:gd name="connsiteX101" fmla="*/ 428506 w 1490589"/>
                <a:gd name="connsiteY101" fmla="*/ 728652 h 1522526"/>
                <a:gd name="connsiteX102" fmla="*/ 466210 w 1490589"/>
                <a:gd name="connsiteY102" fmla="*/ 802075 h 1522526"/>
                <a:gd name="connsiteX103" fmla="*/ 482085 w 1490589"/>
                <a:gd name="connsiteY103" fmla="*/ 847716 h 1522526"/>
                <a:gd name="connsiteX104" fmla="*/ 438428 w 1490589"/>
                <a:gd name="connsiteY104" fmla="*/ 859623 h 1522526"/>
                <a:gd name="connsiteX105" fmla="*/ 374927 w 1490589"/>
                <a:gd name="connsiteY105" fmla="*/ 867560 h 1522526"/>
                <a:gd name="connsiteX106" fmla="*/ 317379 w 1490589"/>
                <a:gd name="connsiteY106" fmla="*/ 853670 h 1522526"/>
                <a:gd name="connsiteX107" fmla="*/ 291581 w 1490589"/>
                <a:gd name="connsiteY107" fmla="*/ 810012 h 1522526"/>
                <a:gd name="connsiteX108" fmla="*/ 279675 w 1490589"/>
                <a:gd name="connsiteY108" fmla="*/ 732620 h 1522526"/>
                <a:gd name="connsiteX109" fmla="*/ 283644 w 1490589"/>
                <a:gd name="connsiteY109" fmla="*/ 631415 h 1522526"/>
                <a:gd name="connsiteX110" fmla="*/ 315394 w 1490589"/>
                <a:gd name="connsiteY110" fmla="*/ 415114 h 1522526"/>
                <a:gd name="connsiteX111" fmla="*/ 388817 w 1490589"/>
                <a:gd name="connsiteY111" fmla="*/ 194845 h 1522526"/>
                <a:gd name="connsiteX112" fmla="*/ 450334 w 1490589"/>
                <a:gd name="connsiteY112" fmla="*/ 93640 h 1522526"/>
                <a:gd name="connsiteX113" fmla="*/ 509867 w 1490589"/>
                <a:gd name="connsiteY113" fmla="*/ 44029 h 1522526"/>
                <a:gd name="connsiteX114" fmla="*/ 563446 w 1490589"/>
                <a:gd name="connsiteY114" fmla="*/ 36092 h 1522526"/>
                <a:gd name="connsiteX115" fmla="*/ 609087 w 1490589"/>
                <a:gd name="connsiteY115" fmla="*/ 4341 h 1522526"/>
                <a:gd name="connsiteX116" fmla="*/ 651876 w 1490589"/>
                <a:gd name="connsiteY116" fmla="*/ 0 h 1522526"/>
                <a:gd name="connsiteX0" fmla="*/ 992965 w 1491247"/>
                <a:gd name="connsiteY0" fmla="*/ 998817 h 1522526"/>
                <a:gd name="connsiteX1" fmla="*/ 1003490 w 1491247"/>
                <a:gd name="connsiteY1" fmla="*/ 1002500 h 1522526"/>
                <a:gd name="connsiteX2" fmla="*/ 1110648 w 1491247"/>
                <a:gd name="connsiteY2" fmla="*/ 1036732 h 1522526"/>
                <a:gd name="connsiteX3" fmla="*/ 1319904 w 1491247"/>
                <a:gd name="connsiteY3" fmla="*/ 1106981 h 1522526"/>
                <a:gd name="connsiteX4" fmla="*/ 1387472 w 1491247"/>
                <a:gd name="connsiteY4" fmla="*/ 1185265 h 1522526"/>
                <a:gd name="connsiteX5" fmla="*/ 1487186 w 1491247"/>
                <a:gd name="connsiteY5" fmla="*/ 1448990 h 1522526"/>
                <a:gd name="connsiteX6" fmla="*/ 1177029 w 1491247"/>
                <a:gd name="connsiteY6" fmla="*/ 1493045 h 1522526"/>
                <a:gd name="connsiteX7" fmla="*/ 1132974 w 1491247"/>
                <a:gd name="connsiteY7" fmla="*/ 1439469 h 1522526"/>
                <a:gd name="connsiteX8" fmla="*/ 1151130 w 1491247"/>
                <a:gd name="connsiteY8" fmla="*/ 1492451 h 1522526"/>
                <a:gd name="connsiteX9" fmla="*/ 267073 w 1491247"/>
                <a:gd name="connsiteY9" fmla="*/ 1497214 h 1522526"/>
                <a:gd name="connsiteX10" fmla="*/ 250922 w 1491247"/>
                <a:gd name="connsiteY10" fmla="*/ 1492951 h 1522526"/>
                <a:gd name="connsiteX11" fmla="*/ 273457 w 1491247"/>
                <a:gd name="connsiteY11" fmla="*/ 1446229 h 1522526"/>
                <a:gd name="connsiteX12" fmla="*/ 221069 w 1491247"/>
                <a:gd name="connsiteY12" fmla="*/ 1493854 h 1522526"/>
                <a:gd name="connsiteX13" fmla="*/ 668 w 1491247"/>
                <a:gd name="connsiteY13" fmla="*/ 1482327 h 1522526"/>
                <a:gd name="connsiteX14" fmla="*/ 61391 w 1491247"/>
                <a:gd name="connsiteY14" fmla="*/ 1223961 h 1522526"/>
                <a:gd name="connsiteX15" fmla="*/ 92644 w 1491247"/>
                <a:gd name="connsiteY15" fmla="*/ 1157285 h 1522526"/>
                <a:gd name="connsiteX16" fmla="*/ 153665 w 1491247"/>
                <a:gd name="connsiteY16" fmla="*/ 1120077 h 1522526"/>
                <a:gd name="connsiteX17" fmla="*/ 251893 w 1491247"/>
                <a:gd name="connsiteY17" fmla="*/ 1078404 h 1522526"/>
                <a:gd name="connsiteX18" fmla="*/ 376911 w 1491247"/>
                <a:gd name="connsiteY18" fmla="*/ 1029290 h 1522526"/>
                <a:gd name="connsiteX19" fmla="*/ 410479 w 1491247"/>
                <a:gd name="connsiteY19" fmla="*/ 1016502 h 1522526"/>
                <a:gd name="connsiteX20" fmla="*/ 592543 w 1491247"/>
                <a:gd name="connsiteY20" fmla="*/ 1272398 h 1522526"/>
                <a:gd name="connsiteX21" fmla="*/ 763993 w 1491247"/>
                <a:gd name="connsiteY21" fmla="*/ 1379555 h 1522526"/>
                <a:gd name="connsiteX22" fmla="*/ 883056 w 1491247"/>
                <a:gd name="connsiteY22" fmla="*/ 1243823 h 1522526"/>
                <a:gd name="connsiteX23" fmla="*/ 992965 w 1491247"/>
                <a:gd name="connsiteY23" fmla="*/ 998817 h 1522526"/>
                <a:gd name="connsiteX24" fmla="*/ 856178 w 1491247"/>
                <a:gd name="connsiteY24" fmla="*/ 852696 h 1522526"/>
                <a:gd name="connsiteX25" fmla="*/ 851682 w 1491247"/>
                <a:gd name="connsiteY25" fmla="*/ 923321 h 1522526"/>
                <a:gd name="connsiteX26" fmla="*/ 959840 w 1491247"/>
                <a:gd name="connsiteY26" fmla="*/ 978198 h 1522526"/>
                <a:gd name="connsiteX27" fmla="*/ 885437 w 1491247"/>
                <a:gd name="connsiteY27" fmla="*/ 1177148 h 1522526"/>
                <a:gd name="connsiteX28" fmla="*/ 747325 w 1491247"/>
                <a:gd name="connsiteY28" fmla="*/ 1341455 h 1522526"/>
                <a:gd name="connsiteX29" fmla="*/ 556825 w 1491247"/>
                <a:gd name="connsiteY29" fmla="*/ 1191436 h 1522526"/>
                <a:gd name="connsiteX30" fmla="*/ 439913 w 1491247"/>
                <a:gd name="connsiteY30" fmla="*/ 1004825 h 1522526"/>
                <a:gd name="connsiteX31" fmla="*/ 551936 w 1491247"/>
                <a:gd name="connsiteY31" fmla="*/ 931359 h 1522526"/>
                <a:gd name="connsiteX32" fmla="*/ 550504 w 1491247"/>
                <a:gd name="connsiteY32" fmla="*/ 858311 h 1522526"/>
                <a:gd name="connsiteX33" fmla="*/ 621119 w 1491247"/>
                <a:gd name="connsiteY33" fmla="*/ 900922 h 1522526"/>
                <a:gd name="connsiteX34" fmla="*/ 728276 w 1491247"/>
                <a:gd name="connsiteY34" fmla="*/ 915210 h 1522526"/>
                <a:gd name="connsiteX35" fmla="*/ 821144 w 1491247"/>
                <a:gd name="connsiteY35" fmla="*/ 874729 h 1522526"/>
                <a:gd name="connsiteX36" fmla="*/ 856178 w 1491247"/>
                <a:gd name="connsiteY36" fmla="*/ 852696 h 1522526"/>
                <a:gd name="connsiteX37" fmla="*/ 1041767 w 1491247"/>
                <a:gd name="connsiteY37" fmla="*/ 314309 h 1522526"/>
                <a:gd name="connsiteX38" fmla="*/ 1048139 w 1491247"/>
                <a:gd name="connsiteY38" fmla="*/ 320855 h 1522526"/>
                <a:gd name="connsiteX39" fmla="*/ 1074929 w 1491247"/>
                <a:gd name="connsiteY39" fmla="*/ 428013 h 1522526"/>
                <a:gd name="connsiteX40" fmla="*/ 1101718 w 1491247"/>
                <a:gd name="connsiteY40" fmla="*/ 569403 h 1522526"/>
                <a:gd name="connsiteX41" fmla="*/ 1110648 w 1491247"/>
                <a:gd name="connsiteY41" fmla="*/ 704839 h 1522526"/>
                <a:gd name="connsiteX42" fmla="*/ 1107671 w 1491247"/>
                <a:gd name="connsiteY42" fmla="*/ 789672 h 1522526"/>
                <a:gd name="connsiteX43" fmla="*/ 1082370 w 1491247"/>
                <a:gd name="connsiteY43" fmla="*/ 850693 h 1522526"/>
                <a:gd name="connsiteX44" fmla="*/ 1036232 w 1491247"/>
                <a:gd name="connsiteY44" fmla="*/ 859623 h 1522526"/>
                <a:gd name="connsiteX45" fmla="*/ 963305 w 1491247"/>
                <a:gd name="connsiteY45" fmla="*/ 853670 h 1522526"/>
                <a:gd name="connsiteX46" fmla="*/ 908238 w 1491247"/>
                <a:gd name="connsiteY46" fmla="*/ 834322 h 1522526"/>
                <a:gd name="connsiteX47" fmla="*/ 915679 w 1491247"/>
                <a:gd name="connsiteY47" fmla="*/ 813485 h 1522526"/>
                <a:gd name="connsiteX48" fmla="*/ 945445 w 1491247"/>
                <a:gd name="connsiteY48" fmla="*/ 773301 h 1522526"/>
                <a:gd name="connsiteX49" fmla="*/ 973724 w 1491247"/>
                <a:gd name="connsiteY49" fmla="*/ 704839 h 1522526"/>
                <a:gd name="connsiteX50" fmla="*/ 979677 w 1491247"/>
                <a:gd name="connsiteY50" fmla="*/ 675072 h 1522526"/>
                <a:gd name="connsiteX51" fmla="*/ 997536 w 1491247"/>
                <a:gd name="connsiteY51" fmla="*/ 655725 h 1522526"/>
                <a:gd name="connsiteX52" fmla="*/ 1022838 w 1491247"/>
                <a:gd name="connsiteY52" fmla="*/ 579821 h 1522526"/>
                <a:gd name="connsiteX53" fmla="*/ 1040697 w 1491247"/>
                <a:gd name="connsiteY53" fmla="*/ 499452 h 1522526"/>
                <a:gd name="connsiteX54" fmla="*/ 1042186 w 1491247"/>
                <a:gd name="connsiteY54" fmla="*/ 463733 h 1522526"/>
                <a:gd name="connsiteX55" fmla="*/ 1025814 w 1491247"/>
                <a:gd name="connsiteY55" fmla="*/ 430990 h 1522526"/>
                <a:gd name="connsiteX56" fmla="*/ 1009443 w 1491247"/>
                <a:gd name="connsiteY56" fmla="*/ 416107 h 1522526"/>
                <a:gd name="connsiteX57" fmla="*/ 1006466 w 1491247"/>
                <a:gd name="connsiteY57" fmla="*/ 386340 h 1522526"/>
                <a:gd name="connsiteX58" fmla="*/ 1009443 w 1491247"/>
                <a:gd name="connsiteY58" fmla="*/ 350621 h 1522526"/>
                <a:gd name="connsiteX59" fmla="*/ 1024326 w 1491247"/>
                <a:gd name="connsiteY59" fmla="*/ 328297 h 1522526"/>
                <a:gd name="connsiteX60" fmla="*/ 1041767 w 1491247"/>
                <a:gd name="connsiteY60" fmla="*/ 314309 h 1522526"/>
                <a:gd name="connsiteX61" fmla="*/ 616358 w 1491247"/>
                <a:gd name="connsiteY61" fmla="*/ 96060 h 1522526"/>
                <a:gd name="connsiteX62" fmla="*/ 509202 w 1491247"/>
                <a:gd name="connsiteY62" fmla="*/ 431816 h 1522526"/>
                <a:gd name="connsiteX63" fmla="*/ 654458 w 1491247"/>
                <a:gd name="connsiteY63" fmla="*/ 184165 h 1522526"/>
                <a:gd name="connsiteX64" fmla="*/ 616358 w 1491247"/>
                <a:gd name="connsiteY64" fmla="*/ 96060 h 1522526"/>
                <a:gd name="connsiteX65" fmla="*/ 651876 w 1491247"/>
                <a:gd name="connsiteY65" fmla="*/ 0 h 1522526"/>
                <a:gd name="connsiteX66" fmla="*/ 696401 w 1491247"/>
                <a:gd name="connsiteY66" fmla="*/ 372 h 1522526"/>
                <a:gd name="connsiteX67" fmla="*/ 757918 w 1491247"/>
                <a:gd name="connsiteY67" fmla="*/ 6326 h 1522526"/>
                <a:gd name="connsiteX68" fmla="*/ 829357 w 1491247"/>
                <a:gd name="connsiteY68" fmla="*/ 38076 h 1522526"/>
                <a:gd name="connsiteX69" fmla="*/ 910718 w 1491247"/>
                <a:gd name="connsiteY69" fmla="*/ 103562 h 1522526"/>
                <a:gd name="connsiteX70" fmla="*/ 1005970 w 1491247"/>
                <a:gd name="connsiteY70" fmla="*/ 216673 h 1522526"/>
                <a:gd name="connsiteX71" fmla="*/ 1041689 w 1491247"/>
                <a:gd name="connsiteY71" fmla="*/ 276206 h 1522526"/>
                <a:gd name="connsiteX72" fmla="*/ 1025814 w 1491247"/>
                <a:gd name="connsiteY72" fmla="*/ 313909 h 1522526"/>
                <a:gd name="connsiteX73" fmla="*/ 992079 w 1491247"/>
                <a:gd name="connsiteY73" fmla="*/ 331769 h 1522526"/>
                <a:gd name="connsiteX74" fmla="*/ 968266 w 1491247"/>
                <a:gd name="connsiteY74" fmla="*/ 311925 h 1522526"/>
                <a:gd name="connsiteX75" fmla="*/ 914687 w 1491247"/>
                <a:gd name="connsiteY75" fmla="*/ 256361 h 1522526"/>
                <a:gd name="connsiteX76" fmla="*/ 819435 w 1491247"/>
                <a:gd name="connsiteY76" fmla="*/ 210720 h 1522526"/>
                <a:gd name="connsiteX77" fmla="*/ 716246 w 1491247"/>
                <a:gd name="connsiteY77" fmla="*/ 210720 h 1522526"/>
                <a:gd name="connsiteX78" fmla="*/ 850617 w 1491247"/>
                <a:gd name="connsiteY78" fmla="*/ 240487 h 1522526"/>
                <a:gd name="connsiteX79" fmla="*/ 916103 w 1491247"/>
                <a:gd name="connsiteY79" fmla="*/ 279721 h 1522526"/>
                <a:gd name="connsiteX80" fmla="*/ 978269 w 1491247"/>
                <a:gd name="connsiteY80" fmla="*/ 344718 h 1522526"/>
                <a:gd name="connsiteX81" fmla="*/ 969452 w 1491247"/>
                <a:gd name="connsiteY81" fmla="*/ 378896 h 1522526"/>
                <a:gd name="connsiteX82" fmla="*/ 969452 w 1491247"/>
                <a:gd name="connsiteY82" fmla="*/ 451651 h 1522526"/>
                <a:gd name="connsiteX83" fmla="*/ 1003488 w 1491247"/>
                <a:gd name="connsiteY83" fmla="*/ 478628 h 1522526"/>
                <a:gd name="connsiteX84" fmla="*/ 967232 w 1491247"/>
                <a:gd name="connsiteY84" fmla="*/ 638035 h 1522526"/>
                <a:gd name="connsiteX85" fmla="*/ 946515 w 1491247"/>
                <a:gd name="connsiteY85" fmla="*/ 651932 h 1522526"/>
                <a:gd name="connsiteX86" fmla="*/ 838644 w 1491247"/>
                <a:gd name="connsiteY86" fmla="*/ 831290 h 1522526"/>
                <a:gd name="connsiteX87" fmla="*/ 749707 w 1491247"/>
                <a:gd name="connsiteY87" fmla="*/ 893779 h 1522526"/>
                <a:gd name="connsiteX88" fmla="*/ 663982 w 1491247"/>
                <a:gd name="connsiteY88" fmla="*/ 893779 h 1522526"/>
                <a:gd name="connsiteX89" fmla="*/ 542921 w 1491247"/>
                <a:gd name="connsiteY89" fmla="*/ 821966 h 1522526"/>
                <a:gd name="connsiteX90" fmla="*/ 450782 w 1491247"/>
                <a:gd name="connsiteY90" fmla="*/ 643758 h 1522526"/>
                <a:gd name="connsiteX91" fmla="*/ 390111 w 1491247"/>
                <a:gd name="connsiteY91" fmla="*/ 503970 h 1522526"/>
                <a:gd name="connsiteX92" fmla="*/ 413787 w 1491247"/>
                <a:gd name="connsiteY92" fmla="*/ 464730 h 1522526"/>
                <a:gd name="connsiteX93" fmla="*/ 402973 w 1491247"/>
                <a:gd name="connsiteY93" fmla="*/ 399317 h 1522526"/>
                <a:gd name="connsiteX94" fmla="*/ 376911 w 1491247"/>
                <a:gd name="connsiteY94" fmla="*/ 419083 h 1522526"/>
                <a:gd name="connsiteX95" fmla="*/ 361036 w 1491247"/>
                <a:gd name="connsiteY95" fmla="*/ 438927 h 1522526"/>
                <a:gd name="connsiteX96" fmla="*/ 347145 w 1491247"/>
                <a:gd name="connsiteY96" fmla="*/ 476631 h 1522526"/>
                <a:gd name="connsiteX97" fmla="*/ 353098 w 1491247"/>
                <a:gd name="connsiteY97" fmla="*/ 514335 h 1522526"/>
                <a:gd name="connsiteX98" fmla="*/ 363020 w 1491247"/>
                <a:gd name="connsiteY98" fmla="*/ 571883 h 1522526"/>
                <a:gd name="connsiteX99" fmla="*/ 386833 w 1491247"/>
                <a:gd name="connsiteY99" fmla="*/ 665150 h 1522526"/>
                <a:gd name="connsiteX100" fmla="*/ 412630 w 1491247"/>
                <a:gd name="connsiteY100" fmla="*/ 686979 h 1522526"/>
                <a:gd name="connsiteX101" fmla="*/ 428506 w 1491247"/>
                <a:gd name="connsiteY101" fmla="*/ 728652 h 1522526"/>
                <a:gd name="connsiteX102" fmla="*/ 466210 w 1491247"/>
                <a:gd name="connsiteY102" fmla="*/ 802075 h 1522526"/>
                <a:gd name="connsiteX103" fmla="*/ 482085 w 1491247"/>
                <a:gd name="connsiteY103" fmla="*/ 847716 h 1522526"/>
                <a:gd name="connsiteX104" fmla="*/ 438428 w 1491247"/>
                <a:gd name="connsiteY104" fmla="*/ 859623 h 1522526"/>
                <a:gd name="connsiteX105" fmla="*/ 374927 w 1491247"/>
                <a:gd name="connsiteY105" fmla="*/ 867560 h 1522526"/>
                <a:gd name="connsiteX106" fmla="*/ 317379 w 1491247"/>
                <a:gd name="connsiteY106" fmla="*/ 853670 h 1522526"/>
                <a:gd name="connsiteX107" fmla="*/ 291581 w 1491247"/>
                <a:gd name="connsiteY107" fmla="*/ 810012 h 1522526"/>
                <a:gd name="connsiteX108" fmla="*/ 279675 w 1491247"/>
                <a:gd name="connsiteY108" fmla="*/ 732620 h 1522526"/>
                <a:gd name="connsiteX109" fmla="*/ 283644 w 1491247"/>
                <a:gd name="connsiteY109" fmla="*/ 631415 h 1522526"/>
                <a:gd name="connsiteX110" fmla="*/ 315394 w 1491247"/>
                <a:gd name="connsiteY110" fmla="*/ 415114 h 1522526"/>
                <a:gd name="connsiteX111" fmla="*/ 388817 w 1491247"/>
                <a:gd name="connsiteY111" fmla="*/ 194845 h 1522526"/>
                <a:gd name="connsiteX112" fmla="*/ 450334 w 1491247"/>
                <a:gd name="connsiteY112" fmla="*/ 93640 h 1522526"/>
                <a:gd name="connsiteX113" fmla="*/ 509867 w 1491247"/>
                <a:gd name="connsiteY113" fmla="*/ 44029 h 1522526"/>
                <a:gd name="connsiteX114" fmla="*/ 563446 w 1491247"/>
                <a:gd name="connsiteY114" fmla="*/ 36092 h 1522526"/>
                <a:gd name="connsiteX115" fmla="*/ 609087 w 1491247"/>
                <a:gd name="connsiteY115" fmla="*/ 4341 h 1522526"/>
                <a:gd name="connsiteX116" fmla="*/ 651876 w 1491247"/>
                <a:gd name="connsiteY116"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319904 w 1487186"/>
                <a:gd name="connsiteY3" fmla="*/ 1106981 h 1522526"/>
                <a:gd name="connsiteX4" fmla="*/ 1387472 w 1487186"/>
                <a:gd name="connsiteY4" fmla="*/ 1185265 h 1522526"/>
                <a:gd name="connsiteX5" fmla="*/ 1487186 w 1487186"/>
                <a:gd name="connsiteY5" fmla="*/ 1448990 h 1522526"/>
                <a:gd name="connsiteX6" fmla="*/ 1177029 w 1487186"/>
                <a:gd name="connsiteY6" fmla="*/ 1493045 h 1522526"/>
                <a:gd name="connsiteX7" fmla="*/ 1132974 w 1487186"/>
                <a:gd name="connsiteY7" fmla="*/ 1439469 h 1522526"/>
                <a:gd name="connsiteX8" fmla="*/ 1151130 w 1487186"/>
                <a:gd name="connsiteY8" fmla="*/ 1492451 h 1522526"/>
                <a:gd name="connsiteX9" fmla="*/ 267073 w 1487186"/>
                <a:gd name="connsiteY9" fmla="*/ 1497214 h 1522526"/>
                <a:gd name="connsiteX10" fmla="*/ 250922 w 1487186"/>
                <a:gd name="connsiteY10" fmla="*/ 1492951 h 1522526"/>
                <a:gd name="connsiteX11" fmla="*/ 273457 w 1487186"/>
                <a:gd name="connsiteY11" fmla="*/ 1446229 h 1522526"/>
                <a:gd name="connsiteX12" fmla="*/ 221069 w 1487186"/>
                <a:gd name="connsiteY12" fmla="*/ 1493854 h 1522526"/>
                <a:gd name="connsiteX13" fmla="*/ 668 w 1487186"/>
                <a:gd name="connsiteY13" fmla="*/ 1482327 h 1522526"/>
                <a:gd name="connsiteX14" fmla="*/ 61391 w 1487186"/>
                <a:gd name="connsiteY14" fmla="*/ 1223961 h 1522526"/>
                <a:gd name="connsiteX15" fmla="*/ 92644 w 1487186"/>
                <a:gd name="connsiteY15" fmla="*/ 1157285 h 1522526"/>
                <a:gd name="connsiteX16" fmla="*/ 153665 w 1487186"/>
                <a:gd name="connsiteY16" fmla="*/ 1120077 h 1522526"/>
                <a:gd name="connsiteX17" fmla="*/ 251893 w 1487186"/>
                <a:gd name="connsiteY17" fmla="*/ 1078404 h 1522526"/>
                <a:gd name="connsiteX18" fmla="*/ 376911 w 1487186"/>
                <a:gd name="connsiteY18" fmla="*/ 1029290 h 1522526"/>
                <a:gd name="connsiteX19" fmla="*/ 410479 w 1487186"/>
                <a:gd name="connsiteY19" fmla="*/ 1016502 h 1522526"/>
                <a:gd name="connsiteX20" fmla="*/ 592543 w 1487186"/>
                <a:gd name="connsiteY20" fmla="*/ 1272398 h 1522526"/>
                <a:gd name="connsiteX21" fmla="*/ 763993 w 1487186"/>
                <a:gd name="connsiteY21" fmla="*/ 1379555 h 1522526"/>
                <a:gd name="connsiteX22" fmla="*/ 883056 w 1487186"/>
                <a:gd name="connsiteY22" fmla="*/ 1243823 h 1522526"/>
                <a:gd name="connsiteX23" fmla="*/ 992965 w 1487186"/>
                <a:gd name="connsiteY23" fmla="*/ 998817 h 1522526"/>
                <a:gd name="connsiteX24" fmla="*/ 856178 w 1487186"/>
                <a:gd name="connsiteY24" fmla="*/ 852696 h 1522526"/>
                <a:gd name="connsiteX25" fmla="*/ 851682 w 1487186"/>
                <a:gd name="connsiteY25" fmla="*/ 923321 h 1522526"/>
                <a:gd name="connsiteX26" fmla="*/ 959840 w 1487186"/>
                <a:gd name="connsiteY26" fmla="*/ 978198 h 1522526"/>
                <a:gd name="connsiteX27" fmla="*/ 885437 w 1487186"/>
                <a:gd name="connsiteY27" fmla="*/ 1177148 h 1522526"/>
                <a:gd name="connsiteX28" fmla="*/ 747325 w 1487186"/>
                <a:gd name="connsiteY28" fmla="*/ 1341455 h 1522526"/>
                <a:gd name="connsiteX29" fmla="*/ 556825 w 1487186"/>
                <a:gd name="connsiteY29" fmla="*/ 1191436 h 1522526"/>
                <a:gd name="connsiteX30" fmla="*/ 439913 w 1487186"/>
                <a:gd name="connsiteY30" fmla="*/ 1004825 h 1522526"/>
                <a:gd name="connsiteX31" fmla="*/ 551936 w 1487186"/>
                <a:gd name="connsiteY31" fmla="*/ 931359 h 1522526"/>
                <a:gd name="connsiteX32" fmla="*/ 550504 w 1487186"/>
                <a:gd name="connsiteY32" fmla="*/ 858311 h 1522526"/>
                <a:gd name="connsiteX33" fmla="*/ 621119 w 1487186"/>
                <a:gd name="connsiteY33" fmla="*/ 900922 h 1522526"/>
                <a:gd name="connsiteX34" fmla="*/ 728276 w 1487186"/>
                <a:gd name="connsiteY34" fmla="*/ 915210 h 1522526"/>
                <a:gd name="connsiteX35" fmla="*/ 821144 w 1487186"/>
                <a:gd name="connsiteY35" fmla="*/ 874729 h 1522526"/>
                <a:gd name="connsiteX36" fmla="*/ 856178 w 1487186"/>
                <a:gd name="connsiteY36" fmla="*/ 852696 h 1522526"/>
                <a:gd name="connsiteX37" fmla="*/ 1041767 w 1487186"/>
                <a:gd name="connsiteY37" fmla="*/ 314309 h 1522526"/>
                <a:gd name="connsiteX38" fmla="*/ 1048139 w 1487186"/>
                <a:gd name="connsiteY38" fmla="*/ 320855 h 1522526"/>
                <a:gd name="connsiteX39" fmla="*/ 1074929 w 1487186"/>
                <a:gd name="connsiteY39" fmla="*/ 428013 h 1522526"/>
                <a:gd name="connsiteX40" fmla="*/ 1101718 w 1487186"/>
                <a:gd name="connsiteY40" fmla="*/ 569403 h 1522526"/>
                <a:gd name="connsiteX41" fmla="*/ 1110648 w 1487186"/>
                <a:gd name="connsiteY41" fmla="*/ 704839 h 1522526"/>
                <a:gd name="connsiteX42" fmla="*/ 1107671 w 1487186"/>
                <a:gd name="connsiteY42" fmla="*/ 789672 h 1522526"/>
                <a:gd name="connsiteX43" fmla="*/ 1082370 w 1487186"/>
                <a:gd name="connsiteY43" fmla="*/ 850693 h 1522526"/>
                <a:gd name="connsiteX44" fmla="*/ 1036232 w 1487186"/>
                <a:gd name="connsiteY44" fmla="*/ 859623 h 1522526"/>
                <a:gd name="connsiteX45" fmla="*/ 963305 w 1487186"/>
                <a:gd name="connsiteY45" fmla="*/ 853670 h 1522526"/>
                <a:gd name="connsiteX46" fmla="*/ 908238 w 1487186"/>
                <a:gd name="connsiteY46" fmla="*/ 834322 h 1522526"/>
                <a:gd name="connsiteX47" fmla="*/ 915679 w 1487186"/>
                <a:gd name="connsiteY47" fmla="*/ 813485 h 1522526"/>
                <a:gd name="connsiteX48" fmla="*/ 945445 w 1487186"/>
                <a:gd name="connsiteY48" fmla="*/ 773301 h 1522526"/>
                <a:gd name="connsiteX49" fmla="*/ 973724 w 1487186"/>
                <a:gd name="connsiteY49" fmla="*/ 704839 h 1522526"/>
                <a:gd name="connsiteX50" fmla="*/ 979677 w 1487186"/>
                <a:gd name="connsiteY50" fmla="*/ 675072 h 1522526"/>
                <a:gd name="connsiteX51" fmla="*/ 997536 w 1487186"/>
                <a:gd name="connsiteY51" fmla="*/ 655725 h 1522526"/>
                <a:gd name="connsiteX52" fmla="*/ 1022838 w 1487186"/>
                <a:gd name="connsiteY52" fmla="*/ 579821 h 1522526"/>
                <a:gd name="connsiteX53" fmla="*/ 1040697 w 1487186"/>
                <a:gd name="connsiteY53" fmla="*/ 499452 h 1522526"/>
                <a:gd name="connsiteX54" fmla="*/ 1042186 w 1487186"/>
                <a:gd name="connsiteY54" fmla="*/ 463733 h 1522526"/>
                <a:gd name="connsiteX55" fmla="*/ 1025814 w 1487186"/>
                <a:gd name="connsiteY55" fmla="*/ 430990 h 1522526"/>
                <a:gd name="connsiteX56" fmla="*/ 1009443 w 1487186"/>
                <a:gd name="connsiteY56" fmla="*/ 416107 h 1522526"/>
                <a:gd name="connsiteX57" fmla="*/ 1006466 w 1487186"/>
                <a:gd name="connsiteY57" fmla="*/ 386340 h 1522526"/>
                <a:gd name="connsiteX58" fmla="*/ 1009443 w 1487186"/>
                <a:gd name="connsiteY58" fmla="*/ 350621 h 1522526"/>
                <a:gd name="connsiteX59" fmla="*/ 1024326 w 1487186"/>
                <a:gd name="connsiteY59" fmla="*/ 328297 h 1522526"/>
                <a:gd name="connsiteX60" fmla="*/ 1041767 w 1487186"/>
                <a:gd name="connsiteY60" fmla="*/ 314309 h 1522526"/>
                <a:gd name="connsiteX61" fmla="*/ 616358 w 1487186"/>
                <a:gd name="connsiteY61" fmla="*/ 96060 h 1522526"/>
                <a:gd name="connsiteX62" fmla="*/ 509202 w 1487186"/>
                <a:gd name="connsiteY62" fmla="*/ 431816 h 1522526"/>
                <a:gd name="connsiteX63" fmla="*/ 654458 w 1487186"/>
                <a:gd name="connsiteY63" fmla="*/ 184165 h 1522526"/>
                <a:gd name="connsiteX64" fmla="*/ 616358 w 1487186"/>
                <a:gd name="connsiteY64" fmla="*/ 96060 h 1522526"/>
                <a:gd name="connsiteX65" fmla="*/ 651876 w 1487186"/>
                <a:gd name="connsiteY65" fmla="*/ 0 h 1522526"/>
                <a:gd name="connsiteX66" fmla="*/ 696401 w 1487186"/>
                <a:gd name="connsiteY66" fmla="*/ 372 h 1522526"/>
                <a:gd name="connsiteX67" fmla="*/ 757918 w 1487186"/>
                <a:gd name="connsiteY67" fmla="*/ 6326 h 1522526"/>
                <a:gd name="connsiteX68" fmla="*/ 829357 w 1487186"/>
                <a:gd name="connsiteY68" fmla="*/ 38076 h 1522526"/>
                <a:gd name="connsiteX69" fmla="*/ 910718 w 1487186"/>
                <a:gd name="connsiteY69" fmla="*/ 103562 h 1522526"/>
                <a:gd name="connsiteX70" fmla="*/ 1005970 w 1487186"/>
                <a:gd name="connsiteY70" fmla="*/ 216673 h 1522526"/>
                <a:gd name="connsiteX71" fmla="*/ 1041689 w 1487186"/>
                <a:gd name="connsiteY71" fmla="*/ 276206 h 1522526"/>
                <a:gd name="connsiteX72" fmla="*/ 1025814 w 1487186"/>
                <a:gd name="connsiteY72" fmla="*/ 313909 h 1522526"/>
                <a:gd name="connsiteX73" fmla="*/ 992079 w 1487186"/>
                <a:gd name="connsiteY73" fmla="*/ 331769 h 1522526"/>
                <a:gd name="connsiteX74" fmla="*/ 968266 w 1487186"/>
                <a:gd name="connsiteY74" fmla="*/ 311925 h 1522526"/>
                <a:gd name="connsiteX75" fmla="*/ 914687 w 1487186"/>
                <a:gd name="connsiteY75" fmla="*/ 256361 h 1522526"/>
                <a:gd name="connsiteX76" fmla="*/ 819435 w 1487186"/>
                <a:gd name="connsiteY76" fmla="*/ 210720 h 1522526"/>
                <a:gd name="connsiteX77" fmla="*/ 716246 w 1487186"/>
                <a:gd name="connsiteY77" fmla="*/ 210720 h 1522526"/>
                <a:gd name="connsiteX78" fmla="*/ 850617 w 1487186"/>
                <a:gd name="connsiteY78" fmla="*/ 240487 h 1522526"/>
                <a:gd name="connsiteX79" fmla="*/ 916103 w 1487186"/>
                <a:gd name="connsiteY79" fmla="*/ 279721 h 1522526"/>
                <a:gd name="connsiteX80" fmla="*/ 978269 w 1487186"/>
                <a:gd name="connsiteY80" fmla="*/ 344718 h 1522526"/>
                <a:gd name="connsiteX81" fmla="*/ 969452 w 1487186"/>
                <a:gd name="connsiteY81" fmla="*/ 378896 h 1522526"/>
                <a:gd name="connsiteX82" fmla="*/ 969452 w 1487186"/>
                <a:gd name="connsiteY82" fmla="*/ 451651 h 1522526"/>
                <a:gd name="connsiteX83" fmla="*/ 1003488 w 1487186"/>
                <a:gd name="connsiteY83" fmla="*/ 478628 h 1522526"/>
                <a:gd name="connsiteX84" fmla="*/ 967232 w 1487186"/>
                <a:gd name="connsiteY84" fmla="*/ 638035 h 1522526"/>
                <a:gd name="connsiteX85" fmla="*/ 946515 w 1487186"/>
                <a:gd name="connsiteY85" fmla="*/ 651932 h 1522526"/>
                <a:gd name="connsiteX86" fmla="*/ 838644 w 1487186"/>
                <a:gd name="connsiteY86" fmla="*/ 831290 h 1522526"/>
                <a:gd name="connsiteX87" fmla="*/ 749707 w 1487186"/>
                <a:gd name="connsiteY87" fmla="*/ 893779 h 1522526"/>
                <a:gd name="connsiteX88" fmla="*/ 663982 w 1487186"/>
                <a:gd name="connsiteY88" fmla="*/ 893779 h 1522526"/>
                <a:gd name="connsiteX89" fmla="*/ 542921 w 1487186"/>
                <a:gd name="connsiteY89" fmla="*/ 821966 h 1522526"/>
                <a:gd name="connsiteX90" fmla="*/ 450782 w 1487186"/>
                <a:gd name="connsiteY90" fmla="*/ 643758 h 1522526"/>
                <a:gd name="connsiteX91" fmla="*/ 390111 w 1487186"/>
                <a:gd name="connsiteY91" fmla="*/ 503970 h 1522526"/>
                <a:gd name="connsiteX92" fmla="*/ 413787 w 1487186"/>
                <a:gd name="connsiteY92" fmla="*/ 464730 h 1522526"/>
                <a:gd name="connsiteX93" fmla="*/ 402973 w 1487186"/>
                <a:gd name="connsiteY93" fmla="*/ 399317 h 1522526"/>
                <a:gd name="connsiteX94" fmla="*/ 376911 w 1487186"/>
                <a:gd name="connsiteY94" fmla="*/ 419083 h 1522526"/>
                <a:gd name="connsiteX95" fmla="*/ 361036 w 1487186"/>
                <a:gd name="connsiteY95" fmla="*/ 438927 h 1522526"/>
                <a:gd name="connsiteX96" fmla="*/ 347145 w 1487186"/>
                <a:gd name="connsiteY96" fmla="*/ 476631 h 1522526"/>
                <a:gd name="connsiteX97" fmla="*/ 353098 w 1487186"/>
                <a:gd name="connsiteY97" fmla="*/ 514335 h 1522526"/>
                <a:gd name="connsiteX98" fmla="*/ 363020 w 1487186"/>
                <a:gd name="connsiteY98" fmla="*/ 571883 h 1522526"/>
                <a:gd name="connsiteX99" fmla="*/ 386833 w 1487186"/>
                <a:gd name="connsiteY99" fmla="*/ 665150 h 1522526"/>
                <a:gd name="connsiteX100" fmla="*/ 412630 w 1487186"/>
                <a:gd name="connsiteY100" fmla="*/ 686979 h 1522526"/>
                <a:gd name="connsiteX101" fmla="*/ 428506 w 1487186"/>
                <a:gd name="connsiteY101" fmla="*/ 728652 h 1522526"/>
                <a:gd name="connsiteX102" fmla="*/ 466210 w 1487186"/>
                <a:gd name="connsiteY102" fmla="*/ 802075 h 1522526"/>
                <a:gd name="connsiteX103" fmla="*/ 482085 w 1487186"/>
                <a:gd name="connsiteY103" fmla="*/ 847716 h 1522526"/>
                <a:gd name="connsiteX104" fmla="*/ 438428 w 1487186"/>
                <a:gd name="connsiteY104" fmla="*/ 859623 h 1522526"/>
                <a:gd name="connsiteX105" fmla="*/ 374927 w 1487186"/>
                <a:gd name="connsiteY105" fmla="*/ 867560 h 1522526"/>
                <a:gd name="connsiteX106" fmla="*/ 317379 w 1487186"/>
                <a:gd name="connsiteY106" fmla="*/ 853670 h 1522526"/>
                <a:gd name="connsiteX107" fmla="*/ 291581 w 1487186"/>
                <a:gd name="connsiteY107" fmla="*/ 810012 h 1522526"/>
                <a:gd name="connsiteX108" fmla="*/ 279675 w 1487186"/>
                <a:gd name="connsiteY108" fmla="*/ 732620 h 1522526"/>
                <a:gd name="connsiteX109" fmla="*/ 283644 w 1487186"/>
                <a:gd name="connsiteY109" fmla="*/ 631415 h 1522526"/>
                <a:gd name="connsiteX110" fmla="*/ 315394 w 1487186"/>
                <a:gd name="connsiteY110" fmla="*/ 415114 h 1522526"/>
                <a:gd name="connsiteX111" fmla="*/ 388817 w 1487186"/>
                <a:gd name="connsiteY111" fmla="*/ 194845 h 1522526"/>
                <a:gd name="connsiteX112" fmla="*/ 450334 w 1487186"/>
                <a:gd name="connsiteY112" fmla="*/ 93640 h 1522526"/>
                <a:gd name="connsiteX113" fmla="*/ 509867 w 1487186"/>
                <a:gd name="connsiteY113" fmla="*/ 44029 h 1522526"/>
                <a:gd name="connsiteX114" fmla="*/ 563446 w 1487186"/>
                <a:gd name="connsiteY114" fmla="*/ 36092 h 1522526"/>
                <a:gd name="connsiteX115" fmla="*/ 609087 w 1487186"/>
                <a:gd name="connsiteY115" fmla="*/ 4341 h 1522526"/>
                <a:gd name="connsiteX116" fmla="*/ 651876 w 1487186"/>
                <a:gd name="connsiteY116" fmla="*/ 0 h 1522526"/>
                <a:gd name="connsiteX0" fmla="*/ 1056847 w 1551068"/>
                <a:gd name="connsiteY0" fmla="*/ 998817 h 1522526"/>
                <a:gd name="connsiteX1" fmla="*/ 1067372 w 1551068"/>
                <a:gd name="connsiteY1" fmla="*/ 1002500 h 1522526"/>
                <a:gd name="connsiteX2" fmla="*/ 1174530 w 1551068"/>
                <a:gd name="connsiteY2" fmla="*/ 1036732 h 1522526"/>
                <a:gd name="connsiteX3" fmla="*/ 1383786 w 1551068"/>
                <a:gd name="connsiteY3" fmla="*/ 1106981 h 1522526"/>
                <a:gd name="connsiteX4" fmla="*/ 1451354 w 1551068"/>
                <a:gd name="connsiteY4" fmla="*/ 1185265 h 1522526"/>
                <a:gd name="connsiteX5" fmla="*/ 1551068 w 1551068"/>
                <a:gd name="connsiteY5" fmla="*/ 1448990 h 1522526"/>
                <a:gd name="connsiteX6" fmla="*/ 1240911 w 1551068"/>
                <a:gd name="connsiteY6" fmla="*/ 1493045 h 1522526"/>
                <a:gd name="connsiteX7" fmla="*/ 1196856 w 1551068"/>
                <a:gd name="connsiteY7" fmla="*/ 1439469 h 1522526"/>
                <a:gd name="connsiteX8" fmla="*/ 1215012 w 1551068"/>
                <a:gd name="connsiteY8" fmla="*/ 1492451 h 1522526"/>
                <a:gd name="connsiteX9" fmla="*/ 330955 w 1551068"/>
                <a:gd name="connsiteY9" fmla="*/ 1497214 h 1522526"/>
                <a:gd name="connsiteX10" fmla="*/ 314804 w 1551068"/>
                <a:gd name="connsiteY10" fmla="*/ 1492951 h 1522526"/>
                <a:gd name="connsiteX11" fmla="*/ 337339 w 1551068"/>
                <a:gd name="connsiteY11" fmla="*/ 1446229 h 1522526"/>
                <a:gd name="connsiteX12" fmla="*/ 284951 w 1551068"/>
                <a:gd name="connsiteY12" fmla="*/ 1493854 h 1522526"/>
                <a:gd name="connsiteX13" fmla="*/ 256 w 1551068"/>
                <a:gd name="connsiteY13" fmla="*/ 1482327 h 1522526"/>
                <a:gd name="connsiteX14" fmla="*/ 125273 w 1551068"/>
                <a:gd name="connsiteY14" fmla="*/ 1223961 h 1522526"/>
                <a:gd name="connsiteX15" fmla="*/ 156526 w 1551068"/>
                <a:gd name="connsiteY15" fmla="*/ 1157285 h 1522526"/>
                <a:gd name="connsiteX16" fmla="*/ 217547 w 1551068"/>
                <a:gd name="connsiteY16" fmla="*/ 1120077 h 1522526"/>
                <a:gd name="connsiteX17" fmla="*/ 315775 w 1551068"/>
                <a:gd name="connsiteY17" fmla="*/ 1078404 h 1522526"/>
                <a:gd name="connsiteX18" fmla="*/ 440793 w 1551068"/>
                <a:gd name="connsiteY18" fmla="*/ 1029290 h 1522526"/>
                <a:gd name="connsiteX19" fmla="*/ 474361 w 1551068"/>
                <a:gd name="connsiteY19" fmla="*/ 1016502 h 1522526"/>
                <a:gd name="connsiteX20" fmla="*/ 656425 w 1551068"/>
                <a:gd name="connsiteY20" fmla="*/ 1272398 h 1522526"/>
                <a:gd name="connsiteX21" fmla="*/ 827875 w 1551068"/>
                <a:gd name="connsiteY21" fmla="*/ 1379555 h 1522526"/>
                <a:gd name="connsiteX22" fmla="*/ 946938 w 1551068"/>
                <a:gd name="connsiteY22" fmla="*/ 1243823 h 1522526"/>
                <a:gd name="connsiteX23" fmla="*/ 1056847 w 1551068"/>
                <a:gd name="connsiteY23" fmla="*/ 998817 h 1522526"/>
                <a:gd name="connsiteX24" fmla="*/ 920060 w 1551068"/>
                <a:gd name="connsiteY24" fmla="*/ 852696 h 1522526"/>
                <a:gd name="connsiteX25" fmla="*/ 915564 w 1551068"/>
                <a:gd name="connsiteY25" fmla="*/ 923321 h 1522526"/>
                <a:gd name="connsiteX26" fmla="*/ 1023722 w 1551068"/>
                <a:gd name="connsiteY26" fmla="*/ 978198 h 1522526"/>
                <a:gd name="connsiteX27" fmla="*/ 949319 w 1551068"/>
                <a:gd name="connsiteY27" fmla="*/ 1177148 h 1522526"/>
                <a:gd name="connsiteX28" fmla="*/ 811207 w 1551068"/>
                <a:gd name="connsiteY28" fmla="*/ 1341455 h 1522526"/>
                <a:gd name="connsiteX29" fmla="*/ 620707 w 1551068"/>
                <a:gd name="connsiteY29" fmla="*/ 1191436 h 1522526"/>
                <a:gd name="connsiteX30" fmla="*/ 503795 w 1551068"/>
                <a:gd name="connsiteY30" fmla="*/ 1004825 h 1522526"/>
                <a:gd name="connsiteX31" fmla="*/ 615818 w 1551068"/>
                <a:gd name="connsiteY31" fmla="*/ 931359 h 1522526"/>
                <a:gd name="connsiteX32" fmla="*/ 614386 w 1551068"/>
                <a:gd name="connsiteY32" fmla="*/ 858311 h 1522526"/>
                <a:gd name="connsiteX33" fmla="*/ 685001 w 1551068"/>
                <a:gd name="connsiteY33" fmla="*/ 900922 h 1522526"/>
                <a:gd name="connsiteX34" fmla="*/ 792158 w 1551068"/>
                <a:gd name="connsiteY34" fmla="*/ 915210 h 1522526"/>
                <a:gd name="connsiteX35" fmla="*/ 885026 w 1551068"/>
                <a:gd name="connsiteY35" fmla="*/ 874729 h 1522526"/>
                <a:gd name="connsiteX36" fmla="*/ 920060 w 1551068"/>
                <a:gd name="connsiteY36" fmla="*/ 852696 h 1522526"/>
                <a:gd name="connsiteX37" fmla="*/ 1105649 w 1551068"/>
                <a:gd name="connsiteY37" fmla="*/ 314309 h 1522526"/>
                <a:gd name="connsiteX38" fmla="*/ 1112021 w 1551068"/>
                <a:gd name="connsiteY38" fmla="*/ 320855 h 1522526"/>
                <a:gd name="connsiteX39" fmla="*/ 1138811 w 1551068"/>
                <a:gd name="connsiteY39" fmla="*/ 428013 h 1522526"/>
                <a:gd name="connsiteX40" fmla="*/ 1165600 w 1551068"/>
                <a:gd name="connsiteY40" fmla="*/ 569403 h 1522526"/>
                <a:gd name="connsiteX41" fmla="*/ 1174530 w 1551068"/>
                <a:gd name="connsiteY41" fmla="*/ 704839 h 1522526"/>
                <a:gd name="connsiteX42" fmla="*/ 1171553 w 1551068"/>
                <a:gd name="connsiteY42" fmla="*/ 789672 h 1522526"/>
                <a:gd name="connsiteX43" fmla="*/ 1146252 w 1551068"/>
                <a:gd name="connsiteY43" fmla="*/ 850693 h 1522526"/>
                <a:gd name="connsiteX44" fmla="*/ 1100114 w 1551068"/>
                <a:gd name="connsiteY44" fmla="*/ 859623 h 1522526"/>
                <a:gd name="connsiteX45" fmla="*/ 1027187 w 1551068"/>
                <a:gd name="connsiteY45" fmla="*/ 853670 h 1522526"/>
                <a:gd name="connsiteX46" fmla="*/ 972120 w 1551068"/>
                <a:gd name="connsiteY46" fmla="*/ 834322 h 1522526"/>
                <a:gd name="connsiteX47" fmla="*/ 979561 w 1551068"/>
                <a:gd name="connsiteY47" fmla="*/ 813485 h 1522526"/>
                <a:gd name="connsiteX48" fmla="*/ 1009327 w 1551068"/>
                <a:gd name="connsiteY48" fmla="*/ 773301 h 1522526"/>
                <a:gd name="connsiteX49" fmla="*/ 1037606 w 1551068"/>
                <a:gd name="connsiteY49" fmla="*/ 704839 h 1522526"/>
                <a:gd name="connsiteX50" fmla="*/ 1043559 w 1551068"/>
                <a:gd name="connsiteY50" fmla="*/ 675072 h 1522526"/>
                <a:gd name="connsiteX51" fmla="*/ 1061418 w 1551068"/>
                <a:gd name="connsiteY51" fmla="*/ 655725 h 1522526"/>
                <a:gd name="connsiteX52" fmla="*/ 1086720 w 1551068"/>
                <a:gd name="connsiteY52" fmla="*/ 579821 h 1522526"/>
                <a:gd name="connsiteX53" fmla="*/ 1104579 w 1551068"/>
                <a:gd name="connsiteY53" fmla="*/ 499452 h 1522526"/>
                <a:gd name="connsiteX54" fmla="*/ 1106068 w 1551068"/>
                <a:gd name="connsiteY54" fmla="*/ 463733 h 1522526"/>
                <a:gd name="connsiteX55" fmla="*/ 1089696 w 1551068"/>
                <a:gd name="connsiteY55" fmla="*/ 430990 h 1522526"/>
                <a:gd name="connsiteX56" fmla="*/ 1073325 w 1551068"/>
                <a:gd name="connsiteY56" fmla="*/ 416107 h 1522526"/>
                <a:gd name="connsiteX57" fmla="*/ 1070348 w 1551068"/>
                <a:gd name="connsiteY57" fmla="*/ 386340 h 1522526"/>
                <a:gd name="connsiteX58" fmla="*/ 1073325 w 1551068"/>
                <a:gd name="connsiteY58" fmla="*/ 350621 h 1522526"/>
                <a:gd name="connsiteX59" fmla="*/ 1088208 w 1551068"/>
                <a:gd name="connsiteY59" fmla="*/ 328297 h 1522526"/>
                <a:gd name="connsiteX60" fmla="*/ 1105649 w 1551068"/>
                <a:gd name="connsiteY60" fmla="*/ 314309 h 1522526"/>
                <a:gd name="connsiteX61" fmla="*/ 680240 w 1551068"/>
                <a:gd name="connsiteY61" fmla="*/ 96060 h 1522526"/>
                <a:gd name="connsiteX62" fmla="*/ 573084 w 1551068"/>
                <a:gd name="connsiteY62" fmla="*/ 431816 h 1522526"/>
                <a:gd name="connsiteX63" fmla="*/ 718340 w 1551068"/>
                <a:gd name="connsiteY63" fmla="*/ 184165 h 1522526"/>
                <a:gd name="connsiteX64" fmla="*/ 680240 w 1551068"/>
                <a:gd name="connsiteY64" fmla="*/ 96060 h 1522526"/>
                <a:gd name="connsiteX65" fmla="*/ 715758 w 1551068"/>
                <a:gd name="connsiteY65" fmla="*/ 0 h 1522526"/>
                <a:gd name="connsiteX66" fmla="*/ 760283 w 1551068"/>
                <a:gd name="connsiteY66" fmla="*/ 372 h 1522526"/>
                <a:gd name="connsiteX67" fmla="*/ 821800 w 1551068"/>
                <a:gd name="connsiteY67" fmla="*/ 6326 h 1522526"/>
                <a:gd name="connsiteX68" fmla="*/ 893239 w 1551068"/>
                <a:gd name="connsiteY68" fmla="*/ 38076 h 1522526"/>
                <a:gd name="connsiteX69" fmla="*/ 974600 w 1551068"/>
                <a:gd name="connsiteY69" fmla="*/ 103562 h 1522526"/>
                <a:gd name="connsiteX70" fmla="*/ 1069852 w 1551068"/>
                <a:gd name="connsiteY70" fmla="*/ 216673 h 1522526"/>
                <a:gd name="connsiteX71" fmla="*/ 1105571 w 1551068"/>
                <a:gd name="connsiteY71" fmla="*/ 276206 h 1522526"/>
                <a:gd name="connsiteX72" fmla="*/ 1089696 w 1551068"/>
                <a:gd name="connsiteY72" fmla="*/ 313909 h 1522526"/>
                <a:gd name="connsiteX73" fmla="*/ 1055961 w 1551068"/>
                <a:gd name="connsiteY73" fmla="*/ 331769 h 1522526"/>
                <a:gd name="connsiteX74" fmla="*/ 1032148 w 1551068"/>
                <a:gd name="connsiteY74" fmla="*/ 311925 h 1522526"/>
                <a:gd name="connsiteX75" fmla="*/ 978569 w 1551068"/>
                <a:gd name="connsiteY75" fmla="*/ 256361 h 1522526"/>
                <a:gd name="connsiteX76" fmla="*/ 883317 w 1551068"/>
                <a:gd name="connsiteY76" fmla="*/ 210720 h 1522526"/>
                <a:gd name="connsiteX77" fmla="*/ 780128 w 1551068"/>
                <a:gd name="connsiteY77" fmla="*/ 210720 h 1522526"/>
                <a:gd name="connsiteX78" fmla="*/ 914499 w 1551068"/>
                <a:gd name="connsiteY78" fmla="*/ 240487 h 1522526"/>
                <a:gd name="connsiteX79" fmla="*/ 979985 w 1551068"/>
                <a:gd name="connsiteY79" fmla="*/ 279721 h 1522526"/>
                <a:gd name="connsiteX80" fmla="*/ 1042151 w 1551068"/>
                <a:gd name="connsiteY80" fmla="*/ 344718 h 1522526"/>
                <a:gd name="connsiteX81" fmla="*/ 1033334 w 1551068"/>
                <a:gd name="connsiteY81" fmla="*/ 378896 h 1522526"/>
                <a:gd name="connsiteX82" fmla="*/ 1033334 w 1551068"/>
                <a:gd name="connsiteY82" fmla="*/ 451651 h 1522526"/>
                <a:gd name="connsiteX83" fmla="*/ 1067370 w 1551068"/>
                <a:gd name="connsiteY83" fmla="*/ 478628 h 1522526"/>
                <a:gd name="connsiteX84" fmla="*/ 1031114 w 1551068"/>
                <a:gd name="connsiteY84" fmla="*/ 638035 h 1522526"/>
                <a:gd name="connsiteX85" fmla="*/ 1010397 w 1551068"/>
                <a:gd name="connsiteY85" fmla="*/ 651932 h 1522526"/>
                <a:gd name="connsiteX86" fmla="*/ 902526 w 1551068"/>
                <a:gd name="connsiteY86" fmla="*/ 831290 h 1522526"/>
                <a:gd name="connsiteX87" fmla="*/ 813589 w 1551068"/>
                <a:gd name="connsiteY87" fmla="*/ 893779 h 1522526"/>
                <a:gd name="connsiteX88" fmla="*/ 727864 w 1551068"/>
                <a:gd name="connsiteY88" fmla="*/ 893779 h 1522526"/>
                <a:gd name="connsiteX89" fmla="*/ 606803 w 1551068"/>
                <a:gd name="connsiteY89" fmla="*/ 821966 h 1522526"/>
                <a:gd name="connsiteX90" fmla="*/ 514664 w 1551068"/>
                <a:gd name="connsiteY90" fmla="*/ 643758 h 1522526"/>
                <a:gd name="connsiteX91" fmla="*/ 453993 w 1551068"/>
                <a:gd name="connsiteY91" fmla="*/ 503970 h 1522526"/>
                <a:gd name="connsiteX92" fmla="*/ 477669 w 1551068"/>
                <a:gd name="connsiteY92" fmla="*/ 464730 h 1522526"/>
                <a:gd name="connsiteX93" fmla="*/ 466855 w 1551068"/>
                <a:gd name="connsiteY93" fmla="*/ 399317 h 1522526"/>
                <a:gd name="connsiteX94" fmla="*/ 440793 w 1551068"/>
                <a:gd name="connsiteY94" fmla="*/ 419083 h 1522526"/>
                <a:gd name="connsiteX95" fmla="*/ 424918 w 1551068"/>
                <a:gd name="connsiteY95" fmla="*/ 438927 h 1522526"/>
                <a:gd name="connsiteX96" fmla="*/ 411027 w 1551068"/>
                <a:gd name="connsiteY96" fmla="*/ 476631 h 1522526"/>
                <a:gd name="connsiteX97" fmla="*/ 416980 w 1551068"/>
                <a:gd name="connsiteY97" fmla="*/ 514335 h 1522526"/>
                <a:gd name="connsiteX98" fmla="*/ 426902 w 1551068"/>
                <a:gd name="connsiteY98" fmla="*/ 571883 h 1522526"/>
                <a:gd name="connsiteX99" fmla="*/ 450715 w 1551068"/>
                <a:gd name="connsiteY99" fmla="*/ 665150 h 1522526"/>
                <a:gd name="connsiteX100" fmla="*/ 476512 w 1551068"/>
                <a:gd name="connsiteY100" fmla="*/ 686979 h 1522526"/>
                <a:gd name="connsiteX101" fmla="*/ 492388 w 1551068"/>
                <a:gd name="connsiteY101" fmla="*/ 728652 h 1522526"/>
                <a:gd name="connsiteX102" fmla="*/ 530092 w 1551068"/>
                <a:gd name="connsiteY102" fmla="*/ 802075 h 1522526"/>
                <a:gd name="connsiteX103" fmla="*/ 545967 w 1551068"/>
                <a:gd name="connsiteY103" fmla="*/ 847716 h 1522526"/>
                <a:gd name="connsiteX104" fmla="*/ 502310 w 1551068"/>
                <a:gd name="connsiteY104" fmla="*/ 859623 h 1522526"/>
                <a:gd name="connsiteX105" fmla="*/ 438809 w 1551068"/>
                <a:gd name="connsiteY105" fmla="*/ 867560 h 1522526"/>
                <a:gd name="connsiteX106" fmla="*/ 381261 w 1551068"/>
                <a:gd name="connsiteY106" fmla="*/ 853670 h 1522526"/>
                <a:gd name="connsiteX107" fmla="*/ 355463 w 1551068"/>
                <a:gd name="connsiteY107" fmla="*/ 810012 h 1522526"/>
                <a:gd name="connsiteX108" fmla="*/ 343557 w 1551068"/>
                <a:gd name="connsiteY108" fmla="*/ 732620 h 1522526"/>
                <a:gd name="connsiteX109" fmla="*/ 347526 w 1551068"/>
                <a:gd name="connsiteY109" fmla="*/ 631415 h 1522526"/>
                <a:gd name="connsiteX110" fmla="*/ 379276 w 1551068"/>
                <a:gd name="connsiteY110" fmla="*/ 415114 h 1522526"/>
                <a:gd name="connsiteX111" fmla="*/ 452699 w 1551068"/>
                <a:gd name="connsiteY111" fmla="*/ 194845 h 1522526"/>
                <a:gd name="connsiteX112" fmla="*/ 514216 w 1551068"/>
                <a:gd name="connsiteY112" fmla="*/ 93640 h 1522526"/>
                <a:gd name="connsiteX113" fmla="*/ 573749 w 1551068"/>
                <a:gd name="connsiteY113" fmla="*/ 44029 h 1522526"/>
                <a:gd name="connsiteX114" fmla="*/ 627328 w 1551068"/>
                <a:gd name="connsiteY114" fmla="*/ 36092 h 1522526"/>
                <a:gd name="connsiteX115" fmla="*/ 672969 w 1551068"/>
                <a:gd name="connsiteY115" fmla="*/ 4341 h 1522526"/>
                <a:gd name="connsiteX116" fmla="*/ 715758 w 1551068"/>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56635 w 1551177"/>
                <a:gd name="connsiteY15" fmla="*/ 1157285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32823 w 1551177"/>
                <a:gd name="connsiteY15" fmla="*/ 1150141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17745 w 1551266"/>
                <a:gd name="connsiteY16" fmla="*/ 1120077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22508 w 1551266"/>
                <a:gd name="connsiteY16" fmla="*/ 1108171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551266" h="1522526">
                  <a:moveTo>
                    <a:pt x="1057045" y="998817"/>
                  </a:moveTo>
                  <a:lnTo>
                    <a:pt x="1067570" y="1002500"/>
                  </a:lnTo>
                  <a:lnTo>
                    <a:pt x="1174728" y="1036732"/>
                  </a:lnTo>
                  <a:lnTo>
                    <a:pt x="1383984" y="1106981"/>
                  </a:lnTo>
                  <a:cubicBezTo>
                    <a:pt x="1387457" y="1120375"/>
                    <a:pt x="1443515" y="1151630"/>
                    <a:pt x="1451552" y="1185265"/>
                  </a:cubicBezTo>
                  <a:cubicBezTo>
                    <a:pt x="1483798" y="1237107"/>
                    <a:pt x="1504186" y="1331415"/>
                    <a:pt x="1551266" y="1448990"/>
                  </a:cubicBezTo>
                  <a:cubicBezTo>
                    <a:pt x="1544321" y="1477764"/>
                    <a:pt x="1250039" y="1471217"/>
                    <a:pt x="1241109" y="1493045"/>
                  </a:cubicBezTo>
                  <a:cubicBezTo>
                    <a:pt x="1226424" y="1475186"/>
                    <a:pt x="1221264" y="1443041"/>
                    <a:pt x="1197054" y="1439469"/>
                  </a:cubicBezTo>
                  <a:lnTo>
                    <a:pt x="1215210" y="1492451"/>
                  </a:lnTo>
                  <a:cubicBezTo>
                    <a:pt x="885826" y="1530777"/>
                    <a:pt x="710655" y="1532592"/>
                    <a:pt x="331153" y="1497214"/>
                  </a:cubicBezTo>
                  <a:lnTo>
                    <a:pt x="315002" y="1492951"/>
                  </a:lnTo>
                  <a:cubicBezTo>
                    <a:pt x="308449" y="1486754"/>
                    <a:pt x="327012" y="1473858"/>
                    <a:pt x="337537" y="1446229"/>
                  </a:cubicBezTo>
                  <a:cubicBezTo>
                    <a:pt x="297056" y="1451785"/>
                    <a:pt x="311343" y="1478773"/>
                    <a:pt x="285149" y="1493854"/>
                  </a:cubicBezTo>
                  <a:lnTo>
                    <a:pt x="454" y="1482327"/>
                  </a:lnTo>
                  <a:cubicBezTo>
                    <a:pt x="-5499" y="1452561"/>
                    <a:pt x="48477" y="1321393"/>
                    <a:pt x="80227" y="1223961"/>
                  </a:cubicBezTo>
                  <a:cubicBezTo>
                    <a:pt x="78738" y="1205109"/>
                    <a:pt x="126463" y="1163039"/>
                    <a:pt x="132912" y="1150141"/>
                  </a:cubicBezTo>
                  <a:lnTo>
                    <a:pt x="222508" y="1108171"/>
                  </a:lnTo>
                  <a:lnTo>
                    <a:pt x="315973" y="1078404"/>
                  </a:lnTo>
                  <a:lnTo>
                    <a:pt x="440991" y="1029290"/>
                  </a:lnTo>
                  <a:lnTo>
                    <a:pt x="474559" y="1016502"/>
                  </a:lnTo>
                  <a:cubicBezTo>
                    <a:pt x="516350" y="1085393"/>
                    <a:pt x="601200" y="1214439"/>
                    <a:pt x="656623" y="1272398"/>
                  </a:cubicBezTo>
                  <a:cubicBezTo>
                    <a:pt x="717345" y="1335898"/>
                    <a:pt x="779654" y="1384317"/>
                    <a:pt x="828073" y="1379555"/>
                  </a:cubicBezTo>
                  <a:cubicBezTo>
                    <a:pt x="876492" y="1374793"/>
                    <a:pt x="903480" y="1322007"/>
                    <a:pt x="947136" y="1243823"/>
                  </a:cubicBezTo>
                  <a:cubicBezTo>
                    <a:pt x="977066" y="1190222"/>
                    <a:pt x="1024529" y="1081221"/>
                    <a:pt x="1057045" y="998817"/>
                  </a:cubicBezTo>
                  <a:close/>
                  <a:moveTo>
                    <a:pt x="920258" y="852696"/>
                  </a:moveTo>
                  <a:cubicBezTo>
                    <a:pt x="921010" y="872436"/>
                    <a:pt x="911945" y="917882"/>
                    <a:pt x="915762" y="923321"/>
                  </a:cubicBezTo>
                  <a:cubicBezTo>
                    <a:pt x="941496" y="957488"/>
                    <a:pt x="993424" y="955937"/>
                    <a:pt x="1023920" y="978198"/>
                  </a:cubicBezTo>
                  <a:cubicBezTo>
                    <a:pt x="1001831" y="1045214"/>
                    <a:pt x="975280" y="1129625"/>
                    <a:pt x="949517" y="1177148"/>
                  </a:cubicBezTo>
                  <a:cubicBezTo>
                    <a:pt x="908639" y="1252554"/>
                    <a:pt x="866174" y="1339074"/>
                    <a:pt x="811405" y="1341455"/>
                  </a:cubicBezTo>
                  <a:cubicBezTo>
                    <a:pt x="756636" y="1343836"/>
                    <a:pt x="682818" y="1265652"/>
                    <a:pt x="620905" y="1191436"/>
                  </a:cubicBezTo>
                  <a:cubicBezTo>
                    <a:pt x="585938" y="1149521"/>
                    <a:pt x="541097" y="1071020"/>
                    <a:pt x="503993" y="1004825"/>
                  </a:cubicBezTo>
                  <a:cubicBezTo>
                    <a:pt x="515878" y="994816"/>
                    <a:pt x="599975" y="955559"/>
                    <a:pt x="616016" y="931359"/>
                  </a:cubicBezTo>
                  <a:cubicBezTo>
                    <a:pt x="617098" y="908462"/>
                    <a:pt x="618089" y="894817"/>
                    <a:pt x="614584" y="858311"/>
                  </a:cubicBezTo>
                  <a:cubicBezTo>
                    <a:pt x="638122" y="872515"/>
                    <a:pt x="655570" y="891439"/>
                    <a:pt x="685199" y="900922"/>
                  </a:cubicBezTo>
                  <a:cubicBezTo>
                    <a:pt x="714828" y="910405"/>
                    <a:pt x="759019" y="919575"/>
                    <a:pt x="792356" y="915210"/>
                  </a:cubicBezTo>
                  <a:cubicBezTo>
                    <a:pt x="825693" y="910845"/>
                    <a:pt x="863907" y="885148"/>
                    <a:pt x="885224" y="874729"/>
                  </a:cubicBezTo>
                  <a:cubicBezTo>
                    <a:pt x="906541" y="864310"/>
                    <a:pt x="909433" y="855230"/>
                    <a:pt x="920258" y="852696"/>
                  </a:cubicBezTo>
                  <a:close/>
                  <a:moveTo>
                    <a:pt x="1105847" y="314309"/>
                  </a:moveTo>
                  <a:lnTo>
                    <a:pt x="1112219" y="320855"/>
                  </a:lnTo>
                  <a:cubicBezTo>
                    <a:pt x="1120653" y="337474"/>
                    <a:pt x="1130079" y="386589"/>
                    <a:pt x="1139009" y="428013"/>
                  </a:cubicBezTo>
                  <a:cubicBezTo>
                    <a:pt x="1147938" y="469438"/>
                    <a:pt x="1159845" y="523265"/>
                    <a:pt x="1165798" y="569403"/>
                  </a:cubicBezTo>
                  <a:cubicBezTo>
                    <a:pt x="1171751" y="615540"/>
                    <a:pt x="1173736" y="668127"/>
                    <a:pt x="1174728" y="704839"/>
                  </a:cubicBezTo>
                  <a:cubicBezTo>
                    <a:pt x="1175720" y="741550"/>
                    <a:pt x="1176464" y="765363"/>
                    <a:pt x="1171751" y="789672"/>
                  </a:cubicBezTo>
                  <a:cubicBezTo>
                    <a:pt x="1167038" y="813982"/>
                    <a:pt x="1158356" y="839035"/>
                    <a:pt x="1146450" y="850693"/>
                  </a:cubicBezTo>
                  <a:cubicBezTo>
                    <a:pt x="1134543" y="862351"/>
                    <a:pt x="1120157" y="859127"/>
                    <a:pt x="1100312" y="859623"/>
                  </a:cubicBezTo>
                  <a:cubicBezTo>
                    <a:pt x="1080468" y="860119"/>
                    <a:pt x="1048717" y="857887"/>
                    <a:pt x="1027385" y="853670"/>
                  </a:cubicBezTo>
                  <a:cubicBezTo>
                    <a:pt x="1006053" y="849453"/>
                    <a:pt x="980256" y="841019"/>
                    <a:pt x="972318" y="834322"/>
                  </a:cubicBezTo>
                  <a:cubicBezTo>
                    <a:pt x="964380" y="827624"/>
                    <a:pt x="973558" y="823656"/>
                    <a:pt x="979759" y="813485"/>
                  </a:cubicBezTo>
                  <a:cubicBezTo>
                    <a:pt x="985961" y="803315"/>
                    <a:pt x="999852" y="791409"/>
                    <a:pt x="1009525" y="773301"/>
                  </a:cubicBezTo>
                  <a:cubicBezTo>
                    <a:pt x="1019199" y="755193"/>
                    <a:pt x="1032098" y="721210"/>
                    <a:pt x="1037804" y="704839"/>
                  </a:cubicBezTo>
                  <a:cubicBezTo>
                    <a:pt x="1043509" y="688467"/>
                    <a:pt x="1039788" y="683258"/>
                    <a:pt x="1043757" y="675072"/>
                  </a:cubicBezTo>
                  <a:cubicBezTo>
                    <a:pt x="1047726" y="666887"/>
                    <a:pt x="1054423" y="671600"/>
                    <a:pt x="1061616" y="655725"/>
                  </a:cubicBezTo>
                  <a:cubicBezTo>
                    <a:pt x="1068810" y="639849"/>
                    <a:pt x="1079724" y="605866"/>
                    <a:pt x="1086918" y="579821"/>
                  </a:cubicBezTo>
                  <a:cubicBezTo>
                    <a:pt x="1094111" y="553775"/>
                    <a:pt x="1101553" y="518800"/>
                    <a:pt x="1104777" y="499452"/>
                  </a:cubicBezTo>
                  <a:cubicBezTo>
                    <a:pt x="1108002" y="480104"/>
                    <a:pt x="1108746" y="475143"/>
                    <a:pt x="1106266" y="463733"/>
                  </a:cubicBezTo>
                  <a:cubicBezTo>
                    <a:pt x="1103785" y="452322"/>
                    <a:pt x="1095351" y="438927"/>
                    <a:pt x="1089894" y="430990"/>
                  </a:cubicBezTo>
                  <a:cubicBezTo>
                    <a:pt x="1084437" y="423052"/>
                    <a:pt x="1076748" y="423548"/>
                    <a:pt x="1073523" y="416107"/>
                  </a:cubicBezTo>
                  <a:cubicBezTo>
                    <a:pt x="1070298" y="408665"/>
                    <a:pt x="1070546" y="397255"/>
                    <a:pt x="1070546" y="386340"/>
                  </a:cubicBezTo>
                  <a:cubicBezTo>
                    <a:pt x="1070546" y="375426"/>
                    <a:pt x="1070546" y="360295"/>
                    <a:pt x="1073523" y="350621"/>
                  </a:cubicBezTo>
                  <a:cubicBezTo>
                    <a:pt x="1076500" y="340947"/>
                    <a:pt x="1081957" y="333258"/>
                    <a:pt x="1088406" y="328297"/>
                  </a:cubicBezTo>
                  <a:cubicBezTo>
                    <a:pt x="1093243" y="324576"/>
                    <a:pt x="1099475" y="312902"/>
                    <a:pt x="1105847" y="314309"/>
                  </a:cubicBezTo>
                  <a:close/>
                  <a:moveTo>
                    <a:pt x="680438" y="96060"/>
                  </a:moveTo>
                  <a:cubicBezTo>
                    <a:pt x="756637" y="286559"/>
                    <a:pt x="570901" y="331804"/>
                    <a:pt x="573282" y="431816"/>
                  </a:cubicBezTo>
                  <a:cubicBezTo>
                    <a:pt x="599476" y="307992"/>
                    <a:pt x="747113" y="298465"/>
                    <a:pt x="718538" y="184165"/>
                  </a:cubicBezTo>
                  <a:lnTo>
                    <a:pt x="680438" y="96060"/>
                  </a:lnTo>
                  <a:close/>
                  <a:moveTo>
                    <a:pt x="715956" y="0"/>
                  </a:moveTo>
                  <a:lnTo>
                    <a:pt x="760481" y="372"/>
                  </a:lnTo>
                  <a:cubicBezTo>
                    <a:pt x="785287" y="703"/>
                    <a:pt x="799839" y="42"/>
                    <a:pt x="821998" y="6326"/>
                  </a:cubicBezTo>
                  <a:cubicBezTo>
                    <a:pt x="844157" y="12609"/>
                    <a:pt x="867970" y="21870"/>
                    <a:pt x="893437" y="38076"/>
                  </a:cubicBezTo>
                  <a:cubicBezTo>
                    <a:pt x="918904" y="54282"/>
                    <a:pt x="945363" y="73796"/>
                    <a:pt x="974798" y="103562"/>
                  </a:cubicBezTo>
                  <a:cubicBezTo>
                    <a:pt x="1004233" y="133328"/>
                    <a:pt x="1048221" y="187899"/>
                    <a:pt x="1070050" y="216673"/>
                  </a:cubicBezTo>
                  <a:cubicBezTo>
                    <a:pt x="1091878" y="245447"/>
                    <a:pt x="1102462" y="260000"/>
                    <a:pt x="1105769" y="276206"/>
                  </a:cubicBezTo>
                  <a:cubicBezTo>
                    <a:pt x="1109076" y="292412"/>
                    <a:pt x="1098162" y="304649"/>
                    <a:pt x="1089894" y="313909"/>
                  </a:cubicBezTo>
                  <a:cubicBezTo>
                    <a:pt x="1081626" y="323170"/>
                    <a:pt x="1065750" y="332100"/>
                    <a:pt x="1056159" y="331769"/>
                  </a:cubicBezTo>
                  <a:cubicBezTo>
                    <a:pt x="1046567" y="331439"/>
                    <a:pt x="1045245" y="324493"/>
                    <a:pt x="1032346" y="311925"/>
                  </a:cubicBezTo>
                  <a:cubicBezTo>
                    <a:pt x="1019447" y="299357"/>
                    <a:pt x="1003572" y="273229"/>
                    <a:pt x="978767" y="256361"/>
                  </a:cubicBezTo>
                  <a:cubicBezTo>
                    <a:pt x="953962" y="239494"/>
                    <a:pt x="916588" y="218327"/>
                    <a:pt x="883515" y="210720"/>
                  </a:cubicBezTo>
                  <a:cubicBezTo>
                    <a:pt x="850442" y="203113"/>
                    <a:pt x="775129" y="205759"/>
                    <a:pt x="780326" y="210720"/>
                  </a:cubicBezTo>
                  <a:cubicBezTo>
                    <a:pt x="785522" y="215681"/>
                    <a:pt x="874754" y="217931"/>
                    <a:pt x="914697" y="240487"/>
                  </a:cubicBezTo>
                  <a:cubicBezTo>
                    <a:pt x="954640" y="263042"/>
                    <a:pt x="958908" y="262349"/>
                    <a:pt x="980183" y="279721"/>
                  </a:cubicBezTo>
                  <a:cubicBezTo>
                    <a:pt x="1001459" y="297093"/>
                    <a:pt x="1027930" y="328926"/>
                    <a:pt x="1042349" y="344718"/>
                  </a:cubicBezTo>
                  <a:cubicBezTo>
                    <a:pt x="1036581" y="366876"/>
                    <a:pt x="1037228" y="359759"/>
                    <a:pt x="1033532" y="378896"/>
                  </a:cubicBezTo>
                  <a:cubicBezTo>
                    <a:pt x="1041669" y="398511"/>
                    <a:pt x="1033536" y="451629"/>
                    <a:pt x="1033532" y="451651"/>
                  </a:cubicBezTo>
                  <a:cubicBezTo>
                    <a:pt x="1033584" y="451655"/>
                    <a:pt x="1067568" y="454123"/>
                    <a:pt x="1067568" y="478628"/>
                  </a:cubicBezTo>
                  <a:cubicBezTo>
                    <a:pt x="1067568" y="503147"/>
                    <a:pt x="1031326" y="637985"/>
                    <a:pt x="1031312" y="638035"/>
                  </a:cubicBezTo>
                  <a:cubicBezTo>
                    <a:pt x="1031294" y="638069"/>
                    <a:pt x="1021683" y="654383"/>
                    <a:pt x="1010595" y="651932"/>
                  </a:cubicBezTo>
                  <a:cubicBezTo>
                    <a:pt x="998860" y="750796"/>
                    <a:pt x="937336" y="800802"/>
                    <a:pt x="902724" y="831290"/>
                  </a:cubicBezTo>
                  <a:cubicBezTo>
                    <a:pt x="870320" y="870407"/>
                    <a:pt x="842897" y="883364"/>
                    <a:pt x="813787" y="893779"/>
                  </a:cubicBezTo>
                  <a:cubicBezTo>
                    <a:pt x="784677" y="904194"/>
                    <a:pt x="762526" y="905748"/>
                    <a:pt x="728062" y="893779"/>
                  </a:cubicBezTo>
                  <a:cubicBezTo>
                    <a:pt x="693598" y="881810"/>
                    <a:pt x="642534" y="863636"/>
                    <a:pt x="607001" y="821966"/>
                  </a:cubicBezTo>
                  <a:cubicBezTo>
                    <a:pt x="597383" y="805617"/>
                    <a:pt x="517082" y="732861"/>
                    <a:pt x="514862" y="643758"/>
                  </a:cubicBezTo>
                  <a:cubicBezTo>
                    <a:pt x="483786" y="641305"/>
                    <a:pt x="466029" y="551383"/>
                    <a:pt x="454191" y="503970"/>
                  </a:cubicBezTo>
                  <a:cubicBezTo>
                    <a:pt x="444575" y="463929"/>
                    <a:pt x="477842" y="464730"/>
                    <a:pt x="477867" y="464730"/>
                  </a:cubicBezTo>
                  <a:cubicBezTo>
                    <a:pt x="477845" y="464677"/>
                    <a:pt x="459134" y="425808"/>
                    <a:pt x="467053" y="399317"/>
                  </a:cubicBezTo>
                  <a:cubicBezTo>
                    <a:pt x="449615" y="408769"/>
                    <a:pt x="447981" y="412482"/>
                    <a:pt x="440991" y="419083"/>
                  </a:cubicBezTo>
                  <a:cubicBezTo>
                    <a:pt x="434001" y="425685"/>
                    <a:pt x="430077" y="429336"/>
                    <a:pt x="425116" y="438927"/>
                  </a:cubicBezTo>
                  <a:cubicBezTo>
                    <a:pt x="420155" y="448519"/>
                    <a:pt x="412548" y="464063"/>
                    <a:pt x="411225" y="476631"/>
                  </a:cubicBezTo>
                  <a:cubicBezTo>
                    <a:pt x="409902" y="489199"/>
                    <a:pt x="414532" y="498460"/>
                    <a:pt x="417178" y="514335"/>
                  </a:cubicBezTo>
                  <a:cubicBezTo>
                    <a:pt x="419824" y="530210"/>
                    <a:pt x="421478" y="546747"/>
                    <a:pt x="427100" y="571883"/>
                  </a:cubicBezTo>
                  <a:cubicBezTo>
                    <a:pt x="432723" y="597019"/>
                    <a:pt x="442645" y="645968"/>
                    <a:pt x="450913" y="665150"/>
                  </a:cubicBezTo>
                  <a:cubicBezTo>
                    <a:pt x="459181" y="684333"/>
                    <a:pt x="469765" y="676395"/>
                    <a:pt x="476710" y="686979"/>
                  </a:cubicBezTo>
                  <a:cubicBezTo>
                    <a:pt x="483656" y="697563"/>
                    <a:pt x="483656" y="709469"/>
                    <a:pt x="492586" y="728652"/>
                  </a:cubicBezTo>
                  <a:cubicBezTo>
                    <a:pt x="501516" y="747834"/>
                    <a:pt x="521360" y="782231"/>
                    <a:pt x="530290" y="802075"/>
                  </a:cubicBezTo>
                  <a:cubicBezTo>
                    <a:pt x="539219" y="821919"/>
                    <a:pt x="550795" y="838125"/>
                    <a:pt x="546165" y="847716"/>
                  </a:cubicBezTo>
                  <a:cubicBezTo>
                    <a:pt x="541534" y="857308"/>
                    <a:pt x="520367" y="856316"/>
                    <a:pt x="502508" y="859623"/>
                  </a:cubicBezTo>
                  <a:cubicBezTo>
                    <a:pt x="484648" y="862930"/>
                    <a:pt x="459181" y="868553"/>
                    <a:pt x="439007" y="867560"/>
                  </a:cubicBezTo>
                  <a:cubicBezTo>
                    <a:pt x="418832" y="866568"/>
                    <a:pt x="395350" y="863261"/>
                    <a:pt x="381459" y="853670"/>
                  </a:cubicBezTo>
                  <a:cubicBezTo>
                    <a:pt x="367568" y="844078"/>
                    <a:pt x="361945" y="830187"/>
                    <a:pt x="355661" y="810012"/>
                  </a:cubicBezTo>
                  <a:cubicBezTo>
                    <a:pt x="349377" y="789838"/>
                    <a:pt x="345078" y="762387"/>
                    <a:pt x="343755" y="732620"/>
                  </a:cubicBezTo>
                  <a:cubicBezTo>
                    <a:pt x="342432" y="702854"/>
                    <a:pt x="341770" y="684333"/>
                    <a:pt x="347724" y="631415"/>
                  </a:cubicBezTo>
                  <a:cubicBezTo>
                    <a:pt x="353677" y="578498"/>
                    <a:pt x="361945" y="487876"/>
                    <a:pt x="379474" y="415114"/>
                  </a:cubicBezTo>
                  <a:cubicBezTo>
                    <a:pt x="397003" y="342353"/>
                    <a:pt x="430407" y="248424"/>
                    <a:pt x="452897" y="194845"/>
                  </a:cubicBezTo>
                  <a:cubicBezTo>
                    <a:pt x="475388" y="141266"/>
                    <a:pt x="494240" y="118775"/>
                    <a:pt x="514414" y="93640"/>
                  </a:cubicBezTo>
                  <a:cubicBezTo>
                    <a:pt x="534589" y="68504"/>
                    <a:pt x="555095" y="53621"/>
                    <a:pt x="573947" y="44029"/>
                  </a:cubicBezTo>
                  <a:cubicBezTo>
                    <a:pt x="592799" y="34438"/>
                    <a:pt x="610989" y="42707"/>
                    <a:pt x="627526" y="36092"/>
                  </a:cubicBezTo>
                  <a:cubicBezTo>
                    <a:pt x="644063" y="29477"/>
                    <a:pt x="650677" y="10294"/>
                    <a:pt x="673167" y="4341"/>
                  </a:cubicBezTo>
                  <a:cubicBezTo>
                    <a:pt x="684412" y="1365"/>
                    <a:pt x="700040" y="290"/>
                    <a:pt x="7159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99" name="Text Placeholder 6"/>
          <p:cNvSpPr txBox="1">
            <a:spLocks/>
          </p:cNvSpPr>
          <p:nvPr/>
        </p:nvSpPr>
        <p:spPr>
          <a:xfrm>
            <a:off x="8389559"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dirty="0"/>
              <a:t>Solution Storyboard</a:t>
            </a:r>
          </a:p>
        </p:txBody>
      </p:sp>
    </p:spTree>
    <p:extLst>
      <p:ext uri="{BB962C8B-B14F-4D97-AF65-F5344CB8AC3E}">
        <p14:creationId xmlns:p14="http://schemas.microsoft.com/office/powerpoint/2010/main" val="1788084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itizen Services</a:t>
            </a:r>
            <a:endParaRPr lang="en-IN" dirty="0"/>
          </a:p>
        </p:txBody>
      </p:sp>
      <p:sp>
        <p:nvSpPr>
          <p:cNvPr id="5" name="Slide Number Placeholder 4"/>
          <p:cNvSpPr>
            <a:spLocks noGrp="1"/>
          </p:cNvSpPr>
          <p:nvPr>
            <p:ph type="sldNum" sz="quarter" idx="12"/>
          </p:nvPr>
        </p:nvSpPr>
        <p:spPr/>
        <p:txBody>
          <a:bodyPr/>
          <a:lstStyle/>
          <a:p>
            <a:pPr>
              <a:defRPr/>
            </a:pPr>
            <a:fld id="{6A4C1A4A-E5E6-4CC1-B72C-A20A4EB3E2D2}" type="slidenum">
              <a:rPr lang="en-US" sz="1800" kern="0" smtClean="0">
                <a:solidFill>
                  <a:srgbClr val="505050"/>
                </a:solidFill>
              </a:rPr>
              <a:pPr>
                <a:defRPr/>
              </a:pPr>
              <a:t>8</a:t>
            </a:fld>
            <a:endParaRPr lang="en-US" sz="1800" kern="0" dirty="0">
              <a:solidFill>
                <a:srgbClr val="505050"/>
              </a:solidFill>
            </a:endParaRPr>
          </a:p>
        </p:txBody>
      </p:sp>
      <p:grpSp>
        <p:nvGrpSpPr>
          <p:cNvPr id="162" name="Group 161"/>
          <p:cNvGrpSpPr/>
          <p:nvPr/>
        </p:nvGrpSpPr>
        <p:grpSpPr>
          <a:xfrm>
            <a:off x="1288329" y="11743853"/>
            <a:ext cx="697306" cy="627028"/>
            <a:chOff x="5915648" y="4649267"/>
            <a:chExt cx="697306" cy="627028"/>
          </a:xfrm>
        </p:grpSpPr>
        <p:sp>
          <p:nvSpPr>
            <p:cNvPr id="163" name="TextBox 162"/>
            <p:cNvSpPr txBox="1"/>
            <p:nvPr/>
          </p:nvSpPr>
          <p:spPr>
            <a:xfrm>
              <a:off x="5915648" y="4968518"/>
              <a:ext cx="697306" cy="307777"/>
            </a:xfrm>
            <a:prstGeom prst="rect">
              <a:avLst/>
            </a:prstGeom>
          </p:spPr>
          <p:txBody>
            <a:bodyPr vert="horz" wrap="none" lIns="0" tIns="0" rIns="0" bIns="0" rtlCol="0" anchor="ctr">
              <a:spAutoFit/>
            </a:bodyPr>
            <a:lstStyle/>
            <a:p>
              <a:pPr algn="ctr" defTabSz="1088105">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ynamics</a:t>
              </a:r>
              <a:b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b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CRM Online</a:t>
              </a:r>
            </a:p>
          </p:txBody>
        </p:sp>
        <p:pic>
          <p:nvPicPr>
            <p:cNvPr id="184" name="Picture 183"/>
            <p:cNvPicPr>
              <a:picLocks noChangeAspect="1"/>
            </p:cNvPicPr>
            <p:nvPr/>
          </p:nvPicPr>
          <p:blipFill rotWithShape="1">
            <a:blip r:embed="rId3" cstate="print">
              <a:extLst>
                <a:ext uri="{28A0092B-C50C-407E-A947-70E740481C1C}">
                  <a14:useLocalDpi xmlns:a14="http://schemas.microsoft.com/office/drawing/2010/main" val="0"/>
                </a:ext>
              </a:extLst>
            </a:blip>
            <a:srcRect l="-16556" r="-17824" b="-6828"/>
            <a:stretch/>
          </p:blipFill>
          <p:spPr>
            <a:xfrm>
              <a:off x="6077527" y="4649267"/>
              <a:ext cx="332509" cy="268877"/>
            </a:xfrm>
            <a:prstGeom prst="rect">
              <a:avLst/>
            </a:prstGeom>
          </p:spPr>
        </p:pic>
      </p:grpSp>
      <p:sp>
        <p:nvSpPr>
          <p:cNvPr id="202" name="Oval 209"/>
          <p:cNvSpPr/>
          <p:nvPr/>
        </p:nvSpPr>
        <p:spPr bwMode="auto">
          <a:xfrm>
            <a:off x="4831490" y="1044492"/>
            <a:ext cx="3808948" cy="2147571"/>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850864">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grpSp>
        <p:nvGrpSpPr>
          <p:cNvPr id="16" name="Group 15"/>
          <p:cNvGrpSpPr/>
          <p:nvPr/>
        </p:nvGrpSpPr>
        <p:grpSpPr>
          <a:xfrm>
            <a:off x="4906094" y="2393535"/>
            <a:ext cx="779821" cy="645626"/>
            <a:chOff x="5954177" y="2281671"/>
            <a:chExt cx="779821" cy="645626"/>
          </a:xfrm>
        </p:grpSpPr>
        <p:pic>
          <p:nvPicPr>
            <p:cNvPr id="205" name="Picture 20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flipH="1">
              <a:off x="6169561" y="2281671"/>
              <a:ext cx="349052" cy="349052"/>
            </a:xfrm>
            <a:prstGeom prst="rect">
              <a:avLst/>
            </a:prstGeom>
          </p:spPr>
        </p:pic>
        <p:sp>
          <p:nvSpPr>
            <p:cNvPr id="207" name="TextBox 206"/>
            <p:cNvSpPr txBox="1"/>
            <p:nvPr/>
          </p:nvSpPr>
          <p:spPr>
            <a:xfrm>
              <a:off x="5954177" y="2681076"/>
              <a:ext cx="779821" cy="246221"/>
            </a:xfrm>
            <a:prstGeom prst="rect">
              <a:avLst/>
            </a:prstGeom>
          </p:spPr>
          <p:txBody>
            <a:bodyPr vert="horz" wrap="square" lIns="45720" tIns="45720" rIns="45720" bIns="45720" rtlCol="0" anchor="ctr">
              <a:noAutofit/>
            </a:bodyPr>
            <a:lstStyle/>
            <a:p>
              <a:pPr algn="ctr" defTabSz="1088105">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Mobile App</a:t>
              </a:r>
            </a:p>
          </p:txBody>
        </p:sp>
      </p:grpSp>
      <p:grpSp>
        <p:nvGrpSpPr>
          <p:cNvPr id="17" name="Group 16"/>
          <p:cNvGrpSpPr/>
          <p:nvPr/>
        </p:nvGrpSpPr>
        <p:grpSpPr>
          <a:xfrm>
            <a:off x="6558111" y="2119050"/>
            <a:ext cx="1211407" cy="776402"/>
            <a:chOff x="5498329" y="1378112"/>
            <a:chExt cx="914400" cy="694692"/>
          </a:xfrm>
        </p:grpSpPr>
        <p:sp>
          <p:nvSpPr>
            <p:cNvPr id="206" name="TextBox 205"/>
            <p:cNvSpPr txBox="1"/>
            <p:nvPr/>
          </p:nvSpPr>
          <p:spPr>
            <a:xfrm>
              <a:off x="5498329" y="1672694"/>
              <a:ext cx="914400" cy="400110"/>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pplication</a:t>
              </a:r>
              <a:br>
                <a:rPr lang="en-US" kern="0" dirty="0">
                  <a:solidFill>
                    <a:prstClr val="white"/>
                  </a:solidFill>
                </a:rPr>
              </a:br>
              <a:r>
                <a:rPr lang="en-US" kern="0" dirty="0">
                  <a:solidFill>
                    <a:prstClr val="white"/>
                  </a:solidFill>
                </a:rPr>
                <a:t>Service</a:t>
              </a:r>
            </a:p>
          </p:txBody>
        </p:sp>
        <p:pic>
          <p:nvPicPr>
            <p:cNvPr id="208" name="Picture 20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799878" y="1378112"/>
              <a:ext cx="311303" cy="311303"/>
            </a:xfrm>
            <a:prstGeom prst="rect">
              <a:avLst/>
            </a:prstGeom>
          </p:spPr>
        </p:pic>
      </p:grpSp>
      <p:grpSp>
        <p:nvGrpSpPr>
          <p:cNvPr id="18" name="Group 17"/>
          <p:cNvGrpSpPr/>
          <p:nvPr/>
        </p:nvGrpSpPr>
        <p:grpSpPr>
          <a:xfrm>
            <a:off x="7720878" y="2276349"/>
            <a:ext cx="711947" cy="522301"/>
            <a:chOff x="5578388" y="1944880"/>
            <a:chExt cx="711947" cy="522301"/>
          </a:xfrm>
        </p:grpSpPr>
        <p:sp>
          <p:nvSpPr>
            <p:cNvPr id="209" name="TextBox 208"/>
            <p:cNvSpPr txBox="1"/>
            <p:nvPr/>
          </p:nvSpPr>
          <p:spPr>
            <a:xfrm>
              <a:off x="5578388" y="2261538"/>
              <a:ext cx="711947" cy="205643"/>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Skype</a:t>
              </a:r>
            </a:p>
          </p:txBody>
        </p:sp>
        <p:pic>
          <p:nvPicPr>
            <p:cNvPr id="210" name="Picture 209"/>
            <p:cNvPicPr>
              <a:picLocks noChangeAspect="1"/>
            </p:cNvPicPr>
            <p:nvPr/>
          </p:nvPicPr>
          <p:blipFill>
            <a:blip r:embed="rId6">
              <a:biLevel thresh="25000"/>
            </a:blip>
            <a:stretch>
              <a:fillRect/>
            </a:stretch>
          </p:blipFill>
          <p:spPr>
            <a:xfrm>
              <a:off x="5699672" y="1944880"/>
              <a:ext cx="464928" cy="347143"/>
            </a:xfrm>
            <a:prstGeom prst="rect">
              <a:avLst/>
            </a:prstGeom>
          </p:spPr>
        </p:pic>
      </p:grpSp>
      <p:cxnSp>
        <p:nvCxnSpPr>
          <p:cNvPr id="280" name="Straight Arrow Connector 279"/>
          <p:cNvCxnSpPr/>
          <p:nvPr/>
        </p:nvCxnSpPr>
        <p:spPr>
          <a:xfrm rot="20241356" flipV="1">
            <a:off x="3099097" y="3397928"/>
            <a:ext cx="1598528" cy="4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1" name="TextBox 280"/>
          <p:cNvSpPr txBox="1"/>
          <p:nvPr/>
        </p:nvSpPr>
        <p:spPr>
          <a:xfrm rot="20241356">
            <a:off x="2937364" y="3169658"/>
            <a:ext cx="1888082" cy="288668"/>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Knowledge Capture</a:t>
            </a:r>
          </a:p>
        </p:txBody>
      </p:sp>
      <p:sp>
        <p:nvSpPr>
          <p:cNvPr id="113" name="TextBox 112"/>
          <p:cNvSpPr txBox="1"/>
          <p:nvPr/>
        </p:nvSpPr>
        <p:spPr>
          <a:xfrm>
            <a:off x="1422171" y="5039954"/>
            <a:ext cx="1328423" cy="242765"/>
          </a:xfrm>
          <a:prstGeom prst="rect">
            <a:avLst/>
          </a:prstGeom>
        </p:spPr>
        <p:txBody>
          <a:bodyPr vert="horz" wrap="square" lIns="45720" tIns="45720" rIns="45720" bIns="4572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t>Real-time </a:t>
            </a:r>
            <a:br>
              <a:rPr lang="en-US" kern="0" dirty="0"/>
            </a:br>
            <a:r>
              <a:rPr lang="en-US" kern="0" dirty="0"/>
              <a:t>operational data</a:t>
            </a:r>
          </a:p>
          <a:p>
            <a:pPr>
              <a:defRPr/>
            </a:pPr>
            <a:endParaRPr lang="en-US" kern="0" dirty="0"/>
          </a:p>
        </p:txBody>
      </p:sp>
      <p:cxnSp>
        <p:nvCxnSpPr>
          <p:cNvPr id="117" name="Straight Arrow Connector 116"/>
          <p:cNvCxnSpPr/>
          <p:nvPr/>
        </p:nvCxnSpPr>
        <p:spPr>
          <a:xfrm flipV="1">
            <a:off x="6038798" y="5390119"/>
            <a:ext cx="905479" cy="52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flipV="1">
            <a:off x="1600993" y="5294833"/>
            <a:ext cx="1167596" cy="8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9" name="TextBox 118"/>
          <p:cNvSpPr txBox="1"/>
          <p:nvPr/>
        </p:nvSpPr>
        <p:spPr>
          <a:xfrm>
            <a:off x="5841043" y="5039954"/>
            <a:ext cx="1132761" cy="296588"/>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Real-Time</a:t>
            </a:r>
            <a:b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 Information</a:t>
            </a:r>
          </a:p>
        </p:txBody>
      </p:sp>
      <p:grpSp>
        <p:nvGrpSpPr>
          <p:cNvPr id="37" name="Group 36"/>
          <p:cNvGrpSpPr/>
          <p:nvPr/>
        </p:nvGrpSpPr>
        <p:grpSpPr>
          <a:xfrm>
            <a:off x="2436015" y="4526334"/>
            <a:ext cx="3853786" cy="2099855"/>
            <a:chOff x="964817" y="4597468"/>
            <a:chExt cx="3853786" cy="2099855"/>
          </a:xfrm>
        </p:grpSpPr>
        <p:sp>
          <p:nvSpPr>
            <p:cNvPr id="142" name="Oval 209"/>
            <p:cNvSpPr/>
            <p:nvPr/>
          </p:nvSpPr>
          <p:spPr bwMode="auto">
            <a:xfrm>
              <a:off x="964817" y="4597468"/>
              <a:ext cx="3853786" cy="2099855"/>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850864">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grpSp>
          <p:nvGrpSpPr>
            <p:cNvPr id="146" name="Group 145"/>
            <p:cNvGrpSpPr/>
            <p:nvPr/>
          </p:nvGrpSpPr>
          <p:grpSpPr>
            <a:xfrm>
              <a:off x="2877691" y="5874596"/>
              <a:ext cx="965696" cy="580539"/>
              <a:chOff x="5443447" y="4894807"/>
              <a:chExt cx="965696" cy="580539"/>
            </a:xfrm>
          </p:grpSpPr>
          <p:pic>
            <p:nvPicPr>
              <p:cNvPr id="199" name="Picture 198"/>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736661" y="4894807"/>
                <a:ext cx="379268" cy="379268"/>
              </a:xfrm>
              <a:prstGeom prst="rect">
                <a:avLst/>
              </a:prstGeom>
            </p:spPr>
          </p:pic>
          <p:sp>
            <p:nvSpPr>
              <p:cNvPr id="200" name="TextBox 199"/>
              <p:cNvSpPr txBox="1"/>
              <p:nvPr/>
            </p:nvSpPr>
            <p:spPr>
              <a:xfrm>
                <a:off x="5443447" y="5221763"/>
                <a:ext cx="965696" cy="253583"/>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torage</a:t>
                </a:r>
              </a:p>
            </p:txBody>
          </p:sp>
        </p:grpSp>
        <p:grpSp>
          <p:nvGrpSpPr>
            <p:cNvPr id="147" name="Group 146"/>
            <p:cNvGrpSpPr/>
            <p:nvPr/>
          </p:nvGrpSpPr>
          <p:grpSpPr>
            <a:xfrm>
              <a:off x="3725381" y="5803130"/>
              <a:ext cx="1020867" cy="660110"/>
              <a:chOff x="6896622" y="4121051"/>
              <a:chExt cx="1020867" cy="660110"/>
            </a:xfrm>
          </p:grpSpPr>
          <p:sp>
            <p:nvSpPr>
              <p:cNvPr id="197" name="TextBox 196"/>
              <p:cNvSpPr txBox="1"/>
              <p:nvPr/>
            </p:nvSpPr>
            <p:spPr>
              <a:xfrm>
                <a:off x="6896622" y="4534940"/>
                <a:ext cx="1020867"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QL DB</a:t>
                </a:r>
              </a:p>
            </p:txBody>
          </p:sp>
          <p:pic>
            <p:nvPicPr>
              <p:cNvPr id="198" name="Picture 197"/>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7216722" y="4121051"/>
                <a:ext cx="380667" cy="380667"/>
              </a:xfrm>
              <a:prstGeom prst="rect">
                <a:avLst/>
              </a:prstGeom>
            </p:spPr>
          </p:pic>
        </p:grpSp>
        <p:grpSp>
          <p:nvGrpSpPr>
            <p:cNvPr id="151" name="Group 150"/>
            <p:cNvGrpSpPr/>
            <p:nvPr/>
          </p:nvGrpSpPr>
          <p:grpSpPr>
            <a:xfrm>
              <a:off x="1545272" y="5209788"/>
              <a:ext cx="837621" cy="580578"/>
              <a:chOff x="6577080" y="4861865"/>
              <a:chExt cx="837621" cy="580578"/>
            </a:xfrm>
          </p:grpSpPr>
          <p:sp>
            <p:nvSpPr>
              <p:cNvPr id="193" name="TextBox 192"/>
              <p:cNvSpPr txBox="1"/>
              <p:nvPr/>
            </p:nvSpPr>
            <p:spPr>
              <a:xfrm>
                <a:off x="6577080" y="5196222"/>
                <a:ext cx="837621"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Files</a:t>
                </a:r>
              </a:p>
            </p:txBody>
          </p:sp>
          <p:pic>
            <p:nvPicPr>
              <p:cNvPr id="194" name="Picture 193"/>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806328" y="4861865"/>
                <a:ext cx="379125" cy="379125"/>
              </a:xfrm>
              <a:prstGeom prst="rect">
                <a:avLst/>
              </a:prstGeom>
            </p:spPr>
          </p:pic>
        </p:grpSp>
        <p:grpSp>
          <p:nvGrpSpPr>
            <p:cNvPr id="159" name="Group 158"/>
            <p:cNvGrpSpPr/>
            <p:nvPr/>
          </p:nvGrpSpPr>
          <p:grpSpPr>
            <a:xfrm>
              <a:off x="1579568" y="5822245"/>
              <a:ext cx="760737" cy="764184"/>
              <a:chOff x="6069689" y="5399290"/>
              <a:chExt cx="760737" cy="764184"/>
            </a:xfrm>
          </p:grpSpPr>
          <p:sp>
            <p:nvSpPr>
              <p:cNvPr id="189" name="TextBox 188"/>
              <p:cNvSpPr txBox="1"/>
              <p:nvPr/>
            </p:nvSpPr>
            <p:spPr>
              <a:xfrm>
                <a:off x="6069689" y="5763364"/>
                <a:ext cx="760737" cy="400110"/>
              </a:xfrm>
              <a:prstGeom prst="rect">
                <a:avLst/>
              </a:prstGeom>
            </p:spPr>
            <p:txBody>
              <a:bodyPr vert="horz" wrap="square" lIns="45720" tIns="45720" rIns="45720" bIns="4572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a:solidFill>
                      <a:prstClr val="white"/>
                    </a:solidFill>
                  </a:rPr>
                  <a:t>Stream</a:t>
                </a:r>
                <a:br>
                  <a:rPr lang="en-US" sz="1000" kern="0" dirty="0">
                    <a:solidFill>
                      <a:prstClr val="white"/>
                    </a:solidFill>
                  </a:rPr>
                </a:br>
                <a:r>
                  <a:rPr lang="en-US" sz="1000" kern="0" dirty="0">
                    <a:solidFill>
                      <a:prstClr val="white"/>
                    </a:solidFill>
                  </a:rPr>
                  <a:t>Analytics</a:t>
                </a:r>
              </a:p>
            </p:txBody>
          </p:sp>
          <p:pic>
            <p:nvPicPr>
              <p:cNvPr id="190" name="Picture 189"/>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196549" y="5399290"/>
                <a:ext cx="507016" cy="507016"/>
              </a:xfrm>
              <a:prstGeom prst="rect">
                <a:avLst/>
              </a:prstGeom>
            </p:spPr>
          </p:pic>
        </p:grpSp>
        <p:grpSp>
          <p:nvGrpSpPr>
            <p:cNvPr id="160" name="Group 159"/>
            <p:cNvGrpSpPr/>
            <p:nvPr/>
          </p:nvGrpSpPr>
          <p:grpSpPr>
            <a:xfrm>
              <a:off x="1131303" y="5808015"/>
              <a:ext cx="553278" cy="778414"/>
              <a:chOff x="4775557" y="5260774"/>
              <a:chExt cx="553278" cy="778414"/>
            </a:xfrm>
          </p:grpSpPr>
          <p:pic>
            <p:nvPicPr>
              <p:cNvPr id="187" name="Picture 186"/>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4857298" y="5260774"/>
                <a:ext cx="389797" cy="389797"/>
              </a:xfrm>
              <a:prstGeom prst="rect">
                <a:avLst/>
              </a:prstGeom>
            </p:spPr>
          </p:pic>
          <p:sp>
            <p:nvSpPr>
              <p:cNvPr id="188" name="TextBox 187"/>
              <p:cNvSpPr txBox="1"/>
              <p:nvPr/>
            </p:nvSpPr>
            <p:spPr>
              <a:xfrm>
                <a:off x="4775557" y="5639078"/>
                <a:ext cx="553278" cy="400110"/>
              </a:xfrm>
              <a:prstGeom prst="rect">
                <a:avLst/>
              </a:prstGeom>
            </p:spPr>
            <p:txBody>
              <a:bodyPr vert="horz" wrap="square" lIns="45720" tIns="45720" rIns="45720" bIns="4572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a:solidFill>
                      <a:prstClr val="white"/>
                    </a:solidFill>
                  </a:rPr>
                  <a:t>Event</a:t>
                </a:r>
                <a:br>
                  <a:rPr lang="en-US" sz="1000" kern="0" dirty="0">
                    <a:solidFill>
                      <a:prstClr val="white"/>
                    </a:solidFill>
                  </a:rPr>
                </a:br>
                <a:r>
                  <a:rPr lang="en-US" sz="1000" kern="0" dirty="0">
                    <a:solidFill>
                      <a:prstClr val="white"/>
                    </a:solidFill>
                  </a:rPr>
                  <a:t>Hubs</a:t>
                </a:r>
              </a:p>
            </p:txBody>
          </p:sp>
        </p:grpSp>
        <p:sp>
          <p:nvSpPr>
            <p:cNvPr id="120" name="Text Placeholder 5"/>
            <p:cNvSpPr txBox="1">
              <a:spLocks/>
            </p:cNvSpPr>
            <p:nvPr/>
          </p:nvSpPr>
          <p:spPr>
            <a:xfrm>
              <a:off x="2214769" y="5131448"/>
              <a:ext cx="1918000" cy="694017"/>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defRPr/>
              </a:pPr>
              <a:r>
                <a:rPr lang="en-US" b="1" dirty="0" err="1">
                  <a:solidFill>
                    <a:prstClr val="white"/>
                  </a:solidFill>
                </a:rPr>
                <a:t>IoT</a:t>
              </a:r>
              <a:r>
                <a:rPr lang="en-US" b="1" dirty="0">
                  <a:solidFill>
                    <a:prstClr val="white"/>
                  </a:solidFill>
                </a:rPr>
                <a:t> Suite</a:t>
              </a:r>
            </a:p>
          </p:txBody>
        </p:sp>
        <p:grpSp>
          <p:nvGrpSpPr>
            <p:cNvPr id="149" name="Group 148"/>
            <p:cNvGrpSpPr/>
            <p:nvPr/>
          </p:nvGrpSpPr>
          <p:grpSpPr>
            <a:xfrm>
              <a:off x="2296882" y="5844547"/>
              <a:ext cx="634148" cy="598106"/>
              <a:chOff x="8915378" y="5385005"/>
              <a:chExt cx="634148" cy="598106"/>
            </a:xfrm>
          </p:grpSpPr>
          <p:pic>
            <p:nvPicPr>
              <p:cNvPr id="150" name="Picture 149"/>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9026089" y="5385005"/>
                <a:ext cx="413553" cy="413553"/>
              </a:xfrm>
              <a:prstGeom prst="rect">
                <a:avLst/>
              </a:prstGeom>
            </p:spPr>
          </p:pic>
          <p:sp>
            <p:nvSpPr>
              <p:cNvPr id="152" name="TextBox 151"/>
              <p:cNvSpPr txBox="1"/>
              <p:nvPr/>
            </p:nvSpPr>
            <p:spPr>
              <a:xfrm>
                <a:off x="8915378" y="5736890"/>
                <a:ext cx="634148" cy="246221"/>
              </a:xfrm>
              <a:prstGeom prst="rect">
                <a:avLst/>
              </a:prstGeom>
            </p:spPr>
            <p:txBody>
              <a:bodyPr vert="horz" wrap="none" lIns="45720" tIns="45720" rIns="45720" bIns="45720" rtlCol="0" anchor="ctr">
                <a:sp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err="1">
                    <a:solidFill>
                      <a:prstClr val="white"/>
                    </a:solidFill>
                  </a:rPr>
                  <a:t>HDStorm</a:t>
                </a:r>
                <a:endParaRPr lang="en-US" sz="1000" kern="0" dirty="0">
                  <a:solidFill>
                    <a:prstClr val="white"/>
                  </a:solidFill>
                </a:endParaRPr>
              </a:p>
            </p:txBody>
          </p:sp>
        </p:grpSp>
      </p:grpSp>
      <p:grpSp>
        <p:nvGrpSpPr>
          <p:cNvPr id="36" name="Group 35"/>
          <p:cNvGrpSpPr/>
          <p:nvPr/>
        </p:nvGrpSpPr>
        <p:grpSpPr>
          <a:xfrm>
            <a:off x="7019313" y="4228805"/>
            <a:ext cx="4282940" cy="2399649"/>
            <a:chOff x="5388169" y="4317676"/>
            <a:chExt cx="4282940" cy="2399649"/>
          </a:xfrm>
        </p:grpSpPr>
        <p:sp>
          <p:nvSpPr>
            <p:cNvPr id="122" name="Oval 209"/>
            <p:cNvSpPr/>
            <p:nvPr/>
          </p:nvSpPr>
          <p:spPr bwMode="auto">
            <a:xfrm>
              <a:off x="5388169" y="4317676"/>
              <a:ext cx="4282940" cy="2399649"/>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850864">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grpSp>
          <p:nvGrpSpPr>
            <p:cNvPr id="123" name="Group 122"/>
            <p:cNvGrpSpPr/>
            <p:nvPr/>
          </p:nvGrpSpPr>
          <p:grpSpPr>
            <a:xfrm>
              <a:off x="5504524" y="5803130"/>
              <a:ext cx="965696" cy="580539"/>
              <a:chOff x="5443447" y="4894807"/>
              <a:chExt cx="965696" cy="580539"/>
            </a:xfrm>
          </p:grpSpPr>
          <p:pic>
            <p:nvPicPr>
              <p:cNvPr id="144" name="Picture 143"/>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5736661" y="4894807"/>
                <a:ext cx="379268" cy="379268"/>
              </a:xfrm>
              <a:prstGeom prst="rect">
                <a:avLst/>
              </a:prstGeom>
            </p:spPr>
          </p:pic>
          <p:sp>
            <p:nvSpPr>
              <p:cNvPr id="145" name="TextBox 144"/>
              <p:cNvSpPr txBox="1"/>
              <p:nvPr/>
            </p:nvSpPr>
            <p:spPr>
              <a:xfrm>
                <a:off x="5443447" y="5221763"/>
                <a:ext cx="965696" cy="253583"/>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torage</a:t>
                </a:r>
              </a:p>
            </p:txBody>
          </p:sp>
        </p:grpSp>
        <p:grpSp>
          <p:nvGrpSpPr>
            <p:cNvPr id="124" name="Group 123"/>
            <p:cNvGrpSpPr/>
            <p:nvPr/>
          </p:nvGrpSpPr>
          <p:grpSpPr>
            <a:xfrm>
              <a:off x="7112221" y="5953267"/>
              <a:ext cx="1020867" cy="660110"/>
              <a:chOff x="6896622" y="4121051"/>
              <a:chExt cx="1020867" cy="660110"/>
            </a:xfrm>
          </p:grpSpPr>
          <p:sp>
            <p:nvSpPr>
              <p:cNvPr id="140" name="TextBox 139"/>
              <p:cNvSpPr txBox="1"/>
              <p:nvPr/>
            </p:nvSpPr>
            <p:spPr>
              <a:xfrm>
                <a:off x="6896622" y="4534940"/>
                <a:ext cx="1020867"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SQL DB</a:t>
                </a:r>
              </a:p>
            </p:txBody>
          </p:sp>
          <p:pic>
            <p:nvPicPr>
              <p:cNvPr id="143" name="Picture 142"/>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7216722" y="4121051"/>
                <a:ext cx="380667" cy="380667"/>
              </a:xfrm>
              <a:prstGeom prst="rect">
                <a:avLst/>
              </a:prstGeom>
            </p:spPr>
          </p:pic>
        </p:grpSp>
        <p:grpSp>
          <p:nvGrpSpPr>
            <p:cNvPr id="125" name="Group 124"/>
            <p:cNvGrpSpPr/>
            <p:nvPr/>
          </p:nvGrpSpPr>
          <p:grpSpPr>
            <a:xfrm>
              <a:off x="6764423" y="5313039"/>
              <a:ext cx="837621" cy="580578"/>
              <a:chOff x="6577080" y="4861865"/>
              <a:chExt cx="837621" cy="580578"/>
            </a:xfrm>
          </p:grpSpPr>
          <p:sp>
            <p:nvSpPr>
              <p:cNvPr id="138" name="TextBox 137"/>
              <p:cNvSpPr txBox="1"/>
              <p:nvPr/>
            </p:nvSpPr>
            <p:spPr>
              <a:xfrm>
                <a:off x="6577080" y="5196222"/>
                <a:ext cx="837621" cy="246221"/>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Azure Files</a:t>
                </a:r>
              </a:p>
            </p:txBody>
          </p:sp>
          <p:pic>
            <p:nvPicPr>
              <p:cNvPr id="139" name="Picture 138"/>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806328" y="4861865"/>
                <a:ext cx="379125" cy="379125"/>
              </a:xfrm>
              <a:prstGeom prst="rect">
                <a:avLst/>
              </a:prstGeom>
            </p:spPr>
          </p:pic>
        </p:grpSp>
        <p:grpSp>
          <p:nvGrpSpPr>
            <p:cNvPr id="128" name="Group 127"/>
            <p:cNvGrpSpPr/>
            <p:nvPr/>
          </p:nvGrpSpPr>
          <p:grpSpPr>
            <a:xfrm>
              <a:off x="6443764" y="5956602"/>
              <a:ext cx="681060" cy="613211"/>
              <a:chOff x="6920654" y="5464441"/>
              <a:chExt cx="681060" cy="613211"/>
            </a:xfrm>
          </p:grpSpPr>
          <p:pic>
            <p:nvPicPr>
              <p:cNvPr id="130" name="Picture 129"/>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7054408" y="5464441"/>
                <a:ext cx="413553" cy="413553"/>
              </a:xfrm>
              <a:prstGeom prst="rect">
                <a:avLst/>
              </a:prstGeom>
            </p:spPr>
          </p:pic>
          <p:sp>
            <p:nvSpPr>
              <p:cNvPr id="131" name="TextBox 130"/>
              <p:cNvSpPr txBox="1"/>
              <p:nvPr/>
            </p:nvSpPr>
            <p:spPr>
              <a:xfrm>
                <a:off x="6920654" y="5831431"/>
                <a:ext cx="681060" cy="246221"/>
              </a:xfrm>
              <a:prstGeom prst="rect">
                <a:avLst/>
              </a:prstGeom>
            </p:spPr>
            <p:txBody>
              <a:bodyPr vert="horz" wrap="square" lIns="45720" tIns="45720" rIns="45720" bIns="45720"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err="1">
                    <a:solidFill>
                      <a:prstClr val="white"/>
                    </a:solidFill>
                  </a:rPr>
                  <a:t>HDInsight</a:t>
                </a:r>
                <a:endParaRPr lang="en-US" sz="1000" kern="0" dirty="0">
                  <a:solidFill>
                    <a:prstClr val="white"/>
                  </a:solidFill>
                </a:endParaRPr>
              </a:p>
            </p:txBody>
          </p:sp>
        </p:grpSp>
        <p:sp>
          <p:nvSpPr>
            <p:cNvPr id="129" name="Text Placeholder 5"/>
            <p:cNvSpPr txBox="1">
              <a:spLocks/>
            </p:cNvSpPr>
            <p:nvPr/>
          </p:nvSpPr>
          <p:spPr>
            <a:xfrm>
              <a:off x="6795463" y="4411807"/>
              <a:ext cx="1766289" cy="694017"/>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a:defRPr/>
              </a:pPr>
              <a:r>
                <a:rPr lang="en-US" b="1" dirty="0">
                  <a:solidFill>
                    <a:prstClr val="white"/>
                  </a:solidFill>
                </a:rPr>
                <a:t>Cortana</a:t>
              </a:r>
              <a:br>
                <a:rPr lang="en-US" b="1" dirty="0">
                  <a:solidFill>
                    <a:prstClr val="white"/>
                  </a:solidFill>
                </a:rPr>
              </a:br>
              <a:r>
                <a:rPr lang="en-US" b="1" dirty="0">
                  <a:solidFill>
                    <a:prstClr val="white"/>
                  </a:solidFill>
                </a:rPr>
                <a:t>Analytics</a:t>
              </a:r>
            </a:p>
          </p:txBody>
        </p:sp>
        <p:grpSp>
          <p:nvGrpSpPr>
            <p:cNvPr id="156" name="Group 155"/>
            <p:cNvGrpSpPr/>
            <p:nvPr/>
          </p:nvGrpSpPr>
          <p:grpSpPr>
            <a:xfrm>
              <a:off x="7846474" y="5394104"/>
              <a:ext cx="1001236" cy="765406"/>
              <a:chOff x="10381995" y="5363022"/>
              <a:chExt cx="1001236" cy="765406"/>
            </a:xfrm>
          </p:grpSpPr>
          <p:pic>
            <p:nvPicPr>
              <p:cNvPr id="157" name="Picture 156"/>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10703105" y="5363022"/>
                <a:ext cx="359016" cy="359016"/>
              </a:xfrm>
              <a:prstGeom prst="rect">
                <a:avLst/>
              </a:prstGeom>
            </p:spPr>
          </p:pic>
          <p:sp>
            <p:nvSpPr>
              <p:cNvPr id="174" name="TextBox 173"/>
              <p:cNvSpPr txBox="1"/>
              <p:nvPr/>
            </p:nvSpPr>
            <p:spPr>
              <a:xfrm>
                <a:off x="10381995" y="5728318"/>
                <a:ext cx="1001236" cy="400110"/>
              </a:xfrm>
              <a:prstGeom prst="rect">
                <a:avLst/>
              </a:prstGeom>
            </p:spPr>
            <p:txBody>
              <a:bodyPr vert="horz" wrap="none" lIns="45720" tIns="45720" rIns="45720" bIns="45720" rtlCol="0" anchor="ctr">
                <a:sp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sz="1000" kern="0" dirty="0">
                    <a:solidFill>
                      <a:prstClr val="white"/>
                    </a:solidFill>
                  </a:rPr>
                  <a:t>Azure Machine </a:t>
                </a:r>
                <a:br>
                  <a:rPr lang="en-US" sz="1000" kern="0" dirty="0">
                    <a:solidFill>
                      <a:prstClr val="white"/>
                    </a:solidFill>
                  </a:rPr>
                </a:br>
                <a:r>
                  <a:rPr lang="en-US" sz="1000" kern="0" dirty="0">
                    <a:solidFill>
                      <a:prstClr val="white"/>
                    </a:solidFill>
                  </a:rPr>
                  <a:t>Learning</a:t>
                </a:r>
              </a:p>
            </p:txBody>
          </p:sp>
        </p:grpSp>
        <p:grpSp>
          <p:nvGrpSpPr>
            <p:cNvPr id="175" name="Group 174"/>
            <p:cNvGrpSpPr/>
            <p:nvPr/>
          </p:nvGrpSpPr>
          <p:grpSpPr>
            <a:xfrm>
              <a:off x="8903503" y="5947766"/>
              <a:ext cx="480901" cy="601769"/>
              <a:chOff x="4062348" y="228228"/>
              <a:chExt cx="480901" cy="601769"/>
            </a:xfrm>
          </p:grpSpPr>
          <p:sp>
            <p:nvSpPr>
              <p:cNvPr id="176" name="TextBox 175"/>
              <p:cNvSpPr txBox="1"/>
              <p:nvPr/>
            </p:nvSpPr>
            <p:spPr>
              <a:xfrm>
                <a:off x="4062348" y="676109"/>
                <a:ext cx="480901" cy="153888"/>
              </a:xfrm>
              <a:prstGeom prst="rect">
                <a:avLst/>
              </a:prstGeom>
            </p:spPr>
            <p:txBody>
              <a:bodyPr vert="horz" wrap="none" lIns="0" tIns="0" rIns="0" bIns="0" rtlCol="0" anchor="ctr">
                <a:spAutoFit/>
              </a:bodyPr>
              <a:lstStyle/>
              <a:p>
                <a:pPr algn="ctr" defTabSz="1088105">
                  <a:defRPr/>
                </a:pPr>
                <a:r>
                  <a:rPr lang="en-US" sz="1000" kern="0" dirty="0" err="1">
                    <a:solidFill>
                      <a:prstClr val="white"/>
                    </a:solidFill>
                    <a:latin typeface="Segoe UI Semibold" panose="020B0702040204020203" pitchFamily="34" charset="0"/>
                    <a:ea typeface="Segoe UI" pitchFamily="34" charset="0"/>
                    <a:cs typeface="Segoe UI Semibold" panose="020B0702040204020203" pitchFamily="34" charset="0"/>
                  </a:rPr>
                  <a:t>PowerBI</a:t>
                </a:r>
                <a:endPar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endParaRPr>
              </a:p>
            </p:txBody>
          </p:sp>
          <p:pic>
            <p:nvPicPr>
              <p:cNvPr id="177" name="Picture 176"/>
              <p:cNvPicPr>
                <a:picLocks noChangeAspect="1"/>
              </p:cNvPicPr>
              <p:nvPr/>
            </p:nvPicPr>
            <p:blipFill rotWithShape="1">
              <a:blip r:embed="rId14" cstate="print">
                <a:extLst>
                  <a:ext uri="{28A0092B-C50C-407E-A947-70E740481C1C}">
                    <a14:useLocalDpi xmlns:a14="http://schemas.microsoft.com/office/drawing/2010/main" val="0"/>
                  </a:ext>
                </a:extLst>
              </a:blip>
              <a:srcRect t="-1" r="-9452" b="-4026"/>
              <a:stretch/>
            </p:blipFill>
            <p:spPr>
              <a:xfrm>
                <a:off x="4109805" y="228228"/>
                <a:ext cx="423810" cy="411287"/>
              </a:xfrm>
              <a:prstGeom prst="rect">
                <a:avLst/>
              </a:prstGeom>
            </p:spPr>
          </p:pic>
        </p:grpSp>
        <p:grpSp>
          <p:nvGrpSpPr>
            <p:cNvPr id="179" name="Group 178"/>
            <p:cNvGrpSpPr/>
            <p:nvPr/>
          </p:nvGrpSpPr>
          <p:grpSpPr>
            <a:xfrm>
              <a:off x="5984954" y="5086508"/>
              <a:ext cx="737381" cy="573661"/>
              <a:chOff x="6069364" y="3999345"/>
              <a:chExt cx="737381" cy="573661"/>
            </a:xfrm>
          </p:grpSpPr>
          <p:pic>
            <p:nvPicPr>
              <p:cNvPr id="180" name="Picture 179"/>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30476" y="3999345"/>
                <a:ext cx="401119" cy="401119"/>
              </a:xfrm>
              <a:prstGeom prst="rect">
                <a:avLst/>
              </a:prstGeom>
            </p:spPr>
          </p:pic>
          <p:sp>
            <p:nvSpPr>
              <p:cNvPr id="181" name="TextBox 180"/>
              <p:cNvSpPr txBox="1"/>
              <p:nvPr/>
            </p:nvSpPr>
            <p:spPr>
              <a:xfrm>
                <a:off x="6069364" y="4419118"/>
                <a:ext cx="737381" cy="153888"/>
              </a:xfrm>
              <a:prstGeom prst="rect">
                <a:avLst/>
              </a:prstGeom>
            </p:spPr>
            <p:txBody>
              <a:bodyPr vert="horz" wrap="none" lIns="0" tIns="0" rIns="0" bIns="0" rtlCol="0" anchor="ctr">
                <a:spAutoFit/>
              </a:bodyPr>
              <a:lstStyle/>
              <a:p>
                <a:pPr algn="ctr" defTabSz="1088105">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ata Factory</a:t>
                </a:r>
              </a:p>
            </p:txBody>
          </p:sp>
        </p:grpSp>
      </p:grpSp>
      <p:sp>
        <p:nvSpPr>
          <p:cNvPr id="115" name="TextBox 114"/>
          <p:cNvSpPr txBox="1"/>
          <p:nvPr/>
        </p:nvSpPr>
        <p:spPr>
          <a:xfrm>
            <a:off x="354794" y="5905459"/>
            <a:ext cx="1948186" cy="276999"/>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Real-time contextual data Weather &amp; environmental conditions</a:t>
            </a:r>
          </a:p>
        </p:txBody>
      </p:sp>
      <p:cxnSp>
        <p:nvCxnSpPr>
          <p:cNvPr id="116" name="Straight Arrow Connector 115"/>
          <p:cNvCxnSpPr/>
          <p:nvPr/>
        </p:nvCxnSpPr>
        <p:spPr>
          <a:xfrm rot="18133814">
            <a:off x="851140" y="5623822"/>
            <a:ext cx="952331" cy="15177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5" name="TextBox 184"/>
          <p:cNvSpPr txBox="1"/>
          <p:nvPr/>
        </p:nvSpPr>
        <p:spPr>
          <a:xfrm>
            <a:off x="7837403" y="2748739"/>
            <a:ext cx="787415" cy="321234"/>
          </a:xfrm>
          <a:prstGeom prst="rect">
            <a:avLst/>
          </a:prstGeom>
        </p:spPr>
        <p:txBody>
          <a:bodyPr vert="horz" wrap="square" lIns="45720" tIns="45720" rIns="45720" bIns="45720" rtlCol="0" anchor="ctr">
            <a:noAutofit/>
          </a:bodyPr>
          <a:lstStyle/>
          <a:p>
            <a:pPr algn="ctr" defTabSz="1088105">
              <a:defRPr/>
            </a:pPr>
            <a:endPar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sp>
        <p:nvSpPr>
          <p:cNvPr id="195" name="TextBox 194"/>
          <p:cNvSpPr txBox="1"/>
          <p:nvPr/>
        </p:nvSpPr>
        <p:spPr>
          <a:xfrm rot="20241356">
            <a:off x="3070906" y="3040139"/>
            <a:ext cx="787415" cy="321234"/>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Alerts</a:t>
            </a:r>
          </a:p>
        </p:txBody>
      </p:sp>
      <p:cxnSp>
        <p:nvCxnSpPr>
          <p:cNvPr id="196" name="Straight Arrow Connector 195"/>
          <p:cNvCxnSpPr/>
          <p:nvPr/>
        </p:nvCxnSpPr>
        <p:spPr>
          <a:xfrm rot="20241356" flipH="1" flipV="1">
            <a:off x="3152587" y="3158072"/>
            <a:ext cx="1338261" cy="30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5" name="TextBox 224"/>
          <p:cNvSpPr txBox="1"/>
          <p:nvPr/>
        </p:nvSpPr>
        <p:spPr>
          <a:xfrm rot="20241356">
            <a:off x="2920119" y="2332875"/>
            <a:ext cx="1912007" cy="260284"/>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Request Submission</a:t>
            </a:r>
          </a:p>
        </p:txBody>
      </p:sp>
      <p:cxnSp>
        <p:nvCxnSpPr>
          <p:cNvPr id="226" name="Straight Arrow Connector 225"/>
          <p:cNvCxnSpPr/>
          <p:nvPr/>
        </p:nvCxnSpPr>
        <p:spPr>
          <a:xfrm rot="20241356">
            <a:off x="3067825" y="2569093"/>
            <a:ext cx="1631452" cy="16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8" name="TextBox 227"/>
          <p:cNvSpPr txBox="1"/>
          <p:nvPr/>
        </p:nvSpPr>
        <p:spPr>
          <a:xfrm>
            <a:off x="5068897" y="3138377"/>
            <a:ext cx="3212935" cy="499684"/>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Information portals, dashboards, Mobile Knowledge &amp; Workflow Applications</a:t>
            </a:r>
          </a:p>
        </p:txBody>
      </p:sp>
      <p:pic>
        <p:nvPicPr>
          <p:cNvPr id="183" name="Picture 3"/>
          <p:cNvPicPr>
            <a:picLocks noChangeAspect="1" noChangeArrowheads="1"/>
          </p:cNvPicPr>
          <p:nvPr/>
        </p:nvPicPr>
        <p:blipFill>
          <a:blip r:embed="rId16" cstate="screen">
            <a:extLst>
              <a:ext uri="{28A0092B-C50C-407E-A947-70E740481C1C}">
                <a14:useLocalDpi xmlns:a14="http://schemas.microsoft.com/office/drawing/2010/main"/>
              </a:ext>
            </a:extLst>
          </a:blip>
          <a:stretch>
            <a:fillRect/>
          </a:stretch>
        </p:blipFill>
        <p:spPr bwMode="auto">
          <a:xfrm>
            <a:off x="7067405" y="2869347"/>
            <a:ext cx="1227786" cy="243920"/>
          </a:xfrm>
          <a:prstGeom prst="rect">
            <a:avLst/>
          </a:prstGeom>
          <a:noFill/>
          <a:extLst>
            <a:ext uri="{909E8E84-426E-40DD-AFC4-6F175D3DCCD1}">
              <a14:hiddenFill xmlns:a14="http://schemas.microsoft.com/office/drawing/2010/main">
                <a:solidFill>
                  <a:srgbClr val="FFFFFF"/>
                </a:solidFill>
              </a14:hiddenFill>
            </a:ext>
          </a:extLst>
        </p:spPr>
      </p:pic>
      <p:grpSp>
        <p:nvGrpSpPr>
          <p:cNvPr id="191" name="Group 190"/>
          <p:cNvGrpSpPr/>
          <p:nvPr/>
        </p:nvGrpSpPr>
        <p:grpSpPr>
          <a:xfrm>
            <a:off x="6242284" y="1317653"/>
            <a:ext cx="731520" cy="678575"/>
            <a:chOff x="6441189" y="3852400"/>
            <a:chExt cx="731520" cy="678575"/>
          </a:xfrm>
        </p:grpSpPr>
        <p:sp>
          <p:nvSpPr>
            <p:cNvPr id="192" name="TextBox 191"/>
            <p:cNvSpPr txBox="1"/>
            <p:nvPr/>
          </p:nvSpPr>
          <p:spPr>
            <a:xfrm>
              <a:off x="6441189" y="4266469"/>
              <a:ext cx="731520" cy="264506"/>
            </a:xfrm>
            <a:prstGeom prst="rect">
              <a:avLst/>
            </a:prstGeom>
          </p:spPr>
          <p:txBody>
            <a:bodyPr vert="horz" wrap="square" lIns="45720" tIns="45720" rIns="45720" bIns="4572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CRM Online</a:t>
              </a:r>
            </a:p>
          </p:txBody>
        </p:sp>
        <p:pic>
          <p:nvPicPr>
            <p:cNvPr id="229" name="Picture 228"/>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6591731" y="3852400"/>
              <a:ext cx="430437" cy="430437"/>
            </a:xfrm>
            <a:prstGeom prst="rect">
              <a:avLst/>
            </a:prstGeom>
          </p:spPr>
        </p:pic>
      </p:grpSp>
      <p:grpSp>
        <p:nvGrpSpPr>
          <p:cNvPr id="230" name="Group 229"/>
          <p:cNvGrpSpPr/>
          <p:nvPr/>
        </p:nvGrpSpPr>
        <p:grpSpPr>
          <a:xfrm>
            <a:off x="6960502" y="1323441"/>
            <a:ext cx="764633" cy="570714"/>
            <a:chOff x="6032291" y="1671385"/>
            <a:chExt cx="764633" cy="570714"/>
          </a:xfrm>
        </p:grpSpPr>
        <p:pic>
          <p:nvPicPr>
            <p:cNvPr id="231" name="Picture 2" descr="Deploy Microsoft Dynamics AX on Azure"/>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218319" y="1671385"/>
              <a:ext cx="392579" cy="388014"/>
            </a:xfrm>
            <a:prstGeom prst="rect">
              <a:avLst/>
            </a:prstGeom>
            <a:noFill/>
            <a:extLst>
              <a:ext uri="{909E8E84-426E-40DD-AFC4-6F175D3DCCD1}">
                <a14:hiddenFill xmlns:a14="http://schemas.microsoft.com/office/drawing/2010/main">
                  <a:solidFill>
                    <a:srgbClr val="FFFFFF"/>
                  </a:solidFill>
                </a14:hiddenFill>
              </a:ext>
            </a:extLst>
          </p:spPr>
        </p:pic>
        <p:sp>
          <p:nvSpPr>
            <p:cNvPr id="234" name="TextBox 233"/>
            <p:cNvSpPr txBox="1"/>
            <p:nvPr/>
          </p:nvSpPr>
          <p:spPr>
            <a:xfrm>
              <a:off x="6032291" y="2088211"/>
              <a:ext cx="764633" cy="153888"/>
            </a:xfrm>
            <a:prstGeom prst="rect">
              <a:avLst/>
            </a:prstGeom>
          </p:spPr>
          <p:txBody>
            <a:bodyPr vert="horz" wrap="none" lIns="0" tIns="0" rIns="0" bIns="0" rtlCol="0" anchor="ctr">
              <a:spAutoFit/>
            </a:bodyPr>
            <a:lstStyle/>
            <a:p>
              <a:pPr algn="ctr" defTabSz="1088105">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ynamics AX</a:t>
              </a:r>
            </a:p>
          </p:txBody>
        </p:sp>
      </p:grpSp>
      <p:grpSp>
        <p:nvGrpSpPr>
          <p:cNvPr id="235" name="Group 234"/>
          <p:cNvGrpSpPr/>
          <p:nvPr/>
        </p:nvGrpSpPr>
        <p:grpSpPr>
          <a:xfrm>
            <a:off x="6047122" y="2341931"/>
            <a:ext cx="538515" cy="648411"/>
            <a:chOff x="7348585" y="3214897"/>
            <a:chExt cx="538515" cy="648411"/>
          </a:xfrm>
        </p:grpSpPr>
        <p:pic>
          <p:nvPicPr>
            <p:cNvPr id="236" name="Picture 235"/>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348585" y="3214897"/>
              <a:ext cx="538515" cy="538515"/>
            </a:xfrm>
            <a:prstGeom prst="rect">
              <a:avLst/>
            </a:prstGeom>
          </p:spPr>
        </p:pic>
        <p:sp>
          <p:nvSpPr>
            <p:cNvPr id="237" name="TextBox 236"/>
            <p:cNvSpPr txBox="1"/>
            <p:nvPr/>
          </p:nvSpPr>
          <p:spPr>
            <a:xfrm>
              <a:off x="7483191" y="3709420"/>
              <a:ext cx="269304" cy="153888"/>
            </a:xfrm>
            <a:prstGeom prst="rect">
              <a:avLst/>
            </a:prstGeom>
          </p:spPr>
          <p:txBody>
            <a:bodyPr vert="horz" wrap="none" lIns="0" tIns="0" rIns="0" bIns="0" rtlCol="0" anchor="ctr">
              <a:spAutoFit/>
            </a:bodyPr>
            <a:lstStyle/>
            <a:p>
              <a:pPr algn="ctr" defTabSz="1088105">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CDN</a:t>
              </a:r>
            </a:p>
          </p:txBody>
        </p:sp>
      </p:grpSp>
      <p:cxnSp>
        <p:nvCxnSpPr>
          <p:cNvPr id="238" name="Straight Arrow Connector 237"/>
          <p:cNvCxnSpPr/>
          <p:nvPr/>
        </p:nvCxnSpPr>
        <p:spPr>
          <a:xfrm rot="20241356" flipH="1" flipV="1">
            <a:off x="2957972" y="3744309"/>
            <a:ext cx="1592418" cy="48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9" name="TextBox 238"/>
          <p:cNvSpPr txBox="1"/>
          <p:nvPr/>
        </p:nvSpPr>
        <p:spPr>
          <a:xfrm rot="20241356">
            <a:off x="2763044" y="3512328"/>
            <a:ext cx="1888082" cy="288668"/>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Knowledge Sharing</a:t>
            </a:r>
          </a:p>
        </p:txBody>
      </p:sp>
      <p:cxnSp>
        <p:nvCxnSpPr>
          <p:cNvPr id="240" name="Straight Arrow Connector 239"/>
          <p:cNvCxnSpPr/>
          <p:nvPr/>
        </p:nvCxnSpPr>
        <p:spPr>
          <a:xfrm rot="20241356" flipH="1" flipV="1">
            <a:off x="3135566" y="2848100"/>
            <a:ext cx="1456845" cy="40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1" name="TextBox 240"/>
          <p:cNvSpPr txBox="1"/>
          <p:nvPr/>
        </p:nvSpPr>
        <p:spPr>
          <a:xfrm rot="20241356">
            <a:off x="2820430" y="2651144"/>
            <a:ext cx="1964577" cy="256649"/>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Status &amp; Tracking</a:t>
            </a:r>
          </a:p>
        </p:txBody>
      </p:sp>
      <p:sp>
        <p:nvSpPr>
          <p:cNvPr id="121" name="TextBox 120"/>
          <p:cNvSpPr txBox="1"/>
          <p:nvPr/>
        </p:nvSpPr>
        <p:spPr>
          <a:xfrm rot="19861699">
            <a:off x="7490641" y="1035839"/>
            <a:ext cx="1723038" cy="323703"/>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itizen Insight</a:t>
            </a:r>
          </a:p>
        </p:txBody>
      </p:sp>
      <p:cxnSp>
        <p:nvCxnSpPr>
          <p:cNvPr id="126" name="Straight Arrow Connector 125"/>
          <p:cNvCxnSpPr/>
          <p:nvPr/>
        </p:nvCxnSpPr>
        <p:spPr>
          <a:xfrm flipV="1">
            <a:off x="7965231" y="780219"/>
            <a:ext cx="1444481" cy="7969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7" name="TextBox 126"/>
          <p:cNvSpPr txBox="1"/>
          <p:nvPr/>
        </p:nvSpPr>
        <p:spPr>
          <a:xfrm rot="3368437">
            <a:off x="7145498" y="4006182"/>
            <a:ext cx="1723038" cy="323703"/>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Predictive Insight</a:t>
            </a:r>
          </a:p>
        </p:txBody>
      </p:sp>
      <p:cxnSp>
        <p:nvCxnSpPr>
          <p:cNvPr id="132" name="Straight Arrow Connector 131"/>
          <p:cNvCxnSpPr/>
          <p:nvPr/>
        </p:nvCxnSpPr>
        <p:spPr>
          <a:xfrm flipH="1" flipV="1">
            <a:off x="7505940" y="3727339"/>
            <a:ext cx="686811" cy="10213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3" name="TextBox 132"/>
          <p:cNvSpPr txBox="1"/>
          <p:nvPr/>
        </p:nvSpPr>
        <p:spPr>
          <a:xfrm rot="3368437">
            <a:off x="7567736" y="3865712"/>
            <a:ext cx="1723038" cy="323703"/>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Equipment</a:t>
            </a:r>
            <a:b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insight</a:t>
            </a:r>
          </a:p>
        </p:txBody>
      </p:sp>
      <p:cxnSp>
        <p:nvCxnSpPr>
          <p:cNvPr id="134" name="Straight Arrow Connector 133"/>
          <p:cNvCxnSpPr/>
          <p:nvPr/>
        </p:nvCxnSpPr>
        <p:spPr>
          <a:xfrm flipH="1" flipV="1">
            <a:off x="7940961" y="3673202"/>
            <a:ext cx="506639" cy="7533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92741" y="2299925"/>
            <a:ext cx="2912229" cy="2225552"/>
            <a:chOff x="209100" y="1062043"/>
            <a:chExt cx="2926096" cy="2314576"/>
          </a:xfrm>
        </p:grpSpPr>
        <p:pic>
          <p:nvPicPr>
            <p:cNvPr id="161" name="Picture 160"/>
            <p:cNvPicPr>
              <a:picLocks noChangeAspect="1"/>
            </p:cNvPicPr>
            <p:nvPr/>
          </p:nvPicPr>
          <p:blipFill>
            <a:blip r:embed="rId20"/>
            <a:stretch>
              <a:fillRect/>
            </a:stretch>
          </p:blipFill>
          <p:spPr>
            <a:xfrm>
              <a:off x="209100" y="1062043"/>
              <a:ext cx="2926096" cy="2314576"/>
            </a:xfrm>
            <a:prstGeom prst="rect">
              <a:avLst/>
            </a:prstGeom>
          </p:spPr>
        </p:pic>
        <p:grpSp>
          <p:nvGrpSpPr>
            <p:cNvPr id="164" name="Group 163"/>
            <p:cNvGrpSpPr/>
            <p:nvPr/>
          </p:nvGrpSpPr>
          <p:grpSpPr>
            <a:xfrm>
              <a:off x="1940346" y="2321360"/>
              <a:ext cx="827613" cy="569707"/>
              <a:chOff x="3464011" y="1938048"/>
              <a:chExt cx="1146334" cy="743538"/>
            </a:xfrm>
          </p:grpSpPr>
          <p:sp>
            <p:nvSpPr>
              <p:cNvPr id="245" name="Freeform 62"/>
              <p:cNvSpPr>
                <a:spLocks noChangeAspect="1" noEditPoints="1"/>
              </p:cNvSpPr>
              <p:nvPr/>
            </p:nvSpPr>
            <p:spPr bwMode="black">
              <a:xfrm>
                <a:off x="3831257" y="1938048"/>
                <a:ext cx="411587" cy="41148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a:defRPr/>
                </a:pPr>
                <a:endParaRPr lang="en-US" sz="1600" kern="0">
                  <a:solidFill>
                    <a:sysClr val="windowText" lastClr="000000"/>
                  </a:solidFill>
                </a:endParaRPr>
              </a:p>
            </p:txBody>
          </p:sp>
          <p:sp>
            <p:nvSpPr>
              <p:cNvPr id="246" name="TextBox 245"/>
              <p:cNvSpPr txBox="1"/>
              <p:nvPr/>
            </p:nvSpPr>
            <p:spPr>
              <a:xfrm>
                <a:off x="3464011" y="2370138"/>
                <a:ext cx="1146334" cy="311448"/>
              </a:xfrm>
              <a:prstGeom prst="rect">
                <a:avLst/>
              </a:prstGeom>
            </p:spPr>
            <p:txBody>
              <a:bodyPr vert="horz" wrap="square" lIns="0" tIns="0" rIns="0" bIns="0" rtlCol="0" anchor="t">
                <a:noAutofit/>
              </a:bodyPr>
              <a:lstStyle/>
              <a:p>
                <a:pPr algn="ctr" defTabSz="914400">
                  <a:defRPr/>
                </a:pP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Online </a:t>
                </a:r>
                <a:b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b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web, chat)</a:t>
                </a:r>
              </a:p>
            </p:txBody>
          </p:sp>
        </p:grpSp>
        <p:grpSp>
          <p:nvGrpSpPr>
            <p:cNvPr id="167" name="Group 166"/>
            <p:cNvGrpSpPr/>
            <p:nvPr/>
          </p:nvGrpSpPr>
          <p:grpSpPr>
            <a:xfrm>
              <a:off x="2161783" y="1539855"/>
              <a:ext cx="753896" cy="469896"/>
              <a:chOff x="334566" y="4703209"/>
              <a:chExt cx="1044227" cy="613273"/>
            </a:xfrm>
          </p:grpSpPr>
          <p:sp>
            <p:nvSpPr>
              <p:cNvPr id="243" name="Round Same Side Corner Rectangle 2"/>
              <p:cNvSpPr>
                <a:spLocks noChangeAspect="1"/>
              </p:cNvSpPr>
              <p:nvPr/>
            </p:nvSpPr>
            <p:spPr>
              <a:xfrm>
                <a:off x="754356" y="4703209"/>
                <a:ext cx="204648" cy="414902"/>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rgbClr val="505050"/>
                  </a:solidFill>
                </a:endParaRPr>
              </a:p>
            </p:txBody>
          </p:sp>
          <p:sp>
            <p:nvSpPr>
              <p:cNvPr id="244" name="TextBox 243"/>
              <p:cNvSpPr txBox="1"/>
              <p:nvPr/>
            </p:nvSpPr>
            <p:spPr>
              <a:xfrm>
                <a:off x="334566" y="5057565"/>
                <a:ext cx="1044227" cy="258917"/>
              </a:xfrm>
              <a:prstGeom prst="rect">
                <a:avLst/>
              </a:prstGeom>
            </p:spPr>
            <p:txBody>
              <a:bodyPr vert="horz" wrap="square" lIns="91440" tIns="91440" rIns="91440" bIns="91440" rtlCol="0" anchor="t">
                <a:noAutofit/>
              </a:bodyPr>
              <a:lstStyle/>
              <a:p>
                <a:pPr algn="ctr" defTabSz="914400">
                  <a:defRPr/>
                </a:pP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Devices</a:t>
                </a:r>
              </a:p>
            </p:txBody>
          </p:sp>
        </p:grpSp>
        <p:grpSp>
          <p:nvGrpSpPr>
            <p:cNvPr id="168" name="Group 167"/>
            <p:cNvGrpSpPr/>
            <p:nvPr/>
          </p:nvGrpSpPr>
          <p:grpSpPr>
            <a:xfrm>
              <a:off x="583594" y="2491997"/>
              <a:ext cx="1058463" cy="428659"/>
              <a:chOff x="5041590" y="4814499"/>
              <a:chExt cx="1466086" cy="559453"/>
            </a:xfrm>
          </p:grpSpPr>
          <p:sp>
            <p:nvSpPr>
              <p:cNvPr id="201" name="Man's Body"/>
              <p:cNvSpPr>
                <a:spLocks noChangeAspect="1"/>
              </p:cNvSpPr>
              <p:nvPr/>
            </p:nvSpPr>
            <p:spPr bwMode="auto">
              <a:xfrm flipH="1">
                <a:off x="5359319" y="4814499"/>
                <a:ext cx="276700" cy="352549"/>
              </a:xfrm>
              <a:custGeom>
                <a:avLst/>
                <a:gdLst>
                  <a:gd name="connsiteX0" fmla="*/ 452684 w 673603"/>
                  <a:gd name="connsiteY0" fmla="*/ 499119 h 858249"/>
                  <a:gd name="connsiteX1" fmla="*/ 364244 w 673603"/>
                  <a:gd name="connsiteY1" fmla="*/ 552651 h 858249"/>
                  <a:gd name="connsiteX2" fmla="*/ 310399 w 673603"/>
                  <a:gd name="connsiteY2" fmla="*/ 763544 h 858249"/>
                  <a:gd name="connsiteX3" fmla="*/ 343737 w 673603"/>
                  <a:gd name="connsiteY3" fmla="*/ 794501 h 858249"/>
                  <a:gd name="connsiteX4" fmla="*/ 367549 w 673603"/>
                  <a:gd name="connsiteY4" fmla="*/ 777832 h 858249"/>
                  <a:gd name="connsiteX5" fmla="*/ 362787 w 673603"/>
                  <a:gd name="connsiteY5" fmla="*/ 754019 h 858249"/>
                  <a:gd name="connsiteX6" fmla="*/ 386599 w 673603"/>
                  <a:gd name="connsiteY6" fmla="*/ 746876 h 858249"/>
                  <a:gd name="connsiteX7" fmla="*/ 398506 w 673603"/>
                  <a:gd name="connsiteY7" fmla="*/ 777832 h 858249"/>
                  <a:gd name="connsiteX8" fmla="*/ 343737 w 673603"/>
                  <a:gd name="connsiteY8" fmla="*/ 815932 h 858249"/>
                  <a:gd name="connsiteX9" fmla="*/ 279443 w 673603"/>
                  <a:gd name="connsiteY9" fmla="*/ 773069 h 858249"/>
                  <a:gd name="connsiteX10" fmla="*/ 331831 w 673603"/>
                  <a:gd name="connsiteY10" fmla="*/ 577807 h 858249"/>
                  <a:gd name="connsiteX11" fmla="*/ 305637 w 673603"/>
                  <a:gd name="connsiteY11" fmla="*/ 563519 h 858249"/>
                  <a:gd name="connsiteX12" fmla="*/ 311779 w 673603"/>
                  <a:gd name="connsiteY12" fmla="*/ 547549 h 858249"/>
                  <a:gd name="connsiteX13" fmla="*/ 237741 w 673603"/>
                  <a:gd name="connsiteY13" fmla="*/ 500485 h 858249"/>
                  <a:gd name="connsiteX14" fmla="*/ 224038 w 673603"/>
                  <a:gd name="connsiteY14" fmla="*/ 528452 h 858249"/>
                  <a:gd name="connsiteX15" fmla="*/ 153447 w 673603"/>
                  <a:gd name="connsiteY15" fmla="*/ 578809 h 858249"/>
                  <a:gd name="connsiteX16" fmla="*/ 8401 w 673603"/>
                  <a:gd name="connsiteY16" fmla="*/ 653033 h 858249"/>
                  <a:gd name="connsiteX17" fmla="*/ 67793 w 673603"/>
                  <a:gd name="connsiteY17" fmla="*/ 850206 h 858249"/>
                  <a:gd name="connsiteX18" fmla="*/ 124357 w 673603"/>
                  <a:gd name="connsiteY18" fmla="*/ 749115 h 858249"/>
                  <a:gd name="connsiteX19" fmla="*/ 100924 w 673603"/>
                  <a:gd name="connsiteY19" fmla="*/ 852938 h 858249"/>
                  <a:gd name="connsiteX20" fmla="*/ 488320 w 673603"/>
                  <a:gd name="connsiteY20" fmla="*/ 858165 h 858249"/>
                  <a:gd name="connsiteX21" fmla="*/ 488345 w 673603"/>
                  <a:gd name="connsiteY21" fmla="*/ 858249 h 858249"/>
                  <a:gd name="connsiteX22" fmla="*/ 489349 w 673603"/>
                  <a:gd name="connsiteY22" fmla="*/ 858186 h 858249"/>
                  <a:gd name="connsiteX23" fmla="*/ 492440 w 673603"/>
                  <a:gd name="connsiteY23" fmla="*/ 858249 h 858249"/>
                  <a:gd name="connsiteX24" fmla="*/ 492755 w 673603"/>
                  <a:gd name="connsiteY24" fmla="*/ 857971 h 858249"/>
                  <a:gd name="connsiteX25" fmla="*/ 572680 w 673603"/>
                  <a:gd name="connsiteY25" fmla="*/ 852938 h 858249"/>
                  <a:gd name="connsiteX26" fmla="*/ 549247 w 673603"/>
                  <a:gd name="connsiteY26" fmla="*/ 749115 h 858249"/>
                  <a:gd name="connsiteX27" fmla="*/ 605811 w 673603"/>
                  <a:gd name="connsiteY27" fmla="*/ 850206 h 858249"/>
                  <a:gd name="connsiteX28" fmla="*/ 665203 w 673603"/>
                  <a:gd name="connsiteY28" fmla="*/ 653033 h 858249"/>
                  <a:gd name="connsiteX29" fmla="*/ 520157 w 673603"/>
                  <a:gd name="connsiteY29" fmla="*/ 578809 h 858249"/>
                  <a:gd name="connsiteX30" fmla="*/ 416545 w 673603"/>
                  <a:gd name="connsiteY30" fmla="*/ 619374 h 858249"/>
                  <a:gd name="connsiteX31" fmla="*/ 402735 w 673603"/>
                  <a:gd name="connsiteY31" fmla="*/ 611762 h 858249"/>
                  <a:gd name="connsiteX32" fmla="*/ 480966 w 673603"/>
                  <a:gd name="connsiteY32" fmla="*/ 558317 h 858249"/>
                  <a:gd name="connsiteX33" fmla="*/ 452684 w 673603"/>
                  <a:gd name="connsiteY33" fmla="*/ 499119 h 858249"/>
                  <a:gd name="connsiteX34" fmla="*/ 360713 w 673603"/>
                  <a:gd name="connsiteY34" fmla="*/ 167 h 858249"/>
                  <a:gd name="connsiteX35" fmla="*/ 241395 w 673603"/>
                  <a:gd name="connsiteY35" fmla="*/ 59839 h 858249"/>
                  <a:gd name="connsiteX36" fmla="*/ 169081 w 673603"/>
                  <a:gd name="connsiteY36" fmla="*/ 160974 h 858249"/>
                  <a:gd name="connsiteX37" fmla="*/ 192109 w 673603"/>
                  <a:gd name="connsiteY37" fmla="*/ 186030 h 858249"/>
                  <a:gd name="connsiteX38" fmla="*/ 209480 w 673603"/>
                  <a:gd name="connsiteY38" fmla="*/ 168263 h 858249"/>
                  <a:gd name="connsiteX39" fmla="*/ 352895 w 673603"/>
                  <a:gd name="connsiteY39" fmla="*/ 122251 h 858249"/>
                  <a:gd name="connsiteX40" fmla="*/ 205036 w 673603"/>
                  <a:gd name="connsiteY40" fmla="*/ 213819 h 858249"/>
                  <a:gd name="connsiteX41" fmla="*/ 205036 w 673603"/>
                  <a:gd name="connsiteY41" fmla="*/ 254364 h 858249"/>
                  <a:gd name="connsiteX42" fmla="*/ 186453 w 673603"/>
                  <a:gd name="connsiteY42" fmla="*/ 269397 h 858249"/>
                  <a:gd name="connsiteX43" fmla="*/ 206248 w 673603"/>
                  <a:gd name="connsiteY43" fmla="*/ 358232 h 858249"/>
                  <a:gd name="connsiteX44" fmla="*/ 217560 w 673603"/>
                  <a:gd name="connsiteY44" fmla="*/ 365976 h 858249"/>
                  <a:gd name="connsiteX45" fmla="*/ 265230 w 673603"/>
                  <a:gd name="connsiteY45" fmla="*/ 473033 h 858249"/>
                  <a:gd name="connsiteX46" fmla="*/ 352895 w 673603"/>
                  <a:gd name="connsiteY46" fmla="*/ 522690 h 858249"/>
                  <a:gd name="connsiteX47" fmla="*/ 447024 w 673603"/>
                  <a:gd name="connsiteY47" fmla="*/ 460733 h 858249"/>
                  <a:gd name="connsiteX48" fmla="*/ 488231 w 673603"/>
                  <a:gd name="connsiteY48" fmla="*/ 361421 h 858249"/>
                  <a:gd name="connsiteX49" fmla="*/ 521357 w 673603"/>
                  <a:gd name="connsiteY49" fmla="*/ 283520 h 858249"/>
                  <a:gd name="connsiteX50" fmla="*/ 508430 w 673603"/>
                  <a:gd name="connsiteY50" fmla="*/ 261653 h 858249"/>
                  <a:gd name="connsiteX51" fmla="*/ 535901 w 673603"/>
                  <a:gd name="connsiteY51" fmla="*/ 181930 h 858249"/>
                  <a:gd name="connsiteX52" fmla="*/ 426016 w 673603"/>
                  <a:gd name="connsiteY52" fmla="*/ 17472 h 858249"/>
                  <a:gd name="connsiteX53" fmla="*/ 360713 w 673603"/>
                  <a:gd name="connsiteY53" fmla="*/ 167 h 858249"/>
                  <a:gd name="connsiteX0" fmla="*/ 452684 w 673603"/>
                  <a:gd name="connsiteY0" fmla="*/ 499119 h 858249"/>
                  <a:gd name="connsiteX1" fmla="*/ 364244 w 673603"/>
                  <a:gd name="connsiteY1" fmla="*/ 552651 h 858249"/>
                  <a:gd name="connsiteX2" fmla="*/ 303255 w 673603"/>
                  <a:gd name="connsiteY2" fmla="*/ 763544 h 858249"/>
                  <a:gd name="connsiteX3" fmla="*/ 343737 w 673603"/>
                  <a:gd name="connsiteY3" fmla="*/ 794501 h 858249"/>
                  <a:gd name="connsiteX4" fmla="*/ 367549 w 673603"/>
                  <a:gd name="connsiteY4" fmla="*/ 777832 h 858249"/>
                  <a:gd name="connsiteX5" fmla="*/ 362787 w 673603"/>
                  <a:gd name="connsiteY5" fmla="*/ 754019 h 858249"/>
                  <a:gd name="connsiteX6" fmla="*/ 386599 w 673603"/>
                  <a:gd name="connsiteY6" fmla="*/ 746876 h 858249"/>
                  <a:gd name="connsiteX7" fmla="*/ 398506 w 673603"/>
                  <a:gd name="connsiteY7" fmla="*/ 777832 h 858249"/>
                  <a:gd name="connsiteX8" fmla="*/ 343737 w 673603"/>
                  <a:gd name="connsiteY8" fmla="*/ 815932 h 858249"/>
                  <a:gd name="connsiteX9" fmla="*/ 279443 w 673603"/>
                  <a:gd name="connsiteY9" fmla="*/ 773069 h 858249"/>
                  <a:gd name="connsiteX10" fmla="*/ 331831 w 673603"/>
                  <a:gd name="connsiteY10" fmla="*/ 577807 h 858249"/>
                  <a:gd name="connsiteX11" fmla="*/ 305637 w 673603"/>
                  <a:gd name="connsiteY11" fmla="*/ 563519 h 858249"/>
                  <a:gd name="connsiteX12" fmla="*/ 311779 w 673603"/>
                  <a:gd name="connsiteY12" fmla="*/ 547549 h 858249"/>
                  <a:gd name="connsiteX13" fmla="*/ 237741 w 673603"/>
                  <a:gd name="connsiteY13" fmla="*/ 500485 h 858249"/>
                  <a:gd name="connsiteX14" fmla="*/ 224038 w 673603"/>
                  <a:gd name="connsiteY14" fmla="*/ 528452 h 858249"/>
                  <a:gd name="connsiteX15" fmla="*/ 153447 w 673603"/>
                  <a:gd name="connsiteY15" fmla="*/ 578809 h 858249"/>
                  <a:gd name="connsiteX16" fmla="*/ 8401 w 673603"/>
                  <a:gd name="connsiteY16" fmla="*/ 653033 h 858249"/>
                  <a:gd name="connsiteX17" fmla="*/ 67793 w 673603"/>
                  <a:gd name="connsiteY17" fmla="*/ 850206 h 858249"/>
                  <a:gd name="connsiteX18" fmla="*/ 124357 w 673603"/>
                  <a:gd name="connsiteY18" fmla="*/ 749115 h 858249"/>
                  <a:gd name="connsiteX19" fmla="*/ 100924 w 673603"/>
                  <a:gd name="connsiteY19" fmla="*/ 852938 h 858249"/>
                  <a:gd name="connsiteX20" fmla="*/ 488320 w 673603"/>
                  <a:gd name="connsiteY20" fmla="*/ 858165 h 858249"/>
                  <a:gd name="connsiteX21" fmla="*/ 488345 w 673603"/>
                  <a:gd name="connsiteY21" fmla="*/ 858249 h 858249"/>
                  <a:gd name="connsiteX22" fmla="*/ 489349 w 673603"/>
                  <a:gd name="connsiteY22" fmla="*/ 858186 h 858249"/>
                  <a:gd name="connsiteX23" fmla="*/ 492440 w 673603"/>
                  <a:gd name="connsiteY23" fmla="*/ 858249 h 858249"/>
                  <a:gd name="connsiteX24" fmla="*/ 492755 w 673603"/>
                  <a:gd name="connsiteY24" fmla="*/ 857971 h 858249"/>
                  <a:gd name="connsiteX25" fmla="*/ 572680 w 673603"/>
                  <a:gd name="connsiteY25" fmla="*/ 852938 h 858249"/>
                  <a:gd name="connsiteX26" fmla="*/ 549247 w 673603"/>
                  <a:gd name="connsiteY26" fmla="*/ 749115 h 858249"/>
                  <a:gd name="connsiteX27" fmla="*/ 605811 w 673603"/>
                  <a:gd name="connsiteY27" fmla="*/ 850206 h 858249"/>
                  <a:gd name="connsiteX28" fmla="*/ 665203 w 673603"/>
                  <a:gd name="connsiteY28" fmla="*/ 653033 h 858249"/>
                  <a:gd name="connsiteX29" fmla="*/ 520157 w 673603"/>
                  <a:gd name="connsiteY29" fmla="*/ 578809 h 858249"/>
                  <a:gd name="connsiteX30" fmla="*/ 416545 w 673603"/>
                  <a:gd name="connsiteY30" fmla="*/ 619374 h 858249"/>
                  <a:gd name="connsiteX31" fmla="*/ 402735 w 673603"/>
                  <a:gd name="connsiteY31" fmla="*/ 611762 h 858249"/>
                  <a:gd name="connsiteX32" fmla="*/ 480966 w 673603"/>
                  <a:gd name="connsiteY32" fmla="*/ 558317 h 858249"/>
                  <a:gd name="connsiteX33" fmla="*/ 452684 w 673603"/>
                  <a:gd name="connsiteY33" fmla="*/ 499119 h 858249"/>
                  <a:gd name="connsiteX34" fmla="*/ 360713 w 673603"/>
                  <a:gd name="connsiteY34" fmla="*/ 167 h 858249"/>
                  <a:gd name="connsiteX35" fmla="*/ 241395 w 673603"/>
                  <a:gd name="connsiteY35" fmla="*/ 59839 h 858249"/>
                  <a:gd name="connsiteX36" fmla="*/ 169081 w 673603"/>
                  <a:gd name="connsiteY36" fmla="*/ 160974 h 858249"/>
                  <a:gd name="connsiteX37" fmla="*/ 192109 w 673603"/>
                  <a:gd name="connsiteY37" fmla="*/ 186030 h 858249"/>
                  <a:gd name="connsiteX38" fmla="*/ 209480 w 673603"/>
                  <a:gd name="connsiteY38" fmla="*/ 168263 h 858249"/>
                  <a:gd name="connsiteX39" fmla="*/ 352895 w 673603"/>
                  <a:gd name="connsiteY39" fmla="*/ 122251 h 858249"/>
                  <a:gd name="connsiteX40" fmla="*/ 205036 w 673603"/>
                  <a:gd name="connsiteY40" fmla="*/ 213819 h 858249"/>
                  <a:gd name="connsiteX41" fmla="*/ 205036 w 673603"/>
                  <a:gd name="connsiteY41" fmla="*/ 254364 h 858249"/>
                  <a:gd name="connsiteX42" fmla="*/ 186453 w 673603"/>
                  <a:gd name="connsiteY42" fmla="*/ 269397 h 858249"/>
                  <a:gd name="connsiteX43" fmla="*/ 206248 w 673603"/>
                  <a:gd name="connsiteY43" fmla="*/ 358232 h 858249"/>
                  <a:gd name="connsiteX44" fmla="*/ 217560 w 673603"/>
                  <a:gd name="connsiteY44" fmla="*/ 365976 h 858249"/>
                  <a:gd name="connsiteX45" fmla="*/ 265230 w 673603"/>
                  <a:gd name="connsiteY45" fmla="*/ 473033 h 858249"/>
                  <a:gd name="connsiteX46" fmla="*/ 352895 w 673603"/>
                  <a:gd name="connsiteY46" fmla="*/ 522690 h 858249"/>
                  <a:gd name="connsiteX47" fmla="*/ 447024 w 673603"/>
                  <a:gd name="connsiteY47" fmla="*/ 460733 h 858249"/>
                  <a:gd name="connsiteX48" fmla="*/ 488231 w 673603"/>
                  <a:gd name="connsiteY48" fmla="*/ 361421 h 858249"/>
                  <a:gd name="connsiteX49" fmla="*/ 521357 w 673603"/>
                  <a:gd name="connsiteY49" fmla="*/ 283520 h 858249"/>
                  <a:gd name="connsiteX50" fmla="*/ 508430 w 673603"/>
                  <a:gd name="connsiteY50" fmla="*/ 261653 h 858249"/>
                  <a:gd name="connsiteX51" fmla="*/ 535901 w 673603"/>
                  <a:gd name="connsiteY51" fmla="*/ 181930 h 858249"/>
                  <a:gd name="connsiteX52" fmla="*/ 426016 w 673603"/>
                  <a:gd name="connsiteY52" fmla="*/ 17472 h 858249"/>
                  <a:gd name="connsiteX53" fmla="*/ 360713 w 673603"/>
                  <a:gd name="connsiteY53" fmla="*/ 167 h 858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73603" h="858249">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9463" y="855236"/>
                      <a:pt x="441914" y="856925"/>
                      <a:pt x="488320" y="858165"/>
                    </a:cubicBezTo>
                    <a:cubicBezTo>
                      <a:pt x="488326" y="858194"/>
                      <a:pt x="488336" y="858221"/>
                      <a:pt x="488345" y="858249"/>
                    </a:cubicBezTo>
                    <a:lnTo>
                      <a:pt x="489349" y="858186"/>
                    </a:lnTo>
                    <a:lnTo>
                      <a:pt x="492440" y="858249"/>
                    </a:lnTo>
                    <a:cubicBezTo>
                      <a:pt x="492562" y="858190"/>
                      <a:pt x="492684" y="858130"/>
                      <a:pt x="492755" y="857971"/>
                    </a:cubicBezTo>
                    <a:cubicBezTo>
                      <a:pt x="517797" y="856858"/>
                      <a:pt x="544705" y="855190"/>
                      <a:pt x="572680" y="852938"/>
                    </a:cubicBezTo>
                    <a:cubicBezTo>
                      <a:pt x="572277" y="823340"/>
                      <a:pt x="561368" y="775071"/>
                      <a:pt x="549247" y="749115"/>
                    </a:cubicBezTo>
                    <a:cubicBezTo>
                      <a:pt x="558539" y="755035"/>
                      <a:pt x="598134" y="796473"/>
                      <a:pt x="605811" y="850206"/>
                    </a:cubicBezTo>
                    <a:cubicBezTo>
                      <a:pt x="678536" y="756856"/>
                      <a:pt x="682172" y="682176"/>
                      <a:pt x="665203" y="653033"/>
                    </a:cubicBezTo>
                    <a:cubicBezTo>
                      <a:pt x="648638" y="624345"/>
                      <a:pt x="529853" y="576532"/>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5007" y="254367"/>
                      <a:pt x="186453" y="255741"/>
                      <a:pt x="186453" y="269397"/>
                    </a:cubicBezTo>
                    <a:cubicBezTo>
                      <a:pt x="186453" y="283062"/>
                      <a:pt x="206241" y="358204"/>
                      <a:pt x="206248" y="358232"/>
                    </a:cubicBezTo>
                    <a:cubicBezTo>
                      <a:pt x="206263" y="358257"/>
                      <a:pt x="211509"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48" y="261603"/>
                      <a:pt x="533882" y="191493"/>
                      <a:pt x="535901" y="181930"/>
                    </a:cubicBezTo>
                    <a:cubicBezTo>
                      <a:pt x="537517" y="172818"/>
                      <a:pt x="554484" y="11549"/>
                      <a:pt x="426016" y="17472"/>
                    </a:cubicBezTo>
                    <a:cubicBezTo>
                      <a:pt x="407231" y="4488"/>
                      <a:pt x="384639" y="-1064"/>
                      <a:pt x="360713" y="167"/>
                    </a:cubicBezTo>
                    <a:close/>
                  </a:path>
                </a:pathLst>
              </a:custGeom>
              <a:solidFill>
                <a:schemeClr val="bg1">
                  <a:lumMod val="50000"/>
                </a:schemeClr>
              </a:solidFill>
              <a:ln w="25400" cap="flat" cmpd="sng" algn="ctr">
                <a:noFill/>
                <a:prstDash val="solid"/>
              </a:ln>
              <a:effectLst/>
              <a:ex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defRPr/>
                </a:pPr>
                <a:endParaRPr lang="en-US" sz="1200" kern="0">
                  <a:solidFill>
                    <a:sysClr val="windowText" lastClr="000000"/>
                  </a:solidFill>
                </a:endParaRPr>
              </a:p>
            </p:txBody>
          </p:sp>
          <p:sp>
            <p:nvSpPr>
              <p:cNvPr id="211" name="Round Same Side Corner Rectangle 2"/>
              <p:cNvSpPr/>
              <p:nvPr/>
            </p:nvSpPr>
            <p:spPr>
              <a:xfrm>
                <a:off x="5684316" y="4828372"/>
                <a:ext cx="176572" cy="232505"/>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ctr" defTabSz="1088105">
                  <a:defRPr/>
                </a:pPr>
                <a:endParaRPr lang="en-US" sz="1200" kern="0">
                  <a:solidFill>
                    <a:srgbClr val="505050"/>
                  </a:solidFill>
                </a:endParaRPr>
              </a:p>
            </p:txBody>
          </p:sp>
          <p:sp>
            <p:nvSpPr>
              <p:cNvPr id="242" name="TextBox 241"/>
              <p:cNvSpPr txBox="1"/>
              <p:nvPr/>
            </p:nvSpPr>
            <p:spPr>
              <a:xfrm>
                <a:off x="5041590" y="5081385"/>
                <a:ext cx="1466086" cy="292567"/>
              </a:xfrm>
              <a:prstGeom prst="rect">
                <a:avLst/>
              </a:prstGeom>
            </p:spPr>
            <p:txBody>
              <a:bodyPr vert="horz" wrap="square" lIns="91440" tIns="91440" rIns="91440" bIns="91440" rtlCol="0" anchor="t">
                <a:noAutofit/>
              </a:bodyPr>
              <a:lstStyle/>
              <a:p>
                <a:pPr algn="ctr" defTabSz="914400">
                  <a:defRPr/>
                </a:pP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Government  Agent</a:t>
                </a:r>
              </a:p>
            </p:txBody>
          </p:sp>
        </p:grpSp>
        <p:grpSp>
          <p:nvGrpSpPr>
            <p:cNvPr id="169" name="Group 168"/>
            <p:cNvGrpSpPr/>
            <p:nvPr/>
          </p:nvGrpSpPr>
          <p:grpSpPr>
            <a:xfrm>
              <a:off x="536503" y="1349814"/>
              <a:ext cx="946707" cy="394567"/>
              <a:chOff x="1629389" y="2244671"/>
              <a:chExt cx="1311292" cy="514959"/>
            </a:xfrm>
          </p:grpSpPr>
          <p:sp>
            <p:nvSpPr>
              <p:cNvPr id="178" name="TextBox 177"/>
              <p:cNvSpPr txBox="1"/>
              <p:nvPr/>
            </p:nvSpPr>
            <p:spPr>
              <a:xfrm>
                <a:off x="1629389" y="2472094"/>
                <a:ext cx="1311292" cy="287536"/>
              </a:xfrm>
              <a:prstGeom prst="rect">
                <a:avLst/>
              </a:prstGeom>
            </p:spPr>
            <p:txBody>
              <a:bodyPr vert="horz" wrap="square" lIns="91440" tIns="91440" rIns="91440" bIns="91440" rtlCol="0" anchor="t">
                <a:noAutofit/>
              </a:bodyPr>
              <a:lstStyle/>
              <a:p>
                <a:pPr algn="ctr" defTabSz="914400">
                  <a:defRPr/>
                </a:pP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Digital Signage/</a:t>
                </a:r>
              </a:p>
              <a:p>
                <a:pPr algn="ctr" defTabSz="914400">
                  <a:defRPr/>
                </a:pP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Kiosk</a:t>
                </a:r>
              </a:p>
            </p:txBody>
          </p:sp>
          <p:sp>
            <p:nvSpPr>
              <p:cNvPr id="186" name="Freeform 7"/>
              <p:cNvSpPr>
                <a:spLocks noChangeAspect="1" noEditPoints="1"/>
              </p:cNvSpPr>
              <p:nvPr/>
            </p:nvSpPr>
            <p:spPr bwMode="black">
              <a:xfrm>
                <a:off x="2070832" y="2244671"/>
                <a:ext cx="411480" cy="259914"/>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chemeClr val="bg1">
                  <a:lumMod val="5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defRPr/>
                </a:pPr>
                <a:endParaRPr lang="en-US" kern="0" spc="-122">
                  <a:solidFill>
                    <a:srgbClr val="505050"/>
                  </a:solidFill>
                  <a:latin typeface="Segoe Light" pitchFamily="34" charset="0"/>
                </a:endParaRPr>
              </a:p>
            </p:txBody>
          </p:sp>
        </p:grpSp>
        <p:sp>
          <p:nvSpPr>
            <p:cNvPr id="170" name="TextBox 169"/>
            <p:cNvSpPr txBox="1"/>
            <p:nvPr/>
          </p:nvSpPr>
          <p:spPr>
            <a:xfrm>
              <a:off x="1358276" y="2416533"/>
              <a:ext cx="677301" cy="167082"/>
            </a:xfrm>
            <a:prstGeom prst="rect">
              <a:avLst/>
            </a:prstGeom>
          </p:spPr>
          <p:txBody>
            <a:bodyPr vert="horz" wrap="square" lIns="91416" tIns="91416" rIns="91416" bIns="91416" rtlCol="0" anchor="ctr">
              <a:noAutofit/>
            </a:bodyPr>
            <a:lstStyle/>
            <a:p>
              <a:pPr algn="ctr" defTabSz="1088105">
                <a:defRPr/>
              </a:pPr>
              <a:r>
                <a:rPr lang="en-US" sz="120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Citizen</a:t>
              </a:r>
            </a:p>
          </p:txBody>
        </p:sp>
        <p:grpSp>
          <p:nvGrpSpPr>
            <p:cNvPr id="171" name="Group 170"/>
            <p:cNvGrpSpPr/>
            <p:nvPr/>
          </p:nvGrpSpPr>
          <p:grpSpPr>
            <a:xfrm>
              <a:off x="1584139" y="1827008"/>
              <a:ext cx="296589" cy="560085"/>
              <a:chOff x="4054627" y="2441256"/>
              <a:chExt cx="410808" cy="730980"/>
            </a:xfrm>
          </p:grpSpPr>
          <p:sp>
            <p:nvSpPr>
              <p:cNvPr id="172" name="Freeform 171"/>
              <p:cNvSpPr>
                <a:spLocks/>
              </p:cNvSpPr>
              <p:nvPr/>
            </p:nvSpPr>
            <p:spPr bwMode="auto">
              <a:xfrm>
                <a:off x="4122812" y="2441256"/>
                <a:ext cx="126043" cy="126351"/>
              </a:xfrm>
              <a:custGeom>
                <a:avLst/>
                <a:gdLst>
                  <a:gd name="connsiteX0" fmla="*/ 63021 w 126043"/>
                  <a:gd name="connsiteY0" fmla="*/ 0 h 126351"/>
                  <a:gd name="connsiteX1" fmla="*/ 126043 w 126043"/>
                  <a:gd name="connsiteY1" fmla="*/ 63175 h 126351"/>
                  <a:gd name="connsiteX2" fmla="*/ 63021 w 126043"/>
                  <a:gd name="connsiteY2" fmla="*/ 126351 h 126351"/>
                  <a:gd name="connsiteX3" fmla="*/ 0 w 126043"/>
                  <a:gd name="connsiteY3" fmla="*/ 63175 h 126351"/>
                  <a:gd name="connsiteX4" fmla="*/ 63021 w 126043"/>
                  <a:gd name="connsiteY4" fmla="*/ 0 h 126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3" h="126351">
                    <a:moveTo>
                      <a:pt x="63021" y="0"/>
                    </a:moveTo>
                    <a:cubicBezTo>
                      <a:pt x="97827" y="0"/>
                      <a:pt x="126043" y="28285"/>
                      <a:pt x="126043" y="63175"/>
                    </a:cubicBezTo>
                    <a:cubicBezTo>
                      <a:pt x="126043" y="98066"/>
                      <a:pt x="97827" y="126351"/>
                      <a:pt x="63021" y="126351"/>
                    </a:cubicBezTo>
                    <a:cubicBezTo>
                      <a:pt x="28216" y="126351"/>
                      <a:pt x="0" y="98066"/>
                      <a:pt x="0" y="63175"/>
                    </a:cubicBezTo>
                    <a:cubicBezTo>
                      <a:pt x="0" y="28285"/>
                      <a:pt x="28216" y="0"/>
                      <a:pt x="63021" y="0"/>
                    </a:cubicBezTo>
                    <a:close/>
                  </a:path>
                </a:pathLst>
              </a:custGeom>
              <a:solidFill>
                <a:schemeClr val="bg1">
                  <a:lumMod val="50000"/>
                </a:schemeClr>
              </a:solidFill>
              <a:ln>
                <a:noFill/>
              </a:ln>
              <a:effectLst/>
              <a:extLst/>
            </p:spPr>
            <p:txBody>
              <a:bodyPr vert="horz" wrap="square" lIns="91440" tIns="45720" rIns="91440" bIns="45720" numCol="1" anchor="t" anchorCtr="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000" dirty="0">
                  <a:solidFill>
                    <a:srgbClr val="505050"/>
                  </a:solidFill>
                </a:endParaRPr>
              </a:p>
            </p:txBody>
          </p:sp>
          <p:sp>
            <p:nvSpPr>
              <p:cNvPr id="173" name="Freeform 172"/>
              <p:cNvSpPr/>
              <p:nvPr/>
            </p:nvSpPr>
            <p:spPr>
              <a:xfrm>
                <a:off x="4054627" y="2586903"/>
                <a:ext cx="410808" cy="585333"/>
              </a:xfrm>
              <a:custGeom>
                <a:avLst/>
                <a:gdLst>
                  <a:gd name="connsiteX0" fmla="*/ 71203 w 410808"/>
                  <a:gd name="connsiteY0" fmla="*/ 0 h 585333"/>
                  <a:gd name="connsiteX1" fmla="*/ 199797 w 410808"/>
                  <a:gd name="connsiteY1" fmla="*/ 0 h 585333"/>
                  <a:gd name="connsiteX2" fmla="*/ 306140 w 410808"/>
                  <a:gd name="connsiteY2" fmla="*/ 112676 h 585333"/>
                  <a:gd name="connsiteX3" fmla="*/ 382989 w 410808"/>
                  <a:gd name="connsiteY3" fmla="*/ 112676 h 585333"/>
                  <a:gd name="connsiteX4" fmla="*/ 410808 w 410808"/>
                  <a:gd name="connsiteY4" fmla="*/ 141425 h 585333"/>
                  <a:gd name="connsiteX5" fmla="*/ 382989 w 410808"/>
                  <a:gd name="connsiteY5" fmla="*/ 170173 h 585333"/>
                  <a:gd name="connsiteX6" fmla="*/ 301835 w 410808"/>
                  <a:gd name="connsiteY6" fmla="*/ 169364 h 585333"/>
                  <a:gd name="connsiteX7" fmla="*/ 264502 w 410808"/>
                  <a:gd name="connsiteY7" fmla="*/ 148203 h 585333"/>
                  <a:gd name="connsiteX8" fmla="*/ 219588 w 410808"/>
                  <a:gd name="connsiteY8" fmla="*/ 93054 h 585333"/>
                  <a:gd name="connsiteX9" fmla="*/ 218506 w 410808"/>
                  <a:gd name="connsiteY9" fmla="*/ 91936 h 585333"/>
                  <a:gd name="connsiteX10" fmla="*/ 207685 w 410808"/>
                  <a:gd name="connsiteY10" fmla="*/ 91936 h 585333"/>
                  <a:gd name="connsiteX11" fmla="*/ 206603 w 410808"/>
                  <a:gd name="connsiteY11" fmla="*/ 93054 h 585333"/>
                  <a:gd name="connsiteX12" fmla="*/ 206814 w 410808"/>
                  <a:gd name="connsiteY12" fmla="*/ 158980 h 585333"/>
                  <a:gd name="connsiteX13" fmla="*/ 206814 w 410808"/>
                  <a:gd name="connsiteY13" fmla="*/ 552303 h 585333"/>
                  <a:gd name="connsiteX14" fmla="*/ 174852 w 410808"/>
                  <a:gd name="connsiteY14" fmla="*/ 585333 h 585333"/>
                  <a:gd name="connsiteX15" fmla="*/ 142888 w 410808"/>
                  <a:gd name="connsiteY15" fmla="*/ 552303 h 585333"/>
                  <a:gd name="connsiteX16" fmla="*/ 142888 w 410808"/>
                  <a:gd name="connsiteY16" fmla="*/ 303759 h 585333"/>
                  <a:gd name="connsiteX17" fmla="*/ 142677 w 410808"/>
                  <a:gd name="connsiteY17" fmla="*/ 284784 h 585333"/>
                  <a:gd name="connsiteX18" fmla="*/ 141727 w 410808"/>
                  <a:gd name="connsiteY18" fmla="*/ 283803 h 585333"/>
                  <a:gd name="connsiteX19" fmla="*/ 129939 w 410808"/>
                  <a:gd name="connsiteY19" fmla="*/ 283803 h 585333"/>
                  <a:gd name="connsiteX20" fmla="*/ 128989 w 410808"/>
                  <a:gd name="connsiteY20" fmla="*/ 284784 h 585333"/>
                  <a:gd name="connsiteX21" fmla="*/ 128989 w 410808"/>
                  <a:gd name="connsiteY21" fmla="*/ 303759 h 585333"/>
                  <a:gd name="connsiteX22" fmla="*/ 128910 w 410808"/>
                  <a:gd name="connsiteY22" fmla="*/ 552303 h 585333"/>
                  <a:gd name="connsiteX23" fmla="*/ 96946 w 410808"/>
                  <a:gd name="connsiteY23" fmla="*/ 585333 h 585333"/>
                  <a:gd name="connsiteX24" fmla="*/ 64983 w 410808"/>
                  <a:gd name="connsiteY24" fmla="*/ 552303 h 585333"/>
                  <a:gd name="connsiteX25" fmla="*/ 64983 w 410808"/>
                  <a:gd name="connsiteY25" fmla="*/ 166868 h 585333"/>
                  <a:gd name="connsiteX26" fmla="*/ 63987 w 410808"/>
                  <a:gd name="connsiteY26" fmla="*/ 93037 h 585333"/>
                  <a:gd name="connsiteX27" fmla="*/ 62921 w 410808"/>
                  <a:gd name="connsiteY27" fmla="*/ 91936 h 585333"/>
                  <a:gd name="connsiteX28" fmla="*/ 52267 w 410808"/>
                  <a:gd name="connsiteY28" fmla="*/ 91936 h 585333"/>
                  <a:gd name="connsiteX29" fmla="*/ 51201 w 410808"/>
                  <a:gd name="connsiteY29" fmla="*/ 93037 h 585333"/>
                  <a:gd name="connsiteX30" fmla="*/ 51201 w 410808"/>
                  <a:gd name="connsiteY30" fmla="*/ 164044 h 585333"/>
                  <a:gd name="connsiteX31" fmla="*/ 51141 w 410808"/>
                  <a:gd name="connsiteY31" fmla="*/ 164028 h 585333"/>
                  <a:gd name="connsiteX32" fmla="*/ 51141 w 410808"/>
                  <a:gd name="connsiteY32" fmla="*/ 260047 h 585333"/>
                  <a:gd name="connsiteX33" fmla="*/ 25571 w 410808"/>
                  <a:gd name="connsiteY33" fmla="*/ 286472 h 585333"/>
                  <a:gd name="connsiteX34" fmla="*/ 0 w 410808"/>
                  <a:gd name="connsiteY34" fmla="*/ 260047 h 585333"/>
                  <a:gd name="connsiteX35" fmla="*/ 0 w 410808"/>
                  <a:gd name="connsiteY35" fmla="*/ 93775 h 585333"/>
                  <a:gd name="connsiteX36" fmla="*/ 0 w 410808"/>
                  <a:gd name="connsiteY36" fmla="*/ 73582 h 585333"/>
                  <a:gd name="connsiteX37" fmla="*/ 0 w 410808"/>
                  <a:gd name="connsiteY37" fmla="*/ 69305 h 585333"/>
                  <a:gd name="connsiteX38" fmla="*/ 2527 w 410808"/>
                  <a:gd name="connsiteY38" fmla="*/ 51295 h 585333"/>
                  <a:gd name="connsiteX39" fmla="*/ 4076 w 410808"/>
                  <a:gd name="connsiteY39" fmla="*/ 45985 h 585333"/>
                  <a:gd name="connsiteX40" fmla="*/ 71203 w 410808"/>
                  <a:gd name="connsiteY40" fmla="*/ 0 h 58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10808" h="585333">
                    <a:moveTo>
                      <a:pt x="71203" y="0"/>
                    </a:moveTo>
                    <a:lnTo>
                      <a:pt x="199797" y="0"/>
                    </a:lnTo>
                    <a:cubicBezTo>
                      <a:pt x="241881" y="11719"/>
                      <a:pt x="283417" y="79839"/>
                      <a:pt x="306140" y="112676"/>
                    </a:cubicBezTo>
                    <a:lnTo>
                      <a:pt x="382989" y="112676"/>
                    </a:lnTo>
                    <a:cubicBezTo>
                      <a:pt x="398353" y="112676"/>
                      <a:pt x="410808" y="125548"/>
                      <a:pt x="410808" y="141425"/>
                    </a:cubicBezTo>
                    <a:cubicBezTo>
                      <a:pt x="410808" y="157302"/>
                      <a:pt x="401151" y="165517"/>
                      <a:pt x="382989" y="170173"/>
                    </a:cubicBezTo>
                    <a:lnTo>
                      <a:pt x="301835" y="169364"/>
                    </a:lnTo>
                    <a:cubicBezTo>
                      <a:pt x="277261" y="170178"/>
                      <a:pt x="271591" y="157155"/>
                      <a:pt x="264502" y="148203"/>
                    </a:cubicBezTo>
                    <a:lnTo>
                      <a:pt x="219588" y="93054"/>
                    </a:lnTo>
                    <a:cubicBezTo>
                      <a:pt x="219588" y="92437"/>
                      <a:pt x="219103" y="91936"/>
                      <a:pt x="218506" y="91936"/>
                    </a:cubicBezTo>
                    <a:lnTo>
                      <a:pt x="207685" y="91936"/>
                    </a:lnTo>
                    <a:cubicBezTo>
                      <a:pt x="207087" y="91936"/>
                      <a:pt x="206603" y="92437"/>
                      <a:pt x="206603" y="93054"/>
                    </a:cubicBezTo>
                    <a:lnTo>
                      <a:pt x="206814" y="158980"/>
                    </a:lnTo>
                    <a:lnTo>
                      <a:pt x="206814" y="552303"/>
                    </a:lnTo>
                    <a:cubicBezTo>
                      <a:pt x="206814" y="570545"/>
                      <a:pt x="192504" y="585333"/>
                      <a:pt x="174852" y="585333"/>
                    </a:cubicBezTo>
                    <a:cubicBezTo>
                      <a:pt x="157199" y="585333"/>
                      <a:pt x="142888" y="570545"/>
                      <a:pt x="142888" y="552303"/>
                    </a:cubicBezTo>
                    <a:lnTo>
                      <a:pt x="142888" y="303759"/>
                    </a:lnTo>
                    <a:lnTo>
                      <a:pt x="142677" y="284784"/>
                    </a:lnTo>
                    <a:cubicBezTo>
                      <a:pt x="142677" y="284243"/>
                      <a:pt x="142252" y="283803"/>
                      <a:pt x="141727" y="283803"/>
                    </a:cubicBezTo>
                    <a:lnTo>
                      <a:pt x="129939" y="283803"/>
                    </a:lnTo>
                    <a:cubicBezTo>
                      <a:pt x="129414" y="283803"/>
                      <a:pt x="128989" y="284243"/>
                      <a:pt x="128989" y="284784"/>
                    </a:cubicBezTo>
                    <a:lnTo>
                      <a:pt x="128989" y="303759"/>
                    </a:lnTo>
                    <a:cubicBezTo>
                      <a:pt x="128963" y="386607"/>
                      <a:pt x="128936" y="469455"/>
                      <a:pt x="128910" y="552303"/>
                    </a:cubicBezTo>
                    <a:cubicBezTo>
                      <a:pt x="128910" y="570545"/>
                      <a:pt x="114599" y="585333"/>
                      <a:pt x="96946" y="585333"/>
                    </a:cubicBezTo>
                    <a:cubicBezTo>
                      <a:pt x="79294" y="585333"/>
                      <a:pt x="64983" y="570545"/>
                      <a:pt x="64983" y="552303"/>
                    </a:cubicBezTo>
                    <a:lnTo>
                      <a:pt x="64983" y="166868"/>
                    </a:lnTo>
                    <a:cubicBezTo>
                      <a:pt x="64651" y="142258"/>
                      <a:pt x="64319" y="117647"/>
                      <a:pt x="63987" y="93037"/>
                    </a:cubicBezTo>
                    <a:cubicBezTo>
                      <a:pt x="63987" y="92429"/>
                      <a:pt x="63509" y="91936"/>
                      <a:pt x="62921" y="91936"/>
                    </a:cubicBezTo>
                    <a:lnTo>
                      <a:pt x="52267" y="91936"/>
                    </a:lnTo>
                    <a:cubicBezTo>
                      <a:pt x="51678" y="91936"/>
                      <a:pt x="51201" y="92429"/>
                      <a:pt x="51201" y="93037"/>
                    </a:cubicBezTo>
                    <a:lnTo>
                      <a:pt x="51201" y="164044"/>
                    </a:lnTo>
                    <a:cubicBezTo>
                      <a:pt x="51180" y="164042"/>
                      <a:pt x="51161" y="164036"/>
                      <a:pt x="51141" y="164028"/>
                    </a:cubicBezTo>
                    <a:lnTo>
                      <a:pt x="51141" y="260047"/>
                    </a:lnTo>
                    <a:cubicBezTo>
                      <a:pt x="51141" y="274641"/>
                      <a:pt x="39693" y="286472"/>
                      <a:pt x="25571" y="286472"/>
                    </a:cubicBezTo>
                    <a:cubicBezTo>
                      <a:pt x="11448" y="286472"/>
                      <a:pt x="0" y="274641"/>
                      <a:pt x="0" y="260047"/>
                    </a:cubicBezTo>
                    <a:lnTo>
                      <a:pt x="0" y="93775"/>
                    </a:lnTo>
                    <a:lnTo>
                      <a:pt x="0" y="73582"/>
                    </a:lnTo>
                    <a:lnTo>
                      <a:pt x="0" y="69305"/>
                    </a:lnTo>
                    <a:cubicBezTo>
                      <a:pt x="0" y="63054"/>
                      <a:pt x="787" y="56994"/>
                      <a:pt x="2527" y="51295"/>
                    </a:cubicBezTo>
                    <a:cubicBezTo>
                      <a:pt x="3002" y="49540"/>
                      <a:pt x="2948" y="47348"/>
                      <a:pt x="4076" y="45985"/>
                    </a:cubicBezTo>
                    <a:cubicBezTo>
                      <a:pt x="14344" y="18630"/>
                      <a:pt x="41090" y="0"/>
                      <a:pt x="71203" y="0"/>
                    </a:cubicBez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defRPr/>
                </a:pPr>
                <a:endParaRPr lang="en-US" sz="1200" dirty="0" err="1">
                  <a:solidFill>
                    <a:srgbClr val="505050"/>
                  </a:solidFill>
                </a:endParaRPr>
              </a:p>
            </p:txBody>
          </p:sp>
        </p:grpSp>
      </p:grpSp>
      <p:grpSp>
        <p:nvGrpSpPr>
          <p:cNvPr id="247" name="Group 246"/>
          <p:cNvGrpSpPr/>
          <p:nvPr/>
        </p:nvGrpSpPr>
        <p:grpSpPr>
          <a:xfrm>
            <a:off x="9490382" y="164756"/>
            <a:ext cx="1188779" cy="1033683"/>
            <a:chOff x="10564016" y="1529037"/>
            <a:chExt cx="1188779" cy="1033683"/>
          </a:xfrm>
        </p:grpSpPr>
        <p:sp>
          <p:nvSpPr>
            <p:cNvPr id="248" name="Rectangle 247"/>
            <p:cNvSpPr/>
            <p:nvPr/>
          </p:nvSpPr>
          <p:spPr>
            <a:xfrm>
              <a:off x="10848711" y="1529037"/>
              <a:ext cx="713337" cy="246221"/>
            </a:xfrm>
            <a:prstGeom prst="rect">
              <a:avLst/>
            </a:prstGeom>
            <a:noFill/>
            <a:ln w="6350" cap="flat" cmpd="sng" algn="ctr">
              <a:noFill/>
              <a:prstDash val="solid"/>
            </a:ln>
            <a:effectLst/>
          </p:spPr>
          <p:txBody>
            <a:bodyPr wrap="none" lIns="0" tIns="0" rIns="0" bIns="0" rtlCol="0" anchor="ctr">
              <a:spAutoFit/>
            </a:bodyPr>
            <a:lstStyle/>
            <a:p>
              <a:pPr marL="0" lvl="1" algn="ctr" defTabSz="1218106" fontAlgn="base">
                <a:spcBef>
                  <a:spcPts val="200"/>
                </a:spcBef>
                <a:buClr>
                  <a:srgbClr val="FFFF99"/>
                </a:buClr>
                <a:buSzPct val="90000"/>
                <a:defRPr/>
              </a:pPr>
              <a:r>
                <a:rPr lang="en-US" sz="1600" kern="0" dirty="0">
                  <a:solidFill>
                    <a:srgbClr val="0072C6"/>
                  </a:solidFill>
                  <a:latin typeface="Segoe UI Semibold" panose="020B0702040204020203" pitchFamily="34" charset="0"/>
                  <a:ea typeface="Segoe UI" pitchFamily="34" charset="0"/>
                  <a:cs typeface="Segoe UI" pitchFamily="34" charset="0"/>
                </a:rPr>
                <a:t>Leaders</a:t>
              </a:r>
            </a:p>
          </p:txBody>
        </p:sp>
        <p:grpSp>
          <p:nvGrpSpPr>
            <p:cNvPr id="249" name="Group 248"/>
            <p:cNvGrpSpPr/>
            <p:nvPr/>
          </p:nvGrpSpPr>
          <p:grpSpPr>
            <a:xfrm>
              <a:off x="10564016" y="1749151"/>
              <a:ext cx="1188779" cy="813569"/>
              <a:chOff x="8576432" y="2546033"/>
              <a:chExt cx="1188779" cy="813569"/>
            </a:xfrm>
          </p:grpSpPr>
          <p:sp>
            <p:nvSpPr>
              <p:cNvPr id="250" name="Oval 249"/>
              <p:cNvSpPr/>
              <p:nvPr/>
            </p:nvSpPr>
            <p:spPr>
              <a:xfrm>
                <a:off x="8576432" y="2598247"/>
                <a:ext cx="1188779" cy="7613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endParaRPr lang="en-US" sz="1200" kern="0" dirty="0">
                  <a:solidFill>
                    <a:prstClr val="white"/>
                  </a:solidFill>
                </a:endParaRPr>
              </a:p>
            </p:txBody>
          </p:sp>
          <p:pic>
            <p:nvPicPr>
              <p:cNvPr id="252" name="Picture 251"/>
              <p:cNvPicPr>
                <a:picLocks noChangeAspect="1"/>
              </p:cNvPicPr>
              <p:nvPr/>
            </p:nvPicPr>
            <p:blipFill>
              <a:blip r:embed="rId21" cstate="screen">
                <a:duotone>
                  <a:prstClr val="black"/>
                  <a:schemeClr val="accent5">
                    <a:tint val="45000"/>
                    <a:satMod val="400000"/>
                  </a:schemeClr>
                </a:duotone>
                <a:extLst>
                  <a:ext uri="{BEBA8EAE-BF5A-486C-A8C5-ECC9F3942E4B}">
                    <a14:imgProps xmlns:a14="http://schemas.microsoft.com/office/drawing/2010/main">
                      <a14:imgLayer r:embed="rId22">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8762903" y="2546033"/>
                <a:ext cx="797830" cy="797829"/>
              </a:xfrm>
              <a:prstGeom prst="rect">
                <a:avLst/>
              </a:prstGeom>
            </p:spPr>
          </p:pic>
        </p:grpSp>
      </p:grpSp>
      <p:grpSp>
        <p:nvGrpSpPr>
          <p:cNvPr id="253" name="Group 252"/>
          <p:cNvGrpSpPr/>
          <p:nvPr/>
        </p:nvGrpSpPr>
        <p:grpSpPr>
          <a:xfrm>
            <a:off x="10502441" y="3157968"/>
            <a:ext cx="1222456" cy="1033683"/>
            <a:chOff x="10564016" y="1529037"/>
            <a:chExt cx="1222456" cy="1033683"/>
          </a:xfrm>
        </p:grpSpPr>
        <p:sp>
          <p:nvSpPr>
            <p:cNvPr id="254" name="Rectangle 253"/>
            <p:cNvSpPr/>
            <p:nvPr/>
          </p:nvSpPr>
          <p:spPr>
            <a:xfrm>
              <a:off x="10624294" y="1529037"/>
              <a:ext cx="1162178" cy="246221"/>
            </a:xfrm>
            <a:prstGeom prst="rect">
              <a:avLst/>
            </a:prstGeom>
            <a:noFill/>
            <a:ln w="6350" cap="flat" cmpd="sng" algn="ctr">
              <a:noFill/>
              <a:prstDash val="solid"/>
            </a:ln>
            <a:effectLst/>
          </p:spPr>
          <p:txBody>
            <a:bodyPr wrap="none" lIns="0" tIns="0" rIns="0" bIns="0" rtlCol="0" anchor="ctr">
              <a:spAutoFit/>
            </a:bodyPr>
            <a:lstStyle/>
            <a:p>
              <a:pPr marL="0" lvl="1" algn="ctr" defTabSz="1218106" fontAlgn="base">
                <a:spcBef>
                  <a:spcPts val="200"/>
                </a:spcBef>
                <a:buClr>
                  <a:srgbClr val="FFFF99"/>
                </a:buClr>
                <a:buSzPct val="90000"/>
                <a:defRPr/>
              </a:pPr>
              <a:r>
                <a:rPr lang="en-US" sz="1600" kern="0" dirty="0">
                  <a:solidFill>
                    <a:srgbClr val="0072C6"/>
                  </a:solidFill>
                  <a:latin typeface="Segoe UI Semibold" panose="020B0702040204020203" pitchFamily="34" charset="0"/>
                  <a:ea typeface="Segoe UI" pitchFamily="34" charset="0"/>
                  <a:cs typeface="Segoe UI" pitchFamily="34" charset="0"/>
                </a:rPr>
                <a:t>City Services</a:t>
              </a:r>
            </a:p>
          </p:txBody>
        </p:sp>
        <p:grpSp>
          <p:nvGrpSpPr>
            <p:cNvPr id="255" name="Group 254"/>
            <p:cNvGrpSpPr/>
            <p:nvPr/>
          </p:nvGrpSpPr>
          <p:grpSpPr>
            <a:xfrm>
              <a:off x="10564016" y="1749151"/>
              <a:ext cx="1188779" cy="813569"/>
              <a:chOff x="8576432" y="2546033"/>
              <a:chExt cx="1188779" cy="813569"/>
            </a:xfrm>
          </p:grpSpPr>
          <p:sp>
            <p:nvSpPr>
              <p:cNvPr id="256" name="Oval 255"/>
              <p:cNvSpPr/>
              <p:nvPr/>
            </p:nvSpPr>
            <p:spPr>
              <a:xfrm>
                <a:off x="8576432" y="2598247"/>
                <a:ext cx="1188779" cy="7613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endParaRPr lang="en-US" sz="1200" kern="0" dirty="0">
                  <a:solidFill>
                    <a:prstClr val="white"/>
                  </a:solidFill>
                </a:endParaRPr>
              </a:p>
            </p:txBody>
          </p:sp>
          <p:pic>
            <p:nvPicPr>
              <p:cNvPr id="257" name="Picture 256"/>
              <p:cNvPicPr>
                <a:picLocks noChangeAspect="1"/>
              </p:cNvPicPr>
              <p:nvPr/>
            </p:nvPicPr>
            <p:blipFill>
              <a:blip r:embed="rId21" cstate="screen">
                <a:duotone>
                  <a:prstClr val="black"/>
                  <a:schemeClr val="accent5">
                    <a:tint val="45000"/>
                    <a:satMod val="400000"/>
                  </a:schemeClr>
                </a:duotone>
                <a:extLst>
                  <a:ext uri="{BEBA8EAE-BF5A-486C-A8C5-ECC9F3942E4B}">
                    <a14:imgProps xmlns:a14="http://schemas.microsoft.com/office/drawing/2010/main">
                      <a14:imgLayer r:embed="rId22">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8762903" y="2546033"/>
                <a:ext cx="797830" cy="797829"/>
              </a:xfrm>
              <a:prstGeom prst="rect">
                <a:avLst/>
              </a:prstGeom>
            </p:spPr>
          </p:pic>
        </p:grpSp>
      </p:grpSp>
      <p:cxnSp>
        <p:nvCxnSpPr>
          <p:cNvPr id="258" name="Straight Arrow Connector 257"/>
          <p:cNvCxnSpPr/>
          <p:nvPr/>
        </p:nvCxnSpPr>
        <p:spPr>
          <a:xfrm rot="599156" flipV="1">
            <a:off x="8734347" y="3314784"/>
            <a:ext cx="1598528" cy="4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9" name="TextBox 258"/>
          <p:cNvSpPr txBox="1"/>
          <p:nvPr/>
        </p:nvSpPr>
        <p:spPr>
          <a:xfrm rot="599156">
            <a:off x="8572614" y="3086514"/>
            <a:ext cx="1888082" cy="288668"/>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Knowledge Capture</a:t>
            </a:r>
          </a:p>
        </p:txBody>
      </p:sp>
      <p:sp>
        <p:nvSpPr>
          <p:cNvPr id="260" name="TextBox 259"/>
          <p:cNvSpPr txBox="1"/>
          <p:nvPr/>
        </p:nvSpPr>
        <p:spPr>
          <a:xfrm rot="599156">
            <a:off x="8755164" y="2726177"/>
            <a:ext cx="787415" cy="321234"/>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Alerts</a:t>
            </a:r>
          </a:p>
        </p:txBody>
      </p:sp>
      <p:cxnSp>
        <p:nvCxnSpPr>
          <p:cNvPr id="261" name="Straight Arrow Connector 260"/>
          <p:cNvCxnSpPr/>
          <p:nvPr/>
        </p:nvCxnSpPr>
        <p:spPr>
          <a:xfrm rot="599156" flipH="1" flipV="1">
            <a:off x="8805209" y="3057163"/>
            <a:ext cx="1338261" cy="30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2" name="TextBox 261"/>
          <p:cNvSpPr txBox="1"/>
          <p:nvPr/>
        </p:nvSpPr>
        <p:spPr>
          <a:xfrm rot="19899273">
            <a:off x="7831727" y="1282884"/>
            <a:ext cx="1912007" cy="260284"/>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Request Submission</a:t>
            </a:r>
          </a:p>
        </p:txBody>
      </p:sp>
      <p:cxnSp>
        <p:nvCxnSpPr>
          <p:cNvPr id="263" name="Straight Arrow Connector 262"/>
          <p:cNvCxnSpPr/>
          <p:nvPr/>
        </p:nvCxnSpPr>
        <p:spPr>
          <a:xfrm rot="19899273">
            <a:off x="7979433" y="1519102"/>
            <a:ext cx="1631452" cy="16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4" name="Straight Arrow Connector 263"/>
          <p:cNvCxnSpPr/>
          <p:nvPr/>
        </p:nvCxnSpPr>
        <p:spPr>
          <a:xfrm rot="599156" flipH="1" flipV="1">
            <a:off x="8620964" y="3616855"/>
            <a:ext cx="1592418" cy="48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5" name="TextBox 264"/>
          <p:cNvSpPr txBox="1"/>
          <p:nvPr/>
        </p:nvSpPr>
        <p:spPr>
          <a:xfrm rot="599156">
            <a:off x="8444793" y="3341124"/>
            <a:ext cx="1888082" cy="288668"/>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Knowledge Sharing</a:t>
            </a:r>
          </a:p>
        </p:txBody>
      </p:sp>
      <p:cxnSp>
        <p:nvCxnSpPr>
          <p:cNvPr id="266" name="Straight Arrow Connector 265"/>
          <p:cNvCxnSpPr/>
          <p:nvPr/>
        </p:nvCxnSpPr>
        <p:spPr>
          <a:xfrm rot="599156" flipH="1" flipV="1">
            <a:off x="8756537" y="2759065"/>
            <a:ext cx="1456845" cy="40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7" name="TextBox 266"/>
          <p:cNvSpPr txBox="1"/>
          <p:nvPr/>
        </p:nvSpPr>
        <p:spPr>
          <a:xfrm rot="599156">
            <a:off x="8618052" y="2525637"/>
            <a:ext cx="1964577" cy="256649"/>
          </a:xfrm>
          <a:prstGeom prst="rect">
            <a:avLst/>
          </a:prstGeom>
        </p:spPr>
        <p:txBody>
          <a:bodyPr vert="horz" wrap="square" lIns="45720" tIns="45720" rIns="45720" bIns="45720" rtlCol="0" anchor="ctr">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Status &amp; Tracking</a:t>
            </a:r>
          </a:p>
        </p:txBody>
      </p:sp>
      <p:grpSp>
        <p:nvGrpSpPr>
          <p:cNvPr id="290" name="Group 289"/>
          <p:cNvGrpSpPr/>
          <p:nvPr/>
        </p:nvGrpSpPr>
        <p:grpSpPr>
          <a:xfrm>
            <a:off x="4906622" y="1699286"/>
            <a:ext cx="1363850" cy="469793"/>
            <a:chOff x="8725281" y="4214448"/>
            <a:chExt cx="1363850" cy="469793"/>
          </a:xfrm>
        </p:grpSpPr>
        <p:grpSp>
          <p:nvGrpSpPr>
            <p:cNvPr id="291" name="Group 290"/>
            <p:cNvGrpSpPr>
              <a:grpSpLocks noChangeAspect="1"/>
            </p:cNvGrpSpPr>
            <p:nvPr/>
          </p:nvGrpSpPr>
          <p:grpSpPr bwMode="black">
            <a:xfrm>
              <a:off x="8725281" y="4214448"/>
              <a:ext cx="621499" cy="469793"/>
              <a:chOff x="5152725" y="4450437"/>
              <a:chExt cx="311284" cy="235362"/>
            </a:xfrm>
            <a:solidFill>
              <a:srgbClr val="5E83BD"/>
            </a:solidFill>
          </p:grpSpPr>
          <p:sp>
            <p:nvSpPr>
              <p:cNvPr id="293"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defRPr/>
                </a:pPr>
                <a:endParaRPr lang="en-US" kern="0" spc="-122">
                  <a:solidFill>
                    <a:srgbClr val="FFFFFF">
                      <a:lumMod val="50000"/>
                    </a:srgbClr>
                  </a:solidFill>
                  <a:latin typeface="Segoe Light" pitchFamily="34" charset="0"/>
                </a:endParaRPr>
              </a:p>
            </p:txBody>
          </p:sp>
          <p:sp>
            <p:nvSpPr>
              <p:cNvPr id="294"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defRPr/>
                </a:pPr>
                <a:endParaRPr lang="en-US" kern="0" spc="-122">
                  <a:solidFill>
                    <a:srgbClr val="FFFFFF">
                      <a:lumMod val="50000"/>
                    </a:srgbClr>
                  </a:solidFill>
                  <a:latin typeface="Segoe Light" pitchFamily="34" charset="0"/>
                </a:endParaRPr>
              </a:p>
            </p:txBody>
          </p:sp>
        </p:grpSp>
        <p:sp>
          <p:nvSpPr>
            <p:cNvPr id="292" name="TextBox 291"/>
            <p:cNvSpPr txBox="1"/>
            <p:nvPr/>
          </p:nvSpPr>
          <p:spPr>
            <a:xfrm>
              <a:off x="9312567" y="4367896"/>
              <a:ext cx="776564" cy="137116"/>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a:defRPr/>
              </a:pPr>
              <a:r>
                <a:rPr lang="en-US" kern="0" dirty="0">
                  <a:solidFill>
                    <a:prstClr val="white"/>
                  </a:solidFill>
                </a:rPr>
                <a:t>Microsoft Social Engagement</a:t>
              </a:r>
            </a:p>
          </p:txBody>
        </p:sp>
      </p:grpSp>
      <p:grpSp>
        <p:nvGrpSpPr>
          <p:cNvPr id="295" name="Group 294"/>
          <p:cNvGrpSpPr/>
          <p:nvPr/>
        </p:nvGrpSpPr>
        <p:grpSpPr>
          <a:xfrm>
            <a:off x="2581893" y="775058"/>
            <a:ext cx="1316190" cy="1430858"/>
            <a:chOff x="3730114" y="4767439"/>
            <a:chExt cx="1955801" cy="1792728"/>
          </a:xfrm>
        </p:grpSpPr>
        <p:grpSp>
          <p:nvGrpSpPr>
            <p:cNvPr id="296" name="Group 295"/>
            <p:cNvGrpSpPr/>
            <p:nvPr/>
          </p:nvGrpSpPr>
          <p:grpSpPr>
            <a:xfrm>
              <a:off x="3730114" y="4767439"/>
              <a:ext cx="1955801" cy="1538559"/>
              <a:chOff x="3467100" y="2017870"/>
              <a:chExt cx="1955801" cy="1538559"/>
            </a:xfrm>
          </p:grpSpPr>
          <p:sp>
            <p:nvSpPr>
              <p:cNvPr id="298" name="Rounded Rectangle 60"/>
              <p:cNvSpPr>
                <a:spLocks noChangeArrowheads="1"/>
              </p:cNvSpPr>
              <p:nvPr/>
            </p:nvSpPr>
            <p:spPr bwMode="auto">
              <a:xfrm>
                <a:off x="3467100" y="2017870"/>
                <a:ext cx="1955801" cy="153855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endParaRPr lang="en-US" sz="1200" kern="0" dirty="0">
                  <a:solidFill>
                    <a:srgbClr val="505050"/>
                  </a:solidFill>
                </a:endParaRPr>
              </a:p>
            </p:txBody>
          </p:sp>
          <p:pic>
            <p:nvPicPr>
              <p:cNvPr id="299" name="Picture 298"/>
              <p:cNvPicPr>
                <a:picLocks noChangeAspect="1"/>
              </p:cNvPicPr>
              <p:nvPr/>
            </p:nvPicPr>
            <p:blipFill>
              <a:blip r:embed="rId23" cstate="screen">
                <a:lum bright="-40000" contrast="-40000"/>
                <a:extLst>
                  <a:ext uri="{28A0092B-C50C-407E-A947-70E740481C1C}">
                    <a14:useLocalDpi xmlns:a14="http://schemas.microsoft.com/office/drawing/2010/main"/>
                  </a:ext>
                </a:extLst>
              </a:blip>
              <a:stretch>
                <a:fillRect/>
              </a:stretch>
            </p:blipFill>
            <p:spPr bwMode="auto">
              <a:xfrm>
                <a:off x="4923723" y="2692706"/>
                <a:ext cx="376166" cy="335748"/>
              </a:xfrm>
              <a:prstGeom prst="rect">
                <a:avLst/>
              </a:prstGeom>
              <a:noFill/>
              <a:ln>
                <a:noFill/>
              </a:ln>
            </p:spPr>
          </p:pic>
          <p:sp>
            <p:nvSpPr>
              <p:cNvPr id="300" name="Freeform 14"/>
              <p:cNvSpPr>
                <a:spLocks noEditPoints="1"/>
              </p:cNvSpPr>
              <p:nvPr/>
            </p:nvSpPr>
            <p:spPr bwMode="black">
              <a:xfrm>
                <a:off x="4696500" y="2297546"/>
                <a:ext cx="187261" cy="1993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lumMod val="50000"/>
                </a:schemeClr>
              </a:solidFill>
              <a:ln w="10795" cap="flat" cmpd="sng" algn="ctr">
                <a:noFill/>
                <a:prstDash val="solid"/>
                <a:headEnd type="none" w="med" len="med"/>
                <a:tailEnd type="none" w="med" len="med"/>
              </a:ln>
              <a:effectLst/>
            </p:spPr>
            <p:txBody>
              <a:bodyPr lIns="109707" tIns="54854" rIns="109707" bIns="54854" anchor="ctr"/>
              <a:lstStyle/>
              <a:p>
                <a:pPr defTabSz="987406">
                  <a:defRPr/>
                </a:pPr>
                <a:endParaRPr lang="en-US" sz="2399" kern="0" dirty="0">
                  <a:solidFill>
                    <a:srgbClr val="505050"/>
                  </a:solidFill>
                  <a:latin typeface="Segoe Light" pitchFamily="34" charset="0"/>
                </a:endParaRPr>
              </a:p>
            </p:txBody>
          </p:sp>
          <p:pic>
            <p:nvPicPr>
              <p:cNvPr id="301" name="Picture 300"/>
              <p:cNvPicPr>
                <a:picLocks noChangeAspect="1"/>
              </p:cNvPicPr>
              <p:nvPr/>
            </p:nvPicPr>
            <p:blipFill>
              <a:blip r:embed="rId24" cstate="screen">
                <a:duotone>
                  <a:prstClr val="black"/>
                  <a:schemeClr val="accent5">
                    <a:tint val="45000"/>
                    <a:satMod val="400000"/>
                  </a:schemeClr>
                </a:duotone>
                <a:extLst>
                  <a:ext uri="{BEBA8EAE-BF5A-486C-A8C5-ECC9F3942E4B}">
                    <a14:imgProps xmlns:a14="http://schemas.microsoft.com/office/drawing/2010/main">
                      <a14:imgLayer r:embed="rId25">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4977252" y="2462284"/>
                <a:ext cx="157603" cy="181015"/>
              </a:xfrm>
              <a:prstGeom prst="rect">
                <a:avLst/>
              </a:prstGeom>
            </p:spPr>
          </p:pic>
          <p:sp>
            <p:nvSpPr>
              <p:cNvPr id="302" name="Freeform 13"/>
              <p:cNvSpPr>
                <a:spLocks noEditPoints="1"/>
              </p:cNvSpPr>
              <p:nvPr/>
            </p:nvSpPr>
            <p:spPr bwMode="black">
              <a:xfrm>
                <a:off x="3646568" y="2632177"/>
                <a:ext cx="273843" cy="233566"/>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lumMod val="50000"/>
                </a:schemeClr>
              </a:solidFill>
              <a:ln w="10795" cap="flat" cmpd="sng" algn="ctr">
                <a:noFill/>
                <a:prstDash val="solid"/>
                <a:headEnd type="none" w="med" len="med"/>
                <a:tailEnd type="none" w="med" len="med"/>
              </a:ln>
              <a:effectLst/>
            </p:spPr>
            <p:txBody>
              <a:bodyPr lIns="82302" tIns="41151" rIns="82302" bIns="41151" anchor="ctr"/>
              <a:lstStyle/>
              <a:p>
                <a:pPr defTabSz="740740">
                  <a:defRPr/>
                </a:pPr>
                <a:endParaRPr lang="en-US" sz="1800" kern="0" dirty="0">
                  <a:solidFill>
                    <a:srgbClr val="505050"/>
                  </a:solidFill>
                  <a:latin typeface="Segoe Light" pitchFamily="34" charset="0"/>
                </a:endParaRPr>
              </a:p>
            </p:txBody>
          </p:sp>
          <p:sp>
            <p:nvSpPr>
              <p:cNvPr id="303" name="Freeform 302"/>
              <p:cNvSpPr>
                <a:spLocks/>
              </p:cNvSpPr>
              <p:nvPr/>
            </p:nvSpPr>
            <p:spPr bwMode="black">
              <a:xfrm>
                <a:off x="4152839" y="2924872"/>
                <a:ext cx="199340" cy="199336"/>
              </a:xfrm>
              <a:custGeom>
                <a:avLst/>
                <a:gdLst>
                  <a:gd name="connsiteX0" fmla="*/ 276253 w 393142"/>
                  <a:gd name="connsiteY0" fmla="*/ 48406 h 393039"/>
                  <a:gd name="connsiteX1" fmla="*/ 213366 w 393142"/>
                  <a:gd name="connsiteY1" fmla="*/ 111283 h 393039"/>
                  <a:gd name="connsiteX2" fmla="*/ 213366 w 393142"/>
                  <a:gd name="connsiteY2" fmla="*/ 143229 h 393039"/>
                  <a:gd name="connsiteX3" fmla="*/ 168230 w 393142"/>
                  <a:gd name="connsiteY3" fmla="*/ 143229 h 393039"/>
                  <a:gd name="connsiteX4" fmla="*/ 168230 w 393142"/>
                  <a:gd name="connsiteY4" fmla="*/ 196725 h 393039"/>
                  <a:gd name="connsiteX5" fmla="*/ 213366 w 393142"/>
                  <a:gd name="connsiteY5" fmla="*/ 196725 h 393039"/>
                  <a:gd name="connsiteX6" fmla="*/ 213366 w 393142"/>
                  <a:gd name="connsiteY6" fmla="*/ 361270 h 393039"/>
                  <a:gd name="connsiteX7" fmla="*/ 283606 w 393142"/>
                  <a:gd name="connsiteY7" fmla="*/ 361270 h 393039"/>
                  <a:gd name="connsiteX8" fmla="*/ 283606 w 393142"/>
                  <a:gd name="connsiteY8" fmla="*/ 196725 h 393039"/>
                  <a:gd name="connsiteX9" fmla="*/ 333560 w 393142"/>
                  <a:gd name="connsiteY9" fmla="*/ 196725 h 393039"/>
                  <a:gd name="connsiteX10" fmla="*/ 333560 w 393142"/>
                  <a:gd name="connsiteY10" fmla="*/ 143229 h 393039"/>
                  <a:gd name="connsiteX11" fmla="*/ 283606 w 393142"/>
                  <a:gd name="connsiteY11" fmla="*/ 143229 h 393039"/>
                  <a:gd name="connsiteX12" fmla="*/ 283606 w 393142"/>
                  <a:gd name="connsiteY12" fmla="*/ 125481 h 393039"/>
                  <a:gd name="connsiteX13" fmla="*/ 307189 w 393142"/>
                  <a:gd name="connsiteY13" fmla="*/ 101902 h 393039"/>
                  <a:gd name="connsiteX14" fmla="*/ 333560 w 393142"/>
                  <a:gd name="connsiteY14" fmla="*/ 101902 h 393039"/>
                  <a:gd name="connsiteX15" fmla="*/ 333560 w 393142"/>
                  <a:gd name="connsiteY15" fmla="*/ 48406 h 393039"/>
                  <a:gd name="connsiteX16" fmla="*/ 276253 w 393142"/>
                  <a:gd name="connsiteY16" fmla="*/ 48406 h 393039"/>
                  <a:gd name="connsiteX17" fmla="*/ 70512 w 393142"/>
                  <a:gd name="connsiteY17" fmla="*/ 0 h 393039"/>
                  <a:gd name="connsiteX18" fmla="*/ 322630 w 393142"/>
                  <a:gd name="connsiteY18" fmla="*/ 0 h 393039"/>
                  <a:gd name="connsiteX19" fmla="*/ 393142 w 393142"/>
                  <a:gd name="connsiteY19" fmla="*/ 70494 h 393039"/>
                  <a:gd name="connsiteX20" fmla="*/ 393142 w 393142"/>
                  <a:gd name="connsiteY20" fmla="*/ 322546 h 393039"/>
                  <a:gd name="connsiteX21" fmla="*/ 322630 w 393142"/>
                  <a:gd name="connsiteY21" fmla="*/ 393039 h 393039"/>
                  <a:gd name="connsiteX22" fmla="*/ 70512 w 393142"/>
                  <a:gd name="connsiteY22" fmla="*/ 393039 h 393039"/>
                  <a:gd name="connsiteX23" fmla="*/ 0 w 393142"/>
                  <a:gd name="connsiteY23" fmla="*/ 322546 h 393039"/>
                  <a:gd name="connsiteX24" fmla="*/ 0 w 393142"/>
                  <a:gd name="connsiteY24" fmla="*/ 70494 h 393039"/>
                  <a:gd name="connsiteX25" fmla="*/ 70512 w 393142"/>
                  <a:gd name="connsiteY25" fmla="*/ 0 h 39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142" h="393039">
                    <a:moveTo>
                      <a:pt x="276253" y="48406"/>
                    </a:moveTo>
                    <a:cubicBezTo>
                      <a:pt x="241513" y="48406"/>
                      <a:pt x="213366" y="76549"/>
                      <a:pt x="213366" y="111283"/>
                    </a:cubicBezTo>
                    <a:cubicBezTo>
                      <a:pt x="213366" y="143229"/>
                      <a:pt x="213366" y="143229"/>
                      <a:pt x="213366" y="143229"/>
                    </a:cubicBezTo>
                    <a:cubicBezTo>
                      <a:pt x="168230" y="143229"/>
                      <a:pt x="168230" y="143229"/>
                      <a:pt x="168230" y="143229"/>
                    </a:cubicBezTo>
                    <a:cubicBezTo>
                      <a:pt x="168230" y="196725"/>
                      <a:pt x="168230" y="196725"/>
                      <a:pt x="168230" y="196725"/>
                    </a:cubicBezTo>
                    <a:cubicBezTo>
                      <a:pt x="213366" y="196725"/>
                      <a:pt x="213366" y="196725"/>
                      <a:pt x="213366" y="196725"/>
                    </a:cubicBezTo>
                    <a:cubicBezTo>
                      <a:pt x="213366" y="361270"/>
                      <a:pt x="213366" y="361270"/>
                      <a:pt x="213366" y="361270"/>
                    </a:cubicBezTo>
                    <a:cubicBezTo>
                      <a:pt x="283606" y="361270"/>
                      <a:pt x="283606" y="361270"/>
                      <a:pt x="283606" y="361270"/>
                    </a:cubicBezTo>
                    <a:cubicBezTo>
                      <a:pt x="283606" y="196725"/>
                      <a:pt x="283606" y="196725"/>
                      <a:pt x="283606" y="196725"/>
                    </a:cubicBezTo>
                    <a:cubicBezTo>
                      <a:pt x="333560" y="196725"/>
                      <a:pt x="333560" y="196725"/>
                      <a:pt x="333560" y="196725"/>
                    </a:cubicBezTo>
                    <a:cubicBezTo>
                      <a:pt x="333560" y="143229"/>
                      <a:pt x="333560" y="143229"/>
                      <a:pt x="333560" y="143229"/>
                    </a:cubicBezTo>
                    <a:cubicBezTo>
                      <a:pt x="283606" y="143229"/>
                      <a:pt x="283606" y="143229"/>
                      <a:pt x="283606" y="143229"/>
                    </a:cubicBezTo>
                    <a:cubicBezTo>
                      <a:pt x="283606" y="125481"/>
                      <a:pt x="283606" y="125481"/>
                      <a:pt x="283606" y="125481"/>
                    </a:cubicBezTo>
                    <a:cubicBezTo>
                      <a:pt x="283606" y="112297"/>
                      <a:pt x="294003" y="101902"/>
                      <a:pt x="307189" y="101902"/>
                    </a:cubicBezTo>
                    <a:cubicBezTo>
                      <a:pt x="333560" y="101902"/>
                      <a:pt x="333560" y="101902"/>
                      <a:pt x="333560" y="101902"/>
                    </a:cubicBezTo>
                    <a:cubicBezTo>
                      <a:pt x="333560" y="48406"/>
                      <a:pt x="333560" y="48406"/>
                      <a:pt x="333560" y="48406"/>
                    </a:cubicBezTo>
                    <a:cubicBezTo>
                      <a:pt x="276253" y="48406"/>
                      <a:pt x="276253" y="48406"/>
                      <a:pt x="276253" y="48406"/>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sz="1800" kern="0" dirty="0">
                  <a:solidFill>
                    <a:srgbClr val="505050"/>
                  </a:solidFill>
                  <a:latin typeface="Segoe Light" pitchFamily="34" charset="0"/>
                </a:endParaRPr>
              </a:p>
            </p:txBody>
          </p:sp>
          <p:sp>
            <p:nvSpPr>
              <p:cNvPr id="304" name="Freeform 303"/>
              <p:cNvSpPr>
                <a:spLocks/>
              </p:cNvSpPr>
              <p:nvPr/>
            </p:nvSpPr>
            <p:spPr bwMode="black">
              <a:xfrm>
                <a:off x="4559485" y="3225823"/>
                <a:ext cx="195314" cy="195308"/>
              </a:xfrm>
              <a:custGeom>
                <a:avLst/>
                <a:gdLst/>
                <a:ahLst/>
                <a:cxnLst/>
                <a:rect l="l" t="t" r="r" b="b"/>
                <a:pathLst>
                  <a:path w="393142" h="393039">
                    <a:moveTo>
                      <a:pt x="81679" y="184317"/>
                    </a:moveTo>
                    <a:lnTo>
                      <a:pt x="81679" y="344009"/>
                    </a:lnTo>
                    <a:lnTo>
                      <a:pt x="138295" y="344009"/>
                    </a:lnTo>
                    <a:lnTo>
                      <a:pt x="138295" y="184317"/>
                    </a:lnTo>
                    <a:close/>
                    <a:moveTo>
                      <a:pt x="285263" y="180875"/>
                    </a:moveTo>
                    <a:cubicBezTo>
                      <a:pt x="271861" y="180875"/>
                      <a:pt x="260692" y="183399"/>
                      <a:pt x="251758" y="188447"/>
                    </a:cubicBezTo>
                    <a:cubicBezTo>
                      <a:pt x="246259" y="191544"/>
                      <a:pt x="240245" y="196879"/>
                      <a:pt x="233717" y="204450"/>
                    </a:cubicBezTo>
                    <a:lnTo>
                      <a:pt x="233717" y="184317"/>
                    </a:lnTo>
                    <a:lnTo>
                      <a:pt x="177101" y="184317"/>
                    </a:lnTo>
                    <a:lnTo>
                      <a:pt x="177101" y="344009"/>
                    </a:lnTo>
                    <a:lnTo>
                      <a:pt x="233717" y="344009"/>
                    </a:lnTo>
                    <a:lnTo>
                      <a:pt x="233717" y="258484"/>
                    </a:lnTo>
                    <a:cubicBezTo>
                      <a:pt x="233717" y="247299"/>
                      <a:pt x="236339" y="239081"/>
                      <a:pt x="241584" y="233831"/>
                    </a:cubicBezTo>
                    <a:cubicBezTo>
                      <a:pt x="247399" y="228010"/>
                      <a:pt x="254582" y="225100"/>
                      <a:pt x="263132" y="225100"/>
                    </a:cubicBezTo>
                    <a:cubicBezTo>
                      <a:pt x="272480" y="225100"/>
                      <a:pt x="279491" y="228480"/>
                      <a:pt x="284166" y="235240"/>
                    </a:cubicBezTo>
                    <a:cubicBezTo>
                      <a:pt x="287359" y="239821"/>
                      <a:pt x="288955" y="249157"/>
                      <a:pt x="288955" y="263246"/>
                    </a:cubicBezTo>
                    <a:lnTo>
                      <a:pt x="288955" y="344009"/>
                    </a:lnTo>
                    <a:lnTo>
                      <a:pt x="345570" y="344009"/>
                    </a:lnTo>
                    <a:lnTo>
                      <a:pt x="345570" y="242308"/>
                    </a:lnTo>
                    <a:cubicBezTo>
                      <a:pt x="345570" y="221200"/>
                      <a:pt x="339443" y="205368"/>
                      <a:pt x="327187" y="194814"/>
                    </a:cubicBezTo>
                    <a:cubicBezTo>
                      <a:pt x="316419" y="185521"/>
                      <a:pt x="302445" y="180875"/>
                      <a:pt x="285263" y="180875"/>
                    </a:cubicBezTo>
                    <a:close/>
                    <a:moveTo>
                      <a:pt x="109987" y="91392"/>
                    </a:moveTo>
                    <a:cubicBezTo>
                      <a:pt x="101177" y="91392"/>
                      <a:pt x="93711" y="94452"/>
                      <a:pt x="87591" y="100573"/>
                    </a:cubicBezTo>
                    <a:cubicBezTo>
                      <a:pt x="81470" y="106693"/>
                      <a:pt x="78410" y="114159"/>
                      <a:pt x="78410" y="122969"/>
                    </a:cubicBezTo>
                    <a:cubicBezTo>
                      <a:pt x="78410" y="131779"/>
                      <a:pt x="81470" y="139274"/>
                      <a:pt x="87591" y="145451"/>
                    </a:cubicBezTo>
                    <a:cubicBezTo>
                      <a:pt x="93711" y="151629"/>
                      <a:pt x="101177" y="154718"/>
                      <a:pt x="109987" y="154718"/>
                    </a:cubicBezTo>
                    <a:cubicBezTo>
                      <a:pt x="118912" y="154718"/>
                      <a:pt x="126435" y="151658"/>
                      <a:pt x="132555" y="145537"/>
                    </a:cubicBezTo>
                    <a:cubicBezTo>
                      <a:pt x="138676" y="139417"/>
                      <a:pt x="141736" y="131894"/>
                      <a:pt x="141736" y="122969"/>
                    </a:cubicBezTo>
                    <a:cubicBezTo>
                      <a:pt x="141736" y="114159"/>
                      <a:pt x="138647" y="106693"/>
                      <a:pt x="132469" y="100573"/>
                    </a:cubicBezTo>
                    <a:cubicBezTo>
                      <a:pt x="126291" y="94452"/>
                      <a:pt x="118797" y="91392"/>
                      <a:pt x="109987" y="91392"/>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36" tIns="45718" rIns="91436" bIns="45718" anchor="ctr"/>
              <a:lstStyle/>
              <a:p>
                <a:pPr defTabSz="740740">
                  <a:defRPr/>
                </a:pPr>
                <a:endParaRPr lang="en-US" sz="1800" kern="0" dirty="0">
                  <a:solidFill>
                    <a:srgbClr val="505050"/>
                  </a:solidFill>
                  <a:latin typeface="Segoe Light" pitchFamily="34" charset="0"/>
                </a:endParaRPr>
              </a:p>
            </p:txBody>
          </p:sp>
          <p:sp>
            <p:nvSpPr>
              <p:cNvPr id="305" name="Trapezoid 86"/>
              <p:cNvSpPr/>
              <p:nvPr/>
            </p:nvSpPr>
            <p:spPr>
              <a:xfrm rot="16200000">
                <a:off x="3926391" y="2322063"/>
                <a:ext cx="214998" cy="224675"/>
              </a:xfrm>
              <a:custGeom>
                <a:avLst/>
                <a:gdLst/>
                <a:ahLst/>
                <a:cxnLst/>
                <a:rect l="l" t="t" r="r" b="b"/>
                <a:pathLst>
                  <a:path w="2026419" h="2117634">
                    <a:moveTo>
                      <a:pt x="683394" y="1357221"/>
                    </a:moveTo>
                    <a:cubicBezTo>
                      <a:pt x="683394" y="1472952"/>
                      <a:pt x="589575" y="1566771"/>
                      <a:pt x="473844" y="1566771"/>
                    </a:cubicBezTo>
                    <a:cubicBezTo>
                      <a:pt x="358113" y="1566771"/>
                      <a:pt x="264294" y="1472952"/>
                      <a:pt x="264294" y="1357221"/>
                    </a:cubicBezTo>
                    <a:cubicBezTo>
                      <a:pt x="264294" y="1241490"/>
                      <a:pt x="358113" y="1147671"/>
                      <a:pt x="473844" y="1147671"/>
                    </a:cubicBezTo>
                    <a:cubicBezTo>
                      <a:pt x="589575" y="1147671"/>
                      <a:pt x="683394" y="1241490"/>
                      <a:pt x="683394" y="1357221"/>
                    </a:cubicBezTo>
                    <a:close/>
                    <a:moveTo>
                      <a:pt x="794521" y="1772403"/>
                    </a:moveTo>
                    <a:cubicBezTo>
                      <a:pt x="775533" y="1803019"/>
                      <a:pt x="763564" y="1838106"/>
                      <a:pt x="760480" y="1875663"/>
                    </a:cubicBezTo>
                    <a:cubicBezTo>
                      <a:pt x="654054" y="1822066"/>
                      <a:pt x="568072" y="1734443"/>
                      <a:pt x="516913" y="1626725"/>
                    </a:cubicBezTo>
                    <a:cubicBezTo>
                      <a:pt x="554560" y="1621730"/>
                      <a:pt x="589522" y="1608175"/>
                      <a:pt x="619969" y="1588089"/>
                    </a:cubicBezTo>
                    <a:cubicBezTo>
                      <a:pt x="656986" y="1666600"/>
                      <a:pt x="718716" y="1730458"/>
                      <a:pt x="794521" y="1772403"/>
                    </a:cubicBezTo>
                    <a:close/>
                    <a:moveTo>
                      <a:pt x="1240606" y="1908084"/>
                    </a:moveTo>
                    <a:cubicBezTo>
                      <a:pt x="1240606" y="2023815"/>
                      <a:pt x="1146787" y="2117634"/>
                      <a:pt x="1031056" y="2117634"/>
                    </a:cubicBezTo>
                    <a:cubicBezTo>
                      <a:pt x="915325" y="2117634"/>
                      <a:pt x="821506" y="2023815"/>
                      <a:pt x="821506" y="1908084"/>
                    </a:cubicBezTo>
                    <a:cubicBezTo>
                      <a:pt x="821506" y="1792353"/>
                      <a:pt x="915325" y="1698534"/>
                      <a:pt x="1031056" y="1698534"/>
                    </a:cubicBezTo>
                    <a:cubicBezTo>
                      <a:pt x="1146787" y="1698534"/>
                      <a:pt x="1240606" y="1792353"/>
                      <a:pt x="1240606" y="1908084"/>
                    </a:cubicBezTo>
                    <a:close/>
                    <a:moveTo>
                      <a:pt x="1373359" y="613050"/>
                    </a:moveTo>
                    <a:cubicBezTo>
                      <a:pt x="1373781" y="592439"/>
                      <a:pt x="1371525" y="580084"/>
                      <a:pt x="1366588" y="548121"/>
                    </a:cubicBezTo>
                    <a:cubicBezTo>
                      <a:pt x="1346003" y="461219"/>
                      <a:pt x="1278868" y="410011"/>
                      <a:pt x="1201868" y="402221"/>
                    </a:cubicBezTo>
                    <a:cubicBezTo>
                      <a:pt x="931351" y="360536"/>
                      <a:pt x="985455" y="670197"/>
                      <a:pt x="854062" y="652331"/>
                    </a:cubicBezTo>
                    <a:cubicBezTo>
                      <a:pt x="735550" y="625534"/>
                      <a:pt x="783213" y="491547"/>
                      <a:pt x="823146" y="420087"/>
                    </a:cubicBezTo>
                    <a:lnTo>
                      <a:pt x="695617" y="393290"/>
                    </a:lnTo>
                    <a:cubicBezTo>
                      <a:pt x="669255" y="453845"/>
                      <a:pt x="655521" y="504886"/>
                      <a:pt x="653658" y="548121"/>
                    </a:cubicBezTo>
                    <a:cubicBezTo>
                      <a:pt x="652750" y="592572"/>
                      <a:pt x="651843" y="592994"/>
                      <a:pt x="658078" y="637445"/>
                    </a:cubicBezTo>
                    <a:cubicBezTo>
                      <a:pt x="684114" y="745767"/>
                      <a:pt x="788926" y="772909"/>
                      <a:pt x="827010" y="783341"/>
                    </a:cubicBezTo>
                    <a:cubicBezTo>
                      <a:pt x="1076916" y="832967"/>
                      <a:pt x="1075626" y="531247"/>
                      <a:pt x="1182546" y="530254"/>
                    </a:cubicBezTo>
                    <a:cubicBezTo>
                      <a:pt x="1299767" y="545140"/>
                      <a:pt x="1246955" y="694015"/>
                      <a:pt x="1209598" y="735701"/>
                    </a:cubicBezTo>
                    <a:lnTo>
                      <a:pt x="1340990" y="762499"/>
                    </a:lnTo>
                    <a:cubicBezTo>
                      <a:pt x="1359764" y="717009"/>
                      <a:pt x="1370090" y="675238"/>
                      <a:pt x="1372044" y="637445"/>
                    </a:cubicBezTo>
                    <a:cubicBezTo>
                      <a:pt x="1372780" y="627708"/>
                      <a:pt x="1373218" y="619921"/>
                      <a:pt x="1373359" y="613050"/>
                    </a:cubicBezTo>
                    <a:close/>
                    <a:moveTo>
                      <a:pt x="1512939" y="1619251"/>
                    </a:moveTo>
                    <a:cubicBezTo>
                      <a:pt x="1467757" y="1718695"/>
                      <a:pt x="1392941" y="1801540"/>
                      <a:pt x="1299780" y="1857295"/>
                    </a:cubicBezTo>
                    <a:cubicBezTo>
                      <a:pt x="1293356" y="1820868"/>
                      <a:pt x="1279346" y="1787051"/>
                      <a:pt x="1259468" y="1757439"/>
                    </a:cubicBezTo>
                    <a:cubicBezTo>
                      <a:pt x="1328714" y="1711331"/>
                      <a:pt x="1384214" y="1646253"/>
                      <a:pt x="1415932" y="1568433"/>
                    </a:cubicBezTo>
                    <a:cubicBezTo>
                      <a:pt x="1443458" y="1592539"/>
                      <a:pt x="1476496" y="1610117"/>
                      <a:pt x="1512939" y="1619251"/>
                    </a:cubicBezTo>
                    <a:close/>
                    <a:moveTo>
                      <a:pt x="1797819" y="1357221"/>
                    </a:moveTo>
                    <a:cubicBezTo>
                      <a:pt x="1797819" y="1472952"/>
                      <a:pt x="1704000" y="1566771"/>
                      <a:pt x="1588269" y="1566771"/>
                    </a:cubicBezTo>
                    <a:cubicBezTo>
                      <a:pt x="1472538" y="1566771"/>
                      <a:pt x="1378719" y="1472952"/>
                      <a:pt x="1378719" y="1357221"/>
                    </a:cubicBezTo>
                    <a:cubicBezTo>
                      <a:pt x="1378719" y="1241490"/>
                      <a:pt x="1472538" y="1147671"/>
                      <a:pt x="1588269" y="1147671"/>
                    </a:cubicBezTo>
                    <a:cubicBezTo>
                      <a:pt x="1704000" y="1147671"/>
                      <a:pt x="1797819" y="1241490"/>
                      <a:pt x="1797819" y="1357221"/>
                    </a:cubicBezTo>
                    <a:close/>
                    <a:moveTo>
                      <a:pt x="2026419" y="1204820"/>
                    </a:moveTo>
                    <a:lnTo>
                      <a:pt x="1815729" y="1204820"/>
                    </a:lnTo>
                    <a:cubicBezTo>
                      <a:pt x="1766640" y="1131561"/>
                      <a:pt x="1683081" y="1083377"/>
                      <a:pt x="1588269" y="1083377"/>
                    </a:cubicBezTo>
                    <a:cubicBezTo>
                      <a:pt x="1493456" y="1083377"/>
                      <a:pt x="1409898" y="1131561"/>
                      <a:pt x="1360808" y="1204820"/>
                    </a:cubicBezTo>
                    <a:lnTo>
                      <a:pt x="701304" y="1204820"/>
                    </a:lnTo>
                    <a:cubicBezTo>
                      <a:pt x="652215" y="1131561"/>
                      <a:pt x="568656" y="1083377"/>
                      <a:pt x="473844" y="1083377"/>
                    </a:cubicBezTo>
                    <a:cubicBezTo>
                      <a:pt x="379031" y="1083377"/>
                      <a:pt x="295473" y="1131561"/>
                      <a:pt x="246383" y="1204820"/>
                    </a:cubicBezTo>
                    <a:lnTo>
                      <a:pt x="0" y="1204820"/>
                    </a:lnTo>
                    <a:lnTo>
                      <a:pt x="199603" y="0"/>
                    </a:lnTo>
                    <a:lnTo>
                      <a:pt x="1826816"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defRPr/>
                </a:pPr>
                <a:endParaRPr lang="en-US" dirty="0">
                  <a:solidFill>
                    <a:srgbClr val="505050"/>
                  </a:solidFill>
                </a:endParaRPr>
              </a:p>
            </p:txBody>
          </p:sp>
          <p:sp>
            <p:nvSpPr>
              <p:cNvPr id="306" name="Freeform 305"/>
              <p:cNvSpPr/>
              <p:nvPr/>
            </p:nvSpPr>
            <p:spPr>
              <a:xfrm>
                <a:off x="4739777" y="2702651"/>
                <a:ext cx="212360" cy="205921"/>
              </a:xfrm>
              <a:custGeom>
                <a:avLst/>
                <a:gdLst>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1358 w 4062047"/>
                  <a:gd name="connsiteY5" fmla="*/ 1576817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1358 w 4062047"/>
                  <a:gd name="connsiteY9" fmla="*/ 1576817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3739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3739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62047" h="3938955">
                    <a:moveTo>
                      <a:pt x="2292410" y="2109292"/>
                    </a:moveTo>
                    <a:cubicBezTo>
                      <a:pt x="2268687" y="2107678"/>
                      <a:pt x="2249265" y="2109514"/>
                      <a:pt x="2235381" y="2115515"/>
                    </a:cubicBezTo>
                    <a:cubicBezTo>
                      <a:pt x="2217974" y="2189262"/>
                      <a:pt x="2613445" y="2474616"/>
                      <a:pt x="2889776" y="2637325"/>
                    </a:cubicBezTo>
                    <a:cubicBezTo>
                      <a:pt x="2978370" y="2687082"/>
                      <a:pt x="3175001" y="2558447"/>
                      <a:pt x="2998691" y="2403914"/>
                    </a:cubicBezTo>
                    <a:cubicBezTo>
                      <a:pt x="2835268" y="2300874"/>
                      <a:pt x="2458468" y="2120587"/>
                      <a:pt x="2292410" y="2109292"/>
                    </a:cubicBezTo>
                    <a:close/>
                    <a:moveTo>
                      <a:pt x="3206785" y="1603188"/>
                    </a:moveTo>
                    <a:cubicBezTo>
                      <a:pt x="3072434" y="1591741"/>
                      <a:pt x="2414941" y="1693084"/>
                      <a:pt x="2420651" y="1739087"/>
                    </a:cubicBezTo>
                    <a:cubicBezTo>
                      <a:pt x="2441093" y="1812050"/>
                      <a:pt x="2920489" y="1870481"/>
                      <a:pt x="3241046" y="1879207"/>
                    </a:cubicBezTo>
                    <a:cubicBezTo>
                      <a:pt x="3377656" y="1864033"/>
                      <a:pt x="3431985" y="1611977"/>
                      <a:pt x="3206785" y="1603188"/>
                    </a:cubicBezTo>
                    <a:close/>
                    <a:moveTo>
                      <a:pt x="2950677" y="857698"/>
                    </a:moveTo>
                    <a:cubicBezTo>
                      <a:pt x="2927159" y="860050"/>
                      <a:pt x="2900469" y="866759"/>
                      <a:pt x="2870505" y="878864"/>
                    </a:cubicBezTo>
                    <a:cubicBezTo>
                      <a:pt x="2672862" y="977289"/>
                      <a:pt x="2275194" y="1268596"/>
                      <a:pt x="2227569" y="1381308"/>
                    </a:cubicBezTo>
                    <a:cubicBezTo>
                      <a:pt x="2281544" y="1434489"/>
                      <a:pt x="2730806" y="1244784"/>
                      <a:pt x="3013380" y="1093177"/>
                    </a:cubicBezTo>
                    <a:cubicBezTo>
                      <a:pt x="3117363" y="1016878"/>
                      <a:pt x="3055771" y="876954"/>
                      <a:pt x="2950677" y="857698"/>
                    </a:cubicBezTo>
                    <a:close/>
                    <a:moveTo>
                      <a:pt x="850835" y="587237"/>
                    </a:moveTo>
                    <a:cubicBezTo>
                      <a:pt x="745540" y="573769"/>
                      <a:pt x="690473" y="689557"/>
                      <a:pt x="691663" y="759803"/>
                    </a:cubicBezTo>
                    <a:lnTo>
                      <a:pt x="1286976" y="2250466"/>
                    </a:lnTo>
                    <a:cubicBezTo>
                      <a:pt x="1258401" y="2445728"/>
                      <a:pt x="1167913" y="2564791"/>
                      <a:pt x="1072663" y="2593366"/>
                    </a:cubicBezTo>
                    <a:cubicBezTo>
                      <a:pt x="963126" y="2639403"/>
                      <a:pt x="767864" y="2542565"/>
                      <a:pt x="744051" y="2731478"/>
                    </a:cubicBezTo>
                    <a:cubicBezTo>
                      <a:pt x="759926" y="2890228"/>
                      <a:pt x="947251" y="2896578"/>
                      <a:pt x="1191726" y="2836253"/>
                    </a:cubicBezTo>
                    <a:cubicBezTo>
                      <a:pt x="1426676" y="2750528"/>
                      <a:pt x="1466364" y="2636228"/>
                      <a:pt x="1696551" y="2036153"/>
                    </a:cubicBezTo>
                    <a:lnTo>
                      <a:pt x="2201376" y="769328"/>
                    </a:lnTo>
                    <a:cubicBezTo>
                      <a:pt x="2215663" y="650265"/>
                      <a:pt x="2048976" y="521678"/>
                      <a:pt x="1929913" y="683603"/>
                    </a:cubicBezTo>
                    <a:lnTo>
                      <a:pt x="1458426" y="1855178"/>
                    </a:lnTo>
                    <a:lnTo>
                      <a:pt x="972651" y="650266"/>
                    </a:lnTo>
                    <a:cubicBezTo>
                      <a:pt x="926614" y="610579"/>
                      <a:pt x="885934" y="591727"/>
                      <a:pt x="850835" y="587237"/>
                    </a:cubicBezTo>
                    <a:close/>
                    <a:moveTo>
                      <a:pt x="540732" y="0"/>
                    </a:moveTo>
                    <a:lnTo>
                      <a:pt x="3521315" y="0"/>
                    </a:lnTo>
                    <a:cubicBezTo>
                      <a:pt x="3819953" y="0"/>
                      <a:pt x="4062047" y="242093"/>
                      <a:pt x="4062047" y="540731"/>
                    </a:cubicBezTo>
                    <a:lnTo>
                      <a:pt x="4062047" y="2914645"/>
                    </a:lnTo>
                    <a:cubicBezTo>
                      <a:pt x="4062047" y="3213283"/>
                      <a:pt x="3819953" y="3455377"/>
                      <a:pt x="3521315" y="3455377"/>
                    </a:cubicBezTo>
                    <a:lnTo>
                      <a:pt x="1802912" y="3455377"/>
                    </a:lnTo>
                    <a:lnTo>
                      <a:pt x="1075041" y="3938955"/>
                    </a:lnTo>
                    <a:lnTo>
                      <a:pt x="1075041" y="3455377"/>
                    </a:lnTo>
                    <a:lnTo>
                      <a:pt x="540732" y="3455377"/>
                    </a:lnTo>
                    <a:cubicBezTo>
                      <a:pt x="242094" y="3455377"/>
                      <a:pt x="0" y="3213283"/>
                      <a:pt x="0" y="2914645"/>
                    </a:cubicBezTo>
                    <a:lnTo>
                      <a:pt x="0" y="540731"/>
                    </a:lnTo>
                    <a:cubicBezTo>
                      <a:pt x="0" y="242093"/>
                      <a:pt x="242094" y="0"/>
                      <a:pt x="540732"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defRPr/>
                </a:pPr>
                <a:endParaRPr lang="en-US" dirty="0">
                  <a:solidFill>
                    <a:srgbClr val="505050"/>
                  </a:solidFill>
                  <a:ea typeface="Segoe UI" pitchFamily="34" charset="0"/>
                  <a:cs typeface="Segoe UI" pitchFamily="34" charset="0"/>
                </a:endParaRPr>
              </a:p>
            </p:txBody>
          </p:sp>
          <p:sp>
            <p:nvSpPr>
              <p:cNvPr id="307" name="Freeform 306"/>
              <p:cNvSpPr>
                <a:spLocks/>
              </p:cNvSpPr>
              <p:nvPr/>
            </p:nvSpPr>
            <p:spPr bwMode="auto">
              <a:xfrm>
                <a:off x="4790660" y="3040183"/>
                <a:ext cx="179316" cy="173928"/>
              </a:xfrm>
              <a:custGeom>
                <a:avLst/>
                <a:gdLst/>
                <a:ahLst/>
                <a:cxnLst/>
                <a:rect l="l" t="t" r="r" b="b"/>
                <a:pathLst>
                  <a:path w="792162" h="768350">
                    <a:moveTo>
                      <a:pt x="428082" y="239713"/>
                    </a:moveTo>
                    <a:lnTo>
                      <a:pt x="415438" y="240512"/>
                    </a:lnTo>
                    <a:lnTo>
                      <a:pt x="403583" y="242907"/>
                    </a:lnTo>
                    <a:lnTo>
                      <a:pt x="391728" y="248496"/>
                    </a:lnTo>
                    <a:lnTo>
                      <a:pt x="380664" y="254884"/>
                    </a:lnTo>
                    <a:lnTo>
                      <a:pt x="369599" y="264466"/>
                    </a:lnTo>
                    <a:lnTo>
                      <a:pt x="360116" y="274846"/>
                    </a:lnTo>
                    <a:lnTo>
                      <a:pt x="349842" y="288420"/>
                    </a:lnTo>
                    <a:lnTo>
                      <a:pt x="340358" y="303591"/>
                    </a:lnTo>
                    <a:lnTo>
                      <a:pt x="331664" y="319561"/>
                    </a:lnTo>
                    <a:lnTo>
                      <a:pt x="324552" y="334732"/>
                    </a:lnTo>
                    <a:lnTo>
                      <a:pt x="318229" y="350701"/>
                    </a:lnTo>
                    <a:lnTo>
                      <a:pt x="312697" y="366671"/>
                    </a:lnTo>
                    <a:lnTo>
                      <a:pt x="308745" y="381842"/>
                    </a:lnTo>
                    <a:lnTo>
                      <a:pt x="306374" y="397013"/>
                    </a:lnTo>
                    <a:lnTo>
                      <a:pt x="304004" y="412184"/>
                    </a:lnTo>
                    <a:lnTo>
                      <a:pt x="303213" y="427355"/>
                    </a:lnTo>
                    <a:lnTo>
                      <a:pt x="304004" y="444922"/>
                    </a:lnTo>
                    <a:lnTo>
                      <a:pt x="307955" y="459294"/>
                    </a:lnTo>
                    <a:lnTo>
                      <a:pt x="312697" y="472868"/>
                    </a:lnTo>
                    <a:lnTo>
                      <a:pt x="319810" y="484845"/>
                    </a:lnTo>
                    <a:lnTo>
                      <a:pt x="324552" y="490435"/>
                    </a:lnTo>
                    <a:lnTo>
                      <a:pt x="328503" y="495226"/>
                    </a:lnTo>
                    <a:lnTo>
                      <a:pt x="334035" y="499218"/>
                    </a:lnTo>
                    <a:lnTo>
                      <a:pt x="339568" y="502412"/>
                    </a:lnTo>
                    <a:lnTo>
                      <a:pt x="345100" y="505606"/>
                    </a:lnTo>
                    <a:lnTo>
                      <a:pt x="351422" y="506404"/>
                    </a:lnTo>
                    <a:lnTo>
                      <a:pt x="358535" y="508001"/>
                    </a:lnTo>
                    <a:lnTo>
                      <a:pt x="366438" y="508001"/>
                    </a:lnTo>
                    <a:lnTo>
                      <a:pt x="379083" y="507203"/>
                    </a:lnTo>
                    <a:lnTo>
                      <a:pt x="390938" y="502412"/>
                    </a:lnTo>
                    <a:lnTo>
                      <a:pt x="402793" y="496024"/>
                    </a:lnTo>
                    <a:lnTo>
                      <a:pt x="413857" y="488039"/>
                    </a:lnTo>
                    <a:lnTo>
                      <a:pt x="424131" y="476062"/>
                    </a:lnTo>
                    <a:lnTo>
                      <a:pt x="434405" y="462488"/>
                    </a:lnTo>
                    <a:lnTo>
                      <a:pt x="443889" y="445720"/>
                    </a:lnTo>
                    <a:lnTo>
                      <a:pt x="451792" y="427355"/>
                    </a:lnTo>
                    <a:lnTo>
                      <a:pt x="459695" y="407393"/>
                    </a:lnTo>
                    <a:lnTo>
                      <a:pt x="466017" y="389028"/>
                    </a:lnTo>
                    <a:lnTo>
                      <a:pt x="472340" y="372260"/>
                    </a:lnTo>
                    <a:lnTo>
                      <a:pt x="477082" y="355492"/>
                    </a:lnTo>
                    <a:lnTo>
                      <a:pt x="481033" y="340321"/>
                    </a:lnTo>
                    <a:lnTo>
                      <a:pt x="483404" y="325949"/>
                    </a:lnTo>
                    <a:lnTo>
                      <a:pt x="484195" y="313173"/>
                    </a:lnTo>
                    <a:lnTo>
                      <a:pt x="485775" y="301196"/>
                    </a:lnTo>
                    <a:lnTo>
                      <a:pt x="484195" y="288420"/>
                    </a:lnTo>
                    <a:lnTo>
                      <a:pt x="481824" y="277242"/>
                    </a:lnTo>
                    <a:lnTo>
                      <a:pt x="476292" y="266063"/>
                    </a:lnTo>
                    <a:lnTo>
                      <a:pt x="469969" y="256481"/>
                    </a:lnTo>
                    <a:lnTo>
                      <a:pt x="466017" y="253287"/>
                    </a:lnTo>
                    <a:lnTo>
                      <a:pt x="462066" y="249295"/>
                    </a:lnTo>
                    <a:lnTo>
                      <a:pt x="457324" y="246900"/>
                    </a:lnTo>
                    <a:lnTo>
                      <a:pt x="451792" y="243706"/>
                    </a:lnTo>
                    <a:lnTo>
                      <a:pt x="446260" y="242109"/>
                    </a:lnTo>
                    <a:lnTo>
                      <a:pt x="440727" y="240512"/>
                    </a:lnTo>
                    <a:lnTo>
                      <a:pt x="434405" y="239713"/>
                    </a:lnTo>
                    <a:close/>
                    <a:moveTo>
                      <a:pt x="427466" y="0"/>
                    </a:moveTo>
                    <a:lnTo>
                      <a:pt x="446535" y="0"/>
                    </a:lnTo>
                    <a:lnTo>
                      <a:pt x="464809" y="1588"/>
                    </a:lnTo>
                    <a:lnTo>
                      <a:pt x="483084" y="3175"/>
                    </a:lnTo>
                    <a:lnTo>
                      <a:pt x="501359" y="5556"/>
                    </a:lnTo>
                    <a:lnTo>
                      <a:pt x="518839" y="8731"/>
                    </a:lnTo>
                    <a:lnTo>
                      <a:pt x="536319" y="11906"/>
                    </a:lnTo>
                    <a:lnTo>
                      <a:pt x="553004" y="15875"/>
                    </a:lnTo>
                    <a:lnTo>
                      <a:pt x="569689" y="20638"/>
                    </a:lnTo>
                    <a:lnTo>
                      <a:pt x="584786" y="26194"/>
                    </a:lnTo>
                    <a:lnTo>
                      <a:pt x="600677" y="32544"/>
                    </a:lnTo>
                    <a:lnTo>
                      <a:pt x="614979" y="38894"/>
                    </a:lnTo>
                    <a:lnTo>
                      <a:pt x="630075" y="46038"/>
                    </a:lnTo>
                    <a:lnTo>
                      <a:pt x="644377" y="53975"/>
                    </a:lnTo>
                    <a:lnTo>
                      <a:pt x="657884" y="62706"/>
                    </a:lnTo>
                    <a:lnTo>
                      <a:pt x="672186" y="71438"/>
                    </a:lnTo>
                    <a:lnTo>
                      <a:pt x="684899" y="81756"/>
                    </a:lnTo>
                    <a:lnTo>
                      <a:pt x="709529" y="103981"/>
                    </a:lnTo>
                    <a:lnTo>
                      <a:pt x="730982" y="127794"/>
                    </a:lnTo>
                    <a:lnTo>
                      <a:pt x="750051" y="153988"/>
                    </a:lnTo>
                    <a:lnTo>
                      <a:pt x="765148" y="181769"/>
                    </a:lnTo>
                    <a:lnTo>
                      <a:pt x="777066" y="211138"/>
                    </a:lnTo>
                    <a:lnTo>
                      <a:pt x="785011" y="242094"/>
                    </a:lnTo>
                    <a:lnTo>
                      <a:pt x="789779" y="273844"/>
                    </a:lnTo>
                    <a:lnTo>
                      <a:pt x="792162" y="308769"/>
                    </a:lnTo>
                    <a:lnTo>
                      <a:pt x="790573" y="336550"/>
                    </a:lnTo>
                    <a:lnTo>
                      <a:pt x="787395" y="362744"/>
                    </a:lnTo>
                    <a:lnTo>
                      <a:pt x="781833" y="387350"/>
                    </a:lnTo>
                    <a:lnTo>
                      <a:pt x="774682" y="411956"/>
                    </a:lnTo>
                    <a:lnTo>
                      <a:pt x="765148" y="435769"/>
                    </a:lnTo>
                    <a:lnTo>
                      <a:pt x="753229" y="457994"/>
                    </a:lnTo>
                    <a:lnTo>
                      <a:pt x="739722" y="480219"/>
                    </a:lnTo>
                    <a:lnTo>
                      <a:pt x="723037" y="500063"/>
                    </a:lnTo>
                    <a:lnTo>
                      <a:pt x="715091" y="510381"/>
                    </a:lnTo>
                    <a:lnTo>
                      <a:pt x="705557" y="518319"/>
                    </a:lnTo>
                    <a:lnTo>
                      <a:pt x="697611" y="527844"/>
                    </a:lnTo>
                    <a:lnTo>
                      <a:pt x="688077" y="534988"/>
                    </a:lnTo>
                    <a:lnTo>
                      <a:pt x="679337" y="542131"/>
                    </a:lnTo>
                    <a:lnTo>
                      <a:pt x="669802" y="548481"/>
                    </a:lnTo>
                    <a:lnTo>
                      <a:pt x="661062" y="554038"/>
                    </a:lnTo>
                    <a:lnTo>
                      <a:pt x="650733" y="559594"/>
                    </a:lnTo>
                    <a:lnTo>
                      <a:pt x="640404" y="564356"/>
                    </a:lnTo>
                    <a:lnTo>
                      <a:pt x="631664" y="568325"/>
                    </a:lnTo>
                    <a:lnTo>
                      <a:pt x="621335" y="572294"/>
                    </a:lnTo>
                    <a:lnTo>
                      <a:pt x="611800" y="574675"/>
                    </a:lnTo>
                    <a:lnTo>
                      <a:pt x="600677" y="577056"/>
                    </a:lnTo>
                    <a:lnTo>
                      <a:pt x="590348" y="578644"/>
                    </a:lnTo>
                    <a:lnTo>
                      <a:pt x="579224" y="579438"/>
                    </a:lnTo>
                    <a:lnTo>
                      <a:pt x="568100" y="579438"/>
                    </a:lnTo>
                    <a:lnTo>
                      <a:pt x="557771" y="579438"/>
                    </a:lnTo>
                    <a:lnTo>
                      <a:pt x="547442" y="577850"/>
                    </a:lnTo>
                    <a:lnTo>
                      <a:pt x="537113" y="576263"/>
                    </a:lnTo>
                    <a:lnTo>
                      <a:pt x="528373" y="573088"/>
                    </a:lnTo>
                    <a:lnTo>
                      <a:pt x="519633" y="569913"/>
                    </a:lnTo>
                    <a:lnTo>
                      <a:pt x="512482" y="565150"/>
                    </a:lnTo>
                    <a:lnTo>
                      <a:pt x="505331" y="560388"/>
                    </a:lnTo>
                    <a:lnTo>
                      <a:pt x="498975" y="554038"/>
                    </a:lnTo>
                    <a:lnTo>
                      <a:pt x="488646" y="541338"/>
                    </a:lnTo>
                    <a:lnTo>
                      <a:pt x="481495" y="527844"/>
                    </a:lnTo>
                    <a:lnTo>
                      <a:pt x="476728" y="514350"/>
                    </a:lnTo>
                    <a:lnTo>
                      <a:pt x="475139" y="501650"/>
                    </a:lnTo>
                    <a:lnTo>
                      <a:pt x="475139" y="498475"/>
                    </a:lnTo>
                    <a:lnTo>
                      <a:pt x="475139" y="494506"/>
                    </a:lnTo>
                    <a:lnTo>
                      <a:pt x="475139" y="489744"/>
                    </a:lnTo>
                    <a:lnTo>
                      <a:pt x="475933" y="484188"/>
                    </a:lnTo>
                    <a:lnTo>
                      <a:pt x="471166" y="493713"/>
                    </a:lnTo>
                    <a:lnTo>
                      <a:pt x="465604" y="501650"/>
                    </a:lnTo>
                    <a:lnTo>
                      <a:pt x="461631" y="508794"/>
                    </a:lnTo>
                    <a:lnTo>
                      <a:pt x="456069" y="516731"/>
                    </a:lnTo>
                    <a:lnTo>
                      <a:pt x="450508" y="523875"/>
                    </a:lnTo>
                    <a:lnTo>
                      <a:pt x="444946" y="530225"/>
                    </a:lnTo>
                    <a:lnTo>
                      <a:pt x="439384" y="535781"/>
                    </a:lnTo>
                    <a:lnTo>
                      <a:pt x="433822" y="541338"/>
                    </a:lnTo>
                    <a:lnTo>
                      <a:pt x="422699" y="550069"/>
                    </a:lnTo>
                    <a:lnTo>
                      <a:pt x="411575" y="558006"/>
                    </a:lnTo>
                    <a:lnTo>
                      <a:pt x="399657" y="564356"/>
                    </a:lnTo>
                    <a:lnTo>
                      <a:pt x="387739" y="569913"/>
                    </a:lnTo>
                    <a:lnTo>
                      <a:pt x="375026" y="573088"/>
                    </a:lnTo>
                    <a:lnTo>
                      <a:pt x="362313" y="577056"/>
                    </a:lnTo>
                    <a:lnTo>
                      <a:pt x="348806" y="577850"/>
                    </a:lnTo>
                    <a:lnTo>
                      <a:pt x="333709" y="578644"/>
                    </a:lnTo>
                    <a:lnTo>
                      <a:pt x="319408" y="577850"/>
                    </a:lnTo>
                    <a:lnTo>
                      <a:pt x="305900" y="576263"/>
                    </a:lnTo>
                    <a:lnTo>
                      <a:pt x="291598" y="573088"/>
                    </a:lnTo>
                    <a:lnTo>
                      <a:pt x="278886" y="568325"/>
                    </a:lnTo>
                    <a:lnTo>
                      <a:pt x="266968" y="561975"/>
                    </a:lnTo>
                    <a:lnTo>
                      <a:pt x="255844" y="554831"/>
                    </a:lnTo>
                    <a:lnTo>
                      <a:pt x="245515" y="546894"/>
                    </a:lnTo>
                    <a:lnTo>
                      <a:pt x="235186" y="536575"/>
                    </a:lnTo>
                    <a:lnTo>
                      <a:pt x="225651" y="525463"/>
                    </a:lnTo>
                    <a:lnTo>
                      <a:pt x="217706" y="512763"/>
                    </a:lnTo>
                    <a:lnTo>
                      <a:pt x="210555" y="500063"/>
                    </a:lnTo>
                    <a:lnTo>
                      <a:pt x="204993" y="484981"/>
                    </a:lnTo>
                    <a:lnTo>
                      <a:pt x="200226" y="469900"/>
                    </a:lnTo>
                    <a:lnTo>
                      <a:pt x="197842" y="453231"/>
                    </a:lnTo>
                    <a:lnTo>
                      <a:pt x="195458" y="434975"/>
                    </a:lnTo>
                    <a:lnTo>
                      <a:pt x="194664" y="416719"/>
                    </a:lnTo>
                    <a:lnTo>
                      <a:pt x="195458" y="394494"/>
                    </a:lnTo>
                    <a:lnTo>
                      <a:pt x="198637" y="373856"/>
                    </a:lnTo>
                    <a:lnTo>
                      <a:pt x="203404" y="351631"/>
                    </a:lnTo>
                    <a:lnTo>
                      <a:pt x="210555" y="330994"/>
                    </a:lnTo>
                    <a:lnTo>
                      <a:pt x="218500" y="310356"/>
                    </a:lnTo>
                    <a:lnTo>
                      <a:pt x="228829" y="289719"/>
                    </a:lnTo>
                    <a:lnTo>
                      <a:pt x="241542" y="270669"/>
                    </a:lnTo>
                    <a:lnTo>
                      <a:pt x="255049" y="250031"/>
                    </a:lnTo>
                    <a:lnTo>
                      <a:pt x="262995" y="241300"/>
                    </a:lnTo>
                    <a:lnTo>
                      <a:pt x="270940" y="231775"/>
                    </a:lnTo>
                    <a:lnTo>
                      <a:pt x="278886" y="223838"/>
                    </a:lnTo>
                    <a:lnTo>
                      <a:pt x="287626" y="216694"/>
                    </a:lnTo>
                    <a:lnTo>
                      <a:pt x="295571" y="209550"/>
                    </a:lnTo>
                    <a:lnTo>
                      <a:pt x="305106" y="203200"/>
                    </a:lnTo>
                    <a:lnTo>
                      <a:pt x="313846" y="197644"/>
                    </a:lnTo>
                    <a:lnTo>
                      <a:pt x="323380" y="192881"/>
                    </a:lnTo>
                    <a:lnTo>
                      <a:pt x="332120" y="188119"/>
                    </a:lnTo>
                    <a:lnTo>
                      <a:pt x="342449" y="184150"/>
                    </a:lnTo>
                    <a:lnTo>
                      <a:pt x="351984" y="180975"/>
                    </a:lnTo>
                    <a:lnTo>
                      <a:pt x="362313" y="177800"/>
                    </a:lnTo>
                    <a:lnTo>
                      <a:pt x="372642" y="176213"/>
                    </a:lnTo>
                    <a:lnTo>
                      <a:pt x="382177" y="174625"/>
                    </a:lnTo>
                    <a:lnTo>
                      <a:pt x="393300" y="173038"/>
                    </a:lnTo>
                    <a:lnTo>
                      <a:pt x="404424" y="173038"/>
                    </a:lnTo>
                    <a:lnTo>
                      <a:pt x="417137" y="173038"/>
                    </a:lnTo>
                    <a:lnTo>
                      <a:pt x="428260" y="175419"/>
                    </a:lnTo>
                    <a:lnTo>
                      <a:pt x="439384" y="177006"/>
                    </a:lnTo>
                    <a:lnTo>
                      <a:pt x="450508" y="180975"/>
                    </a:lnTo>
                    <a:lnTo>
                      <a:pt x="459248" y="184150"/>
                    </a:lnTo>
                    <a:lnTo>
                      <a:pt x="468782" y="188913"/>
                    </a:lnTo>
                    <a:lnTo>
                      <a:pt x="476728" y="195263"/>
                    </a:lnTo>
                    <a:lnTo>
                      <a:pt x="483879" y="201613"/>
                    </a:lnTo>
                    <a:lnTo>
                      <a:pt x="489440" y="207169"/>
                    </a:lnTo>
                    <a:lnTo>
                      <a:pt x="494208" y="212725"/>
                    </a:lnTo>
                    <a:lnTo>
                      <a:pt x="498975" y="219075"/>
                    </a:lnTo>
                    <a:lnTo>
                      <a:pt x="502153" y="225425"/>
                    </a:lnTo>
                    <a:lnTo>
                      <a:pt x="505331" y="231775"/>
                    </a:lnTo>
                    <a:lnTo>
                      <a:pt x="509304" y="238125"/>
                    </a:lnTo>
                    <a:lnTo>
                      <a:pt x="511688" y="244475"/>
                    </a:lnTo>
                    <a:lnTo>
                      <a:pt x="513277" y="252413"/>
                    </a:lnTo>
                    <a:lnTo>
                      <a:pt x="530757" y="189706"/>
                    </a:lnTo>
                    <a:lnTo>
                      <a:pt x="624513" y="189706"/>
                    </a:lnTo>
                    <a:lnTo>
                      <a:pt x="560949" y="403225"/>
                    </a:lnTo>
                    <a:lnTo>
                      <a:pt x="557771" y="415131"/>
                    </a:lnTo>
                    <a:lnTo>
                      <a:pt x="554593" y="426244"/>
                    </a:lnTo>
                    <a:lnTo>
                      <a:pt x="552209" y="434181"/>
                    </a:lnTo>
                    <a:lnTo>
                      <a:pt x="549826" y="441325"/>
                    </a:lnTo>
                    <a:lnTo>
                      <a:pt x="549031" y="447675"/>
                    </a:lnTo>
                    <a:lnTo>
                      <a:pt x="548237" y="453231"/>
                    </a:lnTo>
                    <a:lnTo>
                      <a:pt x="547442" y="458788"/>
                    </a:lnTo>
                    <a:lnTo>
                      <a:pt x="547442" y="463550"/>
                    </a:lnTo>
                    <a:lnTo>
                      <a:pt x="548237" y="470694"/>
                    </a:lnTo>
                    <a:lnTo>
                      <a:pt x="549826" y="477838"/>
                    </a:lnTo>
                    <a:lnTo>
                      <a:pt x="553004" y="484188"/>
                    </a:lnTo>
                    <a:lnTo>
                      <a:pt x="557771" y="492125"/>
                    </a:lnTo>
                    <a:lnTo>
                      <a:pt x="560155" y="494506"/>
                    </a:lnTo>
                    <a:lnTo>
                      <a:pt x="562539" y="496888"/>
                    </a:lnTo>
                    <a:lnTo>
                      <a:pt x="566511" y="499269"/>
                    </a:lnTo>
                    <a:lnTo>
                      <a:pt x="570484" y="500856"/>
                    </a:lnTo>
                    <a:lnTo>
                      <a:pt x="573662" y="502444"/>
                    </a:lnTo>
                    <a:lnTo>
                      <a:pt x="578429" y="504031"/>
                    </a:lnTo>
                    <a:lnTo>
                      <a:pt x="583197" y="504825"/>
                    </a:lnTo>
                    <a:lnTo>
                      <a:pt x="588759" y="504825"/>
                    </a:lnTo>
                    <a:lnTo>
                      <a:pt x="599882" y="504031"/>
                    </a:lnTo>
                    <a:lnTo>
                      <a:pt x="609417" y="500856"/>
                    </a:lnTo>
                    <a:lnTo>
                      <a:pt x="620540" y="496888"/>
                    </a:lnTo>
                    <a:lnTo>
                      <a:pt x="630869" y="490538"/>
                    </a:lnTo>
                    <a:lnTo>
                      <a:pt x="641993" y="482600"/>
                    </a:lnTo>
                    <a:lnTo>
                      <a:pt x="651528" y="473869"/>
                    </a:lnTo>
                    <a:lnTo>
                      <a:pt x="662651" y="461963"/>
                    </a:lnTo>
                    <a:lnTo>
                      <a:pt x="672980" y="448469"/>
                    </a:lnTo>
                    <a:lnTo>
                      <a:pt x="682515" y="434181"/>
                    </a:lnTo>
                    <a:lnTo>
                      <a:pt x="691255" y="419100"/>
                    </a:lnTo>
                    <a:lnTo>
                      <a:pt x="698406" y="402431"/>
                    </a:lnTo>
                    <a:lnTo>
                      <a:pt x="704762" y="384969"/>
                    </a:lnTo>
                    <a:lnTo>
                      <a:pt x="709529" y="366713"/>
                    </a:lnTo>
                    <a:lnTo>
                      <a:pt x="712708" y="346075"/>
                    </a:lnTo>
                    <a:lnTo>
                      <a:pt x="715091" y="324644"/>
                    </a:lnTo>
                    <a:lnTo>
                      <a:pt x="715886" y="302419"/>
                    </a:lnTo>
                    <a:lnTo>
                      <a:pt x="714297" y="270669"/>
                    </a:lnTo>
                    <a:lnTo>
                      <a:pt x="708735" y="240506"/>
                    </a:lnTo>
                    <a:lnTo>
                      <a:pt x="699200" y="211931"/>
                    </a:lnTo>
                    <a:lnTo>
                      <a:pt x="686488" y="185738"/>
                    </a:lnTo>
                    <a:lnTo>
                      <a:pt x="670597" y="163513"/>
                    </a:lnTo>
                    <a:lnTo>
                      <a:pt x="650733" y="142081"/>
                    </a:lnTo>
                    <a:lnTo>
                      <a:pt x="626897" y="123825"/>
                    </a:lnTo>
                    <a:lnTo>
                      <a:pt x="599882" y="108744"/>
                    </a:lnTo>
                    <a:lnTo>
                      <a:pt x="590348" y="103981"/>
                    </a:lnTo>
                    <a:lnTo>
                      <a:pt x="581608" y="99219"/>
                    </a:lnTo>
                    <a:lnTo>
                      <a:pt x="572073" y="95250"/>
                    </a:lnTo>
                    <a:lnTo>
                      <a:pt x="561744" y="92075"/>
                    </a:lnTo>
                    <a:lnTo>
                      <a:pt x="552209" y="88900"/>
                    </a:lnTo>
                    <a:lnTo>
                      <a:pt x="542675" y="85725"/>
                    </a:lnTo>
                    <a:lnTo>
                      <a:pt x="532346" y="82550"/>
                    </a:lnTo>
                    <a:lnTo>
                      <a:pt x="522811" y="80169"/>
                    </a:lnTo>
                    <a:lnTo>
                      <a:pt x="512482" y="77788"/>
                    </a:lnTo>
                    <a:lnTo>
                      <a:pt x="501359" y="76200"/>
                    </a:lnTo>
                    <a:lnTo>
                      <a:pt x="491824" y="74613"/>
                    </a:lnTo>
                    <a:lnTo>
                      <a:pt x="480700" y="73819"/>
                    </a:lnTo>
                    <a:lnTo>
                      <a:pt x="469577" y="71438"/>
                    </a:lnTo>
                    <a:lnTo>
                      <a:pt x="458453" y="71438"/>
                    </a:lnTo>
                    <a:lnTo>
                      <a:pt x="446535" y="70644"/>
                    </a:lnTo>
                    <a:lnTo>
                      <a:pt x="435411" y="70644"/>
                    </a:lnTo>
                    <a:lnTo>
                      <a:pt x="415548" y="70644"/>
                    </a:lnTo>
                    <a:lnTo>
                      <a:pt x="395684" y="73025"/>
                    </a:lnTo>
                    <a:lnTo>
                      <a:pt x="375026" y="74613"/>
                    </a:lnTo>
                    <a:lnTo>
                      <a:pt x="356751" y="76994"/>
                    </a:lnTo>
                    <a:lnTo>
                      <a:pt x="337682" y="80963"/>
                    </a:lnTo>
                    <a:lnTo>
                      <a:pt x="320202" y="85725"/>
                    </a:lnTo>
                    <a:lnTo>
                      <a:pt x="301928" y="91281"/>
                    </a:lnTo>
                    <a:lnTo>
                      <a:pt x="285242" y="96838"/>
                    </a:lnTo>
                    <a:lnTo>
                      <a:pt x="269351" y="103981"/>
                    </a:lnTo>
                    <a:lnTo>
                      <a:pt x="252666" y="111125"/>
                    </a:lnTo>
                    <a:lnTo>
                      <a:pt x="236775" y="119063"/>
                    </a:lnTo>
                    <a:lnTo>
                      <a:pt x="222473" y="128588"/>
                    </a:lnTo>
                    <a:lnTo>
                      <a:pt x="207377" y="138906"/>
                    </a:lnTo>
                    <a:lnTo>
                      <a:pt x="193869" y="149225"/>
                    </a:lnTo>
                    <a:lnTo>
                      <a:pt x="180362" y="161131"/>
                    </a:lnTo>
                    <a:lnTo>
                      <a:pt x="167649" y="173038"/>
                    </a:lnTo>
                    <a:lnTo>
                      <a:pt x="146197" y="196850"/>
                    </a:lnTo>
                    <a:lnTo>
                      <a:pt x="127922" y="221456"/>
                    </a:lnTo>
                    <a:lnTo>
                      <a:pt x="112826" y="247650"/>
                    </a:lnTo>
                    <a:lnTo>
                      <a:pt x="99318" y="274638"/>
                    </a:lnTo>
                    <a:lnTo>
                      <a:pt x="89784" y="303213"/>
                    </a:lnTo>
                    <a:lnTo>
                      <a:pt x="82633" y="332581"/>
                    </a:lnTo>
                    <a:lnTo>
                      <a:pt x="78660" y="362744"/>
                    </a:lnTo>
                    <a:lnTo>
                      <a:pt x="77071" y="394494"/>
                    </a:lnTo>
                    <a:lnTo>
                      <a:pt x="78660" y="429419"/>
                    </a:lnTo>
                    <a:lnTo>
                      <a:pt x="83428" y="463550"/>
                    </a:lnTo>
                    <a:lnTo>
                      <a:pt x="91373" y="494506"/>
                    </a:lnTo>
                    <a:lnTo>
                      <a:pt x="103291" y="523875"/>
                    </a:lnTo>
                    <a:lnTo>
                      <a:pt x="119182" y="550863"/>
                    </a:lnTo>
                    <a:lnTo>
                      <a:pt x="137457" y="577056"/>
                    </a:lnTo>
                    <a:lnTo>
                      <a:pt x="158909" y="600869"/>
                    </a:lnTo>
                    <a:lnTo>
                      <a:pt x="183540" y="622300"/>
                    </a:lnTo>
                    <a:lnTo>
                      <a:pt x="195458" y="631825"/>
                    </a:lnTo>
                    <a:lnTo>
                      <a:pt x="208966" y="639763"/>
                    </a:lnTo>
                    <a:lnTo>
                      <a:pt x="220884" y="648494"/>
                    </a:lnTo>
                    <a:lnTo>
                      <a:pt x="234391" y="654844"/>
                    </a:lnTo>
                    <a:lnTo>
                      <a:pt x="247104" y="661988"/>
                    </a:lnTo>
                    <a:lnTo>
                      <a:pt x="260611" y="667544"/>
                    </a:lnTo>
                    <a:lnTo>
                      <a:pt x="274913" y="673100"/>
                    </a:lnTo>
                    <a:lnTo>
                      <a:pt x="289215" y="678656"/>
                    </a:lnTo>
                    <a:lnTo>
                      <a:pt x="303517" y="681831"/>
                    </a:lnTo>
                    <a:lnTo>
                      <a:pt x="318613" y="686594"/>
                    </a:lnTo>
                    <a:lnTo>
                      <a:pt x="333709" y="689769"/>
                    </a:lnTo>
                    <a:lnTo>
                      <a:pt x="349600" y="692150"/>
                    </a:lnTo>
                    <a:lnTo>
                      <a:pt x="365491" y="693738"/>
                    </a:lnTo>
                    <a:lnTo>
                      <a:pt x="381382" y="696119"/>
                    </a:lnTo>
                    <a:lnTo>
                      <a:pt x="398068" y="696913"/>
                    </a:lnTo>
                    <a:lnTo>
                      <a:pt x="414753" y="696913"/>
                    </a:lnTo>
                    <a:lnTo>
                      <a:pt x="426671" y="696913"/>
                    </a:lnTo>
                    <a:lnTo>
                      <a:pt x="437795" y="696119"/>
                    </a:lnTo>
                    <a:lnTo>
                      <a:pt x="449713" y="696119"/>
                    </a:lnTo>
                    <a:lnTo>
                      <a:pt x="460042" y="694531"/>
                    </a:lnTo>
                    <a:lnTo>
                      <a:pt x="471960" y="692944"/>
                    </a:lnTo>
                    <a:lnTo>
                      <a:pt x="483084" y="692150"/>
                    </a:lnTo>
                    <a:lnTo>
                      <a:pt x="494208" y="690563"/>
                    </a:lnTo>
                    <a:lnTo>
                      <a:pt x="505331" y="687388"/>
                    </a:lnTo>
                    <a:lnTo>
                      <a:pt x="516455" y="685800"/>
                    </a:lnTo>
                    <a:lnTo>
                      <a:pt x="527579" y="683419"/>
                    </a:lnTo>
                    <a:lnTo>
                      <a:pt x="537113" y="680244"/>
                    </a:lnTo>
                    <a:lnTo>
                      <a:pt x="548237" y="676275"/>
                    </a:lnTo>
                    <a:lnTo>
                      <a:pt x="558566" y="673894"/>
                    </a:lnTo>
                    <a:lnTo>
                      <a:pt x="569689" y="669925"/>
                    </a:lnTo>
                    <a:lnTo>
                      <a:pt x="579224" y="666750"/>
                    </a:lnTo>
                    <a:lnTo>
                      <a:pt x="589553" y="661988"/>
                    </a:lnTo>
                    <a:lnTo>
                      <a:pt x="600677" y="657225"/>
                    </a:lnTo>
                    <a:lnTo>
                      <a:pt x="611800" y="651669"/>
                    </a:lnTo>
                    <a:lnTo>
                      <a:pt x="622129" y="646113"/>
                    </a:lnTo>
                    <a:lnTo>
                      <a:pt x="634048" y="639763"/>
                    </a:lnTo>
                    <a:lnTo>
                      <a:pt x="645171" y="633413"/>
                    </a:lnTo>
                    <a:lnTo>
                      <a:pt x="657089" y="626269"/>
                    </a:lnTo>
                    <a:lnTo>
                      <a:pt x="669008" y="619125"/>
                    </a:lnTo>
                    <a:lnTo>
                      <a:pt x="680926" y="610394"/>
                    </a:lnTo>
                    <a:lnTo>
                      <a:pt x="692844" y="602456"/>
                    </a:lnTo>
                    <a:lnTo>
                      <a:pt x="728599" y="657225"/>
                    </a:lnTo>
                    <a:lnTo>
                      <a:pt x="719859" y="663575"/>
                    </a:lnTo>
                    <a:lnTo>
                      <a:pt x="711119" y="669925"/>
                    </a:lnTo>
                    <a:lnTo>
                      <a:pt x="702379" y="676275"/>
                    </a:lnTo>
                    <a:lnTo>
                      <a:pt x="692844" y="683419"/>
                    </a:lnTo>
                    <a:lnTo>
                      <a:pt x="684104" y="688181"/>
                    </a:lnTo>
                    <a:lnTo>
                      <a:pt x="674569" y="693738"/>
                    </a:lnTo>
                    <a:lnTo>
                      <a:pt x="665829" y="699294"/>
                    </a:lnTo>
                    <a:lnTo>
                      <a:pt x="656295" y="704850"/>
                    </a:lnTo>
                    <a:lnTo>
                      <a:pt x="645966" y="709613"/>
                    </a:lnTo>
                    <a:lnTo>
                      <a:pt x="637226" y="715169"/>
                    </a:lnTo>
                    <a:lnTo>
                      <a:pt x="626897" y="719931"/>
                    </a:lnTo>
                    <a:lnTo>
                      <a:pt x="618157" y="723900"/>
                    </a:lnTo>
                    <a:lnTo>
                      <a:pt x="607828" y="727869"/>
                    </a:lnTo>
                    <a:lnTo>
                      <a:pt x="597499" y="732631"/>
                    </a:lnTo>
                    <a:lnTo>
                      <a:pt x="587964" y="735806"/>
                    </a:lnTo>
                    <a:lnTo>
                      <a:pt x="577635" y="739775"/>
                    </a:lnTo>
                    <a:lnTo>
                      <a:pt x="567306" y="743744"/>
                    </a:lnTo>
                    <a:lnTo>
                      <a:pt x="557771" y="746125"/>
                    </a:lnTo>
                    <a:lnTo>
                      <a:pt x="547442" y="749300"/>
                    </a:lnTo>
                    <a:lnTo>
                      <a:pt x="536319" y="751681"/>
                    </a:lnTo>
                    <a:lnTo>
                      <a:pt x="525989" y="754063"/>
                    </a:lnTo>
                    <a:lnTo>
                      <a:pt x="515660" y="757238"/>
                    </a:lnTo>
                    <a:lnTo>
                      <a:pt x="505331" y="758825"/>
                    </a:lnTo>
                    <a:lnTo>
                      <a:pt x="494208" y="761206"/>
                    </a:lnTo>
                    <a:lnTo>
                      <a:pt x="483879" y="762794"/>
                    </a:lnTo>
                    <a:lnTo>
                      <a:pt x="473549" y="763588"/>
                    </a:lnTo>
                    <a:lnTo>
                      <a:pt x="462426" y="765175"/>
                    </a:lnTo>
                    <a:lnTo>
                      <a:pt x="452097" y="765969"/>
                    </a:lnTo>
                    <a:lnTo>
                      <a:pt x="440973" y="767556"/>
                    </a:lnTo>
                    <a:lnTo>
                      <a:pt x="429849" y="767556"/>
                    </a:lnTo>
                    <a:lnTo>
                      <a:pt x="419520" y="768350"/>
                    </a:lnTo>
                    <a:lnTo>
                      <a:pt x="408397" y="768350"/>
                    </a:lnTo>
                    <a:lnTo>
                      <a:pt x="383766" y="767556"/>
                    </a:lnTo>
                    <a:lnTo>
                      <a:pt x="359135" y="765969"/>
                    </a:lnTo>
                    <a:lnTo>
                      <a:pt x="335299" y="763588"/>
                    </a:lnTo>
                    <a:lnTo>
                      <a:pt x="312257" y="759619"/>
                    </a:lnTo>
                    <a:lnTo>
                      <a:pt x="290009" y="755650"/>
                    </a:lnTo>
                    <a:lnTo>
                      <a:pt x="267762" y="750094"/>
                    </a:lnTo>
                    <a:lnTo>
                      <a:pt x="247898" y="743744"/>
                    </a:lnTo>
                    <a:lnTo>
                      <a:pt x="228035" y="735806"/>
                    </a:lnTo>
                    <a:lnTo>
                      <a:pt x="208966" y="727869"/>
                    </a:lnTo>
                    <a:lnTo>
                      <a:pt x="189102" y="717550"/>
                    </a:lnTo>
                    <a:lnTo>
                      <a:pt x="171622" y="708025"/>
                    </a:lnTo>
                    <a:lnTo>
                      <a:pt x="154937" y="696913"/>
                    </a:lnTo>
                    <a:lnTo>
                      <a:pt x="138251" y="684213"/>
                    </a:lnTo>
                    <a:lnTo>
                      <a:pt x="121566" y="669925"/>
                    </a:lnTo>
                    <a:lnTo>
                      <a:pt x="107264" y="656431"/>
                    </a:lnTo>
                    <a:lnTo>
                      <a:pt x="92168" y="640556"/>
                    </a:lnTo>
                    <a:lnTo>
                      <a:pt x="70715" y="614363"/>
                    </a:lnTo>
                    <a:lnTo>
                      <a:pt x="52440" y="585788"/>
                    </a:lnTo>
                    <a:lnTo>
                      <a:pt x="36549" y="556419"/>
                    </a:lnTo>
                    <a:lnTo>
                      <a:pt x="23042" y="526256"/>
                    </a:lnTo>
                    <a:lnTo>
                      <a:pt x="12713" y="494506"/>
                    </a:lnTo>
                    <a:lnTo>
                      <a:pt x="5562" y="461963"/>
                    </a:lnTo>
                    <a:lnTo>
                      <a:pt x="1589" y="427831"/>
                    </a:lnTo>
                    <a:lnTo>
                      <a:pt x="0" y="392113"/>
                    </a:lnTo>
                    <a:lnTo>
                      <a:pt x="1589" y="352425"/>
                    </a:lnTo>
                    <a:lnTo>
                      <a:pt x="7151" y="314325"/>
                    </a:lnTo>
                    <a:lnTo>
                      <a:pt x="16686" y="278606"/>
                    </a:lnTo>
                    <a:lnTo>
                      <a:pt x="29398" y="242888"/>
                    </a:lnTo>
                    <a:lnTo>
                      <a:pt x="44495" y="209550"/>
                    </a:lnTo>
                    <a:lnTo>
                      <a:pt x="65153" y="177800"/>
                    </a:lnTo>
                    <a:lnTo>
                      <a:pt x="87400" y="147638"/>
                    </a:lnTo>
                    <a:lnTo>
                      <a:pt x="115209" y="119063"/>
                    </a:lnTo>
                    <a:lnTo>
                      <a:pt x="131100" y="104775"/>
                    </a:lnTo>
                    <a:lnTo>
                      <a:pt x="146991" y="91281"/>
                    </a:lnTo>
                    <a:lnTo>
                      <a:pt x="163677" y="79375"/>
                    </a:lnTo>
                    <a:lnTo>
                      <a:pt x="180362" y="67469"/>
                    </a:lnTo>
                    <a:lnTo>
                      <a:pt x="198637" y="56356"/>
                    </a:lnTo>
                    <a:lnTo>
                      <a:pt x="216911" y="46831"/>
                    </a:lnTo>
                    <a:lnTo>
                      <a:pt x="235186" y="38100"/>
                    </a:lnTo>
                    <a:lnTo>
                      <a:pt x="254255" y="29369"/>
                    </a:lnTo>
                    <a:lnTo>
                      <a:pt x="274913" y="23019"/>
                    </a:lnTo>
                    <a:lnTo>
                      <a:pt x="294777" y="16669"/>
                    </a:lnTo>
                    <a:lnTo>
                      <a:pt x="315435" y="11906"/>
                    </a:lnTo>
                    <a:lnTo>
                      <a:pt x="336888" y="7938"/>
                    </a:lnTo>
                    <a:lnTo>
                      <a:pt x="359135" y="4763"/>
                    </a:lnTo>
                    <a:lnTo>
                      <a:pt x="380588" y="2381"/>
                    </a:lnTo>
                    <a:lnTo>
                      <a:pt x="403629" y="1588"/>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dirty="0">
                  <a:solidFill>
                    <a:srgbClr val="505050"/>
                  </a:solidFill>
                </a:endParaRPr>
              </a:p>
            </p:txBody>
          </p:sp>
          <p:grpSp>
            <p:nvGrpSpPr>
              <p:cNvPr id="308" name="Group 307"/>
              <p:cNvGrpSpPr/>
              <p:nvPr/>
            </p:nvGrpSpPr>
            <p:grpSpPr>
              <a:xfrm>
                <a:off x="4195952" y="3237771"/>
                <a:ext cx="229678" cy="198426"/>
                <a:chOff x="3960963" y="2956210"/>
                <a:chExt cx="229678" cy="198426"/>
              </a:xfrm>
            </p:grpSpPr>
            <p:sp>
              <p:nvSpPr>
                <p:cNvPr id="314" name="Oval 313"/>
                <p:cNvSpPr>
                  <a:spLocks noChangeArrowheads="1"/>
                </p:cNvSpPr>
                <p:nvPr/>
              </p:nvSpPr>
              <p:spPr bwMode="auto">
                <a:xfrm>
                  <a:off x="4041271" y="2956210"/>
                  <a:ext cx="73284" cy="73406"/>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15" name="Freeform 314"/>
                <p:cNvSpPr>
                  <a:spLocks/>
                </p:cNvSpPr>
                <p:nvPr/>
              </p:nvSpPr>
              <p:spPr bwMode="auto">
                <a:xfrm>
                  <a:off x="4011324" y="3038258"/>
                  <a:ext cx="131108" cy="116378"/>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6" h="405">
                      <a:moveTo>
                        <a:pt x="420" y="125"/>
                      </a:moveTo>
                      <a:cubicBezTo>
                        <a:pt x="369" y="38"/>
                        <a:pt x="327" y="0"/>
                        <a:pt x="311" y="0"/>
                      </a:cubicBezTo>
                      <a:cubicBezTo>
                        <a:pt x="296" y="0"/>
                        <a:pt x="247" y="97"/>
                        <a:pt x="233" y="97"/>
                      </a:cubicBezTo>
                      <a:cubicBezTo>
                        <a:pt x="223" y="97"/>
                        <a:pt x="223" y="97"/>
                        <a:pt x="223" y="97"/>
                      </a:cubicBezTo>
                      <a:cubicBezTo>
                        <a:pt x="210" y="97"/>
                        <a:pt x="161" y="0"/>
                        <a:pt x="145" y="0"/>
                      </a:cubicBezTo>
                      <a:cubicBezTo>
                        <a:pt x="130" y="0"/>
                        <a:pt x="88" y="38"/>
                        <a:pt x="37" y="125"/>
                      </a:cubicBezTo>
                      <a:cubicBezTo>
                        <a:pt x="13" y="165"/>
                        <a:pt x="0" y="251"/>
                        <a:pt x="30" y="307"/>
                      </a:cubicBezTo>
                      <a:cubicBezTo>
                        <a:pt x="64" y="372"/>
                        <a:pt x="149" y="405"/>
                        <a:pt x="220" y="405"/>
                      </a:cubicBezTo>
                      <a:cubicBezTo>
                        <a:pt x="236" y="405"/>
                        <a:pt x="236" y="405"/>
                        <a:pt x="236" y="405"/>
                      </a:cubicBezTo>
                      <a:cubicBezTo>
                        <a:pt x="308" y="405"/>
                        <a:pt x="393" y="372"/>
                        <a:pt x="427" y="307"/>
                      </a:cubicBezTo>
                      <a:cubicBezTo>
                        <a:pt x="456" y="251"/>
                        <a:pt x="444" y="165"/>
                        <a:pt x="420" y="12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16" name="Oval 315"/>
                <p:cNvSpPr>
                  <a:spLocks noChangeArrowheads="1"/>
                </p:cNvSpPr>
                <p:nvPr/>
              </p:nvSpPr>
              <p:spPr bwMode="auto">
                <a:xfrm>
                  <a:off x="3979716"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17" name="Freeform 316"/>
                <p:cNvSpPr>
                  <a:spLocks/>
                </p:cNvSpPr>
                <p:nvPr/>
              </p:nvSpPr>
              <p:spPr bwMode="auto">
                <a:xfrm>
                  <a:off x="3960963"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18" name="Oval 317"/>
                <p:cNvSpPr>
                  <a:spLocks noChangeArrowheads="1"/>
                </p:cNvSpPr>
                <p:nvPr/>
              </p:nvSpPr>
              <p:spPr bwMode="auto">
                <a:xfrm flipH="1">
                  <a:off x="4126201"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sp>
              <p:nvSpPr>
                <p:cNvPr id="319" name="Freeform 318"/>
                <p:cNvSpPr>
                  <a:spLocks/>
                </p:cNvSpPr>
                <p:nvPr/>
              </p:nvSpPr>
              <p:spPr bwMode="auto">
                <a:xfrm flipH="1">
                  <a:off x="4123132"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defRPr/>
                  </a:pPr>
                  <a:endParaRPr lang="en-US" sz="2200" dirty="0">
                    <a:solidFill>
                      <a:srgbClr val="505050"/>
                    </a:solidFill>
                    <a:latin typeface="Segoe"/>
                  </a:endParaRPr>
                </a:p>
              </p:txBody>
            </p:sp>
          </p:grpSp>
          <p:pic>
            <p:nvPicPr>
              <p:cNvPr id="309" name="Picture 42"/>
              <p:cNvPicPr>
                <a:picLocks noChangeAspect="1"/>
              </p:cNvPicPr>
              <p:nvPr/>
            </p:nvPicPr>
            <p:blipFill>
              <a:blip r:embed="rId2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3751205" y="3007090"/>
                <a:ext cx="292379" cy="216168"/>
              </a:xfrm>
              <a:prstGeom prst="rect">
                <a:avLst/>
              </a:prstGeom>
            </p:spPr>
          </p:pic>
          <p:grpSp>
            <p:nvGrpSpPr>
              <p:cNvPr id="310" name="Group 309"/>
              <p:cNvGrpSpPr/>
              <p:nvPr/>
            </p:nvGrpSpPr>
            <p:grpSpPr>
              <a:xfrm>
                <a:off x="4178076" y="2150348"/>
                <a:ext cx="454852" cy="261892"/>
                <a:chOff x="10810856" y="2000146"/>
                <a:chExt cx="542944" cy="312613"/>
              </a:xfrm>
            </p:grpSpPr>
            <p:pic>
              <p:nvPicPr>
                <p:cNvPr id="312" name="Picture 47" descr="C:\Users\sakuu\Documents\Ballmer MGX 2011\Tile Icons\Calendar.png"/>
                <p:cNvPicPr>
                  <a:picLocks noChangeAspect="1" noChangeArrowheads="1"/>
                </p:cNvPicPr>
                <p:nvPr/>
              </p:nvPicPr>
              <p:blipFill>
                <a:blip r:embed="rId27" cstate="print">
                  <a:extLst>
                    <a:ext uri="{BEBA8EAE-BF5A-486C-A8C5-ECC9F3942E4B}">
                      <a14:imgProps xmlns:a14="http://schemas.microsoft.com/office/drawing/2010/main">
                        <a14:imgLayer r:embed="rId2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black">
                <a:xfrm>
                  <a:off x="11038367" y="2022449"/>
                  <a:ext cx="315433" cy="29031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13" name="Freeform 113"/>
                <p:cNvSpPr>
                  <a:spLocks noEditPoints="1"/>
                </p:cNvSpPr>
                <p:nvPr/>
              </p:nvSpPr>
              <p:spPr bwMode="black">
                <a:xfrm>
                  <a:off x="10810856" y="2000146"/>
                  <a:ext cx="215583" cy="215583"/>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bg1">
                    <a:lumMod val="50000"/>
                  </a:schemeClr>
                </a:solidFill>
                <a:ln>
                  <a:noFill/>
                </a:ln>
                <a:extLst/>
              </p:spPr>
              <p:txBody>
                <a:bodyPr/>
                <a:lstStyle/>
                <a:p>
                  <a:pPr defTabSz="914400">
                    <a:defRPr/>
                  </a:pPr>
                  <a:endParaRPr lang="en-US" sz="1050" kern="0" dirty="0">
                    <a:solidFill>
                      <a:srgbClr val="000000"/>
                    </a:solidFill>
                  </a:endParaRPr>
                </a:p>
              </p:txBody>
            </p:sp>
          </p:grpSp>
          <p:pic>
            <p:nvPicPr>
              <p:cNvPr id="311" name="Picture 310"/>
              <p:cNvPicPr>
                <a:picLocks noChangeAspect="1"/>
              </p:cNvPicPr>
              <p:nvPr/>
            </p:nvPicPr>
            <p:blipFill>
              <a:blip r:embed="rId29">
                <a:duotone>
                  <a:prstClr val="black"/>
                  <a:schemeClr val="accent5">
                    <a:tint val="45000"/>
                    <a:satMod val="400000"/>
                  </a:schemeClr>
                </a:duotone>
              </a:blip>
              <a:stretch>
                <a:fillRect/>
              </a:stretch>
            </p:blipFill>
            <p:spPr bwMode="auto">
              <a:xfrm>
                <a:off x="4189696" y="2540145"/>
                <a:ext cx="380979" cy="354244"/>
              </a:xfrm>
              <a:prstGeom prst="rect">
                <a:avLst/>
              </a:prstGeom>
              <a:noFill/>
              <a:ln>
                <a:noFill/>
              </a:ln>
            </p:spPr>
          </p:pic>
        </p:grpSp>
        <p:sp>
          <p:nvSpPr>
            <p:cNvPr id="297" name="TextBox 296"/>
            <p:cNvSpPr txBox="1"/>
            <p:nvPr/>
          </p:nvSpPr>
          <p:spPr>
            <a:xfrm>
              <a:off x="4264784" y="6375501"/>
              <a:ext cx="886461" cy="184666"/>
            </a:xfrm>
            <a:prstGeom prst="rect">
              <a:avLst/>
            </a:prstGeom>
          </p:spPr>
          <p:txBody>
            <a:bodyPr vert="horz" wrap="none" lIns="0" tIns="0" rIns="0" bIns="0" rtlCol="0" anchor="t">
              <a:noAutofit/>
            </a:bodyPr>
            <a:lstStyle/>
            <a:p>
              <a:pPr algn="ctr" defTabSz="1088105">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Social Media</a:t>
              </a:r>
            </a:p>
          </p:txBody>
        </p:sp>
      </p:grpSp>
      <p:cxnSp>
        <p:nvCxnSpPr>
          <p:cNvPr id="320" name="Straight Arrow Connector 319"/>
          <p:cNvCxnSpPr>
            <a:cxnSpLocks/>
          </p:cNvCxnSpPr>
          <p:nvPr/>
        </p:nvCxnSpPr>
        <p:spPr>
          <a:xfrm>
            <a:off x="3882492" y="1785956"/>
            <a:ext cx="934402" cy="5945"/>
          </a:xfrm>
          <a:prstGeom prst="straightConnector1">
            <a:avLst/>
          </a:prstGeom>
          <a:ln w="1905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321" name="TextBox 320"/>
          <p:cNvSpPr txBox="1"/>
          <p:nvPr/>
        </p:nvSpPr>
        <p:spPr>
          <a:xfrm>
            <a:off x="3995787" y="1376930"/>
            <a:ext cx="812456" cy="384762"/>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a:defRPr/>
            </a:pPr>
            <a:r>
              <a:rPr lang="en-US" kern="0" dirty="0"/>
              <a:t>Social </a:t>
            </a:r>
            <a:br>
              <a:rPr lang="en-US" kern="0" dirty="0"/>
            </a:br>
            <a:r>
              <a:rPr lang="en-US" kern="0" dirty="0"/>
              <a:t>Sentiment</a:t>
            </a:r>
          </a:p>
        </p:txBody>
      </p:sp>
      <p:grpSp>
        <p:nvGrpSpPr>
          <p:cNvPr id="13" name="Group 12"/>
          <p:cNvGrpSpPr/>
          <p:nvPr/>
        </p:nvGrpSpPr>
        <p:grpSpPr>
          <a:xfrm>
            <a:off x="10039949" y="1574222"/>
            <a:ext cx="1990930" cy="935883"/>
            <a:chOff x="10036352" y="1337393"/>
            <a:chExt cx="1990930" cy="935883"/>
          </a:xfrm>
        </p:grpSpPr>
        <p:sp>
          <p:nvSpPr>
            <p:cNvPr id="219" name="Rectangle 218"/>
            <p:cNvSpPr/>
            <p:nvPr/>
          </p:nvSpPr>
          <p:spPr>
            <a:xfrm>
              <a:off x="10036352" y="1337393"/>
              <a:ext cx="1990930" cy="246221"/>
            </a:xfrm>
            <a:prstGeom prst="rect">
              <a:avLst/>
            </a:prstGeom>
            <a:noFill/>
            <a:ln w="6350" cap="flat" cmpd="sng" algn="ctr">
              <a:noFill/>
              <a:prstDash val="solid"/>
            </a:ln>
            <a:effectLst/>
          </p:spPr>
          <p:txBody>
            <a:bodyPr wrap="none" lIns="0" tIns="0" rIns="0" bIns="0" rtlCol="0" anchor="ctr">
              <a:spAutoFit/>
            </a:bodyPr>
            <a:lstStyle/>
            <a:p>
              <a:pPr marL="0" lvl="1" algn="ctr" defTabSz="1218106" fontAlgn="base">
                <a:spcBef>
                  <a:spcPts val="200"/>
                </a:spcBef>
                <a:buClr>
                  <a:srgbClr val="FFFF99"/>
                </a:buClr>
                <a:buSzPct val="90000"/>
                <a:defRPr/>
              </a:pPr>
              <a:r>
                <a:rPr lang="en-US" sz="1600" kern="0" dirty="0">
                  <a:solidFill>
                    <a:srgbClr val="0072C6"/>
                  </a:solidFill>
                  <a:latin typeface="Segoe UI Semibold" panose="020B0702040204020203" pitchFamily="34" charset="0"/>
                  <a:ea typeface="Segoe UI" pitchFamily="34" charset="0"/>
                  <a:cs typeface="Segoe UI" pitchFamily="34" charset="0"/>
                </a:rPr>
                <a:t>360 Degree City View</a:t>
              </a:r>
            </a:p>
          </p:txBody>
        </p:sp>
        <p:grpSp>
          <p:nvGrpSpPr>
            <p:cNvPr id="220" name="Group 219"/>
            <p:cNvGrpSpPr/>
            <p:nvPr/>
          </p:nvGrpSpPr>
          <p:grpSpPr>
            <a:xfrm>
              <a:off x="10431457" y="1599754"/>
              <a:ext cx="1074135" cy="673522"/>
              <a:chOff x="5052739" y="1973963"/>
              <a:chExt cx="2140012" cy="1356468"/>
            </a:xfrm>
          </p:grpSpPr>
          <p:grpSp>
            <p:nvGrpSpPr>
              <p:cNvPr id="221" name="Group 220"/>
              <p:cNvGrpSpPr/>
              <p:nvPr/>
            </p:nvGrpSpPr>
            <p:grpSpPr>
              <a:xfrm>
                <a:off x="5525547" y="2031814"/>
                <a:ext cx="1159335" cy="1143828"/>
                <a:chOff x="6134873" y="1906158"/>
                <a:chExt cx="635117" cy="626622"/>
              </a:xfrm>
            </p:grpSpPr>
            <p:sp>
              <p:nvSpPr>
                <p:cNvPr id="251" name="Freeform 250"/>
                <p:cNvSpPr>
                  <a:spLocks noChangeAspect="1"/>
                </p:cNvSpPr>
                <p:nvPr/>
              </p:nvSpPr>
              <p:spPr bwMode="auto">
                <a:xfrm>
                  <a:off x="6134873" y="1906158"/>
                  <a:ext cx="635117" cy="626622"/>
                </a:xfrm>
                <a:custGeom>
                  <a:avLst/>
                  <a:gdLst/>
                  <a:ahLst/>
                  <a:cxnLst/>
                  <a:rect l="l" t="t" r="r" b="b"/>
                  <a:pathLst>
                    <a:path w="4302474" h="4244921">
                      <a:moveTo>
                        <a:pt x="662474" y="3031306"/>
                      </a:moveTo>
                      <a:lnTo>
                        <a:pt x="1339698" y="3086511"/>
                      </a:lnTo>
                      <a:lnTo>
                        <a:pt x="1189316" y="3212867"/>
                      </a:lnTo>
                      <a:cubicBezTo>
                        <a:pt x="1361738" y="3339494"/>
                        <a:pt x="1899676" y="3610086"/>
                        <a:pt x="2421111" y="3521876"/>
                      </a:cubicBezTo>
                      <a:lnTo>
                        <a:pt x="2206882" y="3794685"/>
                      </a:lnTo>
                      <a:lnTo>
                        <a:pt x="2512604" y="4104137"/>
                      </a:lnTo>
                      <a:cubicBezTo>
                        <a:pt x="1778146" y="4225364"/>
                        <a:pt x="1188060" y="3987486"/>
                        <a:pt x="709988" y="3532493"/>
                      </a:cubicBezTo>
                      <a:lnTo>
                        <a:pt x="551662" y="3684753"/>
                      </a:lnTo>
                      <a:close/>
                      <a:moveTo>
                        <a:pt x="3525512" y="2472932"/>
                      </a:moveTo>
                      <a:lnTo>
                        <a:pt x="3736350" y="2855417"/>
                      </a:lnTo>
                      <a:lnTo>
                        <a:pt x="4067130" y="2735505"/>
                      </a:lnTo>
                      <a:cubicBezTo>
                        <a:pt x="3910343" y="3276383"/>
                        <a:pt x="3434822" y="3814468"/>
                        <a:pt x="2761327" y="4046261"/>
                      </a:cubicBezTo>
                      <a:lnTo>
                        <a:pt x="2775115" y="4244921"/>
                      </a:lnTo>
                      <a:lnTo>
                        <a:pt x="2336714" y="3800527"/>
                      </a:lnTo>
                      <a:lnTo>
                        <a:pt x="2699735" y="3292318"/>
                      </a:lnTo>
                      <a:lnTo>
                        <a:pt x="2716265" y="3448052"/>
                      </a:lnTo>
                      <a:cubicBezTo>
                        <a:pt x="2913217" y="3364543"/>
                        <a:pt x="3450254" y="3000009"/>
                        <a:pt x="3525512" y="2472932"/>
                      </a:cubicBezTo>
                      <a:close/>
                      <a:moveTo>
                        <a:pt x="647776" y="1318635"/>
                      </a:moveTo>
                      <a:lnTo>
                        <a:pt x="912024" y="1889568"/>
                      </a:lnTo>
                      <a:lnTo>
                        <a:pt x="724354" y="1824308"/>
                      </a:lnTo>
                      <a:cubicBezTo>
                        <a:pt x="680520" y="2033694"/>
                        <a:pt x="670035" y="2536527"/>
                        <a:pt x="988263" y="2969836"/>
                      </a:cubicBezTo>
                      <a:lnTo>
                        <a:pt x="578667" y="2940790"/>
                      </a:lnTo>
                      <a:lnTo>
                        <a:pt x="519757" y="3323386"/>
                      </a:lnTo>
                      <a:cubicBezTo>
                        <a:pt x="142529" y="2837302"/>
                        <a:pt x="74113" y="2104852"/>
                        <a:pt x="196686" y="1642899"/>
                      </a:cubicBezTo>
                      <a:lnTo>
                        <a:pt x="0" y="1594841"/>
                      </a:lnTo>
                      <a:close/>
                      <a:moveTo>
                        <a:pt x="3620260" y="730478"/>
                      </a:moveTo>
                      <a:cubicBezTo>
                        <a:pt x="4033733" y="1098029"/>
                        <a:pt x="4275138" y="1844086"/>
                        <a:pt x="4120540" y="2491437"/>
                      </a:cubicBezTo>
                      <a:lnTo>
                        <a:pt x="4302474" y="2563960"/>
                      </a:lnTo>
                      <a:lnTo>
                        <a:pt x="3798677" y="2749109"/>
                      </a:lnTo>
                      <a:lnTo>
                        <a:pt x="3472387" y="2208919"/>
                      </a:lnTo>
                      <a:lnTo>
                        <a:pt x="3585155" y="2254985"/>
                      </a:lnTo>
                      <a:cubicBezTo>
                        <a:pt x="3611001" y="1852129"/>
                        <a:pt x="3432844" y="1328610"/>
                        <a:pt x="3114005" y="1104075"/>
                      </a:cubicBezTo>
                      <a:lnTo>
                        <a:pt x="3585698" y="1050994"/>
                      </a:lnTo>
                      <a:close/>
                      <a:moveTo>
                        <a:pt x="1892533" y="133349"/>
                      </a:moveTo>
                      <a:cubicBezTo>
                        <a:pt x="2384988" y="60439"/>
                        <a:pt x="2955319" y="178992"/>
                        <a:pt x="3438386" y="560947"/>
                      </a:cubicBezTo>
                      <a:lnTo>
                        <a:pt x="3550393" y="467694"/>
                      </a:lnTo>
                      <a:lnTo>
                        <a:pt x="3502246" y="970368"/>
                      </a:lnTo>
                      <a:cubicBezTo>
                        <a:pt x="3271583" y="1000546"/>
                        <a:pt x="3040920" y="1015483"/>
                        <a:pt x="2810256" y="1038041"/>
                      </a:cubicBezTo>
                      <a:lnTo>
                        <a:pt x="2933313" y="934789"/>
                      </a:lnTo>
                      <a:cubicBezTo>
                        <a:pt x="2656424" y="758977"/>
                        <a:pt x="2363689" y="669355"/>
                        <a:pt x="1969181" y="705095"/>
                      </a:cubicBezTo>
                      <a:lnTo>
                        <a:pt x="2154737" y="335131"/>
                      </a:lnTo>
                      <a:close/>
                      <a:moveTo>
                        <a:pt x="1460851" y="0"/>
                      </a:moveTo>
                      <a:cubicBezTo>
                        <a:pt x="1609533" y="83809"/>
                        <a:pt x="1867446" y="214583"/>
                        <a:pt x="2054478" y="354019"/>
                      </a:cubicBezTo>
                      <a:lnTo>
                        <a:pt x="1741070" y="954311"/>
                      </a:lnTo>
                      <a:lnTo>
                        <a:pt x="1656922" y="757789"/>
                      </a:lnTo>
                      <a:cubicBezTo>
                        <a:pt x="1340856" y="892862"/>
                        <a:pt x="931601" y="1317770"/>
                        <a:pt x="856671" y="1587702"/>
                      </a:cubicBezTo>
                      <a:lnTo>
                        <a:pt x="694928" y="1212887"/>
                      </a:lnTo>
                      <a:lnTo>
                        <a:pt x="269556" y="1396576"/>
                      </a:lnTo>
                      <a:cubicBezTo>
                        <a:pt x="520909" y="684763"/>
                        <a:pt x="1206237" y="294700"/>
                        <a:pt x="1528653" y="200296"/>
                      </a:cubicBezTo>
                      <a:close/>
                    </a:path>
                  </a:pathLst>
                </a:cu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defRPr/>
                  </a:pPr>
                  <a:endParaRPr lang="en-US" sz="1800" kern="0">
                    <a:solidFill>
                      <a:srgbClr val="505050"/>
                    </a:solidFill>
                    <a:latin typeface="Arial" charset="0"/>
                  </a:endParaRPr>
                </a:p>
              </p:txBody>
            </p:sp>
            <p:sp>
              <p:nvSpPr>
                <p:cNvPr id="268" name="Trapezoid 3"/>
                <p:cNvSpPr/>
                <p:nvPr/>
              </p:nvSpPr>
              <p:spPr>
                <a:xfrm>
                  <a:off x="6397062" y="2049127"/>
                  <a:ext cx="185674" cy="338939"/>
                </a:xfrm>
                <a:custGeom>
                  <a:avLst/>
                  <a:gdLst>
                    <a:gd name="connsiteX0" fmla="*/ 2052754 w 6499195"/>
                    <a:gd name="connsiteY0" fmla="*/ 2902312 h 3498714"/>
                    <a:gd name="connsiteX1" fmla="*/ 4707054 w 6499195"/>
                    <a:gd name="connsiteY1" fmla="*/ 2902312 h 3498714"/>
                    <a:gd name="connsiteX2" fmla="*/ 4818179 w 6499195"/>
                    <a:gd name="connsiteY2" fmla="*/ 3013437 h 3498714"/>
                    <a:gd name="connsiteX3" fmla="*/ 4707054 w 6499195"/>
                    <a:gd name="connsiteY3" fmla="*/ 3124562 h 3498714"/>
                    <a:gd name="connsiteX4" fmla="*/ 4545125 w 6499195"/>
                    <a:gd name="connsiteY4" fmla="*/ 3124562 h 3498714"/>
                    <a:gd name="connsiteX5" fmla="*/ 4545125 w 6499195"/>
                    <a:gd name="connsiteY5" fmla="*/ 3361625 h 3498714"/>
                    <a:gd name="connsiteX6" fmla="*/ 4436113 w 6499195"/>
                    <a:gd name="connsiteY6" fmla="*/ 3470637 h 3498714"/>
                    <a:gd name="connsiteX7" fmla="*/ 4235039 w 6499195"/>
                    <a:gd name="connsiteY7" fmla="*/ 3470637 h 3498714"/>
                    <a:gd name="connsiteX8" fmla="*/ 4126027 w 6499195"/>
                    <a:gd name="connsiteY8" fmla="*/ 3361625 h 3498714"/>
                    <a:gd name="connsiteX9" fmla="*/ 4126027 w 6499195"/>
                    <a:gd name="connsiteY9" fmla="*/ 3124562 h 3498714"/>
                    <a:gd name="connsiteX10" fmla="*/ 2589325 w 6499195"/>
                    <a:gd name="connsiteY10" fmla="*/ 3124562 h 3498714"/>
                    <a:gd name="connsiteX11" fmla="*/ 2589325 w 6499195"/>
                    <a:gd name="connsiteY11" fmla="*/ 3361625 h 3498714"/>
                    <a:gd name="connsiteX12" fmla="*/ 2480313 w 6499195"/>
                    <a:gd name="connsiteY12" fmla="*/ 3470637 h 3498714"/>
                    <a:gd name="connsiteX13" fmla="*/ 2279239 w 6499195"/>
                    <a:gd name="connsiteY13" fmla="*/ 3470637 h 3498714"/>
                    <a:gd name="connsiteX14" fmla="*/ 2170227 w 6499195"/>
                    <a:gd name="connsiteY14" fmla="*/ 3361625 h 3498714"/>
                    <a:gd name="connsiteX15" fmla="*/ 2170227 w 6499195"/>
                    <a:gd name="connsiteY15" fmla="*/ 3124562 h 3498714"/>
                    <a:gd name="connsiteX16" fmla="*/ 2052754 w 6499195"/>
                    <a:gd name="connsiteY16" fmla="*/ 3124562 h 3498714"/>
                    <a:gd name="connsiteX17" fmla="*/ 1941629 w 6499195"/>
                    <a:gd name="connsiteY17" fmla="*/ 3013437 h 3498714"/>
                    <a:gd name="connsiteX18" fmla="*/ 2052754 w 6499195"/>
                    <a:gd name="connsiteY18" fmla="*/ 2902312 h 3498714"/>
                    <a:gd name="connsiteX19" fmla="*/ 4492583 w 6499195"/>
                    <a:gd name="connsiteY19" fmla="*/ 2089512 h 3498714"/>
                    <a:gd name="connsiteX20" fmla="*/ 4311608 w 6499195"/>
                    <a:gd name="connsiteY20" fmla="*/ 2270487 h 3498714"/>
                    <a:gd name="connsiteX21" fmla="*/ 4492583 w 6499195"/>
                    <a:gd name="connsiteY21" fmla="*/ 2451462 h 3498714"/>
                    <a:gd name="connsiteX22" fmla="*/ 6498753 w 6499195"/>
                    <a:gd name="connsiteY22" fmla="*/ 2404799 h 3498714"/>
                    <a:gd name="connsiteX23" fmla="*/ 4673558 w 6499195"/>
                    <a:gd name="connsiteY23" fmla="*/ 2270487 h 3498714"/>
                    <a:gd name="connsiteX24" fmla="*/ 4492583 w 6499195"/>
                    <a:gd name="connsiteY24" fmla="*/ 2089512 h 3498714"/>
                    <a:gd name="connsiteX25" fmla="*/ 2979061 w 6499195"/>
                    <a:gd name="connsiteY25" fmla="*/ 2089512 h 3498714"/>
                    <a:gd name="connsiteX26" fmla="*/ 2671086 w 6499195"/>
                    <a:gd name="connsiteY26" fmla="*/ 2397487 h 3498714"/>
                    <a:gd name="connsiteX27" fmla="*/ 2671086 w 6499195"/>
                    <a:gd name="connsiteY27" fmla="*/ 2584811 h 3498714"/>
                    <a:gd name="connsiteX28" fmla="*/ 4083961 w 6499195"/>
                    <a:gd name="connsiteY28" fmla="*/ 2584811 h 3498714"/>
                    <a:gd name="connsiteX29" fmla="*/ 4083961 w 6499195"/>
                    <a:gd name="connsiteY29" fmla="*/ 2397487 h 3498714"/>
                    <a:gd name="connsiteX30" fmla="*/ 3775986 w 6499195"/>
                    <a:gd name="connsiteY30" fmla="*/ 2089512 h 3498714"/>
                    <a:gd name="connsiteX31" fmla="*/ 2979061 w 6499195"/>
                    <a:gd name="connsiteY31" fmla="*/ 2089512 h 3498714"/>
                    <a:gd name="connsiteX32" fmla="*/ 2251033 w 6499195"/>
                    <a:gd name="connsiteY32" fmla="*/ 2089512 h 3498714"/>
                    <a:gd name="connsiteX33" fmla="*/ 2070058 w 6499195"/>
                    <a:gd name="connsiteY33" fmla="*/ 2270487 h 3498714"/>
                    <a:gd name="connsiteX34" fmla="*/ 2251033 w 6499195"/>
                    <a:gd name="connsiteY34" fmla="*/ 2451462 h 3498714"/>
                    <a:gd name="connsiteX35" fmla="*/ 2432008 w 6499195"/>
                    <a:gd name="connsiteY35" fmla="*/ 2270487 h 3498714"/>
                    <a:gd name="connsiteX36" fmla="*/ 2251033 w 6499195"/>
                    <a:gd name="connsiteY36" fmla="*/ 2089512 h 3498714"/>
                    <a:gd name="connsiteX37" fmla="*/ 2651061 w 6499195"/>
                    <a:gd name="connsiteY37" fmla="*/ 1167548 h 3498714"/>
                    <a:gd name="connsiteX38" fmla="*/ 2392797 w 6499195"/>
                    <a:gd name="connsiteY38" fmla="*/ 1878907 h 3498714"/>
                    <a:gd name="connsiteX39" fmla="*/ 2478781 w 6499195"/>
                    <a:gd name="connsiteY39" fmla="*/ 1920808 h 3498714"/>
                    <a:gd name="connsiteX40" fmla="*/ 2842751 w 6499195"/>
                    <a:gd name="connsiteY40" fmla="*/ 1749356 h 3498714"/>
                    <a:gd name="connsiteX41" fmla="*/ 3912296 w 6499195"/>
                    <a:gd name="connsiteY41" fmla="*/ 1749356 h 3498714"/>
                    <a:gd name="connsiteX42" fmla="*/ 4277738 w 6499195"/>
                    <a:gd name="connsiteY42" fmla="*/ 1922593 h 3498714"/>
                    <a:gd name="connsiteX43" fmla="*/ 4370569 w 6499195"/>
                    <a:gd name="connsiteY43" fmla="*/ 1877441 h 3498714"/>
                    <a:gd name="connsiteX44" fmla="*/ 4112835 w 6499195"/>
                    <a:gd name="connsiteY44" fmla="*/ 1167548 h 3498714"/>
                    <a:gd name="connsiteX45" fmla="*/ 2651061 w 6499195"/>
                    <a:gd name="connsiteY45" fmla="*/ 1167548 h 3498714"/>
                    <a:gd name="connsiteX46" fmla="*/ 2534724 w 6499195"/>
                    <a:gd name="connsiteY46" fmla="*/ 982297 h 3498714"/>
                    <a:gd name="connsiteX47" fmla="*/ 4229172 w 6499195"/>
                    <a:gd name="connsiteY47" fmla="*/ 982297 h 3498714"/>
                    <a:gd name="connsiteX48" fmla="*/ 4546612 w 6499195"/>
                    <a:gd name="connsiteY48" fmla="*/ 1856643 h 3498714"/>
                    <a:gd name="connsiteX49" fmla="*/ 4936448 w 6499195"/>
                    <a:gd name="connsiteY49" fmla="*/ 2279217 h 3498714"/>
                    <a:gd name="connsiteX50" fmla="*/ 4802103 w 6499195"/>
                    <a:gd name="connsiteY50" fmla="*/ 2588456 h 3498714"/>
                    <a:gd name="connsiteX51" fmla="*/ 4904699 w 6499195"/>
                    <a:gd name="connsiteY51" fmla="*/ 2705462 h 3498714"/>
                    <a:gd name="connsiteX52" fmla="*/ 4904698 w 6499195"/>
                    <a:gd name="connsiteY52" fmla="*/ 2705462 h 3498714"/>
                    <a:gd name="connsiteX53" fmla="*/ 4784047 w 6499195"/>
                    <a:gd name="connsiteY53" fmla="*/ 2826113 h 3498714"/>
                    <a:gd name="connsiteX54" fmla="*/ 1970999 w 6499195"/>
                    <a:gd name="connsiteY54" fmla="*/ 2826112 h 3498714"/>
                    <a:gd name="connsiteX55" fmla="*/ 1850348 w 6499195"/>
                    <a:gd name="connsiteY55" fmla="*/ 2705462 h 3498714"/>
                    <a:gd name="connsiteX56" fmla="*/ 1956769 w 6499195"/>
                    <a:gd name="connsiteY56" fmla="*/ 2587684 h 3498714"/>
                    <a:gd name="connsiteX57" fmla="*/ 1823360 w 6499195"/>
                    <a:gd name="connsiteY57" fmla="*/ 2279217 h 3498714"/>
                    <a:gd name="connsiteX58" fmla="*/ 2217440 w 6499195"/>
                    <a:gd name="connsiteY58" fmla="*/ 1856216 h 3498714"/>
                    <a:gd name="connsiteX59" fmla="*/ 2534724 w 6499195"/>
                    <a:gd name="connsiteY59" fmla="*/ 982297 h 3498714"/>
                    <a:gd name="connsiteX60" fmla="*/ 358791 w 6499195"/>
                    <a:gd name="connsiteY60" fmla="*/ 644545 h 3498714"/>
                    <a:gd name="connsiteX61" fmla="*/ 1006774 w 6499195"/>
                    <a:gd name="connsiteY61" fmla="*/ 644545 h 3498714"/>
                    <a:gd name="connsiteX62" fmla="*/ 1542636 w 6499195"/>
                    <a:gd name="connsiteY62" fmla="*/ 1193969 h 3498714"/>
                    <a:gd name="connsiteX63" fmla="*/ 1929878 w 6499195"/>
                    <a:gd name="connsiteY63" fmla="*/ 1193970 h 3498714"/>
                    <a:gd name="connsiteX64" fmla="*/ 2070059 w 6499195"/>
                    <a:gd name="connsiteY64" fmla="*/ 1334152 h 3498714"/>
                    <a:gd name="connsiteX65" fmla="*/ 1929878 w 6499195"/>
                    <a:gd name="connsiteY65" fmla="*/ 1474333 h 3498714"/>
                    <a:gd name="connsiteX66" fmla="*/ 1520943 w 6499195"/>
                    <a:gd name="connsiteY66" fmla="*/ 1470388 h 3498714"/>
                    <a:gd name="connsiteX67" fmla="*/ 1332825 w 6499195"/>
                    <a:gd name="connsiteY67" fmla="*/ 1367201 h 3498714"/>
                    <a:gd name="connsiteX68" fmla="*/ 1106501 w 6499195"/>
                    <a:gd name="connsiteY68" fmla="*/ 1098289 h 3498714"/>
                    <a:gd name="connsiteX69" fmla="*/ 1101049 w 6499195"/>
                    <a:gd name="connsiteY69" fmla="*/ 1092836 h 3498714"/>
                    <a:gd name="connsiteX70" fmla="*/ 1046523 w 6499195"/>
                    <a:gd name="connsiteY70" fmla="*/ 1092836 h 3498714"/>
                    <a:gd name="connsiteX71" fmla="*/ 1041071 w 6499195"/>
                    <a:gd name="connsiteY71" fmla="*/ 1098289 h 3498714"/>
                    <a:gd name="connsiteX72" fmla="*/ 1042136 w 6499195"/>
                    <a:gd name="connsiteY72" fmla="*/ 1419754 h 3498714"/>
                    <a:gd name="connsiteX73" fmla="*/ 1042136 w 6499195"/>
                    <a:gd name="connsiteY73" fmla="*/ 3337652 h 3498714"/>
                    <a:gd name="connsiteX74" fmla="*/ 881075 w 6499195"/>
                    <a:gd name="connsiteY74" fmla="*/ 3498714 h 3498714"/>
                    <a:gd name="connsiteX75" fmla="*/ 720012 w 6499195"/>
                    <a:gd name="connsiteY75" fmla="*/ 3337652 h 3498714"/>
                    <a:gd name="connsiteX76" fmla="*/ 720012 w 6499195"/>
                    <a:gd name="connsiteY76" fmla="*/ 2125717 h 3498714"/>
                    <a:gd name="connsiteX77" fmla="*/ 718947 w 6499195"/>
                    <a:gd name="connsiteY77" fmla="*/ 2033194 h 3498714"/>
                    <a:gd name="connsiteX78" fmla="*/ 714162 w 6499195"/>
                    <a:gd name="connsiteY78" fmla="*/ 2028410 h 3498714"/>
                    <a:gd name="connsiteX79" fmla="*/ 654759 w 6499195"/>
                    <a:gd name="connsiteY79" fmla="*/ 2028410 h 3498714"/>
                    <a:gd name="connsiteX80" fmla="*/ 649974 w 6499195"/>
                    <a:gd name="connsiteY80" fmla="*/ 2033194 h 3498714"/>
                    <a:gd name="connsiteX81" fmla="*/ 649974 w 6499195"/>
                    <a:gd name="connsiteY81" fmla="*/ 2125717 h 3498714"/>
                    <a:gd name="connsiteX82" fmla="*/ 649574 w 6499195"/>
                    <a:gd name="connsiteY82" fmla="*/ 3337652 h 3498714"/>
                    <a:gd name="connsiteX83" fmla="*/ 488511 w 6499195"/>
                    <a:gd name="connsiteY83" fmla="*/ 3498714 h 3498714"/>
                    <a:gd name="connsiteX84" fmla="*/ 327450 w 6499195"/>
                    <a:gd name="connsiteY84" fmla="*/ 3337652 h 3498714"/>
                    <a:gd name="connsiteX85" fmla="*/ 327450 w 6499195"/>
                    <a:gd name="connsiteY85" fmla="*/ 1458216 h 3498714"/>
                    <a:gd name="connsiteX86" fmla="*/ 322427 w 6499195"/>
                    <a:gd name="connsiteY86" fmla="*/ 1098205 h 3498714"/>
                    <a:gd name="connsiteX87" fmla="*/ 317058 w 6499195"/>
                    <a:gd name="connsiteY87" fmla="*/ 1092836 h 3498714"/>
                    <a:gd name="connsiteX88" fmla="*/ 263371 w 6499195"/>
                    <a:gd name="connsiteY88" fmla="*/ 1092836 h 3498714"/>
                    <a:gd name="connsiteX89" fmla="*/ 258001 w 6499195"/>
                    <a:gd name="connsiteY89" fmla="*/ 1098205 h 3498714"/>
                    <a:gd name="connsiteX90" fmla="*/ 258001 w 6499195"/>
                    <a:gd name="connsiteY90" fmla="*/ 1444446 h 3498714"/>
                    <a:gd name="connsiteX91" fmla="*/ 257700 w 6499195"/>
                    <a:gd name="connsiteY91" fmla="*/ 1444370 h 3498714"/>
                    <a:gd name="connsiteX92" fmla="*/ 257700 w 6499195"/>
                    <a:gd name="connsiteY92" fmla="*/ 1912573 h 3498714"/>
                    <a:gd name="connsiteX93" fmla="*/ 128850 w 6499195"/>
                    <a:gd name="connsiteY93" fmla="*/ 2041423 h 3498714"/>
                    <a:gd name="connsiteX94" fmla="*/ 0 w 6499195"/>
                    <a:gd name="connsiteY94" fmla="*/ 1912573 h 3498714"/>
                    <a:gd name="connsiteX95" fmla="*/ 0 w 6499195"/>
                    <a:gd name="connsiteY95" fmla="*/ 1101802 h 3498714"/>
                    <a:gd name="connsiteX96" fmla="*/ 0 w 6499195"/>
                    <a:gd name="connsiteY96" fmla="*/ 1003338 h 3498714"/>
                    <a:gd name="connsiteX97" fmla="*/ 0 w 6499195"/>
                    <a:gd name="connsiteY97" fmla="*/ 982486 h 3498714"/>
                    <a:gd name="connsiteX98" fmla="*/ 12733 w 6499195"/>
                    <a:gd name="connsiteY98" fmla="*/ 894663 h 3498714"/>
                    <a:gd name="connsiteX99" fmla="*/ 20539 w 6499195"/>
                    <a:gd name="connsiteY99" fmla="*/ 868773 h 3498714"/>
                    <a:gd name="connsiteX100" fmla="*/ 358791 w 6499195"/>
                    <a:gd name="connsiteY100" fmla="*/ 644545 h 3498714"/>
                    <a:gd name="connsiteX101" fmla="*/ 682782 w 6499195"/>
                    <a:gd name="connsiteY101" fmla="*/ 0 h 3498714"/>
                    <a:gd name="connsiteX102" fmla="*/ 966919 w 6499195"/>
                    <a:gd name="connsiteY102" fmla="*/ 284138 h 3498714"/>
                    <a:gd name="connsiteX103" fmla="*/ 682782 w 6499195"/>
                    <a:gd name="connsiteY103" fmla="*/ 568275 h 3498714"/>
                    <a:gd name="connsiteX104" fmla="*/ 398645 w 6499195"/>
                    <a:gd name="connsiteY104" fmla="*/ 284138 h 3498714"/>
                    <a:gd name="connsiteX105" fmla="*/ 682782 w 6499195"/>
                    <a:gd name="connsiteY105" fmla="*/ 0 h 3498714"/>
                    <a:gd name="connsiteX0" fmla="*/ 2052754 w 6499473"/>
                    <a:gd name="connsiteY0" fmla="*/ 2902312 h 3498714"/>
                    <a:gd name="connsiteX1" fmla="*/ 4707054 w 6499473"/>
                    <a:gd name="connsiteY1" fmla="*/ 2902312 h 3498714"/>
                    <a:gd name="connsiteX2" fmla="*/ 4818179 w 6499473"/>
                    <a:gd name="connsiteY2" fmla="*/ 3013437 h 3498714"/>
                    <a:gd name="connsiteX3" fmla="*/ 4707054 w 6499473"/>
                    <a:gd name="connsiteY3" fmla="*/ 3124562 h 3498714"/>
                    <a:gd name="connsiteX4" fmla="*/ 4545125 w 6499473"/>
                    <a:gd name="connsiteY4" fmla="*/ 3124562 h 3498714"/>
                    <a:gd name="connsiteX5" fmla="*/ 4545125 w 6499473"/>
                    <a:gd name="connsiteY5" fmla="*/ 3361625 h 3498714"/>
                    <a:gd name="connsiteX6" fmla="*/ 4436113 w 6499473"/>
                    <a:gd name="connsiteY6" fmla="*/ 3470637 h 3498714"/>
                    <a:gd name="connsiteX7" fmla="*/ 4235039 w 6499473"/>
                    <a:gd name="connsiteY7" fmla="*/ 3470637 h 3498714"/>
                    <a:gd name="connsiteX8" fmla="*/ 4126027 w 6499473"/>
                    <a:gd name="connsiteY8" fmla="*/ 3361625 h 3498714"/>
                    <a:gd name="connsiteX9" fmla="*/ 4126027 w 6499473"/>
                    <a:gd name="connsiteY9" fmla="*/ 3124562 h 3498714"/>
                    <a:gd name="connsiteX10" fmla="*/ 2589325 w 6499473"/>
                    <a:gd name="connsiteY10" fmla="*/ 3124562 h 3498714"/>
                    <a:gd name="connsiteX11" fmla="*/ 2589325 w 6499473"/>
                    <a:gd name="connsiteY11" fmla="*/ 3361625 h 3498714"/>
                    <a:gd name="connsiteX12" fmla="*/ 2480313 w 6499473"/>
                    <a:gd name="connsiteY12" fmla="*/ 3470637 h 3498714"/>
                    <a:gd name="connsiteX13" fmla="*/ 2279239 w 6499473"/>
                    <a:gd name="connsiteY13" fmla="*/ 3470637 h 3498714"/>
                    <a:gd name="connsiteX14" fmla="*/ 2170227 w 6499473"/>
                    <a:gd name="connsiteY14" fmla="*/ 3361625 h 3498714"/>
                    <a:gd name="connsiteX15" fmla="*/ 2170227 w 6499473"/>
                    <a:gd name="connsiteY15" fmla="*/ 3124562 h 3498714"/>
                    <a:gd name="connsiteX16" fmla="*/ 2052754 w 6499473"/>
                    <a:gd name="connsiteY16" fmla="*/ 3124562 h 3498714"/>
                    <a:gd name="connsiteX17" fmla="*/ 1941629 w 6499473"/>
                    <a:gd name="connsiteY17" fmla="*/ 3013437 h 3498714"/>
                    <a:gd name="connsiteX18" fmla="*/ 2052754 w 6499473"/>
                    <a:gd name="connsiteY18" fmla="*/ 2902312 h 3498714"/>
                    <a:gd name="connsiteX19" fmla="*/ 4492583 w 6499473"/>
                    <a:gd name="connsiteY19" fmla="*/ 2089512 h 3498714"/>
                    <a:gd name="connsiteX20" fmla="*/ 4311608 w 6499473"/>
                    <a:gd name="connsiteY20" fmla="*/ 2270487 h 3498714"/>
                    <a:gd name="connsiteX21" fmla="*/ 4492583 w 6499473"/>
                    <a:gd name="connsiteY21" fmla="*/ 2451462 h 3498714"/>
                    <a:gd name="connsiteX22" fmla="*/ 6498753 w 6499473"/>
                    <a:gd name="connsiteY22" fmla="*/ 2404799 h 3498714"/>
                    <a:gd name="connsiteX23" fmla="*/ 5268722 w 6499473"/>
                    <a:gd name="connsiteY23" fmla="*/ 1972085 h 3498714"/>
                    <a:gd name="connsiteX24" fmla="*/ 4492583 w 6499473"/>
                    <a:gd name="connsiteY24" fmla="*/ 2089512 h 3498714"/>
                    <a:gd name="connsiteX25" fmla="*/ 2979061 w 6499473"/>
                    <a:gd name="connsiteY25" fmla="*/ 2089512 h 3498714"/>
                    <a:gd name="connsiteX26" fmla="*/ 2671086 w 6499473"/>
                    <a:gd name="connsiteY26" fmla="*/ 2397487 h 3498714"/>
                    <a:gd name="connsiteX27" fmla="*/ 2671086 w 6499473"/>
                    <a:gd name="connsiteY27" fmla="*/ 2584811 h 3498714"/>
                    <a:gd name="connsiteX28" fmla="*/ 4083961 w 6499473"/>
                    <a:gd name="connsiteY28" fmla="*/ 2584811 h 3498714"/>
                    <a:gd name="connsiteX29" fmla="*/ 4083961 w 6499473"/>
                    <a:gd name="connsiteY29" fmla="*/ 2397487 h 3498714"/>
                    <a:gd name="connsiteX30" fmla="*/ 3775986 w 6499473"/>
                    <a:gd name="connsiteY30" fmla="*/ 2089512 h 3498714"/>
                    <a:gd name="connsiteX31" fmla="*/ 2979061 w 6499473"/>
                    <a:gd name="connsiteY31" fmla="*/ 2089512 h 3498714"/>
                    <a:gd name="connsiteX32" fmla="*/ 2251033 w 6499473"/>
                    <a:gd name="connsiteY32" fmla="*/ 2089512 h 3498714"/>
                    <a:gd name="connsiteX33" fmla="*/ 2070058 w 6499473"/>
                    <a:gd name="connsiteY33" fmla="*/ 2270487 h 3498714"/>
                    <a:gd name="connsiteX34" fmla="*/ 2251033 w 6499473"/>
                    <a:gd name="connsiteY34" fmla="*/ 2451462 h 3498714"/>
                    <a:gd name="connsiteX35" fmla="*/ 2432008 w 6499473"/>
                    <a:gd name="connsiteY35" fmla="*/ 2270487 h 3498714"/>
                    <a:gd name="connsiteX36" fmla="*/ 2251033 w 6499473"/>
                    <a:gd name="connsiteY36" fmla="*/ 2089512 h 3498714"/>
                    <a:gd name="connsiteX37" fmla="*/ 2651061 w 6499473"/>
                    <a:gd name="connsiteY37" fmla="*/ 1167548 h 3498714"/>
                    <a:gd name="connsiteX38" fmla="*/ 2392797 w 6499473"/>
                    <a:gd name="connsiteY38" fmla="*/ 1878907 h 3498714"/>
                    <a:gd name="connsiteX39" fmla="*/ 2478781 w 6499473"/>
                    <a:gd name="connsiteY39" fmla="*/ 1920808 h 3498714"/>
                    <a:gd name="connsiteX40" fmla="*/ 2842751 w 6499473"/>
                    <a:gd name="connsiteY40" fmla="*/ 1749356 h 3498714"/>
                    <a:gd name="connsiteX41" fmla="*/ 3912296 w 6499473"/>
                    <a:gd name="connsiteY41" fmla="*/ 1749356 h 3498714"/>
                    <a:gd name="connsiteX42" fmla="*/ 4277738 w 6499473"/>
                    <a:gd name="connsiteY42" fmla="*/ 1922593 h 3498714"/>
                    <a:gd name="connsiteX43" fmla="*/ 4370569 w 6499473"/>
                    <a:gd name="connsiteY43" fmla="*/ 1877441 h 3498714"/>
                    <a:gd name="connsiteX44" fmla="*/ 4112835 w 6499473"/>
                    <a:gd name="connsiteY44" fmla="*/ 1167548 h 3498714"/>
                    <a:gd name="connsiteX45" fmla="*/ 2651061 w 6499473"/>
                    <a:gd name="connsiteY45" fmla="*/ 1167548 h 3498714"/>
                    <a:gd name="connsiteX46" fmla="*/ 2534724 w 6499473"/>
                    <a:gd name="connsiteY46" fmla="*/ 982297 h 3498714"/>
                    <a:gd name="connsiteX47" fmla="*/ 4229172 w 6499473"/>
                    <a:gd name="connsiteY47" fmla="*/ 982297 h 3498714"/>
                    <a:gd name="connsiteX48" fmla="*/ 4546612 w 6499473"/>
                    <a:gd name="connsiteY48" fmla="*/ 1856643 h 3498714"/>
                    <a:gd name="connsiteX49" fmla="*/ 4936448 w 6499473"/>
                    <a:gd name="connsiteY49" fmla="*/ 2279217 h 3498714"/>
                    <a:gd name="connsiteX50" fmla="*/ 4802103 w 6499473"/>
                    <a:gd name="connsiteY50" fmla="*/ 2588456 h 3498714"/>
                    <a:gd name="connsiteX51" fmla="*/ 4904699 w 6499473"/>
                    <a:gd name="connsiteY51" fmla="*/ 2705462 h 3498714"/>
                    <a:gd name="connsiteX52" fmla="*/ 4904698 w 6499473"/>
                    <a:gd name="connsiteY52" fmla="*/ 2705462 h 3498714"/>
                    <a:gd name="connsiteX53" fmla="*/ 4784047 w 6499473"/>
                    <a:gd name="connsiteY53" fmla="*/ 2826113 h 3498714"/>
                    <a:gd name="connsiteX54" fmla="*/ 1970999 w 6499473"/>
                    <a:gd name="connsiteY54" fmla="*/ 2826112 h 3498714"/>
                    <a:gd name="connsiteX55" fmla="*/ 1850348 w 6499473"/>
                    <a:gd name="connsiteY55" fmla="*/ 2705462 h 3498714"/>
                    <a:gd name="connsiteX56" fmla="*/ 1956769 w 6499473"/>
                    <a:gd name="connsiteY56" fmla="*/ 2587684 h 3498714"/>
                    <a:gd name="connsiteX57" fmla="*/ 1823360 w 6499473"/>
                    <a:gd name="connsiteY57" fmla="*/ 2279217 h 3498714"/>
                    <a:gd name="connsiteX58" fmla="*/ 2217440 w 6499473"/>
                    <a:gd name="connsiteY58" fmla="*/ 1856216 h 3498714"/>
                    <a:gd name="connsiteX59" fmla="*/ 2534724 w 6499473"/>
                    <a:gd name="connsiteY59" fmla="*/ 982297 h 3498714"/>
                    <a:gd name="connsiteX60" fmla="*/ 358791 w 6499473"/>
                    <a:gd name="connsiteY60" fmla="*/ 644545 h 3498714"/>
                    <a:gd name="connsiteX61" fmla="*/ 1006774 w 6499473"/>
                    <a:gd name="connsiteY61" fmla="*/ 644545 h 3498714"/>
                    <a:gd name="connsiteX62" fmla="*/ 1542636 w 6499473"/>
                    <a:gd name="connsiteY62" fmla="*/ 1193969 h 3498714"/>
                    <a:gd name="connsiteX63" fmla="*/ 1929878 w 6499473"/>
                    <a:gd name="connsiteY63" fmla="*/ 1193970 h 3498714"/>
                    <a:gd name="connsiteX64" fmla="*/ 2070059 w 6499473"/>
                    <a:gd name="connsiteY64" fmla="*/ 1334152 h 3498714"/>
                    <a:gd name="connsiteX65" fmla="*/ 1929878 w 6499473"/>
                    <a:gd name="connsiteY65" fmla="*/ 1474333 h 3498714"/>
                    <a:gd name="connsiteX66" fmla="*/ 1520943 w 6499473"/>
                    <a:gd name="connsiteY66" fmla="*/ 1470388 h 3498714"/>
                    <a:gd name="connsiteX67" fmla="*/ 1332825 w 6499473"/>
                    <a:gd name="connsiteY67" fmla="*/ 1367201 h 3498714"/>
                    <a:gd name="connsiteX68" fmla="*/ 1106501 w 6499473"/>
                    <a:gd name="connsiteY68" fmla="*/ 1098289 h 3498714"/>
                    <a:gd name="connsiteX69" fmla="*/ 1101049 w 6499473"/>
                    <a:gd name="connsiteY69" fmla="*/ 1092836 h 3498714"/>
                    <a:gd name="connsiteX70" fmla="*/ 1046523 w 6499473"/>
                    <a:gd name="connsiteY70" fmla="*/ 1092836 h 3498714"/>
                    <a:gd name="connsiteX71" fmla="*/ 1041071 w 6499473"/>
                    <a:gd name="connsiteY71" fmla="*/ 1098289 h 3498714"/>
                    <a:gd name="connsiteX72" fmla="*/ 1042136 w 6499473"/>
                    <a:gd name="connsiteY72" fmla="*/ 1419754 h 3498714"/>
                    <a:gd name="connsiteX73" fmla="*/ 1042136 w 6499473"/>
                    <a:gd name="connsiteY73" fmla="*/ 3337652 h 3498714"/>
                    <a:gd name="connsiteX74" fmla="*/ 881075 w 6499473"/>
                    <a:gd name="connsiteY74" fmla="*/ 3498714 h 3498714"/>
                    <a:gd name="connsiteX75" fmla="*/ 720012 w 6499473"/>
                    <a:gd name="connsiteY75" fmla="*/ 3337652 h 3498714"/>
                    <a:gd name="connsiteX76" fmla="*/ 720012 w 6499473"/>
                    <a:gd name="connsiteY76" fmla="*/ 2125717 h 3498714"/>
                    <a:gd name="connsiteX77" fmla="*/ 718947 w 6499473"/>
                    <a:gd name="connsiteY77" fmla="*/ 2033194 h 3498714"/>
                    <a:gd name="connsiteX78" fmla="*/ 714162 w 6499473"/>
                    <a:gd name="connsiteY78" fmla="*/ 2028410 h 3498714"/>
                    <a:gd name="connsiteX79" fmla="*/ 654759 w 6499473"/>
                    <a:gd name="connsiteY79" fmla="*/ 2028410 h 3498714"/>
                    <a:gd name="connsiteX80" fmla="*/ 649974 w 6499473"/>
                    <a:gd name="connsiteY80" fmla="*/ 2033194 h 3498714"/>
                    <a:gd name="connsiteX81" fmla="*/ 649974 w 6499473"/>
                    <a:gd name="connsiteY81" fmla="*/ 2125717 h 3498714"/>
                    <a:gd name="connsiteX82" fmla="*/ 649574 w 6499473"/>
                    <a:gd name="connsiteY82" fmla="*/ 3337652 h 3498714"/>
                    <a:gd name="connsiteX83" fmla="*/ 488511 w 6499473"/>
                    <a:gd name="connsiteY83" fmla="*/ 3498714 h 3498714"/>
                    <a:gd name="connsiteX84" fmla="*/ 327450 w 6499473"/>
                    <a:gd name="connsiteY84" fmla="*/ 3337652 h 3498714"/>
                    <a:gd name="connsiteX85" fmla="*/ 327450 w 6499473"/>
                    <a:gd name="connsiteY85" fmla="*/ 1458216 h 3498714"/>
                    <a:gd name="connsiteX86" fmla="*/ 322427 w 6499473"/>
                    <a:gd name="connsiteY86" fmla="*/ 1098205 h 3498714"/>
                    <a:gd name="connsiteX87" fmla="*/ 317058 w 6499473"/>
                    <a:gd name="connsiteY87" fmla="*/ 1092836 h 3498714"/>
                    <a:gd name="connsiteX88" fmla="*/ 263371 w 6499473"/>
                    <a:gd name="connsiteY88" fmla="*/ 1092836 h 3498714"/>
                    <a:gd name="connsiteX89" fmla="*/ 258001 w 6499473"/>
                    <a:gd name="connsiteY89" fmla="*/ 1098205 h 3498714"/>
                    <a:gd name="connsiteX90" fmla="*/ 258001 w 6499473"/>
                    <a:gd name="connsiteY90" fmla="*/ 1444446 h 3498714"/>
                    <a:gd name="connsiteX91" fmla="*/ 257700 w 6499473"/>
                    <a:gd name="connsiteY91" fmla="*/ 1444370 h 3498714"/>
                    <a:gd name="connsiteX92" fmla="*/ 257700 w 6499473"/>
                    <a:gd name="connsiteY92" fmla="*/ 1912573 h 3498714"/>
                    <a:gd name="connsiteX93" fmla="*/ 128850 w 6499473"/>
                    <a:gd name="connsiteY93" fmla="*/ 2041423 h 3498714"/>
                    <a:gd name="connsiteX94" fmla="*/ 0 w 6499473"/>
                    <a:gd name="connsiteY94" fmla="*/ 1912573 h 3498714"/>
                    <a:gd name="connsiteX95" fmla="*/ 0 w 6499473"/>
                    <a:gd name="connsiteY95" fmla="*/ 1101802 h 3498714"/>
                    <a:gd name="connsiteX96" fmla="*/ 0 w 6499473"/>
                    <a:gd name="connsiteY96" fmla="*/ 1003338 h 3498714"/>
                    <a:gd name="connsiteX97" fmla="*/ 0 w 6499473"/>
                    <a:gd name="connsiteY97" fmla="*/ 982486 h 3498714"/>
                    <a:gd name="connsiteX98" fmla="*/ 12733 w 6499473"/>
                    <a:gd name="connsiteY98" fmla="*/ 894663 h 3498714"/>
                    <a:gd name="connsiteX99" fmla="*/ 20539 w 6499473"/>
                    <a:gd name="connsiteY99" fmla="*/ 868773 h 3498714"/>
                    <a:gd name="connsiteX100" fmla="*/ 358791 w 6499473"/>
                    <a:gd name="connsiteY100" fmla="*/ 644545 h 3498714"/>
                    <a:gd name="connsiteX101" fmla="*/ 682782 w 6499473"/>
                    <a:gd name="connsiteY101" fmla="*/ 0 h 3498714"/>
                    <a:gd name="connsiteX102" fmla="*/ 966919 w 6499473"/>
                    <a:gd name="connsiteY102" fmla="*/ 284138 h 3498714"/>
                    <a:gd name="connsiteX103" fmla="*/ 682782 w 6499473"/>
                    <a:gd name="connsiteY103" fmla="*/ 568275 h 3498714"/>
                    <a:gd name="connsiteX104" fmla="*/ 398645 w 6499473"/>
                    <a:gd name="connsiteY104" fmla="*/ 284138 h 3498714"/>
                    <a:gd name="connsiteX105" fmla="*/ 682782 w 6499473"/>
                    <a:gd name="connsiteY105"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052754 w 6499257"/>
                    <a:gd name="connsiteY0" fmla="*/ 2902312 h 3498714"/>
                    <a:gd name="connsiteX1" fmla="*/ 4707054 w 6499257"/>
                    <a:gd name="connsiteY1" fmla="*/ 2902312 h 3498714"/>
                    <a:gd name="connsiteX2" fmla="*/ 4818179 w 6499257"/>
                    <a:gd name="connsiteY2" fmla="*/ 3013437 h 3498714"/>
                    <a:gd name="connsiteX3" fmla="*/ 4707054 w 6499257"/>
                    <a:gd name="connsiteY3" fmla="*/ 3124562 h 3498714"/>
                    <a:gd name="connsiteX4" fmla="*/ 4545125 w 6499257"/>
                    <a:gd name="connsiteY4" fmla="*/ 3124562 h 3498714"/>
                    <a:gd name="connsiteX5" fmla="*/ 4545125 w 6499257"/>
                    <a:gd name="connsiteY5" fmla="*/ 3361625 h 3498714"/>
                    <a:gd name="connsiteX6" fmla="*/ 4436113 w 6499257"/>
                    <a:gd name="connsiteY6" fmla="*/ 3470637 h 3498714"/>
                    <a:gd name="connsiteX7" fmla="*/ 4235039 w 6499257"/>
                    <a:gd name="connsiteY7" fmla="*/ 3470637 h 3498714"/>
                    <a:gd name="connsiteX8" fmla="*/ 4126027 w 6499257"/>
                    <a:gd name="connsiteY8" fmla="*/ 3361625 h 3498714"/>
                    <a:gd name="connsiteX9" fmla="*/ 4126027 w 6499257"/>
                    <a:gd name="connsiteY9" fmla="*/ 3124562 h 3498714"/>
                    <a:gd name="connsiteX10" fmla="*/ 2589325 w 6499257"/>
                    <a:gd name="connsiteY10" fmla="*/ 3124562 h 3498714"/>
                    <a:gd name="connsiteX11" fmla="*/ 2589325 w 6499257"/>
                    <a:gd name="connsiteY11" fmla="*/ 3361625 h 3498714"/>
                    <a:gd name="connsiteX12" fmla="*/ 2480313 w 6499257"/>
                    <a:gd name="connsiteY12" fmla="*/ 3470637 h 3498714"/>
                    <a:gd name="connsiteX13" fmla="*/ 2279239 w 6499257"/>
                    <a:gd name="connsiteY13" fmla="*/ 3470637 h 3498714"/>
                    <a:gd name="connsiteX14" fmla="*/ 2170227 w 6499257"/>
                    <a:gd name="connsiteY14" fmla="*/ 3361625 h 3498714"/>
                    <a:gd name="connsiteX15" fmla="*/ 2170227 w 6499257"/>
                    <a:gd name="connsiteY15" fmla="*/ 3124562 h 3498714"/>
                    <a:gd name="connsiteX16" fmla="*/ 2052754 w 6499257"/>
                    <a:gd name="connsiteY16" fmla="*/ 3124562 h 3498714"/>
                    <a:gd name="connsiteX17" fmla="*/ 1941629 w 6499257"/>
                    <a:gd name="connsiteY17" fmla="*/ 3013437 h 3498714"/>
                    <a:gd name="connsiteX18" fmla="*/ 2052754 w 6499257"/>
                    <a:gd name="connsiteY18" fmla="*/ 2902312 h 3498714"/>
                    <a:gd name="connsiteX19" fmla="*/ 4492583 w 6499257"/>
                    <a:gd name="connsiteY19" fmla="*/ 2089512 h 3498714"/>
                    <a:gd name="connsiteX20" fmla="*/ 4311608 w 6499257"/>
                    <a:gd name="connsiteY20" fmla="*/ 2270487 h 3498714"/>
                    <a:gd name="connsiteX21" fmla="*/ 4492583 w 6499257"/>
                    <a:gd name="connsiteY21" fmla="*/ 2451462 h 3498714"/>
                    <a:gd name="connsiteX22" fmla="*/ 5407618 w 6499257"/>
                    <a:gd name="connsiteY22" fmla="*/ 2468742 h 3498714"/>
                    <a:gd name="connsiteX23" fmla="*/ 6498753 w 6499257"/>
                    <a:gd name="connsiteY23" fmla="*/ 2404799 h 3498714"/>
                    <a:gd name="connsiteX24" fmla="*/ 5268722 w 6499257"/>
                    <a:gd name="connsiteY24" fmla="*/ 1972085 h 3498714"/>
                    <a:gd name="connsiteX25" fmla="*/ 4492583 w 6499257"/>
                    <a:gd name="connsiteY25" fmla="*/ 2089512 h 3498714"/>
                    <a:gd name="connsiteX26" fmla="*/ 2979061 w 6499257"/>
                    <a:gd name="connsiteY26" fmla="*/ 2089512 h 3498714"/>
                    <a:gd name="connsiteX27" fmla="*/ 2671086 w 6499257"/>
                    <a:gd name="connsiteY27" fmla="*/ 2397487 h 3498714"/>
                    <a:gd name="connsiteX28" fmla="*/ 2671086 w 6499257"/>
                    <a:gd name="connsiteY28" fmla="*/ 2584811 h 3498714"/>
                    <a:gd name="connsiteX29" fmla="*/ 4083961 w 6499257"/>
                    <a:gd name="connsiteY29" fmla="*/ 2584811 h 3498714"/>
                    <a:gd name="connsiteX30" fmla="*/ 4083961 w 6499257"/>
                    <a:gd name="connsiteY30" fmla="*/ 2397487 h 3498714"/>
                    <a:gd name="connsiteX31" fmla="*/ 3775986 w 6499257"/>
                    <a:gd name="connsiteY31" fmla="*/ 2089512 h 3498714"/>
                    <a:gd name="connsiteX32" fmla="*/ 2979061 w 6499257"/>
                    <a:gd name="connsiteY32" fmla="*/ 2089512 h 3498714"/>
                    <a:gd name="connsiteX33" fmla="*/ 2251033 w 6499257"/>
                    <a:gd name="connsiteY33" fmla="*/ 2089512 h 3498714"/>
                    <a:gd name="connsiteX34" fmla="*/ 2070058 w 6499257"/>
                    <a:gd name="connsiteY34" fmla="*/ 2270487 h 3498714"/>
                    <a:gd name="connsiteX35" fmla="*/ 2251033 w 6499257"/>
                    <a:gd name="connsiteY35" fmla="*/ 2451462 h 3498714"/>
                    <a:gd name="connsiteX36" fmla="*/ 2432008 w 6499257"/>
                    <a:gd name="connsiteY36" fmla="*/ 2270487 h 3498714"/>
                    <a:gd name="connsiteX37" fmla="*/ 2251033 w 6499257"/>
                    <a:gd name="connsiteY37" fmla="*/ 2089512 h 3498714"/>
                    <a:gd name="connsiteX38" fmla="*/ 2651061 w 6499257"/>
                    <a:gd name="connsiteY38" fmla="*/ 1167548 h 3498714"/>
                    <a:gd name="connsiteX39" fmla="*/ 2392797 w 6499257"/>
                    <a:gd name="connsiteY39" fmla="*/ 1878907 h 3498714"/>
                    <a:gd name="connsiteX40" fmla="*/ 2478781 w 6499257"/>
                    <a:gd name="connsiteY40" fmla="*/ 1920808 h 3498714"/>
                    <a:gd name="connsiteX41" fmla="*/ 2842751 w 6499257"/>
                    <a:gd name="connsiteY41" fmla="*/ 1749356 h 3498714"/>
                    <a:gd name="connsiteX42" fmla="*/ 3912296 w 6499257"/>
                    <a:gd name="connsiteY42" fmla="*/ 1749356 h 3498714"/>
                    <a:gd name="connsiteX43" fmla="*/ 4277738 w 6499257"/>
                    <a:gd name="connsiteY43" fmla="*/ 1922593 h 3498714"/>
                    <a:gd name="connsiteX44" fmla="*/ 4370569 w 6499257"/>
                    <a:gd name="connsiteY44" fmla="*/ 1877441 h 3498714"/>
                    <a:gd name="connsiteX45" fmla="*/ 4112835 w 6499257"/>
                    <a:gd name="connsiteY45" fmla="*/ 1167548 h 3498714"/>
                    <a:gd name="connsiteX46" fmla="*/ 2651061 w 6499257"/>
                    <a:gd name="connsiteY46" fmla="*/ 1167548 h 3498714"/>
                    <a:gd name="connsiteX47" fmla="*/ 2534724 w 6499257"/>
                    <a:gd name="connsiteY47" fmla="*/ 982297 h 3498714"/>
                    <a:gd name="connsiteX48" fmla="*/ 4229172 w 6499257"/>
                    <a:gd name="connsiteY48" fmla="*/ 982297 h 3498714"/>
                    <a:gd name="connsiteX49" fmla="*/ 4546612 w 6499257"/>
                    <a:gd name="connsiteY49" fmla="*/ 1856643 h 3498714"/>
                    <a:gd name="connsiteX50" fmla="*/ 4936448 w 6499257"/>
                    <a:gd name="connsiteY50" fmla="*/ 2279217 h 3498714"/>
                    <a:gd name="connsiteX51" fmla="*/ 4802103 w 6499257"/>
                    <a:gd name="connsiteY51" fmla="*/ 2588456 h 3498714"/>
                    <a:gd name="connsiteX52" fmla="*/ 4904699 w 6499257"/>
                    <a:gd name="connsiteY52" fmla="*/ 2705462 h 3498714"/>
                    <a:gd name="connsiteX53" fmla="*/ 4904698 w 6499257"/>
                    <a:gd name="connsiteY53" fmla="*/ 2705462 h 3498714"/>
                    <a:gd name="connsiteX54" fmla="*/ 4784047 w 6499257"/>
                    <a:gd name="connsiteY54" fmla="*/ 2826113 h 3498714"/>
                    <a:gd name="connsiteX55" fmla="*/ 1970999 w 6499257"/>
                    <a:gd name="connsiteY55" fmla="*/ 2826112 h 3498714"/>
                    <a:gd name="connsiteX56" fmla="*/ 1850348 w 6499257"/>
                    <a:gd name="connsiteY56" fmla="*/ 2705462 h 3498714"/>
                    <a:gd name="connsiteX57" fmla="*/ 1956769 w 6499257"/>
                    <a:gd name="connsiteY57" fmla="*/ 2587684 h 3498714"/>
                    <a:gd name="connsiteX58" fmla="*/ 1823360 w 6499257"/>
                    <a:gd name="connsiteY58" fmla="*/ 2279217 h 3498714"/>
                    <a:gd name="connsiteX59" fmla="*/ 2217440 w 6499257"/>
                    <a:gd name="connsiteY59" fmla="*/ 1856216 h 3498714"/>
                    <a:gd name="connsiteX60" fmla="*/ 2534724 w 6499257"/>
                    <a:gd name="connsiteY60" fmla="*/ 982297 h 3498714"/>
                    <a:gd name="connsiteX61" fmla="*/ 358791 w 6499257"/>
                    <a:gd name="connsiteY61" fmla="*/ 644545 h 3498714"/>
                    <a:gd name="connsiteX62" fmla="*/ 1006774 w 6499257"/>
                    <a:gd name="connsiteY62" fmla="*/ 644545 h 3498714"/>
                    <a:gd name="connsiteX63" fmla="*/ 1542636 w 6499257"/>
                    <a:gd name="connsiteY63" fmla="*/ 1193969 h 3498714"/>
                    <a:gd name="connsiteX64" fmla="*/ 1929878 w 6499257"/>
                    <a:gd name="connsiteY64" fmla="*/ 1193970 h 3498714"/>
                    <a:gd name="connsiteX65" fmla="*/ 2070059 w 6499257"/>
                    <a:gd name="connsiteY65" fmla="*/ 1334152 h 3498714"/>
                    <a:gd name="connsiteX66" fmla="*/ 1929878 w 6499257"/>
                    <a:gd name="connsiteY66" fmla="*/ 1474333 h 3498714"/>
                    <a:gd name="connsiteX67" fmla="*/ 1520943 w 6499257"/>
                    <a:gd name="connsiteY67" fmla="*/ 1470388 h 3498714"/>
                    <a:gd name="connsiteX68" fmla="*/ 1332825 w 6499257"/>
                    <a:gd name="connsiteY68" fmla="*/ 1367201 h 3498714"/>
                    <a:gd name="connsiteX69" fmla="*/ 1106501 w 6499257"/>
                    <a:gd name="connsiteY69" fmla="*/ 1098289 h 3498714"/>
                    <a:gd name="connsiteX70" fmla="*/ 1101049 w 6499257"/>
                    <a:gd name="connsiteY70" fmla="*/ 1092836 h 3498714"/>
                    <a:gd name="connsiteX71" fmla="*/ 1046523 w 6499257"/>
                    <a:gd name="connsiteY71" fmla="*/ 1092836 h 3498714"/>
                    <a:gd name="connsiteX72" fmla="*/ 1041071 w 6499257"/>
                    <a:gd name="connsiteY72" fmla="*/ 1098289 h 3498714"/>
                    <a:gd name="connsiteX73" fmla="*/ 1042136 w 6499257"/>
                    <a:gd name="connsiteY73" fmla="*/ 1419754 h 3498714"/>
                    <a:gd name="connsiteX74" fmla="*/ 1042136 w 6499257"/>
                    <a:gd name="connsiteY74" fmla="*/ 3337652 h 3498714"/>
                    <a:gd name="connsiteX75" fmla="*/ 881075 w 6499257"/>
                    <a:gd name="connsiteY75" fmla="*/ 3498714 h 3498714"/>
                    <a:gd name="connsiteX76" fmla="*/ 720012 w 6499257"/>
                    <a:gd name="connsiteY76" fmla="*/ 3337652 h 3498714"/>
                    <a:gd name="connsiteX77" fmla="*/ 720012 w 6499257"/>
                    <a:gd name="connsiteY77" fmla="*/ 2125717 h 3498714"/>
                    <a:gd name="connsiteX78" fmla="*/ 718947 w 6499257"/>
                    <a:gd name="connsiteY78" fmla="*/ 2033194 h 3498714"/>
                    <a:gd name="connsiteX79" fmla="*/ 714162 w 6499257"/>
                    <a:gd name="connsiteY79" fmla="*/ 2028410 h 3498714"/>
                    <a:gd name="connsiteX80" fmla="*/ 654759 w 6499257"/>
                    <a:gd name="connsiteY80" fmla="*/ 2028410 h 3498714"/>
                    <a:gd name="connsiteX81" fmla="*/ 649974 w 6499257"/>
                    <a:gd name="connsiteY81" fmla="*/ 2033194 h 3498714"/>
                    <a:gd name="connsiteX82" fmla="*/ 649974 w 6499257"/>
                    <a:gd name="connsiteY82" fmla="*/ 2125717 h 3498714"/>
                    <a:gd name="connsiteX83" fmla="*/ 649574 w 6499257"/>
                    <a:gd name="connsiteY83" fmla="*/ 3337652 h 3498714"/>
                    <a:gd name="connsiteX84" fmla="*/ 488511 w 6499257"/>
                    <a:gd name="connsiteY84" fmla="*/ 3498714 h 3498714"/>
                    <a:gd name="connsiteX85" fmla="*/ 327450 w 6499257"/>
                    <a:gd name="connsiteY85" fmla="*/ 3337652 h 3498714"/>
                    <a:gd name="connsiteX86" fmla="*/ 327450 w 6499257"/>
                    <a:gd name="connsiteY86" fmla="*/ 1458216 h 3498714"/>
                    <a:gd name="connsiteX87" fmla="*/ 322427 w 6499257"/>
                    <a:gd name="connsiteY87" fmla="*/ 1098205 h 3498714"/>
                    <a:gd name="connsiteX88" fmla="*/ 317058 w 6499257"/>
                    <a:gd name="connsiteY88" fmla="*/ 1092836 h 3498714"/>
                    <a:gd name="connsiteX89" fmla="*/ 263371 w 6499257"/>
                    <a:gd name="connsiteY89" fmla="*/ 1092836 h 3498714"/>
                    <a:gd name="connsiteX90" fmla="*/ 258001 w 6499257"/>
                    <a:gd name="connsiteY90" fmla="*/ 1098205 h 3498714"/>
                    <a:gd name="connsiteX91" fmla="*/ 258001 w 6499257"/>
                    <a:gd name="connsiteY91" fmla="*/ 1444446 h 3498714"/>
                    <a:gd name="connsiteX92" fmla="*/ 257700 w 6499257"/>
                    <a:gd name="connsiteY92" fmla="*/ 1444370 h 3498714"/>
                    <a:gd name="connsiteX93" fmla="*/ 257700 w 6499257"/>
                    <a:gd name="connsiteY93" fmla="*/ 1912573 h 3498714"/>
                    <a:gd name="connsiteX94" fmla="*/ 128850 w 6499257"/>
                    <a:gd name="connsiteY94" fmla="*/ 2041423 h 3498714"/>
                    <a:gd name="connsiteX95" fmla="*/ 0 w 6499257"/>
                    <a:gd name="connsiteY95" fmla="*/ 1912573 h 3498714"/>
                    <a:gd name="connsiteX96" fmla="*/ 0 w 6499257"/>
                    <a:gd name="connsiteY96" fmla="*/ 1101802 h 3498714"/>
                    <a:gd name="connsiteX97" fmla="*/ 0 w 6499257"/>
                    <a:gd name="connsiteY97" fmla="*/ 1003338 h 3498714"/>
                    <a:gd name="connsiteX98" fmla="*/ 0 w 6499257"/>
                    <a:gd name="connsiteY98" fmla="*/ 982486 h 3498714"/>
                    <a:gd name="connsiteX99" fmla="*/ 12733 w 6499257"/>
                    <a:gd name="connsiteY99" fmla="*/ 894663 h 3498714"/>
                    <a:gd name="connsiteX100" fmla="*/ 20539 w 6499257"/>
                    <a:gd name="connsiteY100" fmla="*/ 868773 h 3498714"/>
                    <a:gd name="connsiteX101" fmla="*/ 358791 w 6499257"/>
                    <a:gd name="connsiteY101" fmla="*/ 644545 h 3498714"/>
                    <a:gd name="connsiteX102" fmla="*/ 682782 w 6499257"/>
                    <a:gd name="connsiteY102" fmla="*/ 0 h 3498714"/>
                    <a:gd name="connsiteX103" fmla="*/ 966919 w 6499257"/>
                    <a:gd name="connsiteY103" fmla="*/ 284138 h 3498714"/>
                    <a:gd name="connsiteX104" fmla="*/ 682782 w 6499257"/>
                    <a:gd name="connsiteY104" fmla="*/ 568275 h 3498714"/>
                    <a:gd name="connsiteX105" fmla="*/ 398645 w 6499257"/>
                    <a:gd name="connsiteY105" fmla="*/ 284138 h 3498714"/>
                    <a:gd name="connsiteX106" fmla="*/ 682782 w 6499257"/>
                    <a:gd name="connsiteY106" fmla="*/ 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3912296 w 6499257"/>
                    <a:gd name="connsiteY16" fmla="*/ 1749356 h 3498714"/>
                    <a:gd name="connsiteX17" fmla="*/ 4277738 w 6499257"/>
                    <a:gd name="connsiteY17" fmla="*/ 1922593 h 3498714"/>
                    <a:gd name="connsiteX18" fmla="*/ 4370569 w 6499257"/>
                    <a:gd name="connsiteY18" fmla="*/ 1877441 h 3498714"/>
                    <a:gd name="connsiteX19" fmla="*/ 4112835 w 6499257"/>
                    <a:gd name="connsiteY19" fmla="*/ 1167548 h 3498714"/>
                    <a:gd name="connsiteX20" fmla="*/ 2651061 w 6499257"/>
                    <a:gd name="connsiteY20" fmla="*/ 1167548 h 3498714"/>
                    <a:gd name="connsiteX21" fmla="*/ 2534724 w 6499257"/>
                    <a:gd name="connsiteY21" fmla="*/ 982297 h 3498714"/>
                    <a:gd name="connsiteX22" fmla="*/ 4229172 w 6499257"/>
                    <a:gd name="connsiteY22" fmla="*/ 982297 h 3498714"/>
                    <a:gd name="connsiteX23" fmla="*/ 4546612 w 6499257"/>
                    <a:gd name="connsiteY23" fmla="*/ 1856643 h 3498714"/>
                    <a:gd name="connsiteX24" fmla="*/ 4936448 w 6499257"/>
                    <a:gd name="connsiteY24" fmla="*/ 2279217 h 3498714"/>
                    <a:gd name="connsiteX25" fmla="*/ 4802103 w 6499257"/>
                    <a:gd name="connsiteY25" fmla="*/ 2588456 h 3498714"/>
                    <a:gd name="connsiteX26" fmla="*/ 4904699 w 6499257"/>
                    <a:gd name="connsiteY26" fmla="*/ 2705462 h 3498714"/>
                    <a:gd name="connsiteX27" fmla="*/ 4904698 w 6499257"/>
                    <a:gd name="connsiteY27" fmla="*/ 2705462 h 3498714"/>
                    <a:gd name="connsiteX28" fmla="*/ 4784047 w 6499257"/>
                    <a:gd name="connsiteY28" fmla="*/ 2826113 h 3498714"/>
                    <a:gd name="connsiteX29" fmla="*/ 1970999 w 6499257"/>
                    <a:gd name="connsiteY29" fmla="*/ 2826112 h 3498714"/>
                    <a:gd name="connsiteX30" fmla="*/ 1850348 w 6499257"/>
                    <a:gd name="connsiteY30" fmla="*/ 2705462 h 3498714"/>
                    <a:gd name="connsiteX31" fmla="*/ 1956769 w 6499257"/>
                    <a:gd name="connsiteY31" fmla="*/ 2587684 h 3498714"/>
                    <a:gd name="connsiteX32" fmla="*/ 1823360 w 6499257"/>
                    <a:gd name="connsiteY32" fmla="*/ 2279217 h 3498714"/>
                    <a:gd name="connsiteX33" fmla="*/ 2217440 w 6499257"/>
                    <a:gd name="connsiteY33" fmla="*/ 1856216 h 3498714"/>
                    <a:gd name="connsiteX34" fmla="*/ 2534724 w 6499257"/>
                    <a:gd name="connsiteY34" fmla="*/ 982297 h 3498714"/>
                    <a:gd name="connsiteX35" fmla="*/ 358791 w 6499257"/>
                    <a:gd name="connsiteY35" fmla="*/ 644545 h 3498714"/>
                    <a:gd name="connsiteX36" fmla="*/ 1006774 w 6499257"/>
                    <a:gd name="connsiteY36" fmla="*/ 644545 h 3498714"/>
                    <a:gd name="connsiteX37" fmla="*/ 1542636 w 6499257"/>
                    <a:gd name="connsiteY37" fmla="*/ 1193969 h 3498714"/>
                    <a:gd name="connsiteX38" fmla="*/ 1929878 w 6499257"/>
                    <a:gd name="connsiteY38" fmla="*/ 1193970 h 3498714"/>
                    <a:gd name="connsiteX39" fmla="*/ 2070059 w 6499257"/>
                    <a:gd name="connsiteY39" fmla="*/ 1334152 h 3498714"/>
                    <a:gd name="connsiteX40" fmla="*/ 1929878 w 6499257"/>
                    <a:gd name="connsiteY40" fmla="*/ 1474333 h 3498714"/>
                    <a:gd name="connsiteX41" fmla="*/ 1520943 w 6499257"/>
                    <a:gd name="connsiteY41" fmla="*/ 1470388 h 3498714"/>
                    <a:gd name="connsiteX42" fmla="*/ 1332825 w 6499257"/>
                    <a:gd name="connsiteY42" fmla="*/ 1367201 h 3498714"/>
                    <a:gd name="connsiteX43" fmla="*/ 1106501 w 6499257"/>
                    <a:gd name="connsiteY43" fmla="*/ 1098289 h 3498714"/>
                    <a:gd name="connsiteX44" fmla="*/ 1101049 w 6499257"/>
                    <a:gd name="connsiteY44" fmla="*/ 1092836 h 3498714"/>
                    <a:gd name="connsiteX45" fmla="*/ 1046523 w 6499257"/>
                    <a:gd name="connsiteY45" fmla="*/ 1092836 h 3498714"/>
                    <a:gd name="connsiteX46" fmla="*/ 1041071 w 6499257"/>
                    <a:gd name="connsiteY46" fmla="*/ 1098289 h 3498714"/>
                    <a:gd name="connsiteX47" fmla="*/ 1042136 w 6499257"/>
                    <a:gd name="connsiteY47" fmla="*/ 1419754 h 3498714"/>
                    <a:gd name="connsiteX48" fmla="*/ 1042136 w 6499257"/>
                    <a:gd name="connsiteY48" fmla="*/ 3337652 h 3498714"/>
                    <a:gd name="connsiteX49" fmla="*/ 881075 w 6499257"/>
                    <a:gd name="connsiteY49" fmla="*/ 3498714 h 3498714"/>
                    <a:gd name="connsiteX50" fmla="*/ 720012 w 6499257"/>
                    <a:gd name="connsiteY50" fmla="*/ 3337652 h 3498714"/>
                    <a:gd name="connsiteX51" fmla="*/ 720012 w 6499257"/>
                    <a:gd name="connsiteY51" fmla="*/ 2125717 h 3498714"/>
                    <a:gd name="connsiteX52" fmla="*/ 718947 w 6499257"/>
                    <a:gd name="connsiteY52" fmla="*/ 2033194 h 3498714"/>
                    <a:gd name="connsiteX53" fmla="*/ 714162 w 6499257"/>
                    <a:gd name="connsiteY53" fmla="*/ 2028410 h 3498714"/>
                    <a:gd name="connsiteX54" fmla="*/ 654759 w 6499257"/>
                    <a:gd name="connsiteY54" fmla="*/ 2028410 h 3498714"/>
                    <a:gd name="connsiteX55" fmla="*/ 649974 w 6499257"/>
                    <a:gd name="connsiteY55" fmla="*/ 2033194 h 3498714"/>
                    <a:gd name="connsiteX56" fmla="*/ 649974 w 6499257"/>
                    <a:gd name="connsiteY56" fmla="*/ 2125717 h 3498714"/>
                    <a:gd name="connsiteX57" fmla="*/ 649574 w 6499257"/>
                    <a:gd name="connsiteY57" fmla="*/ 3337652 h 3498714"/>
                    <a:gd name="connsiteX58" fmla="*/ 488511 w 6499257"/>
                    <a:gd name="connsiteY58" fmla="*/ 3498714 h 3498714"/>
                    <a:gd name="connsiteX59" fmla="*/ 327450 w 6499257"/>
                    <a:gd name="connsiteY59" fmla="*/ 3337652 h 3498714"/>
                    <a:gd name="connsiteX60" fmla="*/ 327450 w 6499257"/>
                    <a:gd name="connsiteY60" fmla="*/ 1458216 h 3498714"/>
                    <a:gd name="connsiteX61" fmla="*/ 322427 w 6499257"/>
                    <a:gd name="connsiteY61" fmla="*/ 1098205 h 3498714"/>
                    <a:gd name="connsiteX62" fmla="*/ 317058 w 6499257"/>
                    <a:gd name="connsiteY62" fmla="*/ 1092836 h 3498714"/>
                    <a:gd name="connsiteX63" fmla="*/ 263371 w 6499257"/>
                    <a:gd name="connsiteY63" fmla="*/ 1092836 h 3498714"/>
                    <a:gd name="connsiteX64" fmla="*/ 258001 w 6499257"/>
                    <a:gd name="connsiteY64" fmla="*/ 1098205 h 3498714"/>
                    <a:gd name="connsiteX65" fmla="*/ 258001 w 6499257"/>
                    <a:gd name="connsiteY65" fmla="*/ 1444446 h 3498714"/>
                    <a:gd name="connsiteX66" fmla="*/ 257700 w 6499257"/>
                    <a:gd name="connsiteY66" fmla="*/ 1444370 h 3498714"/>
                    <a:gd name="connsiteX67" fmla="*/ 257700 w 6499257"/>
                    <a:gd name="connsiteY67" fmla="*/ 1912573 h 3498714"/>
                    <a:gd name="connsiteX68" fmla="*/ 128850 w 6499257"/>
                    <a:gd name="connsiteY68" fmla="*/ 2041423 h 3498714"/>
                    <a:gd name="connsiteX69" fmla="*/ 0 w 6499257"/>
                    <a:gd name="connsiteY69" fmla="*/ 1912573 h 3498714"/>
                    <a:gd name="connsiteX70" fmla="*/ 0 w 6499257"/>
                    <a:gd name="connsiteY70" fmla="*/ 1101802 h 3498714"/>
                    <a:gd name="connsiteX71" fmla="*/ 0 w 6499257"/>
                    <a:gd name="connsiteY71" fmla="*/ 1003338 h 3498714"/>
                    <a:gd name="connsiteX72" fmla="*/ 0 w 6499257"/>
                    <a:gd name="connsiteY72" fmla="*/ 982486 h 3498714"/>
                    <a:gd name="connsiteX73" fmla="*/ 12733 w 6499257"/>
                    <a:gd name="connsiteY73" fmla="*/ 894663 h 3498714"/>
                    <a:gd name="connsiteX74" fmla="*/ 20539 w 6499257"/>
                    <a:gd name="connsiteY74" fmla="*/ 868773 h 3498714"/>
                    <a:gd name="connsiteX75" fmla="*/ 358791 w 6499257"/>
                    <a:gd name="connsiteY75" fmla="*/ 644545 h 3498714"/>
                    <a:gd name="connsiteX76" fmla="*/ 682782 w 6499257"/>
                    <a:gd name="connsiteY76" fmla="*/ 0 h 3498714"/>
                    <a:gd name="connsiteX77" fmla="*/ 966919 w 6499257"/>
                    <a:gd name="connsiteY77" fmla="*/ 284138 h 3498714"/>
                    <a:gd name="connsiteX78" fmla="*/ 682782 w 6499257"/>
                    <a:gd name="connsiteY78" fmla="*/ 568275 h 3498714"/>
                    <a:gd name="connsiteX79" fmla="*/ 398645 w 6499257"/>
                    <a:gd name="connsiteY79" fmla="*/ 284138 h 3498714"/>
                    <a:gd name="connsiteX80" fmla="*/ 682782 w 6499257"/>
                    <a:gd name="connsiteY80" fmla="*/ 0 h 3498714"/>
                    <a:gd name="connsiteX81" fmla="*/ 4707054 w 6499257"/>
                    <a:gd name="connsiteY81" fmla="*/ 2902312 h 3498714"/>
                    <a:gd name="connsiteX82" fmla="*/ 4818179 w 6499257"/>
                    <a:gd name="connsiteY82" fmla="*/ 3013437 h 3498714"/>
                    <a:gd name="connsiteX83" fmla="*/ 4707054 w 6499257"/>
                    <a:gd name="connsiteY83" fmla="*/ 3124562 h 3498714"/>
                    <a:gd name="connsiteX84" fmla="*/ 4545125 w 6499257"/>
                    <a:gd name="connsiteY84" fmla="*/ 3124562 h 3498714"/>
                    <a:gd name="connsiteX85" fmla="*/ 4545125 w 6499257"/>
                    <a:gd name="connsiteY85" fmla="*/ 3361625 h 3498714"/>
                    <a:gd name="connsiteX86" fmla="*/ 4436113 w 6499257"/>
                    <a:gd name="connsiteY86" fmla="*/ 3470637 h 3498714"/>
                    <a:gd name="connsiteX87" fmla="*/ 4235039 w 6499257"/>
                    <a:gd name="connsiteY87" fmla="*/ 3470637 h 3498714"/>
                    <a:gd name="connsiteX88" fmla="*/ 4126027 w 6499257"/>
                    <a:gd name="connsiteY88" fmla="*/ 3361625 h 3498714"/>
                    <a:gd name="connsiteX89" fmla="*/ 4126027 w 6499257"/>
                    <a:gd name="connsiteY89" fmla="*/ 3124562 h 3498714"/>
                    <a:gd name="connsiteX90" fmla="*/ 2589325 w 6499257"/>
                    <a:gd name="connsiteY90" fmla="*/ 3124562 h 3498714"/>
                    <a:gd name="connsiteX91" fmla="*/ 2589325 w 6499257"/>
                    <a:gd name="connsiteY91" fmla="*/ 3361625 h 3498714"/>
                    <a:gd name="connsiteX92" fmla="*/ 2480313 w 6499257"/>
                    <a:gd name="connsiteY92" fmla="*/ 3470637 h 3498714"/>
                    <a:gd name="connsiteX93" fmla="*/ 2279239 w 6499257"/>
                    <a:gd name="connsiteY93" fmla="*/ 3470637 h 3498714"/>
                    <a:gd name="connsiteX94" fmla="*/ 2170227 w 6499257"/>
                    <a:gd name="connsiteY94" fmla="*/ 3361625 h 3498714"/>
                    <a:gd name="connsiteX95" fmla="*/ 2170227 w 6499257"/>
                    <a:gd name="connsiteY95" fmla="*/ 3124562 h 3498714"/>
                    <a:gd name="connsiteX96" fmla="*/ 2052754 w 6499257"/>
                    <a:gd name="connsiteY96" fmla="*/ 3124562 h 3498714"/>
                    <a:gd name="connsiteX97" fmla="*/ 1941629 w 6499257"/>
                    <a:gd name="connsiteY97" fmla="*/ 3013437 h 3498714"/>
                    <a:gd name="connsiteX98" fmla="*/ 2052754 w 6499257"/>
                    <a:gd name="connsiteY98" fmla="*/ 2902312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370569 w 6499257"/>
                    <a:gd name="connsiteY17" fmla="*/ 1877441 h 3498714"/>
                    <a:gd name="connsiteX18" fmla="*/ 4112835 w 6499257"/>
                    <a:gd name="connsiteY18" fmla="*/ 1167548 h 3498714"/>
                    <a:gd name="connsiteX19" fmla="*/ 2651061 w 6499257"/>
                    <a:gd name="connsiteY19" fmla="*/ 1167548 h 3498714"/>
                    <a:gd name="connsiteX20" fmla="*/ 2534724 w 6499257"/>
                    <a:gd name="connsiteY20" fmla="*/ 982297 h 3498714"/>
                    <a:gd name="connsiteX21" fmla="*/ 4229172 w 6499257"/>
                    <a:gd name="connsiteY21" fmla="*/ 982297 h 3498714"/>
                    <a:gd name="connsiteX22" fmla="*/ 4546612 w 6499257"/>
                    <a:gd name="connsiteY22" fmla="*/ 1856643 h 3498714"/>
                    <a:gd name="connsiteX23" fmla="*/ 4936448 w 6499257"/>
                    <a:gd name="connsiteY23" fmla="*/ 2279217 h 3498714"/>
                    <a:gd name="connsiteX24" fmla="*/ 4802103 w 6499257"/>
                    <a:gd name="connsiteY24" fmla="*/ 2588456 h 3498714"/>
                    <a:gd name="connsiteX25" fmla="*/ 4904699 w 6499257"/>
                    <a:gd name="connsiteY25" fmla="*/ 2705462 h 3498714"/>
                    <a:gd name="connsiteX26" fmla="*/ 4904698 w 6499257"/>
                    <a:gd name="connsiteY26" fmla="*/ 2705462 h 3498714"/>
                    <a:gd name="connsiteX27" fmla="*/ 4784047 w 6499257"/>
                    <a:gd name="connsiteY27" fmla="*/ 2826113 h 3498714"/>
                    <a:gd name="connsiteX28" fmla="*/ 1970999 w 6499257"/>
                    <a:gd name="connsiteY28" fmla="*/ 2826112 h 3498714"/>
                    <a:gd name="connsiteX29" fmla="*/ 1850348 w 6499257"/>
                    <a:gd name="connsiteY29" fmla="*/ 2705462 h 3498714"/>
                    <a:gd name="connsiteX30" fmla="*/ 1956769 w 6499257"/>
                    <a:gd name="connsiteY30" fmla="*/ 2587684 h 3498714"/>
                    <a:gd name="connsiteX31" fmla="*/ 1823360 w 6499257"/>
                    <a:gd name="connsiteY31" fmla="*/ 2279217 h 3498714"/>
                    <a:gd name="connsiteX32" fmla="*/ 2217440 w 6499257"/>
                    <a:gd name="connsiteY32" fmla="*/ 1856216 h 3498714"/>
                    <a:gd name="connsiteX33" fmla="*/ 2534724 w 6499257"/>
                    <a:gd name="connsiteY33" fmla="*/ 982297 h 3498714"/>
                    <a:gd name="connsiteX34" fmla="*/ 358791 w 6499257"/>
                    <a:gd name="connsiteY34" fmla="*/ 644545 h 3498714"/>
                    <a:gd name="connsiteX35" fmla="*/ 1006774 w 6499257"/>
                    <a:gd name="connsiteY35" fmla="*/ 644545 h 3498714"/>
                    <a:gd name="connsiteX36" fmla="*/ 1542636 w 6499257"/>
                    <a:gd name="connsiteY36" fmla="*/ 1193969 h 3498714"/>
                    <a:gd name="connsiteX37" fmla="*/ 1929878 w 6499257"/>
                    <a:gd name="connsiteY37" fmla="*/ 1193970 h 3498714"/>
                    <a:gd name="connsiteX38" fmla="*/ 2070059 w 6499257"/>
                    <a:gd name="connsiteY38" fmla="*/ 1334152 h 3498714"/>
                    <a:gd name="connsiteX39" fmla="*/ 1929878 w 6499257"/>
                    <a:gd name="connsiteY39" fmla="*/ 1474333 h 3498714"/>
                    <a:gd name="connsiteX40" fmla="*/ 1520943 w 6499257"/>
                    <a:gd name="connsiteY40" fmla="*/ 1470388 h 3498714"/>
                    <a:gd name="connsiteX41" fmla="*/ 1332825 w 6499257"/>
                    <a:gd name="connsiteY41" fmla="*/ 1367201 h 3498714"/>
                    <a:gd name="connsiteX42" fmla="*/ 1106501 w 6499257"/>
                    <a:gd name="connsiteY42" fmla="*/ 1098289 h 3498714"/>
                    <a:gd name="connsiteX43" fmla="*/ 1101049 w 6499257"/>
                    <a:gd name="connsiteY43" fmla="*/ 1092836 h 3498714"/>
                    <a:gd name="connsiteX44" fmla="*/ 1046523 w 6499257"/>
                    <a:gd name="connsiteY44" fmla="*/ 1092836 h 3498714"/>
                    <a:gd name="connsiteX45" fmla="*/ 1041071 w 6499257"/>
                    <a:gd name="connsiteY45" fmla="*/ 1098289 h 3498714"/>
                    <a:gd name="connsiteX46" fmla="*/ 1042136 w 6499257"/>
                    <a:gd name="connsiteY46" fmla="*/ 1419754 h 3498714"/>
                    <a:gd name="connsiteX47" fmla="*/ 1042136 w 6499257"/>
                    <a:gd name="connsiteY47" fmla="*/ 3337652 h 3498714"/>
                    <a:gd name="connsiteX48" fmla="*/ 881075 w 6499257"/>
                    <a:gd name="connsiteY48" fmla="*/ 3498714 h 3498714"/>
                    <a:gd name="connsiteX49" fmla="*/ 720012 w 6499257"/>
                    <a:gd name="connsiteY49" fmla="*/ 3337652 h 3498714"/>
                    <a:gd name="connsiteX50" fmla="*/ 720012 w 6499257"/>
                    <a:gd name="connsiteY50" fmla="*/ 2125717 h 3498714"/>
                    <a:gd name="connsiteX51" fmla="*/ 718947 w 6499257"/>
                    <a:gd name="connsiteY51" fmla="*/ 2033194 h 3498714"/>
                    <a:gd name="connsiteX52" fmla="*/ 714162 w 6499257"/>
                    <a:gd name="connsiteY52" fmla="*/ 2028410 h 3498714"/>
                    <a:gd name="connsiteX53" fmla="*/ 654759 w 6499257"/>
                    <a:gd name="connsiteY53" fmla="*/ 2028410 h 3498714"/>
                    <a:gd name="connsiteX54" fmla="*/ 649974 w 6499257"/>
                    <a:gd name="connsiteY54" fmla="*/ 2033194 h 3498714"/>
                    <a:gd name="connsiteX55" fmla="*/ 649974 w 6499257"/>
                    <a:gd name="connsiteY55" fmla="*/ 2125717 h 3498714"/>
                    <a:gd name="connsiteX56" fmla="*/ 649574 w 6499257"/>
                    <a:gd name="connsiteY56" fmla="*/ 3337652 h 3498714"/>
                    <a:gd name="connsiteX57" fmla="*/ 488511 w 6499257"/>
                    <a:gd name="connsiteY57" fmla="*/ 3498714 h 3498714"/>
                    <a:gd name="connsiteX58" fmla="*/ 327450 w 6499257"/>
                    <a:gd name="connsiteY58" fmla="*/ 3337652 h 3498714"/>
                    <a:gd name="connsiteX59" fmla="*/ 327450 w 6499257"/>
                    <a:gd name="connsiteY59" fmla="*/ 1458216 h 3498714"/>
                    <a:gd name="connsiteX60" fmla="*/ 322427 w 6499257"/>
                    <a:gd name="connsiteY60" fmla="*/ 1098205 h 3498714"/>
                    <a:gd name="connsiteX61" fmla="*/ 317058 w 6499257"/>
                    <a:gd name="connsiteY61" fmla="*/ 1092836 h 3498714"/>
                    <a:gd name="connsiteX62" fmla="*/ 263371 w 6499257"/>
                    <a:gd name="connsiteY62" fmla="*/ 1092836 h 3498714"/>
                    <a:gd name="connsiteX63" fmla="*/ 258001 w 6499257"/>
                    <a:gd name="connsiteY63" fmla="*/ 1098205 h 3498714"/>
                    <a:gd name="connsiteX64" fmla="*/ 258001 w 6499257"/>
                    <a:gd name="connsiteY64" fmla="*/ 1444446 h 3498714"/>
                    <a:gd name="connsiteX65" fmla="*/ 257700 w 6499257"/>
                    <a:gd name="connsiteY65" fmla="*/ 1444370 h 3498714"/>
                    <a:gd name="connsiteX66" fmla="*/ 257700 w 6499257"/>
                    <a:gd name="connsiteY66" fmla="*/ 1912573 h 3498714"/>
                    <a:gd name="connsiteX67" fmla="*/ 128850 w 6499257"/>
                    <a:gd name="connsiteY67" fmla="*/ 2041423 h 3498714"/>
                    <a:gd name="connsiteX68" fmla="*/ 0 w 6499257"/>
                    <a:gd name="connsiteY68" fmla="*/ 1912573 h 3498714"/>
                    <a:gd name="connsiteX69" fmla="*/ 0 w 6499257"/>
                    <a:gd name="connsiteY69" fmla="*/ 1101802 h 3498714"/>
                    <a:gd name="connsiteX70" fmla="*/ 0 w 6499257"/>
                    <a:gd name="connsiteY70" fmla="*/ 1003338 h 3498714"/>
                    <a:gd name="connsiteX71" fmla="*/ 0 w 6499257"/>
                    <a:gd name="connsiteY71" fmla="*/ 982486 h 3498714"/>
                    <a:gd name="connsiteX72" fmla="*/ 12733 w 6499257"/>
                    <a:gd name="connsiteY72" fmla="*/ 894663 h 3498714"/>
                    <a:gd name="connsiteX73" fmla="*/ 20539 w 6499257"/>
                    <a:gd name="connsiteY73" fmla="*/ 868773 h 3498714"/>
                    <a:gd name="connsiteX74" fmla="*/ 358791 w 6499257"/>
                    <a:gd name="connsiteY74" fmla="*/ 644545 h 3498714"/>
                    <a:gd name="connsiteX75" fmla="*/ 682782 w 6499257"/>
                    <a:gd name="connsiteY75" fmla="*/ 0 h 3498714"/>
                    <a:gd name="connsiteX76" fmla="*/ 966919 w 6499257"/>
                    <a:gd name="connsiteY76" fmla="*/ 284138 h 3498714"/>
                    <a:gd name="connsiteX77" fmla="*/ 682782 w 6499257"/>
                    <a:gd name="connsiteY77" fmla="*/ 568275 h 3498714"/>
                    <a:gd name="connsiteX78" fmla="*/ 398645 w 6499257"/>
                    <a:gd name="connsiteY78" fmla="*/ 284138 h 3498714"/>
                    <a:gd name="connsiteX79" fmla="*/ 682782 w 6499257"/>
                    <a:gd name="connsiteY79" fmla="*/ 0 h 3498714"/>
                    <a:gd name="connsiteX80" fmla="*/ 4707054 w 6499257"/>
                    <a:gd name="connsiteY80" fmla="*/ 2902312 h 3498714"/>
                    <a:gd name="connsiteX81" fmla="*/ 4818179 w 6499257"/>
                    <a:gd name="connsiteY81" fmla="*/ 3013437 h 3498714"/>
                    <a:gd name="connsiteX82" fmla="*/ 4707054 w 6499257"/>
                    <a:gd name="connsiteY82" fmla="*/ 3124562 h 3498714"/>
                    <a:gd name="connsiteX83" fmla="*/ 4545125 w 6499257"/>
                    <a:gd name="connsiteY83" fmla="*/ 3124562 h 3498714"/>
                    <a:gd name="connsiteX84" fmla="*/ 4545125 w 6499257"/>
                    <a:gd name="connsiteY84" fmla="*/ 3361625 h 3498714"/>
                    <a:gd name="connsiteX85" fmla="*/ 4436113 w 6499257"/>
                    <a:gd name="connsiteY85" fmla="*/ 3470637 h 3498714"/>
                    <a:gd name="connsiteX86" fmla="*/ 4235039 w 6499257"/>
                    <a:gd name="connsiteY86" fmla="*/ 3470637 h 3498714"/>
                    <a:gd name="connsiteX87" fmla="*/ 4126027 w 6499257"/>
                    <a:gd name="connsiteY87" fmla="*/ 3361625 h 3498714"/>
                    <a:gd name="connsiteX88" fmla="*/ 4126027 w 6499257"/>
                    <a:gd name="connsiteY88" fmla="*/ 3124562 h 3498714"/>
                    <a:gd name="connsiteX89" fmla="*/ 2589325 w 6499257"/>
                    <a:gd name="connsiteY89" fmla="*/ 3124562 h 3498714"/>
                    <a:gd name="connsiteX90" fmla="*/ 2589325 w 6499257"/>
                    <a:gd name="connsiteY90" fmla="*/ 3361625 h 3498714"/>
                    <a:gd name="connsiteX91" fmla="*/ 2480313 w 6499257"/>
                    <a:gd name="connsiteY91" fmla="*/ 3470637 h 3498714"/>
                    <a:gd name="connsiteX92" fmla="*/ 2279239 w 6499257"/>
                    <a:gd name="connsiteY92" fmla="*/ 3470637 h 3498714"/>
                    <a:gd name="connsiteX93" fmla="*/ 2170227 w 6499257"/>
                    <a:gd name="connsiteY93" fmla="*/ 3361625 h 3498714"/>
                    <a:gd name="connsiteX94" fmla="*/ 2170227 w 6499257"/>
                    <a:gd name="connsiteY94" fmla="*/ 3124562 h 3498714"/>
                    <a:gd name="connsiteX95" fmla="*/ 2052754 w 6499257"/>
                    <a:gd name="connsiteY95" fmla="*/ 3124562 h 3498714"/>
                    <a:gd name="connsiteX96" fmla="*/ 1941629 w 6499257"/>
                    <a:gd name="connsiteY96" fmla="*/ 3013437 h 3498714"/>
                    <a:gd name="connsiteX97" fmla="*/ 2052754 w 6499257"/>
                    <a:gd name="connsiteY97" fmla="*/ 2902312 h 3498714"/>
                    <a:gd name="connsiteX98" fmla="*/ 682782 w 6499257"/>
                    <a:gd name="connsiteY98" fmla="*/ 0 h 3498714"/>
                    <a:gd name="connsiteX99" fmla="*/ 4492583 w 6499257"/>
                    <a:gd name="connsiteY99" fmla="*/ 2089512 h 3498714"/>
                    <a:gd name="connsiteX100" fmla="*/ 4311608 w 6499257"/>
                    <a:gd name="connsiteY100" fmla="*/ 2270487 h 3498714"/>
                    <a:gd name="connsiteX101" fmla="*/ 4492583 w 6499257"/>
                    <a:gd name="connsiteY101" fmla="*/ 2451462 h 3498714"/>
                    <a:gd name="connsiteX102" fmla="*/ 5407618 w 6499257"/>
                    <a:gd name="connsiteY102" fmla="*/ 2468742 h 3498714"/>
                    <a:gd name="connsiteX103" fmla="*/ 6498753 w 6499257"/>
                    <a:gd name="connsiteY103" fmla="*/ 2404799 h 3498714"/>
                    <a:gd name="connsiteX104" fmla="*/ 5388995 w 6499257"/>
                    <a:gd name="connsiteY104"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277738 w 6499257"/>
                    <a:gd name="connsiteY16" fmla="*/ 1922593 h 3498714"/>
                    <a:gd name="connsiteX17" fmla="*/ 4112835 w 6499257"/>
                    <a:gd name="connsiteY17" fmla="*/ 1167548 h 3498714"/>
                    <a:gd name="connsiteX18" fmla="*/ 2651061 w 6499257"/>
                    <a:gd name="connsiteY18" fmla="*/ 1167548 h 3498714"/>
                    <a:gd name="connsiteX19" fmla="*/ 2534724 w 6499257"/>
                    <a:gd name="connsiteY19" fmla="*/ 982297 h 3498714"/>
                    <a:gd name="connsiteX20" fmla="*/ 4229172 w 6499257"/>
                    <a:gd name="connsiteY20" fmla="*/ 982297 h 3498714"/>
                    <a:gd name="connsiteX21" fmla="*/ 4546612 w 6499257"/>
                    <a:gd name="connsiteY21" fmla="*/ 1856643 h 3498714"/>
                    <a:gd name="connsiteX22" fmla="*/ 4936448 w 6499257"/>
                    <a:gd name="connsiteY22" fmla="*/ 2279217 h 3498714"/>
                    <a:gd name="connsiteX23" fmla="*/ 4802103 w 6499257"/>
                    <a:gd name="connsiteY23" fmla="*/ 2588456 h 3498714"/>
                    <a:gd name="connsiteX24" fmla="*/ 4904699 w 6499257"/>
                    <a:gd name="connsiteY24" fmla="*/ 2705462 h 3498714"/>
                    <a:gd name="connsiteX25" fmla="*/ 4904698 w 6499257"/>
                    <a:gd name="connsiteY25" fmla="*/ 2705462 h 3498714"/>
                    <a:gd name="connsiteX26" fmla="*/ 4784047 w 6499257"/>
                    <a:gd name="connsiteY26" fmla="*/ 2826113 h 3498714"/>
                    <a:gd name="connsiteX27" fmla="*/ 1970999 w 6499257"/>
                    <a:gd name="connsiteY27" fmla="*/ 2826112 h 3498714"/>
                    <a:gd name="connsiteX28" fmla="*/ 1850348 w 6499257"/>
                    <a:gd name="connsiteY28" fmla="*/ 2705462 h 3498714"/>
                    <a:gd name="connsiteX29" fmla="*/ 1956769 w 6499257"/>
                    <a:gd name="connsiteY29" fmla="*/ 2587684 h 3498714"/>
                    <a:gd name="connsiteX30" fmla="*/ 1823360 w 6499257"/>
                    <a:gd name="connsiteY30" fmla="*/ 2279217 h 3498714"/>
                    <a:gd name="connsiteX31" fmla="*/ 2217440 w 6499257"/>
                    <a:gd name="connsiteY31" fmla="*/ 1856216 h 3498714"/>
                    <a:gd name="connsiteX32" fmla="*/ 2534724 w 6499257"/>
                    <a:gd name="connsiteY32" fmla="*/ 982297 h 3498714"/>
                    <a:gd name="connsiteX33" fmla="*/ 358791 w 6499257"/>
                    <a:gd name="connsiteY33" fmla="*/ 644545 h 3498714"/>
                    <a:gd name="connsiteX34" fmla="*/ 1006774 w 6499257"/>
                    <a:gd name="connsiteY34" fmla="*/ 644545 h 3498714"/>
                    <a:gd name="connsiteX35" fmla="*/ 1542636 w 6499257"/>
                    <a:gd name="connsiteY35" fmla="*/ 1193969 h 3498714"/>
                    <a:gd name="connsiteX36" fmla="*/ 1929878 w 6499257"/>
                    <a:gd name="connsiteY36" fmla="*/ 1193970 h 3498714"/>
                    <a:gd name="connsiteX37" fmla="*/ 2070059 w 6499257"/>
                    <a:gd name="connsiteY37" fmla="*/ 1334152 h 3498714"/>
                    <a:gd name="connsiteX38" fmla="*/ 1929878 w 6499257"/>
                    <a:gd name="connsiteY38" fmla="*/ 1474333 h 3498714"/>
                    <a:gd name="connsiteX39" fmla="*/ 1520943 w 6499257"/>
                    <a:gd name="connsiteY39" fmla="*/ 1470388 h 3498714"/>
                    <a:gd name="connsiteX40" fmla="*/ 1332825 w 6499257"/>
                    <a:gd name="connsiteY40" fmla="*/ 1367201 h 3498714"/>
                    <a:gd name="connsiteX41" fmla="*/ 1106501 w 6499257"/>
                    <a:gd name="connsiteY41" fmla="*/ 1098289 h 3498714"/>
                    <a:gd name="connsiteX42" fmla="*/ 1101049 w 6499257"/>
                    <a:gd name="connsiteY42" fmla="*/ 1092836 h 3498714"/>
                    <a:gd name="connsiteX43" fmla="*/ 1046523 w 6499257"/>
                    <a:gd name="connsiteY43" fmla="*/ 1092836 h 3498714"/>
                    <a:gd name="connsiteX44" fmla="*/ 1041071 w 6499257"/>
                    <a:gd name="connsiteY44" fmla="*/ 1098289 h 3498714"/>
                    <a:gd name="connsiteX45" fmla="*/ 1042136 w 6499257"/>
                    <a:gd name="connsiteY45" fmla="*/ 1419754 h 3498714"/>
                    <a:gd name="connsiteX46" fmla="*/ 1042136 w 6499257"/>
                    <a:gd name="connsiteY46" fmla="*/ 3337652 h 3498714"/>
                    <a:gd name="connsiteX47" fmla="*/ 881075 w 6499257"/>
                    <a:gd name="connsiteY47" fmla="*/ 3498714 h 3498714"/>
                    <a:gd name="connsiteX48" fmla="*/ 720012 w 6499257"/>
                    <a:gd name="connsiteY48" fmla="*/ 3337652 h 3498714"/>
                    <a:gd name="connsiteX49" fmla="*/ 720012 w 6499257"/>
                    <a:gd name="connsiteY49" fmla="*/ 2125717 h 3498714"/>
                    <a:gd name="connsiteX50" fmla="*/ 718947 w 6499257"/>
                    <a:gd name="connsiteY50" fmla="*/ 2033194 h 3498714"/>
                    <a:gd name="connsiteX51" fmla="*/ 714162 w 6499257"/>
                    <a:gd name="connsiteY51" fmla="*/ 2028410 h 3498714"/>
                    <a:gd name="connsiteX52" fmla="*/ 654759 w 6499257"/>
                    <a:gd name="connsiteY52" fmla="*/ 2028410 h 3498714"/>
                    <a:gd name="connsiteX53" fmla="*/ 649974 w 6499257"/>
                    <a:gd name="connsiteY53" fmla="*/ 2033194 h 3498714"/>
                    <a:gd name="connsiteX54" fmla="*/ 649974 w 6499257"/>
                    <a:gd name="connsiteY54" fmla="*/ 2125717 h 3498714"/>
                    <a:gd name="connsiteX55" fmla="*/ 649574 w 6499257"/>
                    <a:gd name="connsiteY55" fmla="*/ 3337652 h 3498714"/>
                    <a:gd name="connsiteX56" fmla="*/ 488511 w 6499257"/>
                    <a:gd name="connsiteY56" fmla="*/ 3498714 h 3498714"/>
                    <a:gd name="connsiteX57" fmla="*/ 327450 w 6499257"/>
                    <a:gd name="connsiteY57" fmla="*/ 3337652 h 3498714"/>
                    <a:gd name="connsiteX58" fmla="*/ 327450 w 6499257"/>
                    <a:gd name="connsiteY58" fmla="*/ 1458216 h 3498714"/>
                    <a:gd name="connsiteX59" fmla="*/ 322427 w 6499257"/>
                    <a:gd name="connsiteY59" fmla="*/ 1098205 h 3498714"/>
                    <a:gd name="connsiteX60" fmla="*/ 317058 w 6499257"/>
                    <a:gd name="connsiteY60" fmla="*/ 1092836 h 3498714"/>
                    <a:gd name="connsiteX61" fmla="*/ 263371 w 6499257"/>
                    <a:gd name="connsiteY61" fmla="*/ 1092836 h 3498714"/>
                    <a:gd name="connsiteX62" fmla="*/ 258001 w 6499257"/>
                    <a:gd name="connsiteY62" fmla="*/ 1098205 h 3498714"/>
                    <a:gd name="connsiteX63" fmla="*/ 258001 w 6499257"/>
                    <a:gd name="connsiteY63" fmla="*/ 1444446 h 3498714"/>
                    <a:gd name="connsiteX64" fmla="*/ 257700 w 6499257"/>
                    <a:gd name="connsiteY64" fmla="*/ 1444370 h 3498714"/>
                    <a:gd name="connsiteX65" fmla="*/ 257700 w 6499257"/>
                    <a:gd name="connsiteY65" fmla="*/ 1912573 h 3498714"/>
                    <a:gd name="connsiteX66" fmla="*/ 128850 w 6499257"/>
                    <a:gd name="connsiteY66" fmla="*/ 2041423 h 3498714"/>
                    <a:gd name="connsiteX67" fmla="*/ 0 w 6499257"/>
                    <a:gd name="connsiteY67" fmla="*/ 1912573 h 3498714"/>
                    <a:gd name="connsiteX68" fmla="*/ 0 w 6499257"/>
                    <a:gd name="connsiteY68" fmla="*/ 1101802 h 3498714"/>
                    <a:gd name="connsiteX69" fmla="*/ 0 w 6499257"/>
                    <a:gd name="connsiteY69" fmla="*/ 1003338 h 3498714"/>
                    <a:gd name="connsiteX70" fmla="*/ 0 w 6499257"/>
                    <a:gd name="connsiteY70" fmla="*/ 982486 h 3498714"/>
                    <a:gd name="connsiteX71" fmla="*/ 12733 w 6499257"/>
                    <a:gd name="connsiteY71" fmla="*/ 894663 h 3498714"/>
                    <a:gd name="connsiteX72" fmla="*/ 20539 w 6499257"/>
                    <a:gd name="connsiteY72" fmla="*/ 868773 h 3498714"/>
                    <a:gd name="connsiteX73" fmla="*/ 358791 w 6499257"/>
                    <a:gd name="connsiteY73" fmla="*/ 644545 h 3498714"/>
                    <a:gd name="connsiteX74" fmla="*/ 682782 w 6499257"/>
                    <a:gd name="connsiteY74" fmla="*/ 0 h 3498714"/>
                    <a:gd name="connsiteX75" fmla="*/ 966919 w 6499257"/>
                    <a:gd name="connsiteY75" fmla="*/ 284138 h 3498714"/>
                    <a:gd name="connsiteX76" fmla="*/ 682782 w 6499257"/>
                    <a:gd name="connsiteY76" fmla="*/ 568275 h 3498714"/>
                    <a:gd name="connsiteX77" fmla="*/ 398645 w 6499257"/>
                    <a:gd name="connsiteY77" fmla="*/ 284138 h 3498714"/>
                    <a:gd name="connsiteX78" fmla="*/ 682782 w 6499257"/>
                    <a:gd name="connsiteY78" fmla="*/ 0 h 3498714"/>
                    <a:gd name="connsiteX79" fmla="*/ 4707054 w 6499257"/>
                    <a:gd name="connsiteY79" fmla="*/ 2902312 h 3498714"/>
                    <a:gd name="connsiteX80" fmla="*/ 4818179 w 6499257"/>
                    <a:gd name="connsiteY80" fmla="*/ 3013437 h 3498714"/>
                    <a:gd name="connsiteX81" fmla="*/ 4707054 w 6499257"/>
                    <a:gd name="connsiteY81" fmla="*/ 3124562 h 3498714"/>
                    <a:gd name="connsiteX82" fmla="*/ 4545125 w 6499257"/>
                    <a:gd name="connsiteY82" fmla="*/ 3124562 h 3498714"/>
                    <a:gd name="connsiteX83" fmla="*/ 4545125 w 6499257"/>
                    <a:gd name="connsiteY83" fmla="*/ 3361625 h 3498714"/>
                    <a:gd name="connsiteX84" fmla="*/ 4436113 w 6499257"/>
                    <a:gd name="connsiteY84" fmla="*/ 3470637 h 3498714"/>
                    <a:gd name="connsiteX85" fmla="*/ 4235039 w 6499257"/>
                    <a:gd name="connsiteY85" fmla="*/ 3470637 h 3498714"/>
                    <a:gd name="connsiteX86" fmla="*/ 4126027 w 6499257"/>
                    <a:gd name="connsiteY86" fmla="*/ 3361625 h 3498714"/>
                    <a:gd name="connsiteX87" fmla="*/ 4126027 w 6499257"/>
                    <a:gd name="connsiteY87" fmla="*/ 3124562 h 3498714"/>
                    <a:gd name="connsiteX88" fmla="*/ 2589325 w 6499257"/>
                    <a:gd name="connsiteY88" fmla="*/ 3124562 h 3498714"/>
                    <a:gd name="connsiteX89" fmla="*/ 2589325 w 6499257"/>
                    <a:gd name="connsiteY89" fmla="*/ 3361625 h 3498714"/>
                    <a:gd name="connsiteX90" fmla="*/ 2480313 w 6499257"/>
                    <a:gd name="connsiteY90" fmla="*/ 3470637 h 3498714"/>
                    <a:gd name="connsiteX91" fmla="*/ 2279239 w 6499257"/>
                    <a:gd name="connsiteY91" fmla="*/ 3470637 h 3498714"/>
                    <a:gd name="connsiteX92" fmla="*/ 2170227 w 6499257"/>
                    <a:gd name="connsiteY92" fmla="*/ 3361625 h 3498714"/>
                    <a:gd name="connsiteX93" fmla="*/ 2170227 w 6499257"/>
                    <a:gd name="connsiteY93" fmla="*/ 3124562 h 3498714"/>
                    <a:gd name="connsiteX94" fmla="*/ 2052754 w 6499257"/>
                    <a:gd name="connsiteY94" fmla="*/ 3124562 h 3498714"/>
                    <a:gd name="connsiteX95" fmla="*/ 1941629 w 6499257"/>
                    <a:gd name="connsiteY95" fmla="*/ 3013437 h 3498714"/>
                    <a:gd name="connsiteX96" fmla="*/ 2052754 w 6499257"/>
                    <a:gd name="connsiteY96" fmla="*/ 2902312 h 3498714"/>
                    <a:gd name="connsiteX97" fmla="*/ 682782 w 6499257"/>
                    <a:gd name="connsiteY97" fmla="*/ 0 h 3498714"/>
                    <a:gd name="connsiteX98" fmla="*/ 4492583 w 6499257"/>
                    <a:gd name="connsiteY98" fmla="*/ 2089512 h 3498714"/>
                    <a:gd name="connsiteX99" fmla="*/ 4311608 w 6499257"/>
                    <a:gd name="connsiteY99" fmla="*/ 2270487 h 3498714"/>
                    <a:gd name="connsiteX100" fmla="*/ 4492583 w 6499257"/>
                    <a:gd name="connsiteY100" fmla="*/ 2451462 h 3498714"/>
                    <a:gd name="connsiteX101" fmla="*/ 5407618 w 6499257"/>
                    <a:gd name="connsiteY101" fmla="*/ 2468742 h 3498714"/>
                    <a:gd name="connsiteX102" fmla="*/ 6498753 w 6499257"/>
                    <a:gd name="connsiteY102" fmla="*/ 2404799 h 3498714"/>
                    <a:gd name="connsiteX103" fmla="*/ 5388995 w 6499257"/>
                    <a:gd name="connsiteY103"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4112835 w 6499257"/>
                    <a:gd name="connsiteY16" fmla="*/ 1167548 h 3498714"/>
                    <a:gd name="connsiteX17" fmla="*/ 2651061 w 6499257"/>
                    <a:gd name="connsiteY17" fmla="*/ 1167548 h 3498714"/>
                    <a:gd name="connsiteX18" fmla="*/ 2534724 w 6499257"/>
                    <a:gd name="connsiteY18" fmla="*/ 982297 h 3498714"/>
                    <a:gd name="connsiteX19" fmla="*/ 4229172 w 6499257"/>
                    <a:gd name="connsiteY19" fmla="*/ 982297 h 3498714"/>
                    <a:gd name="connsiteX20" fmla="*/ 4546612 w 6499257"/>
                    <a:gd name="connsiteY20" fmla="*/ 1856643 h 3498714"/>
                    <a:gd name="connsiteX21" fmla="*/ 4936448 w 6499257"/>
                    <a:gd name="connsiteY21" fmla="*/ 2279217 h 3498714"/>
                    <a:gd name="connsiteX22" fmla="*/ 4802103 w 6499257"/>
                    <a:gd name="connsiteY22" fmla="*/ 2588456 h 3498714"/>
                    <a:gd name="connsiteX23" fmla="*/ 4904699 w 6499257"/>
                    <a:gd name="connsiteY23" fmla="*/ 2705462 h 3498714"/>
                    <a:gd name="connsiteX24" fmla="*/ 4904698 w 6499257"/>
                    <a:gd name="connsiteY24" fmla="*/ 2705462 h 3498714"/>
                    <a:gd name="connsiteX25" fmla="*/ 4784047 w 6499257"/>
                    <a:gd name="connsiteY25" fmla="*/ 2826113 h 3498714"/>
                    <a:gd name="connsiteX26" fmla="*/ 1970999 w 6499257"/>
                    <a:gd name="connsiteY26" fmla="*/ 2826112 h 3498714"/>
                    <a:gd name="connsiteX27" fmla="*/ 1850348 w 6499257"/>
                    <a:gd name="connsiteY27" fmla="*/ 2705462 h 3498714"/>
                    <a:gd name="connsiteX28" fmla="*/ 1956769 w 6499257"/>
                    <a:gd name="connsiteY28" fmla="*/ 2587684 h 3498714"/>
                    <a:gd name="connsiteX29" fmla="*/ 1823360 w 6499257"/>
                    <a:gd name="connsiteY29" fmla="*/ 2279217 h 3498714"/>
                    <a:gd name="connsiteX30" fmla="*/ 2217440 w 6499257"/>
                    <a:gd name="connsiteY30" fmla="*/ 1856216 h 3498714"/>
                    <a:gd name="connsiteX31" fmla="*/ 2534724 w 6499257"/>
                    <a:gd name="connsiteY31" fmla="*/ 982297 h 3498714"/>
                    <a:gd name="connsiteX32" fmla="*/ 358791 w 6499257"/>
                    <a:gd name="connsiteY32" fmla="*/ 644545 h 3498714"/>
                    <a:gd name="connsiteX33" fmla="*/ 1006774 w 6499257"/>
                    <a:gd name="connsiteY33" fmla="*/ 644545 h 3498714"/>
                    <a:gd name="connsiteX34" fmla="*/ 1542636 w 6499257"/>
                    <a:gd name="connsiteY34" fmla="*/ 1193969 h 3498714"/>
                    <a:gd name="connsiteX35" fmla="*/ 1929878 w 6499257"/>
                    <a:gd name="connsiteY35" fmla="*/ 1193970 h 3498714"/>
                    <a:gd name="connsiteX36" fmla="*/ 2070059 w 6499257"/>
                    <a:gd name="connsiteY36" fmla="*/ 1334152 h 3498714"/>
                    <a:gd name="connsiteX37" fmla="*/ 1929878 w 6499257"/>
                    <a:gd name="connsiteY37" fmla="*/ 1474333 h 3498714"/>
                    <a:gd name="connsiteX38" fmla="*/ 1520943 w 6499257"/>
                    <a:gd name="connsiteY38" fmla="*/ 1470388 h 3498714"/>
                    <a:gd name="connsiteX39" fmla="*/ 1332825 w 6499257"/>
                    <a:gd name="connsiteY39" fmla="*/ 1367201 h 3498714"/>
                    <a:gd name="connsiteX40" fmla="*/ 1106501 w 6499257"/>
                    <a:gd name="connsiteY40" fmla="*/ 1098289 h 3498714"/>
                    <a:gd name="connsiteX41" fmla="*/ 1101049 w 6499257"/>
                    <a:gd name="connsiteY41" fmla="*/ 1092836 h 3498714"/>
                    <a:gd name="connsiteX42" fmla="*/ 1046523 w 6499257"/>
                    <a:gd name="connsiteY42" fmla="*/ 1092836 h 3498714"/>
                    <a:gd name="connsiteX43" fmla="*/ 1041071 w 6499257"/>
                    <a:gd name="connsiteY43" fmla="*/ 1098289 h 3498714"/>
                    <a:gd name="connsiteX44" fmla="*/ 1042136 w 6499257"/>
                    <a:gd name="connsiteY44" fmla="*/ 1419754 h 3498714"/>
                    <a:gd name="connsiteX45" fmla="*/ 1042136 w 6499257"/>
                    <a:gd name="connsiteY45" fmla="*/ 3337652 h 3498714"/>
                    <a:gd name="connsiteX46" fmla="*/ 881075 w 6499257"/>
                    <a:gd name="connsiteY46" fmla="*/ 3498714 h 3498714"/>
                    <a:gd name="connsiteX47" fmla="*/ 720012 w 6499257"/>
                    <a:gd name="connsiteY47" fmla="*/ 3337652 h 3498714"/>
                    <a:gd name="connsiteX48" fmla="*/ 720012 w 6499257"/>
                    <a:gd name="connsiteY48" fmla="*/ 2125717 h 3498714"/>
                    <a:gd name="connsiteX49" fmla="*/ 718947 w 6499257"/>
                    <a:gd name="connsiteY49" fmla="*/ 2033194 h 3498714"/>
                    <a:gd name="connsiteX50" fmla="*/ 714162 w 6499257"/>
                    <a:gd name="connsiteY50" fmla="*/ 2028410 h 3498714"/>
                    <a:gd name="connsiteX51" fmla="*/ 654759 w 6499257"/>
                    <a:gd name="connsiteY51" fmla="*/ 2028410 h 3498714"/>
                    <a:gd name="connsiteX52" fmla="*/ 649974 w 6499257"/>
                    <a:gd name="connsiteY52" fmla="*/ 2033194 h 3498714"/>
                    <a:gd name="connsiteX53" fmla="*/ 649974 w 6499257"/>
                    <a:gd name="connsiteY53" fmla="*/ 2125717 h 3498714"/>
                    <a:gd name="connsiteX54" fmla="*/ 649574 w 6499257"/>
                    <a:gd name="connsiteY54" fmla="*/ 3337652 h 3498714"/>
                    <a:gd name="connsiteX55" fmla="*/ 488511 w 6499257"/>
                    <a:gd name="connsiteY55" fmla="*/ 3498714 h 3498714"/>
                    <a:gd name="connsiteX56" fmla="*/ 327450 w 6499257"/>
                    <a:gd name="connsiteY56" fmla="*/ 3337652 h 3498714"/>
                    <a:gd name="connsiteX57" fmla="*/ 327450 w 6499257"/>
                    <a:gd name="connsiteY57" fmla="*/ 1458216 h 3498714"/>
                    <a:gd name="connsiteX58" fmla="*/ 322427 w 6499257"/>
                    <a:gd name="connsiteY58" fmla="*/ 1098205 h 3498714"/>
                    <a:gd name="connsiteX59" fmla="*/ 317058 w 6499257"/>
                    <a:gd name="connsiteY59" fmla="*/ 1092836 h 3498714"/>
                    <a:gd name="connsiteX60" fmla="*/ 263371 w 6499257"/>
                    <a:gd name="connsiteY60" fmla="*/ 1092836 h 3498714"/>
                    <a:gd name="connsiteX61" fmla="*/ 258001 w 6499257"/>
                    <a:gd name="connsiteY61" fmla="*/ 1098205 h 3498714"/>
                    <a:gd name="connsiteX62" fmla="*/ 258001 w 6499257"/>
                    <a:gd name="connsiteY62" fmla="*/ 1444446 h 3498714"/>
                    <a:gd name="connsiteX63" fmla="*/ 257700 w 6499257"/>
                    <a:gd name="connsiteY63" fmla="*/ 1444370 h 3498714"/>
                    <a:gd name="connsiteX64" fmla="*/ 257700 w 6499257"/>
                    <a:gd name="connsiteY64" fmla="*/ 1912573 h 3498714"/>
                    <a:gd name="connsiteX65" fmla="*/ 128850 w 6499257"/>
                    <a:gd name="connsiteY65" fmla="*/ 2041423 h 3498714"/>
                    <a:gd name="connsiteX66" fmla="*/ 0 w 6499257"/>
                    <a:gd name="connsiteY66" fmla="*/ 1912573 h 3498714"/>
                    <a:gd name="connsiteX67" fmla="*/ 0 w 6499257"/>
                    <a:gd name="connsiteY67" fmla="*/ 1101802 h 3498714"/>
                    <a:gd name="connsiteX68" fmla="*/ 0 w 6499257"/>
                    <a:gd name="connsiteY68" fmla="*/ 1003338 h 3498714"/>
                    <a:gd name="connsiteX69" fmla="*/ 0 w 6499257"/>
                    <a:gd name="connsiteY69" fmla="*/ 982486 h 3498714"/>
                    <a:gd name="connsiteX70" fmla="*/ 12733 w 6499257"/>
                    <a:gd name="connsiteY70" fmla="*/ 894663 h 3498714"/>
                    <a:gd name="connsiteX71" fmla="*/ 20539 w 6499257"/>
                    <a:gd name="connsiteY71" fmla="*/ 868773 h 3498714"/>
                    <a:gd name="connsiteX72" fmla="*/ 358791 w 6499257"/>
                    <a:gd name="connsiteY72" fmla="*/ 644545 h 3498714"/>
                    <a:gd name="connsiteX73" fmla="*/ 682782 w 6499257"/>
                    <a:gd name="connsiteY73" fmla="*/ 0 h 3498714"/>
                    <a:gd name="connsiteX74" fmla="*/ 966919 w 6499257"/>
                    <a:gd name="connsiteY74" fmla="*/ 284138 h 3498714"/>
                    <a:gd name="connsiteX75" fmla="*/ 682782 w 6499257"/>
                    <a:gd name="connsiteY75" fmla="*/ 568275 h 3498714"/>
                    <a:gd name="connsiteX76" fmla="*/ 398645 w 6499257"/>
                    <a:gd name="connsiteY76" fmla="*/ 284138 h 3498714"/>
                    <a:gd name="connsiteX77" fmla="*/ 682782 w 6499257"/>
                    <a:gd name="connsiteY77" fmla="*/ 0 h 3498714"/>
                    <a:gd name="connsiteX78" fmla="*/ 4707054 w 6499257"/>
                    <a:gd name="connsiteY78" fmla="*/ 2902312 h 3498714"/>
                    <a:gd name="connsiteX79" fmla="*/ 4818179 w 6499257"/>
                    <a:gd name="connsiteY79" fmla="*/ 3013437 h 3498714"/>
                    <a:gd name="connsiteX80" fmla="*/ 4707054 w 6499257"/>
                    <a:gd name="connsiteY80" fmla="*/ 3124562 h 3498714"/>
                    <a:gd name="connsiteX81" fmla="*/ 4545125 w 6499257"/>
                    <a:gd name="connsiteY81" fmla="*/ 3124562 h 3498714"/>
                    <a:gd name="connsiteX82" fmla="*/ 4545125 w 6499257"/>
                    <a:gd name="connsiteY82" fmla="*/ 3361625 h 3498714"/>
                    <a:gd name="connsiteX83" fmla="*/ 4436113 w 6499257"/>
                    <a:gd name="connsiteY83" fmla="*/ 3470637 h 3498714"/>
                    <a:gd name="connsiteX84" fmla="*/ 4235039 w 6499257"/>
                    <a:gd name="connsiteY84" fmla="*/ 3470637 h 3498714"/>
                    <a:gd name="connsiteX85" fmla="*/ 4126027 w 6499257"/>
                    <a:gd name="connsiteY85" fmla="*/ 3361625 h 3498714"/>
                    <a:gd name="connsiteX86" fmla="*/ 4126027 w 6499257"/>
                    <a:gd name="connsiteY86" fmla="*/ 3124562 h 3498714"/>
                    <a:gd name="connsiteX87" fmla="*/ 2589325 w 6499257"/>
                    <a:gd name="connsiteY87" fmla="*/ 3124562 h 3498714"/>
                    <a:gd name="connsiteX88" fmla="*/ 2589325 w 6499257"/>
                    <a:gd name="connsiteY88" fmla="*/ 3361625 h 3498714"/>
                    <a:gd name="connsiteX89" fmla="*/ 2480313 w 6499257"/>
                    <a:gd name="connsiteY89" fmla="*/ 3470637 h 3498714"/>
                    <a:gd name="connsiteX90" fmla="*/ 2279239 w 6499257"/>
                    <a:gd name="connsiteY90" fmla="*/ 3470637 h 3498714"/>
                    <a:gd name="connsiteX91" fmla="*/ 2170227 w 6499257"/>
                    <a:gd name="connsiteY91" fmla="*/ 3361625 h 3498714"/>
                    <a:gd name="connsiteX92" fmla="*/ 2170227 w 6499257"/>
                    <a:gd name="connsiteY92" fmla="*/ 3124562 h 3498714"/>
                    <a:gd name="connsiteX93" fmla="*/ 2052754 w 6499257"/>
                    <a:gd name="connsiteY93" fmla="*/ 3124562 h 3498714"/>
                    <a:gd name="connsiteX94" fmla="*/ 1941629 w 6499257"/>
                    <a:gd name="connsiteY94" fmla="*/ 3013437 h 3498714"/>
                    <a:gd name="connsiteX95" fmla="*/ 2052754 w 6499257"/>
                    <a:gd name="connsiteY95" fmla="*/ 2902312 h 3498714"/>
                    <a:gd name="connsiteX96" fmla="*/ 682782 w 6499257"/>
                    <a:gd name="connsiteY96" fmla="*/ 0 h 3498714"/>
                    <a:gd name="connsiteX97" fmla="*/ 4492583 w 6499257"/>
                    <a:gd name="connsiteY97" fmla="*/ 2089512 h 3498714"/>
                    <a:gd name="connsiteX98" fmla="*/ 4311608 w 6499257"/>
                    <a:gd name="connsiteY98" fmla="*/ 2270487 h 3498714"/>
                    <a:gd name="connsiteX99" fmla="*/ 4492583 w 6499257"/>
                    <a:gd name="connsiteY99" fmla="*/ 2451462 h 3498714"/>
                    <a:gd name="connsiteX100" fmla="*/ 5407618 w 6499257"/>
                    <a:gd name="connsiteY100" fmla="*/ 2468742 h 3498714"/>
                    <a:gd name="connsiteX101" fmla="*/ 6498753 w 6499257"/>
                    <a:gd name="connsiteY101" fmla="*/ 2404799 h 3498714"/>
                    <a:gd name="connsiteX102" fmla="*/ 5388995 w 6499257"/>
                    <a:gd name="connsiteY102"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651061 w 6499257"/>
                    <a:gd name="connsiteY12" fmla="*/ 1167548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651061 w 6499257"/>
                    <a:gd name="connsiteY16" fmla="*/ 1167548 h 3498714"/>
                    <a:gd name="connsiteX17" fmla="*/ 2534724 w 6499257"/>
                    <a:gd name="connsiteY17" fmla="*/ 982297 h 3498714"/>
                    <a:gd name="connsiteX18" fmla="*/ 4229172 w 6499257"/>
                    <a:gd name="connsiteY18" fmla="*/ 982297 h 3498714"/>
                    <a:gd name="connsiteX19" fmla="*/ 4546612 w 6499257"/>
                    <a:gd name="connsiteY19" fmla="*/ 1856643 h 3498714"/>
                    <a:gd name="connsiteX20" fmla="*/ 4936448 w 6499257"/>
                    <a:gd name="connsiteY20" fmla="*/ 2279217 h 3498714"/>
                    <a:gd name="connsiteX21" fmla="*/ 4802103 w 6499257"/>
                    <a:gd name="connsiteY21" fmla="*/ 2588456 h 3498714"/>
                    <a:gd name="connsiteX22" fmla="*/ 4904699 w 6499257"/>
                    <a:gd name="connsiteY22" fmla="*/ 2705462 h 3498714"/>
                    <a:gd name="connsiteX23" fmla="*/ 4904698 w 6499257"/>
                    <a:gd name="connsiteY23" fmla="*/ 2705462 h 3498714"/>
                    <a:gd name="connsiteX24" fmla="*/ 4784047 w 6499257"/>
                    <a:gd name="connsiteY24" fmla="*/ 2826113 h 3498714"/>
                    <a:gd name="connsiteX25" fmla="*/ 1970999 w 6499257"/>
                    <a:gd name="connsiteY25" fmla="*/ 2826112 h 3498714"/>
                    <a:gd name="connsiteX26" fmla="*/ 1850348 w 6499257"/>
                    <a:gd name="connsiteY26" fmla="*/ 2705462 h 3498714"/>
                    <a:gd name="connsiteX27" fmla="*/ 1956769 w 6499257"/>
                    <a:gd name="connsiteY27" fmla="*/ 2587684 h 3498714"/>
                    <a:gd name="connsiteX28" fmla="*/ 1823360 w 6499257"/>
                    <a:gd name="connsiteY28" fmla="*/ 2279217 h 3498714"/>
                    <a:gd name="connsiteX29" fmla="*/ 2217440 w 6499257"/>
                    <a:gd name="connsiteY29" fmla="*/ 1856216 h 3498714"/>
                    <a:gd name="connsiteX30" fmla="*/ 2534724 w 6499257"/>
                    <a:gd name="connsiteY30" fmla="*/ 982297 h 3498714"/>
                    <a:gd name="connsiteX31" fmla="*/ 358791 w 6499257"/>
                    <a:gd name="connsiteY31" fmla="*/ 644545 h 3498714"/>
                    <a:gd name="connsiteX32" fmla="*/ 1006774 w 6499257"/>
                    <a:gd name="connsiteY32" fmla="*/ 644545 h 3498714"/>
                    <a:gd name="connsiteX33" fmla="*/ 1542636 w 6499257"/>
                    <a:gd name="connsiteY33" fmla="*/ 1193969 h 3498714"/>
                    <a:gd name="connsiteX34" fmla="*/ 1929878 w 6499257"/>
                    <a:gd name="connsiteY34" fmla="*/ 1193970 h 3498714"/>
                    <a:gd name="connsiteX35" fmla="*/ 2070059 w 6499257"/>
                    <a:gd name="connsiteY35" fmla="*/ 1334152 h 3498714"/>
                    <a:gd name="connsiteX36" fmla="*/ 1929878 w 6499257"/>
                    <a:gd name="connsiteY36" fmla="*/ 1474333 h 3498714"/>
                    <a:gd name="connsiteX37" fmla="*/ 1520943 w 6499257"/>
                    <a:gd name="connsiteY37" fmla="*/ 1470388 h 3498714"/>
                    <a:gd name="connsiteX38" fmla="*/ 1332825 w 6499257"/>
                    <a:gd name="connsiteY38" fmla="*/ 1367201 h 3498714"/>
                    <a:gd name="connsiteX39" fmla="*/ 1106501 w 6499257"/>
                    <a:gd name="connsiteY39" fmla="*/ 1098289 h 3498714"/>
                    <a:gd name="connsiteX40" fmla="*/ 1101049 w 6499257"/>
                    <a:gd name="connsiteY40" fmla="*/ 1092836 h 3498714"/>
                    <a:gd name="connsiteX41" fmla="*/ 1046523 w 6499257"/>
                    <a:gd name="connsiteY41" fmla="*/ 1092836 h 3498714"/>
                    <a:gd name="connsiteX42" fmla="*/ 1041071 w 6499257"/>
                    <a:gd name="connsiteY42" fmla="*/ 1098289 h 3498714"/>
                    <a:gd name="connsiteX43" fmla="*/ 1042136 w 6499257"/>
                    <a:gd name="connsiteY43" fmla="*/ 1419754 h 3498714"/>
                    <a:gd name="connsiteX44" fmla="*/ 1042136 w 6499257"/>
                    <a:gd name="connsiteY44" fmla="*/ 3337652 h 3498714"/>
                    <a:gd name="connsiteX45" fmla="*/ 881075 w 6499257"/>
                    <a:gd name="connsiteY45" fmla="*/ 3498714 h 3498714"/>
                    <a:gd name="connsiteX46" fmla="*/ 720012 w 6499257"/>
                    <a:gd name="connsiteY46" fmla="*/ 3337652 h 3498714"/>
                    <a:gd name="connsiteX47" fmla="*/ 720012 w 6499257"/>
                    <a:gd name="connsiteY47" fmla="*/ 2125717 h 3498714"/>
                    <a:gd name="connsiteX48" fmla="*/ 718947 w 6499257"/>
                    <a:gd name="connsiteY48" fmla="*/ 2033194 h 3498714"/>
                    <a:gd name="connsiteX49" fmla="*/ 714162 w 6499257"/>
                    <a:gd name="connsiteY49" fmla="*/ 2028410 h 3498714"/>
                    <a:gd name="connsiteX50" fmla="*/ 654759 w 6499257"/>
                    <a:gd name="connsiteY50" fmla="*/ 2028410 h 3498714"/>
                    <a:gd name="connsiteX51" fmla="*/ 649974 w 6499257"/>
                    <a:gd name="connsiteY51" fmla="*/ 2033194 h 3498714"/>
                    <a:gd name="connsiteX52" fmla="*/ 649974 w 6499257"/>
                    <a:gd name="connsiteY52" fmla="*/ 2125717 h 3498714"/>
                    <a:gd name="connsiteX53" fmla="*/ 649574 w 6499257"/>
                    <a:gd name="connsiteY53" fmla="*/ 3337652 h 3498714"/>
                    <a:gd name="connsiteX54" fmla="*/ 488511 w 6499257"/>
                    <a:gd name="connsiteY54" fmla="*/ 3498714 h 3498714"/>
                    <a:gd name="connsiteX55" fmla="*/ 327450 w 6499257"/>
                    <a:gd name="connsiteY55" fmla="*/ 3337652 h 3498714"/>
                    <a:gd name="connsiteX56" fmla="*/ 327450 w 6499257"/>
                    <a:gd name="connsiteY56" fmla="*/ 1458216 h 3498714"/>
                    <a:gd name="connsiteX57" fmla="*/ 322427 w 6499257"/>
                    <a:gd name="connsiteY57" fmla="*/ 1098205 h 3498714"/>
                    <a:gd name="connsiteX58" fmla="*/ 317058 w 6499257"/>
                    <a:gd name="connsiteY58" fmla="*/ 1092836 h 3498714"/>
                    <a:gd name="connsiteX59" fmla="*/ 263371 w 6499257"/>
                    <a:gd name="connsiteY59" fmla="*/ 1092836 h 3498714"/>
                    <a:gd name="connsiteX60" fmla="*/ 258001 w 6499257"/>
                    <a:gd name="connsiteY60" fmla="*/ 1098205 h 3498714"/>
                    <a:gd name="connsiteX61" fmla="*/ 258001 w 6499257"/>
                    <a:gd name="connsiteY61" fmla="*/ 1444446 h 3498714"/>
                    <a:gd name="connsiteX62" fmla="*/ 257700 w 6499257"/>
                    <a:gd name="connsiteY62" fmla="*/ 1444370 h 3498714"/>
                    <a:gd name="connsiteX63" fmla="*/ 257700 w 6499257"/>
                    <a:gd name="connsiteY63" fmla="*/ 1912573 h 3498714"/>
                    <a:gd name="connsiteX64" fmla="*/ 128850 w 6499257"/>
                    <a:gd name="connsiteY64" fmla="*/ 2041423 h 3498714"/>
                    <a:gd name="connsiteX65" fmla="*/ 0 w 6499257"/>
                    <a:gd name="connsiteY65" fmla="*/ 1912573 h 3498714"/>
                    <a:gd name="connsiteX66" fmla="*/ 0 w 6499257"/>
                    <a:gd name="connsiteY66" fmla="*/ 1101802 h 3498714"/>
                    <a:gd name="connsiteX67" fmla="*/ 0 w 6499257"/>
                    <a:gd name="connsiteY67" fmla="*/ 1003338 h 3498714"/>
                    <a:gd name="connsiteX68" fmla="*/ 0 w 6499257"/>
                    <a:gd name="connsiteY68" fmla="*/ 982486 h 3498714"/>
                    <a:gd name="connsiteX69" fmla="*/ 12733 w 6499257"/>
                    <a:gd name="connsiteY69" fmla="*/ 894663 h 3498714"/>
                    <a:gd name="connsiteX70" fmla="*/ 20539 w 6499257"/>
                    <a:gd name="connsiteY70" fmla="*/ 868773 h 3498714"/>
                    <a:gd name="connsiteX71" fmla="*/ 358791 w 6499257"/>
                    <a:gd name="connsiteY71" fmla="*/ 644545 h 3498714"/>
                    <a:gd name="connsiteX72" fmla="*/ 682782 w 6499257"/>
                    <a:gd name="connsiteY72" fmla="*/ 0 h 3498714"/>
                    <a:gd name="connsiteX73" fmla="*/ 966919 w 6499257"/>
                    <a:gd name="connsiteY73" fmla="*/ 284138 h 3498714"/>
                    <a:gd name="connsiteX74" fmla="*/ 682782 w 6499257"/>
                    <a:gd name="connsiteY74" fmla="*/ 568275 h 3498714"/>
                    <a:gd name="connsiteX75" fmla="*/ 398645 w 6499257"/>
                    <a:gd name="connsiteY75" fmla="*/ 284138 h 3498714"/>
                    <a:gd name="connsiteX76" fmla="*/ 682782 w 6499257"/>
                    <a:gd name="connsiteY76" fmla="*/ 0 h 3498714"/>
                    <a:gd name="connsiteX77" fmla="*/ 4707054 w 6499257"/>
                    <a:gd name="connsiteY77" fmla="*/ 2902312 h 3498714"/>
                    <a:gd name="connsiteX78" fmla="*/ 4818179 w 6499257"/>
                    <a:gd name="connsiteY78" fmla="*/ 3013437 h 3498714"/>
                    <a:gd name="connsiteX79" fmla="*/ 4707054 w 6499257"/>
                    <a:gd name="connsiteY79" fmla="*/ 3124562 h 3498714"/>
                    <a:gd name="connsiteX80" fmla="*/ 4545125 w 6499257"/>
                    <a:gd name="connsiteY80" fmla="*/ 3124562 h 3498714"/>
                    <a:gd name="connsiteX81" fmla="*/ 4545125 w 6499257"/>
                    <a:gd name="connsiteY81" fmla="*/ 3361625 h 3498714"/>
                    <a:gd name="connsiteX82" fmla="*/ 4436113 w 6499257"/>
                    <a:gd name="connsiteY82" fmla="*/ 3470637 h 3498714"/>
                    <a:gd name="connsiteX83" fmla="*/ 4235039 w 6499257"/>
                    <a:gd name="connsiteY83" fmla="*/ 3470637 h 3498714"/>
                    <a:gd name="connsiteX84" fmla="*/ 4126027 w 6499257"/>
                    <a:gd name="connsiteY84" fmla="*/ 3361625 h 3498714"/>
                    <a:gd name="connsiteX85" fmla="*/ 4126027 w 6499257"/>
                    <a:gd name="connsiteY85" fmla="*/ 3124562 h 3498714"/>
                    <a:gd name="connsiteX86" fmla="*/ 2589325 w 6499257"/>
                    <a:gd name="connsiteY86" fmla="*/ 3124562 h 3498714"/>
                    <a:gd name="connsiteX87" fmla="*/ 2589325 w 6499257"/>
                    <a:gd name="connsiteY87" fmla="*/ 3361625 h 3498714"/>
                    <a:gd name="connsiteX88" fmla="*/ 2480313 w 6499257"/>
                    <a:gd name="connsiteY88" fmla="*/ 3470637 h 3498714"/>
                    <a:gd name="connsiteX89" fmla="*/ 2279239 w 6499257"/>
                    <a:gd name="connsiteY89" fmla="*/ 3470637 h 3498714"/>
                    <a:gd name="connsiteX90" fmla="*/ 2170227 w 6499257"/>
                    <a:gd name="connsiteY90" fmla="*/ 3361625 h 3498714"/>
                    <a:gd name="connsiteX91" fmla="*/ 2170227 w 6499257"/>
                    <a:gd name="connsiteY91" fmla="*/ 3124562 h 3498714"/>
                    <a:gd name="connsiteX92" fmla="*/ 2052754 w 6499257"/>
                    <a:gd name="connsiteY92" fmla="*/ 3124562 h 3498714"/>
                    <a:gd name="connsiteX93" fmla="*/ 1941629 w 6499257"/>
                    <a:gd name="connsiteY93" fmla="*/ 3013437 h 3498714"/>
                    <a:gd name="connsiteX94" fmla="*/ 2052754 w 6499257"/>
                    <a:gd name="connsiteY94" fmla="*/ 2902312 h 3498714"/>
                    <a:gd name="connsiteX95" fmla="*/ 682782 w 6499257"/>
                    <a:gd name="connsiteY95" fmla="*/ 0 h 3498714"/>
                    <a:gd name="connsiteX96" fmla="*/ 4492583 w 6499257"/>
                    <a:gd name="connsiteY96" fmla="*/ 2089512 h 3498714"/>
                    <a:gd name="connsiteX97" fmla="*/ 4311608 w 6499257"/>
                    <a:gd name="connsiteY97" fmla="*/ 2270487 h 3498714"/>
                    <a:gd name="connsiteX98" fmla="*/ 4492583 w 6499257"/>
                    <a:gd name="connsiteY98" fmla="*/ 2451462 h 3498714"/>
                    <a:gd name="connsiteX99" fmla="*/ 5407618 w 6499257"/>
                    <a:gd name="connsiteY99" fmla="*/ 2468742 h 3498714"/>
                    <a:gd name="connsiteX100" fmla="*/ 6498753 w 6499257"/>
                    <a:gd name="connsiteY100" fmla="*/ 2404799 h 3498714"/>
                    <a:gd name="connsiteX101" fmla="*/ 5388995 w 6499257"/>
                    <a:gd name="connsiteY101"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229172 w 6499257"/>
                    <a:gd name="connsiteY17" fmla="*/ 982297 h 3498714"/>
                    <a:gd name="connsiteX18" fmla="*/ 4546612 w 6499257"/>
                    <a:gd name="connsiteY18" fmla="*/ 1856643 h 3498714"/>
                    <a:gd name="connsiteX19" fmla="*/ 4936448 w 6499257"/>
                    <a:gd name="connsiteY19" fmla="*/ 2279217 h 3498714"/>
                    <a:gd name="connsiteX20" fmla="*/ 4802103 w 6499257"/>
                    <a:gd name="connsiteY20" fmla="*/ 2588456 h 3498714"/>
                    <a:gd name="connsiteX21" fmla="*/ 4904699 w 6499257"/>
                    <a:gd name="connsiteY21" fmla="*/ 2705462 h 3498714"/>
                    <a:gd name="connsiteX22" fmla="*/ 4904698 w 6499257"/>
                    <a:gd name="connsiteY22" fmla="*/ 2705462 h 3498714"/>
                    <a:gd name="connsiteX23" fmla="*/ 4784047 w 6499257"/>
                    <a:gd name="connsiteY23" fmla="*/ 2826113 h 3498714"/>
                    <a:gd name="connsiteX24" fmla="*/ 1970999 w 6499257"/>
                    <a:gd name="connsiteY24" fmla="*/ 2826112 h 3498714"/>
                    <a:gd name="connsiteX25" fmla="*/ 1850348 w 6499257"/>
                    <a:gd name="connsiteY25" fmla="*/ 2705462 h 3498714"/>
                    <a:gd name="connsiteX26" fmla="*/ 1956769 w 6499257"/>
                    <a:gd name="connsiteY26" fmla="*/ 2587684 h 3498714"/>
                    <a:gd name="connsiteX27" fmla="*/ 1823360 w 6499257"/>
                    <a:gd name="connsiteY27" fmla="*/ 2279217 h 3498714"/>
                    <a:gd name="connsiteX28" fmla="*/ 2217440 w 6499257"/>
                    <a:gd name="connsiteY28" fmla="*/ 1856216 h 3498714"/>
                    <a:gd name="connsiteX29" fmla="*/ 2534724 w 6499257"/>
                    <a:gd name="connsiteY29" fmla="*/ 982297 h 3498714"/>
                    <a:gd name="connsiteX30" fmla="*/ 358791 w 6499257"/>
                    <a:gd name="connsiteY30" fmla="*/ 644545 h 3498714"/>
                    <a:gd name="connsiteX31" fmla="*/ 1006774 w 6499257"/>
                    <a:gd name="connsiteY31" fmla="*/ 644545 h 3498714"/>
                    <a:gd name="connsiteX32" fmla="*/ 1542636 w 6499257"/>
                    <a:gd name="connsiteY32" fmla="*/ 1193969 h 3498714"/>
                    <a:gd name="connsiteX33" fmla="*/ 1929878 w 6499257"/>
                    <a:gd name="connsiteY33" fmla="*/ 1193970 h 3498714"/>
                    <a:gd name="connsiteX34" fmla="*/ 2070059 w 6499257"/>
                    <a:gd name="connsiteY34" fmla="*/ 1334152 h 3498714"/>
                    <a:gd name="connsiteX35" fmla="*/ 1929878 w 6499257"/>
                    <a:gd name="connsiteY35" fmla="*/ 1474333 h 3498714"/>
                    <a:gd name="connsiteX36" fmla="*/ 1520943 w 6499257"/>
                    <a:gd name="connsiteY36" fmla="*/ 1470388 h 3498714"/>
                    <a:gd name="connsiteX37" fmla="*/ 1332825 w 6499257"/>
                    <a:gd name="connsiteY37" fmla="*/ 1367201 h 3498714"/>
                    <a:gd name="connsiteX38" fmla="*/ 1106501 w 6499257"/>
                    <a:gd name="connsiteY38" fmla="*/ 1098289 h 3498714"/>
                    <a:gd name="connsiteX39" fmla="*/ 1101049 w 6499257"/>
                    <a:gd name="connsiteY39" fmla="*/ 1092836 h 3498714"/>
                    <a:gd name="connsiteX40" fmla="*/ 1046523 w 6499257"/>
                    <a:gd name="connsiteY40" fmla="*/ 1092836 h 3498714"/>
                    <a:gd name="connsiteX41" fmla="*/ 1041071 w 6499257"/>
                    <a:gd name="connsiteY41" fmla="*/ 1098289 h 3498714"/>
                    <a:gd name="connsiteX42" fmla="*/ 1042136 w 6499257"/>
                    <a:gd name="connsiteY42" fmla="*/ 1419754 h 3498714"/>
                    <a:gd name="connsiteX43" fmla="*/ 1042136 w 6499257"/>
                    <a:gd name="connsiteY43" fmla="*/ 3337652 h 3498714"/>
                    <a:gd name="connsiteX44" fmla="*/ 881075 w 6499257"/>
                    <a:gd name="connsiteY44" fmla="*/ 3498714 h 3498714"/>
                    <a:gd name="connsiteX45" fmla="*/ 720012 w 6499257"/>
                    <a:gd name="connsiteY45" fmla="*/ 3337652 h 3498714"/>
                    <a:gd name="connsiteX46" fmla="*/ 720012 w 6499257"/>
                    <a:gd name="connsiteY46" fmla="*/ 2125717 h 3498714"/>
                    <a:gd name="connsiteX47" fmla="*/ 718947 w 6499257"/>
                    <a:gd name="connsiteY47" fmla="*/ 2033194 h 3498714"/>
                    <a:gd name="connsiteX48" fmla="*/ 714162 w 6499257"/>
                    <a:gd name="connsiteY48" fmla="*/ 2028410 h 3498714"/>
                    <a:gd name="connsiteX49" fmla="*/ 654759 w 6499257"/>
                    <a:gd name="connsiteY49" fmla="*/ 2028410 h 3498714"/>
                    <a:gd name="connsiteX50" fmla="*/ 649974 w 6499257"/>
                    <a:gd name="connsiteY50" fmla="*/ 2033194 h 3498714"/>
                    <a:gd name="connsiteX51" fmla="*/ 649974 w 6499257"/>
                    <a:gd name="connsiteY51" fmla="*/ 2125717 h 3498714"/>
                    <a:gd name="connsiteX52" fmla="*/ 649574 w 6499257"/>
                    <a:gd name="connsiteY52" fmla="*/ 3337652 h 3498714"/>
                    <a:gd name="connsiteX53" fmla="*/ 488511 w 6499257"/>
                    <a:gd name="connsiteY53" fmla="*/ 3498714 h 3498714"/>
                    <a:gd name="connsiteX54" fmla="*/ 327450 w 6499257"/>
                    <a:gd name="connsiteY54" fmla="*/ 3337652 h 3498714"/>
                    <a:gd name="connsiteX55" fmla="*/ 327450 w 6499257"/>
                    <a:gd name="connsiteY55" fmla="*/ 1458216 h 3498714"/>
                    <a:gd name="connsiteX56" fmla="*/ 322427 w 6499257"/>
                    <a:gd name="connsiteY56" fmla="*/ 1098205 h 3498714"/>
                    <a:gd name="connsiteX57" fmla="*/ 317058 w 6499257"/>
                    <a:gd name="connsiteY57" fmla="*/ 1092836 h 3498714"/>
                    <a:gd name="connsiteX58" fmla="*/ 263371 w 6499257"/>
                    <a:gd name="connsiteY58" fmla="*/ 1092836 h 3498714"/>
                    <a:gd name="connsiteX59" fmla="*/ 258001 w 6499257"/>
                    <a:gd name="connsiteY59" fmla="*/ 1098205 h 3498714"/>
                    <a:gd name="connsiteX60" fmla="*/ 258001 w 6499257"/>
                    <a:gd name="connsiteY60" fmla="*/ 1444446 h 3498714"/>
                    <a:gd name="connsiteX61" fmla="*/ 257700 w 6499257"/>
                    <a:gd name="connsiteY61" fmla="*/ 1444370 h 3498714"/>
                    <a:gd name="connsiteX62" fmla="*/ 257700 w 6499257"/>
                    <a:gd name="connsiteY62" fmla="*/ 1912573 h 3498714"/>
                    <a:gd name="connsiteX63" fmla="*/ 128850 w 6499257"/>
                    <a:gd name="connsiteY63" fmla="*/ 2041423 h 3498714"/>
                    <a:gd name="connsiteX64" fmla="*/ 0 w 6499257"/>
                    <a:gd name="connsiteY64" fmla="*/ 1912573 h 3498714"/>
                    <a:gd name="connsiteX65" fmla="*/ 0 w 6499257"/>
                    <a:gd name="connsiteY65" fmla="*/ 1101802 h 3498714"/>
                    <a:gd name="connsiteX66" fmla="*/ 0 w 6499257"/>
                    <a:gd name="connsiteY66" fmla="*/ 1003338 h 3498714"/>
                    <a:gd name="connsiteX67" fmla="*/ 0 w 6499257"/>
                    <a:gd name="connsiteY67" fmla="*/ 982486 h 3498714"/>
                    <a:gd name="connsiteX68" fmla="*/ 12733 w 6499257"/>
                    <a:gd name="connsiteY68" fmla="*/ 894663 h 3498714"/>
                    <a:gd name="connsiteX69" fmla="*/ 20539 w 6499257"/>
                    <a:gd name="connsiteY69" fmla="*/ 868773 h 3498714"/>
                    <a:gd name="connsiteX70" fmla="*/ 358791 w 6499257"/>
                    <a:gd name="connsiteY70" fmla="*/ 644545 h 3498714"/>
                    <a:gd name="connsiteX71" fmla="*/ 682782 w 6499257"/>
                    <a:gd name="connsiteY71" fmla="*/ 0 h 3498714"/>
                    <a:gd name="connsiteX72" fmla="*/ 966919 w 6499257"/>
                    <a:gd name="connsiteY72" fmla="*/ 284138 h 3498714"/>
                    <a:gd name="connsiteX73" fmla="*/ 682782 w 6499257"/>
                    <a:gd name="connsiteY73" fmla="*/ 568275 h 3498714"/>
                    <a:gd name="connsiteX74" fmla="*/ 398645 w 6499257"/>
                    <a:gd name="connsiteY74" fmla="*/ 284138 h 3498714"/>
                    <a:gd name="connsiteX75" fmla="*/ 682782 w 6499257"/>
                    <a:gd name="connsiteY75" fmla="*/ 0 h 3498714"/>
                    <a:gd name="connsiteX76" fmla="*/ 4707054 w 6499257"/>
                    <a:gd name="connsiteY76" fmla="*/ 2902312 h 3498714"/>
                    <a:gd name="connsiteX77" fmla="*/ 4818179 w 6499257"/>
                    <a:gd name="connsiteY77" fmla="*/ 3013437 h 3498714"/>
                    <a:gd name="connsiteX78" fmla="*/ 4707054 w 6499257"/>
                    <a:gd name="connsiteY78" fmla="*/ 3124562 h 3498714"/>
                    <a:gd name="connsiteX79" fmla="*/ 4545125 w 6499257"/>
                    <a:gd name="connsiteY79" fmla="*/ 3124562 h 3498714"/>
                    <a:gd name="connsiteX80" fmla="*/ 4545125 w 6499257"/>
                    <a:gd name="connsiteY80" fmla="*/ 3361625 h 3498714"/>
                    <a:gd name="connsiteX81" fmla="*/ 4436113 w 6499257"/>
                    <a:gd name="connsiteY81" fmla="*/ 3470637 h 3498714"/>
                    <a:gd name="connsiteX82" fmla="*/ 4235039 w 6499257"/>
                    <a:gd name="connsiteY82" fmla="*/ 3470637 h 3498714"/>
                    <a:gd name="connsiteX83" fmla="*/ 4126027 w 6499257"/>
                    <a:gd name="connsiteY83" fmla="*/ 3361625 h 3498714"/>
                    <a:gd name="connsiteX84" fmla="*/ 4126027 w 6499257"/>
                    <a:gd name="connsiteY84" fmla="*/ 3124562 h 3498714"/>
                    <a:gd name="connsiteX85" fmla="*/ 2589325 w 6499257"/>
                    <a:gd name="connsiteY85" fmla="*/ 3124562 h 3498714"/>
                    <a:gd name="connsiteX86" fmla="*/ 2589325 w 6499257"/>
                    <a:gd name="connsiteY86" fmla="*/ 3361625 h 3498714"/>
                    <a:gd name="connsiteX87" fmla="*/ 2480313 w 6499257"/>
                    <a:gd name="connsiteY87" fmla="*/ 3470637 h 3498714"/>
                    <a:gd name="connsiteX88" fmla="*/ 2279239 w 6499257"/>
                    <a:gd name="connsiteY88" fmla="*/ 3470637 h 3498714"/>
                    <a:gd name="connsiteX89" fmla="*/ 2170227 w 6499257"/>
                    <a:gd name="connsiteY89" fmla="*/ 3361625 h 3498714"/>
                    <a:gd name="connsiteX90" fmla="*/ 2170227 w 6499257"/>
                    <a:gd name="connsiteY90" fmla="*/ 3124562 h 3498714"/>
                    <a:gd name="connsiteX91" fmla="*/ 2052754 w 6499257"/>
                    <a:gd name="connsiteY91" fmla="*/ 3124562 h 3498714"/>
                    <a:gd name="connsiteX92" fmla="*/ 1941629 w 6499257"/>
                    <a:gd name="connsiteY92" fmla="*/ 3013437 h 3498714"/>
                    <a:gd name="connsiteX93" fmla="*/ 2052754 w 6499257"/>
                    <a:gd name="connsiteY93" fmla="*/ 2902312 h 3498714"/>
                    <a:gd name="connsiteX94" fmla="*/ 682782 w 6499257"/>
                    <a:gd name="connsiteY94" fmla="*/ 0 h 3498714"/>
                    <a:gd name="connsiteX95" fmla="*/ 4492583 w 6499257"/>
                    <a:gd name="connsiteY95" fmla="*/ 2089512 h 3498714"/>
                    <a:gd name="connsiteX96" fmla="*/ 4311608 w 6499257"/>
                    <a:gd name="connsiteY96" fmla="*/ 2270487 h 3498714"/>
                    <a:gd name="connsiteX97" fmla="*/ 4492583 w 6499257"/>
                    <a:gd name="connsiteY97" fmla="*/ 2451462 h 3498714"/>
                    <a:gd name="connsiteX98" fmla="*/ 5407618 w 6499257"/>
                    <a:gd name="connsiteY98" fmla="*/ 2468742 h 3498714"/>
                    <a:gd name="connsiteX99" fmla="*/ 6498753 w 6499257"/>
                    <a:gd name="connsiteY99" fmla="*/ 2404799 h 3498714"/>
                    <a:gd name="connsiteX100" fmla="*/ 5388995 w 6499257"/>
                    <a:gd name="connsiteY100"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546612 w 6499257"/>
                    <a:gd name="connsiteY17" fmla="*/ 1856643 h 3498714"/>
                    <a:gd name="connsiteX18" fmla="*/ 4936448 w 6499257"/>
                    <a:gd name="connsiteY18" fmla="*/ 2279217 h 3498714"/>
                    <a:gd name="connsiteX19" fmla="*/ 4802103 w 6499257"/>
                    <a:gd name="connsiteY19" fmla="*/ 2588456 h 3498714"/>
                    <a:gd name="connsiteX20" fmla="*/ 4904699 w 6499257"/>
                    <a:gd name="connsiteY20" fmla="*/ 2705462 h 3498714"/>
                    <a:gd name="connsiteX21" fmla="*/ 4904698 w 6499257"/>
                    <a:gd name="connsiteY21" fmla="*/ 2705462 h 3498714"/>
                    <a:gd name="connsiteX22" fmla="*/ 4784047 w 6499257"/>
                    <a:gd name="connsiteY22" fmla="*/ 2826113 h 3498714"/>
                    <a:gd name="connsiteX23" fmla="*/ 1970999 w 6499257"/>
                    <a:gd name="connsiteY23" fmla="*/ 2826112 h 3498714"/>
                    <a:gd name="connsiteX24" fmla="*/ 1850348 w 6499257"/>
                    <a:gd name="connsiteY24" fmla="*/ 2705462 h 3498714"/>
                    <a:gd name="connsiteX25" fmla="*/ 1956769 w 6499257"/>
                    <a:gd name="connsiteY25" fmla="*/ 2587684 h 3498714"/>
                    <a:gd name="connsiteX26" fmla="*/ 1823360 w 6499257"/>
                    <a:gd name="connsiteY26" fmla="*/ 2279217 h 3498714"/>
                    <a:gd name="connsiteX27" fmla="*/ 2217440 w 6499257"/>
                    <a:gd name="connsiteY27" fmla="*/ 1856216 h 3498714"/>
                    <a:gd name="connsiteX28" fmla="*/ 2534724 w 6499257"/>
                    <a:gd name="connsiteY28" fmla="*/ 982297 h 3498714"/>
                    <a:gd name="connsiteX29" fmla="*/ 358791 w 6499257"/>
                    <a:gd name="connsiteY29" fmla="*/ 644545 h 3498714"/>
                    <a:gd name="connsiteX30" fmla="*/ 1006774 w 6499257"/>
                    <a:gd name="connsiteY30" fmla="*/ 644545 h 3498714"/>
                    <a:gd name="connsiteX31" fmla="*/ 1542636 w 6499257"/>
                    <a:gd name="connsiteY31" fmla="*/ 1193969 h 3498714"/>
                    <a:gd name="connsiteX32" fmla="*/ 1929878 w 6499257"/>
                    <a:gd name="connsiteY32" fmla="*/ 1193970 h 3498714"/>
                    <a:gd name="connsiteX33" fmla="*/ 2070059 w 6499257"/>
                    <a:gd name="connsiteY33" fmla="*/ 1334152 h 3498714"/>
                    <a:gd name="connsiteX34" fmla="*/ 1929878 w 6499257"/>
                    <a:gd name="connsiteY34" fmla="*/ 1474333 h 3498714"/>
                    <a:gd name="connsiteX35" fmla="*/ 1520943 w 6499257"/>
                    <a:gd name="connsiteY35" fmla="*/ 1470388 h 3498714"/>
                    <a:gd name="connsiteX36" fmla="*/ 1332825 w 6499257"/>
                    <a:gd name="connsiteY36" fmla="*/ 1367201 h 3498714"/>
                    <a:gd name="connsiteX37" fmla="*/ 1106501 w 6499257"/>
                    <a:gd name="connsiteY37" fmla="*/ 1098289 h 3498714"/>
                    <a:gd name="connsiteX38" fmla="*/ 1101049 w 6499257"/>
                    <a:gd name="connsiteY38" fmla="*/ 1092836 h 3498714"/>
                    <a:gd name="connsiteX39" fmla="*/ 1046523 w 6499257"/>
                    <a:gd name="connsiteY39" fmla="*/ 1092836 h 3498714"/>
                    <a:gd name="connsiteX40" fmla="*/ 1041071 w 6499257"/>
                    <a:gd name="connsiteY40" fmla="*/ 1098289 h 3498714"/>
                    <a:gd name="connsiteX41" fmla="*/ 1042136 w 6499257"/>
                    <a:gd name="connsiteY41" fmla="*/ 1419754 h 3498714"/>
                    <a:gd name="connsiteX42" fmla="*/ 1042136 w 6499257"/>
                    <a:gd name="connsiteY42" fmla="*/ 3337652 h 3498714"/>
                    <a:gd name="connsiteX43" fmla="*/ 881075 w 6499257"/>
                    <a:gd name="connsiteY43" fmla="*/ 3498714 h 3498714"/>
                    <a:gd name="connsiteX44" fmla="*/ 720012 w 6499257"/>
                    <a:gd name="connsiteY44" fmla="*/ 3337652 h 3498714"/>
                    <a:gd name="connsiteX45" fmla="*/ 720012 w 6499257"/>
                    <a:gd name="connsiteY45" fmla="*/ 2125717 h 3498714"/>
                    <a:gd name="connsiteX46" fmla="*/ 718947 w 6499257"/>
                    <a:gd name="connsiteY46" fmla="*/ 2033194 h 3498714"/>
                    <a:gd name="connsiteX47" fmla="*/ 714162 w 6499257"/>
                    <a:gd name="connsiteY47" fmla="*/ 2028410 h 3498714"/>
                    <a:gd name="connsiteX48" fmla="*/ 654759 w 6499257"/>
                    <a:gd name="connsiteY48" fmla="*/ 2028410 h 3498714"/>
                    <a:gd name="connsiteX49" fmla="*/ 649974 w 6499257"/>
                    <a:gd name="connsiteY49" fmla="*/ 2033194 h 3498714"/>
                    <a:gd name="connsiteX50" fmla="*/ 649974 w 6499257"/>
                    <a:gd name="connsiteY50" fmla="*/ 2125717 h 3498714"/>
                    <a:gd name="connsiteX51" fmla="*/ 649574 w 6499257"/>
                    <a:gd name="connsiteY51" fmla="*/ 3337652 h 3498714"/>
                    <a:gd name="connsiteX52" fmla="*/ 488511 w 6499257"/>
                    <a:gd name="connsiteY52" fmla="*/ 3498714 h 3498714"/>
                    <a:gd name="connsiteX53" fmla="*/ 327450 w 6499257"/>
                    <a:gd name="connsiteY53" fmla="*/ 3337652 h 3498714"/>
                    <a:gd name="connsiteX54" fmla="*/ 327450 w 6499257"/>
                    <a:gd name="connsiteY54" fmla="*/ 1458216 h 3498714"/>
                    <a:gd name="connsiteX55" fmla="*/ 322427 w 6499257"/>
                    <a:gd name="connsiteY55" fmla="*/ 1098205 h 3498714"/>
                    <a:gd name="connsiteX56" fmla="*/ 317058 w 6499257"/>
                    <a:gd name="connsiteY56" fmla="*/ 1092836 h 3498714"/>
                    <a:gd name="connsiteX57" fmla="*/ 263371 w 6499257"/>
                    <a:gd name="connsiteY57" fmla="*/ 1092836 h 3498714"/>
                    <a:gd name="connsiteX58" fmla="*/ 258001 w 6499257"/>
                    <a:gd name="connsiteY58" fmla="*/ 1098205 h 3498714"/>
                    <a:gd name="connsiteX59" fmla="*/ 258001 w 6499257"/>
                    <a:gd name="connsiteY59" fmla="*/ 1444446 h 3498714"/>
                    <a:gd name="connsiteX60" fmla="*/ 257700 w 6499257"/>
                    <a:gd name="connsiteY60" fmla="*/ 1444370 h 3498714"/>
                    <a:gd name="connsiteX61" fmla="*/ 257700 w 6499257"/>
                    <a:gd name="connsiteY61" fmla="*/ 1912573 h 3498714"/>
                    <a:gd name="connsiteX62" fmla="*/ 128850 w 6499257"/>
                    <a:gd name="connsiteY62" fmla="*/ 2041423 h 3498714"/>
                    <a:gd name="connsiteX63" fmla="*/ 0 w 6499257"/>
                    <a:gd name="connsiteY63" fmla="*/ 1912573 h 3498714"/>
                    <a:gd name="connsiteX64" fmla="*/ 0 w 6499257"/>
                    <a:gd name="connsiteY64" fmla="*/ 1101802 h 3498714"/>
                    <a:gd name="connsiteX65" fmla="*/ 0 w 6499257"/>
                    <a:gd name="connsiteY65" fmla="*/ 1003338 h 3498714"/>
                    <a:gd name="connsiteX66" fmla="*/ 0 w 6499257"/>
                    <a:gd name="connsiteY66" fmla="*/ 982486 h 3498714"/>
                    <a:gd name="connsiteX67" fmla="*/ 12733 w 6499257"/>
                    <a:gd name="connsiteY67" fmla="*/ 894663 h 3498714"/>
                    <a:gd name="connsiteX68" fmla="*/ 20539 w 6499257"/>
                    <a:gd name="connsiteY68" fmla="*/ 868773 h 3498714"/>
                    <a:gd name="connsiteX69" fmla="*/ 358791 w 6499257"/>
                    <a:gd name="connsiteY69" fmla="*/ 644545 h 3498714"/>
                    <a:gd name="connsiteX70" fmla="*/ 682782 w 6499257"/>
                    <a:gd name="connsiteY70" fmla="*/ 0 h 3498714"/>
                    <a:gd name="connsiteX71" fmla="*/ 966919 w 6499257"/>
                    <a:gd name="connsiteY71" fmla="*/ 284138 h 3498714"/>
                    <a:gd name="connsiteX72" fmla="*/ 682782 w 6499257"/>
                    <a:gd name="connsiteY72" fmla="*/ 568275 h 3498714"/>
                    <a:gd name="connsiteX73" fmla="*/ 398645 w 6499257"/>
                    <a:gd name="connsiteY73" fmla="*/ 284138 h 3498714"/>
                    <a:gd name="connsiteX74" fmla="*/ 682782 w 6499257"/>
                    <a:gd name="connsiteY74" fmla="*/ 0 h 3498714"/>
                    <a:gd name="connsiteX75" fmla="*/ 4707054 w 6499257"/>
                    <a:gd name="connsiteY75" fmla="*/ 2902312 h 3498714"/>
                    <a:gd name="connsiteX76" fmla="*/ 4818179 w 6499257"/>
                    <a:gd name="connsiteY76" fmla="*/ 3013437 h 3498714"/>
                    <a:gd name="connsiteX77" fmla="*/ 4707054 w 6499257"/>
                    <a:gd name="connsiteY77" fmla="*/ 3124562 h 3498714"/>
                    <a:gd name="connsiteX78" fmla="*/ 4545125 w 6499257"/>
                    <a:gd name="connsiteY78" fmla="*/ 3124562 h 3498714"/>
                    <a:gd name="connsiteX79" fmla="*/ 4545125 w 6499257"/>
                    <a:gd name="connsiteY79" fmla="*/ 3361625 h 3498714"/>
                    <a:gd name="connsiteX80" fmla="*/ 4436113 w 6499257"/>
                    <a:gd name="connsiteY80" fmla="*/ 3470637 h 3498714"/>
                    <a:gd name="connsiteX81" fmla="*/ 4235039 w 6499257"/>
                    <a:gd name="connsiteY81" fmla="*/ 3470637 h 3498714"/>
                    <a:gd name="connsiteX82" fmla="*/ 4126027 w 6499257"/>
                    <a:gd name="connsiteY82" fmla="*/ 3361625 h 3498714"/>
                    <a:gd name="connsiteX83" fmla="*/ 4126027 w 6499257"/>
                    <a:gd name="connsiteY83" fmla="*/ 3124562 h 3498714"/>
                    <a:gd name="connsiteX84" fmla="*/ 2589325 w 6499257"/>
                    <a:gd name="connsiteY84" fmla="*/ 3124562 h 3498714"/>
                    <a:gd name="connsiteX85" fmla="*/ 2589325 w 6499257"/>
                    <a:gd name="connsiteY85" fmla="*/ 3361625 h 3498714"/>
                    <a:gd name="connsiteX86" fmla="*/ 2480313 w 6499257"/>
                    <a:gd name="connsiteY86" fmla="*/ 3470637 h 3498714"/>
                    <a:gd name="connsiteX87" fmla="*/ 2279239 w 6499257"/>
                    <a:gd name="connsiteY87" fmla="*/ 3470637 h 3498714"/>
                    <a:gd name="connsiteX88" fmla="*/ 2170227 w 6499257"/>
                    <a:gd name="connsiteY88" fmla="*/ 3361625 h 3498714"/>
                    <a:gd name="connsiteX89" fmla="*/ 2170227 w 6499257"/>
                    <a:gd name="connsiteY89" fmla="*/ 3124562 h 3498714"/>
                    <a:gd name="connsiteX90" fmla="*/ 2052754 w 6499257"/>
                    <a:gd name="connsiteY90" fmla="*/ 3124562 h 3498714"/>
                    <a:gd name="connsiteX91" fmla="*/ 1941629 w 6499257"/>
                    <a:gd name="connsiteY91" fmla="*/ 3013437 h 3498714"/>
                    <a:gd name="connsiteX92" fmla="*/ 2052754 w 6499257"/>
                    <a:gd name="connsiteY92" fmla="*/ 2902312 h 3498714"/>
                    <a:gd name="connsiteX93" fmla="*/ 682782 w 6499257"/>
                    <a:gd name="connsiteY93" fmla="*/ 0 h 3498714"/>
                    <a:gd name="connsiteX94" fmla="*/ 4492583 w 6499257"/>
                    <a:gd name="connsiteY94" fmla="*/ 2089512 h 3498714"/>
                    <a:gd name="connsiteX95" fmla="*/ 4311608 w 6499257"/>
                    <a:gd name="connsiteY95" fmla="*/ 2270487 h 3498714"/>
                    <a:gd name="connsiteX96" fmla="*/ 4492583 w 6499257"/>
                    <a:gd name="connsiteY96" fmla="*/ 2451462 h 3498714"/>
                    <a:gd name="connsiteX97" fmla="*/ 5407618 w 6499257"/>
                    <a:gd name="connsiteY97" fmla="*/ 2468742 h 3498714"/>
                    <a:gd name="connsiteX98" fmla="*/ 6498753 w 6499257"/>
                    <a:gd name="connsiteY98" fmla="*/ 2404799 h 3498714"/>
                    <a:gd name="connsiteX99" fmla="*/ 5388995 w 6499257"/>
                    <a:gd name="connsiteY99"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936448 w 6499257"/>
                    <a:gd name="connsiteY17" fmla="*/ 2279217 h 3498714"/>
                    <a:gd name="connsiteX18" fmla="*/ 4802103 w 6499257"/>
                    <a:gd name="connsiteY18" fmla="*/ 2588456 h 3498714"/>
                    <a:gd name="connsiteX19" fmla="*/ 4904699 w 6499257"/>
                    <a:gd name="connsiteY19" fmla="*/ 2705462 h 3498714"/>
                    <a:gd name="connsiteX20" fmla="*/ 4904698 w 6499257"/>
                    <a:gd name="connsiteY20" fmla="*/ 2705462 h 3498714"/>
                    <a:gd name="connsiteX21" fmla="*/ 4784047 w 6499257"/>
                    <a:gd name="connsiteY21" fmla="*/ 2826113 h 3498714"/>
                    <a:gd name="connsiteX22" fmla="*/ 1970999 w 6499257"/>
                    <a:gd name="connsiteY22" fmla="*/ 2826112 h 3498714"/>
                    <a:gd name="connsiteX23" fmla="*/ 1850348 w 6499257"/>
                    <a:gd name="connsiteY23" fmla="*/ 2705462 h 3498714"/>
                    <a:gd name="connsiteX24" fmla="*/ 1956769 w 6499257"/>
                    <a:gd name="connsiteY24" fmla="*/ 2587684 h 3498714"/>
                    <a:gd name="connsiteX25" fmla="*/ 1823360 w 6499257"/>
                    <a:gd name="connsiteY25" fmla="*/ 2279217 h 3498714"/>
                    <a:gd name="connsiteX26" fmla="*/ 2217440 w 6499257"/>
                    <a:gd name="connsiteY26" fmla="*/ 1856216 h 3498714"/>
                    <a:gd name="connsiteX27" fmla="*/ 2534724 w 6499257"/>
                    <a:gd name="connsiteY27" fmla="*/ 982297 h 3498714"/>
                    <a:gd name="connsiteX28" fmla="*/ 358791 w 6499257"/>
                    <a:gd name="connsiteY28" fmla="*/ 644545 h 3498714"/>
                    <a:gd name="connsiteX29" fmla="*/ 1006774 w 6499257"/>
                    <a:gd name="connsiteY29" fmla="*/ 644545 h 3498714"/>
                    <a:gd name="connsiteX30" fmla="*/ 1542636 w 6499257"/>
                    <a:gd name="connsiteY30" fmla="*/ 1193969 h 3498714"/>
                    <a:gd name="connsiteX31" fmla="*/ 1929878 w 6499257"/>
                    <a:gd name="connsiteY31" fmla="*/ 1193970 h 3498714"/>
                    <a:gd name="connsiteX32" fmla="*/ 2070059 w 6499257"/>
                    <a:gd name="connsiteY32" fmla="*/ 1334152 h 3498714"/>
                    <a:gd name="connsiteX33" fmla="*/ 1929878 w 6499257"/>
                    <a:gd name="connsiteY33" fmla="*/ 1474333 h 3498714"/>
                    <a:gd name="connsiteX34" fmla="*/ 1520943 w 6499257"/>
                    <a:gd name="connsiteY34" fmla="*/ 1470388 h 3498714"/>
                    <a:gd name="connsiteX35" fmla="*/ 1332825 w 6499257"/>
                    <a:gd name="connsiteY35" fmla="*/ 1367201 h 3498714"/>
                    <a:gd name="connsiteX36" fmla="*/ 1106501 w 6499257"/>
                    <a:gd name="connsiteY36" fmla="*/ 1098289 h 3498714"/>
                    <a:gd name="connsiteX37" fmla="*/ 1101049 w 6499257"/>
                    <a:gd name="connsiteY37" fmla="*/ 1092836 h 3498714"/>
                    <a:gd name="connsiteX38" fmla="*/ 1046523 w 6499257"/>
                    <a:gd name="connsiteY38" fmla="*/ 1092836 h 3498714"/>
                    <a:gd name="connsiteX39" fmla="*/ 1041071 w 6499257"/>
                    <a:gd name="connsiteY39" fmla="*/ 1098289 h 3498714"/>
                    <a:gd name="connsiteX40" fmla="*/ 1042136 w 6499257"/>
                    <a:gd name="connsiteY40" fmla="*/ 1419754 h 3498714"/>
                    <a:gd name="connsiteX41" fmla="*/ 1042136 w 6499257"/>
                    <a:gd name="connsiteY41" fmla="*/ 3337652 h 3498714"/>
                    <a:gd name="connsiteX42" fmla="*/ 881075 w 6499257"/>
                    <a:gd name="connsiteY42" fmla="*/ 3498714 h 3498714"/>
                    <a:gd name="connsiteX43" fmla="*/ 720012 w 6499257"/>
                    <a:gd name="connsiteY43" fmla="*/ 3337652 h 3498714"/>
                    <a:gd name="connsiteX44" fmla="*/ 720012 w 6499257"/>
                    <a:gd name="connsiteY44" fmla="*/ 2125717 h 3498714"/>
                    <a:gd name="connsiteX45" fmla="*/ 718947 w 6499257"/>
                    <a:gd name="connsiteY45" fmla="*/ 2033194 h 3498714"/>
                    <a:gd name="connsiteX46" fmla="*/ 714162 w 6499257"/>
                    <a:gd name="connsiteY46" fmla="*/ 2028410 h 3498714"/>
                    <a:gd name="connsiteX47" fmla="*/ 654759 w 6499257"/>
                    <a:gd name="connsiteY47" fmla="*/ 2028410 h 3498714"/>
                    <a:gd name="connsiteX48" fmla="*/ 649974 w 6499257"/>
                    <a:gd name="connsiteY48" fmla="*/ 2033194 h 3498714"/>
                    <a:gd name="connsiteX49" fmla="*/ 649974 w 6499257"/>
                    <a:gd name="connsiteY49" fmla="*/ 2125717 h 3498714"/>
                    <a:gd name="connsiteX50" fmla="*/ 649574 w 6499257"/>
                    <a:gd name="connsiteY50" fmla="*/ 3337652 h 3498714"/>
                    <a:gd name="connsiteX51" fmla="*/ 488511 w 6499257"/>
                    <a:gd name="connsiteY51" fmla="*/ 3498714 h 3498714"/>
                    <a:gd name="connsiteX52" fmla="*/ 327450 w 6499257"/>
                    <a:gd name="connsiteY52" fmla="*/ 3337652 h 3498714"/>
                    <a:gd name="connsiteX53" fmla="*/ 327450 w 6499257"/>
                    <a:gd name="connsiteY53" fmla="*/ 1458216 h 3498714"/>
                    <a:gd name="connsiteX54" fmla="*/ 322427 w 6499257"/>
                    <a:gd name="connsiteY54" fmla="*/ 1098205 h 3498714"/>
                    <a:gd name="connsiteX55" fmla="*/ 317058 w 6499257"/>
                    <a:gd name="connsiteY55" fmla="*/ 1092836 h 3498714"/>
                    <a:gd name="connsiteX56" fmla="*/ 263371 w 6499257"/>
                    <a:gd name="connsiteY56" fmla="*/ 1092836 h 3498714"/>
                    <a:gd name="connsiteX57" fmla="*/ 258001 w 6499257"/>
                    <a:gd name="connsiteY57" fmla="*/ 1098205 h 3498714"/>
                    <a:gd name="connsiteX58" fmla="*/ 258001 w 6499257"/>
                    <a:gd name="connsiteY58" fmla="*/ 1444446 h 3498714"/>
                    <a:gd name="connsiteX59" fmla="*/ 257700 w 6499257"/>
                    <a:gd name="connsiteY59" fmla="*/ 1444370 h 3498714"/>
                    <a:gd name="connsiteX60" fmla="*/ 257700 w 6499257"/>
                    <a:gd name="connsiteY60" fmla="*/ 1912573 h 3498714"/>
                    <a:gd name="connsiteX61" fmla="*/ 128850 w 6499257"/>
                    <a:gd name="connsiteY61" fmla="*/ 2041423 h 3498714"/>
                    <a:gd name="connsiteX62" fmla="*/ 0 w 6499257"/>
                    <a:gd name="connsiteY62" fmla="*/ 1912573 h 3498714"/>
                    <a:gd name="connsiteX63" fmla="*/ 0 w 6499257"/>
                    <a:gd name="connsiteY63" fmla="*/ 1101802 h 3498714"/>
                    <a:gd name="connsiteX64" fmla="*/ 0 w 6499257"/>
                    <a:gd name="connsiteY64" fmla="*/ 1003338 h 3498714"/>
                    <a:gd name="connsiteX65" fmla="*/ 0 w 6499257"/>
                    <a:gd name="connsiteY65" fmla="*/ 982486 h 3498714"/>
                    <a:gd name="connsiteX66" fmla="*/ 12733 w 6499257"/>
                    <a:gd name="connsiteY66" fmla="*/ 894663 h 3498714"/>
                    <a:gd name="connsiteX67" fmla="*/ 20539 w 6499257"/>
                    <a:gd name="connsiteY67" fmla="*/ 868773 h 3498714"/>
                    <a:gd name="connsiteX68" fmla="*/ 358791 w 6499257"/>
                    <a:gd name="connsiteY68" fmla="*/ 644545 h 3498714"/>
                    <a:gd name="connsiteX69" fmla="*/ 682782 w 6499257"/>
                    <a:gd name="connsiteY69" fmla="*/ 0 h 3498714"/>
                    <a:gd name="connsiteX70" fmla="*/ 966919 w 6499257"/>
                    <a:gd name="connsiteY70" fmla="*/ 284138 h 3498714"/>
                    <a:gd name="connsiteX71" fmla="*/ 682782 w 6499257"/>
                    <a:gd name="connsiteY71" fmla="*/ 568275 h 3498714"/>
                    <a:gd name="connsiteX72" fmla="*/ 398645 w 6499257"/>
                    <a:gd name="connsiteY72" fmla="*/ 284138 h 3498714"/>
                    <a:gd name="connsiteX73" fmla="*/ 682782 w 6499257"/>
                    <a:gd name="connsiteY73" fmla="*/ 0 h 3498714"/>
                    <a:gd name="connsiteX74" fmla="*/ 4707054 w 6499257"/>
                    <a:gd name="connsiteY74" fmla="*/ 2902312 h 3498714"/>
                    <a:gd name="connsiteX75" fmla="*/ 4818179 w 6499257"/>
                    <a:gd name="connsiteY75" fmla="*/ 3013437 h 3498714"/>
                    <a:gd name="connsiteX76" fmla="*/ 4707054 w 6499257"/>
                    <a:gd name="connsiteY76" fmla="*/ 3124562 h 3498714"/>
                    <a:gd name="connsiteX77" fmla="*/ 4545125 w 6499257"/>
                    <a:gd name="connsiteY77" fmla="*/ 3124562 h 3498714"/>
                    <a:gd name="connsiteX78" fmla="*/ 4545125 w 6499257"/>
                    <a:gd name="connsiteY78" fmla="*/ 3361625 h 3498714"/>
                    <a:gd name="connsiteX79" fmla="*/ 4436113 w 6499257"/>
                    <a:gd name="connsiteY79" fmla="*/ 3470637 h 3498714"/>
                    <a:gd name="connsiteX80" fmla="*/ 4235039 w 6499257"/>
                    <a:gd name="connsiteY80" fmla="*/ 3470637 h 3498714"/>
                    <a:gd name="connsiteX81" fmla="*/ 4126027 w 6499257"/>
                    <a:gd name="connsiteY81" fmla="*/ 3361625 h 3498714"/>
                    <a:gd name="connsiteX82" fmla="*/ 4126027 w 6499257"/>
                    <a:gd name="connsiteY82" fmla="*/ 3124562 h 3498714"/>
                    <a:gd name="connsiteX83" fmla="*/ 2589325 w 6499257"/>
                    <a:gd name="connsiteY83" fmla="*/ 3124562 h 3498714"/>
                    <a:gd name="connsiteX84" fmla="*/ 2589325 w 6499257"/>
                    <a:gd name="connsiteY84" fmla="*/ 3361625 h 3498714"/>
                    <a:gd name="connsiteX85" fmla="*/ 2480313 w 6499257"/>
                    <a:gd name="connsiteY85" fmla="*/ 3470637 h 3498714"/>
                    <a:gd name="connsiteX86" fmla="*/ 2279239 w 6499257"/>
                    <a:gd name="connsiteY86" fmla="*/ 3470637 h 3498714"/>
                    <a:gd name="connsiteX87" fmla="*/ 2170227 w 6499257"/>
                    <a:gd name="connsiteY87" fmla="*/ 3361625 h 3498714"/>
                    <a:gd name="connsiteX88" fmla="*/ 2170227 w 6499257"/>
                    <a:gd name="connsiteY88" fmla="*/ 3124562 h 3498714"/>
                    <a:gd name="connsiteX89" fmla="*/ 2052754 w 6499257"/>
                    <a:gd name="connsiteY89" fmla="*/ 3124562 h 3498714"/>
                    <a:gd name="connsiteX90" fmla="*/ 1941629 w 6499257"/>
                    <a:gd name="connsiteY90" fmla="*/ 3013437 h 3498714"/>
                    <a:gd name="connsiteX91" fmla="*/ 2052754 w 6499257"/>
                    <a:gd name="connsiteY91" fmla="*/ 2902312 h 3498714"/>
                    <a:gd name="connsiteX92" fmla="*/ 682782 w 6499257"/>
                    <a:gd name="connsiteY92" fmla="*/ 0 h 3498714"/>
                    <a:gd name="connsiteX93" fmla="*/ 4492583 w 6499257"/>
                    <a:gd name="connsiteY93" fmla="*/ 2089512 h 3498714"/>
                    <a:gd name="connsiteX94" fmla="*/ 4311608 w 6499257"/>
                    <a:gd name="connsiteY94" fmla="*/ 2270487 h 3498714"/>
                    <a:gd name="connsiteX95" fmla="*/ 4492583 w 6499257"/>
                    <a:gd name="connsiteY95" fmla="*/ 2451462 h 3498714"/>
                    <a:gd name="connsiteX96" fmla="*/ 5407618 w 6499257"/>
                    <a:gd name="connsiteY96" fmla="*/ 2468742 h 3498714"/>
                    <a:gd name="connsiteX97" fmla="*/ 6498753 w 6499257"/>
                    <a:gd name="connsiteY97" fmla="*/ 2404799 h 3498714"/>
                    <a:gd name="connsiteX98" fmla="*/ 5388995 w 6499257"/>
                    <a:gd name="connsiteY98" fmla="*/ 2075460 h 3498714"/>
                    <a:gd name="connsiteX0" fmla="*/ 2979061 w 6499257"/>
                    <a:gd name="connsiteY0" fmla="*/ 2089512 h 3498714"/>
                    <a:gd name="connsiteX1" fmla="*/ 2671086 w 6499257"/>
                    <a:gd name="connsiteY1" fmla="*/ 2397487 h 3498714"/>
                    <a:gd name="connsiteX2" fmla="*/ 2671086 w 6499257"/>
                    <a:gd name="connsiteY2" fmla="*/ 2584811 h 3498714"/>
                    <a:gd name="connsiteX3" fmla="*/ 4083961 w 6499257"/>
                    <a:gd name="connsiteY3" fmla="*/ 2584811 h 3498714"/>
                    <a:gd name="connsiteX4" fmla="*/ 4083961 w 6499257"/>
                    <a:gd name="connsiteY4" fmla="*/ 2397487 h 3498714"/>
                    <a:gd name="connsiteX5" fmla="*/ 3775986 w 6499257"/>
                    <a:gd name="connsiteY5" fmla="*/ 2089512 h 3498714"/>
                    <a:gd name="connsiteX6" fmla="*/ 2979061 w 6499257"/>
                    <a:gd name="connsiteY6" fmla="*/ 2089512 h 3498714"/>
                    <a:gd name="connsiteX7" fmla="*/ 2251033 w 6499257"/>
                    <a:gd name="connsiteY7" fmla="*/ 2089512 h 3498714"/>
                    <a:gd name="connsiteX8" fmla="*/ 2070058 w 6499257"/>
                    <a:gd name="connsiteY8" fmla="*/ 2270487 h 3498714"/>
                    <a:gd name="connsiteX9" fmla="*/ 2251033 w 6499257"/>
                    <a:gd name="connsiteY9" fmla="*/ 2451462 h 3498714"/>
                    <a:gd name="connsiteX10" fmla="*/ 2432008 w 6499257"/>
                    <a:gd name="connsiteY10" fmla="*/ 2270487 h 3498714"/>
                    <a:gd name="connsiteX11" fmla="*/ 2251033 w 6499257"/>
                    <a:gd name="connsiteY11" fmla="*/ 2089512 h 3498714"/>
                    <a:gd name="connsiteX12" fmla="*/ 2842751 w 6499257"/>
                    <a:gd name="connsiteY12" fmla="*/ 1749356 h 3498714"/>
                    <a:gd name="connsiteX13" fmla="*/ 2392797 w 6499257"/>
                    <a:gd name="connsiteY13" fmla="*/ 1878907 h 3498714"/>
                    <a:gd name="connsiteX14" fmla="*/ 2478781 w 6499257"/>
                    <a:gd name="connsiteY14" fmla="*/ 1920808 h 3498714"/>
                    <a:gd name="connsiteX15" fmla="*/ 2842751 w 6499257"/>
                    <a:gd name="connsiteY15" fmla="*/ 1749356 h 3498714"/>
                    <a:gd name="connsiteX16" fmla="*/ 2534724 w 6499257"/>
                    <a:gd name="connsiteY16" fmla="*/ 982297 h 3498714"/>
                    <a:gd name="connsiteX17" fmla="*/ 4802103 w 6499257"/>
                    <a:gd name="connsiteY17" fmla="*/ 2588456 h 3498714"/>
                    <a:gd name="connsiteX18" fmla="*/ 4904699 w 6499257"/>
                    <a:gd name="connsiteY18" fmla="*/ 2705462 h 3498714"/>
                    <a:gd name="connsiteX19" fmla="*/ 4904698 w 6499257"/>
                    <a:gd name="connsiteY19" fmla="*/ 2705462 h 3498714"/>
                    <a:gd name="connsiteX20" fmla="*/ 4784047 w 6499257"/>
                    <a:gd name="connsiteY20" fmla="*/ 2826113 h 3498714"/>
                    <a:gd name="connsiteX21" fmla="*/ 1970999 w 6499257"/>
                    <a:gd name="connsiteY21" fmla="*/ 2826112 h 3498714"/>
                    <a:gd name="connsiteX22" fmla="*/ 1850348 w 6499257"/>
                    <a:gd name="connsiteY22" fmla="*/ 2705462 h 3498714"/>
                    <a:gd name="connsiteX23" fmla="*/ 1956769 w 6499257"/>
                    <a:gd name="connsiteY23" fmla="*/ 2587684 h 3498714"/>
                    <a:gd name="connsiteX24" fmla="*/ 1823360 w 6499257"/>
                    <a:gd name="connsiteY24" fmla="*/ 2279217 h 3498714"/>
                    <a:gd name="connsiteX25" fmla="*/ 2217440 w 6499257"/>
                    <a:gd name="connsiteY25" fmla="*/ 1856216 h 3498714"/>
                    <a:gd name="connsiteX26" fmla="*/ 2534724 w 6499257"/>
                    <a:gd name="connsiteY26" fmla="*/ 982297 h 3498714"/>
                    <a:gd name="connsiteX27" fmla="*/ 358791 w 6499257"/>
                    <a:gd name="connsiteY27" fmla="*/ 644545 h 3498714"/>
                    <a:gd name="connsiteX28" fmla="*/ 1006774 w 6499257"/>
                    <a:gd name="connsiteY28" fmla="*/ 644545 h 3498714"/>
                    <a:gd name="connsiteX29" fmla="*/ 1542636 w 6499257"/>
                    <a:gd name="connsiteY29" fmla="*/ 1193969 h 3498714"/>
                    <a:gd name="connsiteX30" fmla="*/ 1929878 w 6499257"/>
                    <a:gd name="connsiteY30" fmla="*/ 1193970 h 3498714"/>
                    <a:gd name="connsiteX31" fmla="*/ 2070059 w 6499257"/>
                    <a:gd name="connsiteY31" fmla="*/ 1334152 h 3498714"/>
                    <a:gd name="connsiteX32" fmla="*/ 1929878 w 6499257"/>
                    <a:gd name="connsiteY32" fmla="*/ 1474333 h 3498714"/>
                    <a:gd name="connsiteX33" fmla="*/ 1520943 w 6499257"/>
                    <a:gd name="connsiteY33" fmla="*/ 1470388 h 3498714"/>
                    <a:gd name="connsiteX34" fmla="*/ 1332825 w 6499257"/>
                    <a:gd name="connsiteY34" fmla="*/ 1367201 h 3498714"/>
                    <a:gd name="connsiteX35" fmla="*/ 1106501 w 6499257"/>
                    <a:gd name="connsiteY35" fmla="*/ 1098289 h 3498714"/>
                    <a:gd name="connsiteX36" fmla="*/ 1101049 w 6499257"/>
                    <a:gd name="connsiteY36" fmla="*/ 1092836 h 3498714"/>
                    <a:gd name="connsiteX37" fmla="*/ 1046523 w 6499257"/>
                    <a:gd name="connsiteY37" fmla="*/ 1092836 h 3498714"/>
                    <a:gd name="connsiteX38" fmla="*/ 1041071 w 6499257"/>
                    <a:gd name="connsiteY38" fmla="*/ 1098289 h 3498714"/>
                    <a:gd name="connsiteX39" fmla="*/ 1042136 w 6499257"/>
                    <a:gd name="connsiteY39" fmla="*/ 1419754 h 3498714"/>
                    <a:gd name="connsiteX40" fmla="*/ 1042136 w 6499257"/>
                    <a:gd name="connsiteY40" fmla="*/ 3337652 h 3498714"/>
                    <a:gd name="connsiteX41" fmla="*/ 881075 w 6499257"/>
                    <a:gd name="connsiteY41" fmla="*/ 3498714 h 3498714"/>
                    <a:gd name="connsiteX42" fmla="*/ 720012 w 6499257"/>
                    <a:gd name="connsiteY42" fmla="*/ 3337652 h 3498714"/>
                    <a:gd name="connsiteX43" fmla="*/ 720012 w 6499257"/>
                    <a:gd name="connsiteY43" fmla="*/ 2125717 h 3498714"/>
                    <a:gd name="connsiteX44" fmla="*/ 718947 w 6499257"/>
                    <a:gd name="connsiteY44" fmla="*/ 2033194 h 3498714"/>
                    <a:gd name="connsiteX45" fmla="*/ 714162 w 6499257"/>
                    <a:gd name="connsiteY45" fmla="*/ 2028410 h 3498714"/>
                    <a:gd name="connsiteX46" fmla="*/ 654759 w 6499257"/>
                    <a:gd name="connsiteY46" fmla="*/ 2028410 h 3498714"/>
                    <a:gd name="connsiteX47" fmla="*/ 649974 w 6499257"/>
                    <a:gd name="connsiteY47" fmla="*/ 2033194 h 3498714"/>
                    <a:gd name="connsiteX48" fmla="*/ 649974 w 6499257"/>
                    <a:gd name="connsiteY48" fmla="*/ 2125717 h 3498714"/>
                    <a:gd name="connsiteX49" fmla="*/ 649574 w 6499257"/>
                    <a:gd name="connsiteY49" fmla="*/ 3337652 h 3498714"/>
                    <a:gd name="connsiteX50" fmla="*/ 488511 w 6499257"/>
                    <a:gd name="connsiteY50" fmla="*/ 3498714 h 3498714"/>
                    <a:gd name="connsiteX51" fmla="*/ 327450 w 6499257"/>
                    <a:gd name="connsiteY51" fmla="*/ 3337652 h 3498714"/>
                    <a:gd name="connsiteX52" fmla="*/ 327450 w 6499257"/>
                    <a:gd name="connsiteY52" fmla="*/ 1458216 h 3498714"/>
                    <a:gd name="connsiteX53" fmla="*/ 322427 w 6499257"/>
                    <a:gd name="connsiteY53" fmla="*/ 1098205 h 3498714"/>
                    <a:gd name="connsiteX54" fmla="*/ 317058 w 6499257"/>
                    <a:gd name="connsiteY54" fmla="*/ 1092836 h 3498714"/>
                    <a:gd name="connsiteX55" fmla="*/ 263371 w 6499257"/>
                    <a:gd name="connsiteY55" fmla="*/ 1092836 h 3498714"/>
                    <a:gd name="connsiteX56" fmla="*/ 258001 w 6499257"/>
                    <a:gd name="connsiteY56" fmla="*/ 1098205 h 3498714"/>
                    <a:gd name="connsiteX57" fmla="*/ 258001 w 6499257"/>
                    <a:gd name="connsiteY57" fmla="*/ 1444446 h 3498714"/>
                    <a:gd name="connsiteX58" fmla="*/ 257700 w 6499257"/>
                    <a:gd name="connsiteY58" fmla="*/ 1444370 h 3498714"/>
                    <a:gd name="connsiteX59" fmla="*/ 257700 w 6499257"/>
                    <a:gd name="connsiteY59" fmla="*/ 1912573 h 3498714"/>
                    <a:gd name="connsiteX60" fmla="*/ 128850 w 6499257"/>
                    <a:gd name="connsiteY60" fmla="*/ 2041423 h 3498714"/>
                    <a:gd name="connsiteX61" fmla="*/ 0 w 6499257"/>
                    <a:gd name="connsiteY61" fmla="*/ 1912573 h 3498714"/>
                    <a:gd name="connsiteX62" fmla="*/ 0 w 6499257"/>
                    <a:gd name="connsiteY62" fmla="*/ 1101802 h 3498714"/>
                    <a:gd name="connsiteX63" fmla="*/ 0 w 6499257"/>
                    <a:gd name="connsiteY63" fmla="*/ 1003338 h 3498714"/>
                    <a:gd name="connsiteX64" fmla="*/ 0 w 6499257"/>
                    <a:gd name="connsiteY64" fmla="*/ 982486 h 3498714"/>
                    <a:gd name="connsiteX65" fmla="*/ 12733 w 6499257"/>
                    <a:gd name="connsiteY65" fmla="*/ 894663 h 3498714"/>
                    <a:gd name="connsiteX66" fmla="*/ 20539 w 6499257"/>
                    <a:gd name="connsiteY66" fmla="*/ 868773 h 3498714"/>
                    <a:gd name="connsiteX67" fmla="*/ 358791 w 6499257"/>
                    <a:gd name="connsiteY67" fmla="*/ 644545 h 3498714"/>
                    <a:gd name="connsiteX68" fmla="*/ 682782 w 6499257"/>
                    <a:gd name="connsiteY68" fmla="*/ 0 h 3498714"/>
                    <a:gd name="connsiteX69" fmla="*/ 966919 w 6499257"/>
                    <a:gd name="connsiteY69" fmla="*/ 284138 h 3498714"/>
                    <a:gd name="connsiteX70" fmla="*/ 682782 w 6499257"/>
                    <a:gd name="connsiteY70" fmla="*/ 568275 h 3498714"/>
                    <a:gd name="connsiteX71" fmla="*/ 398645 w 6499257"/>
                    <a:gd name="connsiteY71" fmla="*/ 284138 h 3498714"/>
                    <a:gd name="connsiteX72" fmla="*/ 682782 w 6499257"/>
                    <a:gd name="connsiteY72" fmla="*/ 0 h 3498714"/>
                    <a:gd name="connsiteX73" fmla="*/ 4707054 w 6499257"/>
                    <a:gd name="connsiteY73" fmla="*/ 2902312 h 3498714"/>
                    <a:gd name="connsiteX74" fmla="*/ 4818179 w 6499257"/>
                    <a:gd name="connsiteY74" fmla="*/ 3013437 h 3498714"/>
                    <a:gd name="connsiteX75" fmla="*/ 4707054 w 6499257"/>
                    <a:gd name="connsiteY75" fmla="*/ 3124562 h 3498714"/>
                    <a:gd name="connsiteX76" fmla="*/ 4545125 w 6499257"/>
                    <a:gd name="connsiteY76" fmla="*/ 3124562 h 3498714"/>
                    <a:gd name="connsiteX77" fmla="*/ 4545125 w 6499257"/>
                    <a:gd name="connsiteY77" fmla="*/ 3361625 h 3498714"/>
                    <a:gd name="connsiteX78" fmla="*/ 4436113 w 6499257"/>
                    <a:gd name="connsiteY78" fmla="*/ 3470637 h 3498714"/>
                    <a:gd name="connsiteX79" fmla="*/ 4235039 w 6499257"/>
                    <a:gd name="connsiteY79" fmla="*/ 3470637 h 3498714"/>
                    <a:gd name="connsiteX80" fmla="*/ 4126027 w 6499257"/>
                    <a:gd name="connsiteY80" fmla="*/ 3361625 h 3498714"/>
                    <a:gd name="connsiteX81" fmla="*/ 4126027 w 6499257"/>
                    <a:gd name="connsiteY81" fmla="*/ 3124562 h 3498714"/>
                    <a:gd name="connsiteX82" fmla="*/ 2589325 w 6499257"/>
                    <a:gd name="connsiteY82" fmla="*/ 3124562 h 3498714"/>
                    <a:gd name="connsiteX83" fmla="*/ 2589325 w 6499257"/>
                    <a:gd name="connsiteY83" fmla="*/ 3361625 h 3498714"/>
                    <a:gd name="connsiteX84" fmla="*/ 2480313 w 6499257"/>
                    <a:gd name="connsiteY84" fmla="*/ 3470637 h 3498714"/>
                    <a:gd name="connsiteX85" fmla="*/ 2279239 w 6499257"/>
                    <a:gd name="connsiteY85" fmla="*/ 3470637 h 3498714"/>
                    <a:gd name="connsiteX86" fmla="*/ 2170227 w 6499257"/>
                    <a:gd name="connsiteY86" fmla="*/ 3361625 h 3498714"/>
                    <a:gd name="connsiteX87" fmla="*/ 2170227 w 6499257"/>
                    <a:gd name="connsiteY87" fmla="*/ 3124562 h 3498714"/>
                    <a:gd name="connsiteX88" fmla="*/ 2052754 w 6499257"/>
                    <a:gd name="connsiteY88" fmla="*/ 3124562 h 3498714"/>
                    <a:gd name="connsiteX89" fmla="*/ 1941629 w 6499257"/>
                    <a:gd name="connsiteY89" fmla="*/ 3013437 h 3498714"/>
                    <a:gd name="connsiteX90" fmla="*/ 2052754 w 6499257"/>
                    <a:gd name="connsiteY90" fmla="*/ 2902312 h 3498714"/>
                    <a:gd name="connsiteX91" fmla="*/ 682782 w 6499257"/>
                    <a:gd name="connsiteY91" fmla="*/ 0 h 3498714"/>
                    <a:gd name="connsiteX92" fmla="*/ 4492583 w 6499257"/>
                    <a:gd name="connsiteY92" fmla="*/ 2089512 h 3498714"/>
                    <a:gd name="connsiteX93" fmla="*/ 4311608 w 6499257"/>
                    <a:gd name="connsiteY93" fmla="*/ 2270487 h 3498714"/>
                    <a:gd name="connsiteX94" fmla="*/ 4492583 w 6499257"/>
                    <a:gd name="connsiteY94" fmla="*/ 2451462 h 3498714"/>
                    <a:gd name="connsiteX95" fmla="*/ 5407618 w 6499257"/>
                    <a:gd name="connsiteY95" fmla="*/ 2468742 h 3498714"/>
                    <a:gd name="connsiteX96" fmla="*/ 6498753 w 6499257"/>
                    <a:gd name="connsiteY96" fmla="*/ 2404799 h 3498714"/>
                    <a:gd name="connsiteX97" fmla="*/ 5388995 w 6499257"/>
                    <a:gd name="connsiteY97" fmla="*/ 2075460 h 3498714"/>
                    <a:gd name="connsiteX0" fmla="*/ 2979061 w 6462083"/>
                    <a:gd name="connsiteY0" fmla="*/ 2089512 h 3498714"/>
                    <a:gd name="connsiteX1" fmla="*/ 2671086 w 6462083"/>
                    <a:gd name="connsiteY1" fmla="*/ 2397487 h 3498714"/>
                    <a:gd name="connsiteX2" fmla="*/ 2671086 w 6462083"/>
                    <a:gd name="connsiteY2" fmla="*/ 2584811 h 3498714"/>
                    <a:gd name="connsiteX3" fmla="*/ 4083961 w 6462083"/>
                    <a:gd name="connsiteY3" fmla="*/ 2584811 h 3498714"/>
                    <a:gd name="connsiteX4" fmla="*/ 4083961 w 6462083"/>
                    <a:gd name="connsiteY4" fmla="*/ 2397487 h 3498714"/>
                    <a:gd name="connsiteX5" fmla="*/ 3775986 w 6462083"/>
                    <a:gd name="connsiteY5" fmla="*/ 2089512 h 3498714"/>
                    <a:gd name="connsiteX6" fmla="*/ 2979061 w 6462083"/>
                    <a:gd name="connsiteY6" fmla="*/ 2089512 h 3498714"/>
                    <a:gd name="connsiteX7" fmla="*/ 2251033 w 6462083"/>
                    <a:gd name="connsiteY7" fmla="*/ 2089512 h 3498714"/>
                    <a:gd name="connsiteX8" fmla="*/ 2070058 w 6462083"/>
                    <a:gd name="connsiteY8" fmla="*/ 2270487 h 3498714"/>
                    <a:gd name="connsiteX9" fmla="*/ 2251033 w 6462083"/>
                    <a:gd name="connsiteY9" fmla="*/ 2451462 h 3498714"/>
                    <a:gd name="connsiteX10" fmla="*/ 2432008 w 6462083"/>
                    <a:gd name="connsiteY10" fmla="*/ 2270487 h 3498714"/>
                    <a:gd name="connsiteX11" fmla="*/ 2251033 w 6462083"/>
                    <a:gd name="connsiteY11" fmla="*/ 2089512 h 3498714"/>
                    <a:gd name="connsiteX12" fmla="*/ 2842751 w 6462083"/>
                    <a:gd name="connsiteY12" fmla="*/ 1749356 h 3498714"/>
                    <a:gd name="connsiteX13" fmla="*/ 2392797 w 6462083"/>
                    <a:gd name="connsiteY13" fmla="*/ 1878907 h 3498714"/>
                    <a:gd name="connsiteX14" fmla="*/ 2478781 w 6462083"/>
                    <a:gd name="connsiteY14" fmla="*/ 1920808 h 3498714"/>
                    <a:gd name="connsiteX15" fmla="*/ 2842751 w 6462083"/>
                    <a:gd name="connsiteY15" fmla="*/ 1749356 h 3498714"/>
                    <a:gd name="connsiteX16" fmla="*/ 2534724 w 6462083"/>
                    <a:gd name="connsiteY16" fmla="*/ 982297 h 3498714"/>
                    <a:gd name="connsiteX17" fmla="*/ 4802103 w 6462083"/>
                    <a:gd name="connsiteY17" fmla="*/ 2588456 h 3498714"/>
                    <a:gd name="connsiteX18" fmla="*/ 4904699 w 6462083"/>
                    <a:gd name="connsiteY18" fmla="*/ 2705462 h 3498714"/>
                    <a:gd name="connsiteX19" fmla="*/ 4904698 w 6462083"/>
                    <a:gd name="connsiteY19" fmla="*/ 2705462 h 3498714"/>
                    <a:gd name="connsiteX20" fmla="*/ 4784047 w 6462083"/>
                    <a:gd name="connsiteY20" fmla="*/ 2826113 h 3498714"/>
                    <a:gd name="connsiteX21" fmla="*/ 1970999 w 6462083"/>
                    <a:gd name="connsiteY21" fmla="*/ 2826112 h 3498714"/>
                    <a:gd name="connsiteX22" fmla="*/ 1850348 w 6462083"/>
                    <a:gd name="connsiteY22" fmla="*/ 2705462 h 3498714"/>
                    <a:gd name="connsiteX23" fmla="*/ 1956769 w 6462083"/>
                    <a:gd name="connsiteY23" fmla="*/ 2587684 h 3498714"/>
                    <a:gd name="connsiteX24" fmla="*/ 1823360 w 6462083"/>
                    <a:gd name="connsiteY24" fmla="*/ 2279217 h 3498714"/>
                    <a:gd name="connsiteX25" fmla="*/ 2217440 w 6462083"/>
                    <a:gd name="connsiteY25" fmla="*/ 1856216 h 3498714"/>
                    <a:gd name="connsiteX26" fmla="*/ 2534724 w 6462083"/>
                    <a:gd name="connsiteY26" fmla="*/ 982297 h 3498714"/>
                    <a:gd name="connsiteX27" fmla="*/ 358791 w 6462083"/>
                    <a:gd name="connsiteY27" fmla="*/ 644545 h 3498714"/>
                    <a:gd name="connsiteX28" fmla="*/ 1006774 w 6462083"/>
                    <a:gd name="connsiteY28" fmla="*/ 644545 h 3498714"/>
                    <a:gd name="connsiteX29" fmla="*/ 1542636 w 6462083"/>
                    <a:gd name="connsiteY29" fmla="*/ 1193969 h 3498714"/>
                    <a:gd name="connsiteX30" fmla="*/ 1929878 w 6462083"/>
                    <a:gd name="connsiteY30" fmla="*/ 1193970 h 3498714"/>
                    <a:gd name="connsiteX31" fmla="*/ 2070059 w 6462083"/>
                    <a:gd name="connsiteY31" fmla="*/ 1334152 h 3498714"/>
                    <a:gd name="connsiteX32" fmla="*/ 1929878 w 6462083"/>
                    <a:gd name="connsiteY32" fmla="*/ 1474333 h 3498714"/>
                    <a:gd name="connsiteX33" fmla="*/ 1520943 w 6462083"/>
                    <a:gd name="connsiteY33" fmla="*/ 1470388 h 3498714"/>
                    <a:gd name="connsiteX34" fmla="*/ 1332825 w 6462083"/>
                    <a:gd name="connsiteY34" fmla="*/ 1367201 h 3498714"/>
                    <a:gd name="connsiteX35" fmla="*/ 1106501 w 6462083"/>
                    <a:gd name="connsiteY35" fmla="*/ 1098289 h 3498714"/>
                    <a:gd name="connsiteX36" fmla="*/ 1101049 w 6462083"/>
                    <a:gd name="connsiteY36" fmla="*/ 1092836 h 3498714"/>
                    <a:gd name="connsiteX37" fmla="*/ 1046523 w 6462083"/>
                    <a:gd name="connsiteY37" fmla="*/ 1092836 h 3498714"/>
                    <a:gd name="connsiteX38" fmla="*/ 1041071 w 6462083"/>
                    <a:gd name="connsiteY38" fmla="*/ 1098289 h 3498714"/>
                    <a:gd name="connsiteX39" fmla="*/ 1042136 w 6462083"/>
                    <a:gd name="connsiteY39" fmla="*/ 1419754 h 3498714"/>
                    <a:gd name="connsiteX40" fmla="*/ 1042136 w 6462083"/>
                    <a:gd name="connsiteY40" fmla="*/ 3337652 h 3498714"/>
                    <a:gd name="connsiteX41" fmla="*/ 881075 w 6462083"/>
                    <a:gd name="connsiteY41" fmla="*/ 3498714 h 3498714"/>
                    <a:gd name="connsiteX42" fmla="*/ 720012 w 6462083"/>
                    <a:gd name="connsiteY42" fmla="*/ 3337652 h 3498714"/>
                    <a:gd name="connsiteX43" fmla="*/ 720012 w 6462083"/>
                    <a:gd name="connsiteY43" fmla="*/ 2125717 h 3498714"/>
                    <a:gd name="connsiteX44" fmla="*/ 718947 w 6462083"/>
                    <a:gd name="connsiteY44" fmla="*/ 2033194 h 3498714"/>
                    <a:gd name="connsiteX45" fmla="*/ 714162 w 6462083"/>
                    <a:gd name="connsiteY45" fmla="*/ 2028410 h 3498714"/>
                    <a:gd name="connsiteX46" fmla="*/ 654759 w 6462083"/>
                    <a:gd name="connsiteY46" fmla="*/ 2028410 h 3498714"/>
                    <a:gd name="connsiteX47" fmla="*/ 649974 w 6462083"/>
                    <a:gd name="connsiteY47" fmla="*/ 2033194 h 3498714"/>
                    <a:gd name="connsiteX48" fmla="*/ 649974 w 6462083"/>
                    <a:gd name="connsiteY48" fmla="*/ 2125717 h 3498714"/>
                    <a:gd name="connsiteX49" fmla="*/ 649574 w 6462083"/>
                    <a:gd name="connsiteY49" fmla="*/ 3337652 h 3498714"/>
                    <a:gd name="connsiteX50" fmla="*/ 488511 w 6462083"/>
                    <a:gd name="connsiteY50" fmla="*/ 3498714 h 3498714"/>
                    <a:gd name="connsiteX51" fmla="*/ 327450 w 6462083"/>
                    <a:gd name="connsiteY51" fmla="*/ 3337652 h 3498714"/>
                    <a:gd name="connsiteX52" fmla="*/ 327450 w 6462083"/>
                    <a:gd name="connsiteY52" fmla="*/ 1458216 h 3498714"/>
                    <a:gd name="connsiteX53" fmla="*/ 322427 w 6462083"/>
                    <a:gd name="connsiteY53" fmla="*/ 1098205 h 3498714"/>
                    <a:gd name="connsiteX54" fmla="*/ 317058 w 6462083"/>
                    <a:gd name="connsiteY54" fmla="*/ 1092836 h 3498714"/>
                    <a:gd name="connsiteX55" fmla="*/ 263371 w 6462083"/>
                    <a:gd name="connsiteY55" fmla="*/ 1092836 h 3498714"/>
                    <a:gd name="connsiteX56" fmla="*/ 258001 w 6462083"/>
                    <a:gd name="connsiteY56" fmla="*/ 1098205 h 3498714"/>
                    <a:gd name="connsiteX57" fmla="*/ 258001 w 6462083"/>
                    <a:gd name="connsiteY57" fmla="*/ 1444446 h 3498714"/>
                    <a:gd name="connsiteX58" fmla="*/ 257700 w 6462083"/>
                    <a:gd name="connsiteY58" fmla="*/ 1444370 h 3498714"/>
                    <a:gd name="connsiteX59" fmla="*/ 257700 w 6462083"/>
                    <a:gd name="connsiteY59" fmla="*/ 1912573 h 3498714"/>
                    <a:gd name="connsiteX60" fmla="*/ 128850 w 6462083"/>
                    <a:gd name="connsiteY60" fmla="*/ 2041423 h 3498714"/>
                    <a:gd name="connsiteX61" fmla="*/ 0 w 6462083"/>
                    <a:gd name="connsiteY61" fmla="*/ 1912573 h 3498714"/>
                    <a:gd name="connsiteX62" fmla="*/ 0 w 6462083"/>
                    <a:gd name="connsiteY62" fmla="*/ 1101802 h 3498714"/>
                    <a:gd name="connsiteX63" fmla="*/ 0 w 6462083"/>
                    <a:gd name="connsiteY63" fmla="*/ 1003338 h 3498714"/>
                    <a:gd name="connsiteX64" fmla="*/ 0 w 6462083"/>
                    <a:gd name="connsiteY64" fmla="*/ 982486 h 3498714"/>
                    <a:gd name="connsiteX65" fmla="*/ 12733 w 6462083"/>
                    <a:gd name="connsiteY65" fmla="*/ 894663 h 3498714"/>
                    <a:gd name="connsiteX66" fmla="*/ 20539 w 6462083"/>
                    <a:gd name="connsiteY66" fmla="*/ 868773 h 3498714"/>
                    <a:gd name="connsiteX67" fmla="*/ 358791 w 6462083"/>
                    <a:gd name="connsiteY67" fmla="*/ 644545 h 3498714"/>
                    <a:gd name="connsiteX68" fmla="*/ 682782 w 6462083"/>
                    <a:gd name="connsiteY68" fmla="*/ 0 h 3498714"/>
                    <a:gd name="connsiteX69" fmla="*/ 966919 w 6462083"/>
                    <a:gd name="connsiteY69" fmla="*/ 284138 h 3498714"/>
                    <a:gd name="connsiteX70" fmla="*/ 682782 w 6462083"/>
                    <a:gd name="connsiteY70" fmla="*/ 568275 h 3498714"/>
                    <a:gd name="connsiteX71" fmla="*/ 398645 w 6462083"/>
                    <a:gd name="connsiteY71" fmla="*/ 284138 h 3498714"/>
                    <a:gd name="connsiteX72" fmla="*/ 682782 w 6462083"/>
                    <a:gd name="connsiteY72" fmla="*/ 0 h 3498714"/>
                    <a:gd name="connsiteX73" fmla="*/ 4707054 w 6462083"/>
                    <a:gd name="connsiteY73" fmla="*/ 2902312 h 3498714"/>
                    <a:gd name="connsiteX74" fmla="*/ 4818179 w 6462083"/>
                    <a:gd name="connsiteY74" fmla="*/ 3013437 h 3498714"/>
                    <a:gd name="connsiteX75" fmla="*/ 4707054 w 6462083"/>
                    <a:gd name="connsiteY75" fmla="*/ 3124562 h 3498714"/>
                    <a:gd name="connsiteX76" fmla="*/ 4545125 w 6462083"/>
                    <a:gd name="connsiteY76" fmla="*/ 3124562 h 3498714"/>
                    <a:gd name="connsiteX77" fmla="*/ 4545125 w 6462083"/>
                    <a:gd name="connsiteY77" fmla="*/ 3361625 h 3498714"/>
                    <a:gd name="connsiteX78" fmla="*/ 4436113 w 6462083"/>
                    <a:gd name="connsiteY78" fmla="*/ 3470637 h 3498714"/>
                    <a:gd name="connsiteX79" fmla="*/ 4235039 w 6462083"/>
                    <a:gd name="connsiteY79" fmla="*/ 3470637 h 3498714"/>
                    <a:gd name="connsiteX80" fmla="*/ 4126027 w 6462083"/>
                    <a:gd name="connsiteY80" fmla="*/ 3361625 h 3498714"/>
                    <a:gd name="connsiteX81" fmla="*/ 4126027 w 6462083"/>
                    <a:gd name="connsiteY81" fmla="*/ 3124562 h 3498714"/>
                    <a:gd name="connsiteX82" fmla="*/ 2589325 w 6462083"/>
                    <a:gd name="connsiteY82" fmla="*/ 3124562 h 3498714"/>
                    <a:gd name="connsiteX83" fmla="*/ 2589325 w 6462083"/>
                    <a:gd name="connsiteY83" fmla="*/ 3361625 h 3498714"/>
                    <a:gd name="connsiteX84" fmla="*/ 2480313 w 6462083"/>
                    <a:gd name="connsiteY84" fmla="*/ 3470637 h 3498714"/>
                    <a:gd name="connsiteX85" fmla="*/ 2279239 w 6462083"/>
                    <a:gd name="connsiteY85" fmla="*/ 3470637 h 3498714"/>
                    <a:gd name="connsiteX86" fmla="*/ 2170227 w 6462083"/>
                    <a:gd name="connsiteY86" fmla="*/ 3361625 h 3498714"/>
                    <a:gd name="connsiteX87" fmla="*/ 2170227 w 6462083"/>
                    <a:gd name="connsiteY87" fmla="*/ 3124562 h 3498714"/>
                    <a:gd name="connsiteX88" fmla="*/ 2052754 w 6462083"/>
                    <a:gd name="connsiteY88" fmla="*/ 3124562 h 3498714"/>
                    <a:gd name="connsiteX89" fmla="*/ 1941629 w 6462083"/>
                    <a:gd name="connsiteY89" fmla="*/ 3013437 h 3498714"/>
                    <a:gd name="connsiteX90" fmla="*/ 2052754 w 6462083"/>
                    <a:gd name="connsiteY90" fmla="*/ 2902312 h 3498714"/>
                    <a:gd name="connsiteX91" fmla="*/ 682782 w 6462083"/>
                    <a:gd name="connsiteY91" fmla="*/ 0 h 3498714"/>
                    <a:gd name="connsiteX92" fmla="*/ 4492583 w 6462083"/>
                    <a:gd name="connsiteY92" fmla="*/ 2089512 h 3498714"/>
                    <a:gd name="connsiteX93" fmla="*/ 4311608 w 6462083"/>
                    <a:gd name="connsiteY93" fmla="*/ 2270487 h 3498714"/>
                    <a:gd name="connsiteX94" fmla="*/ 4492583 w 6462083"/>
                    <a:gd name="connsiteY94" fmla="*/ 2451462 h 3498714"/>
                    <a:gd name="connsiteX95" fmla="*/ 5407618 w 6462083"/>
                    <a:gd name="connsiteY95" fmla="*/ 2468742 h 3498714"/>
                    <a:gd name="connsiteX96" fmla="*/ 6461556 w 6462083"/>
                    <a:gd name="connsiteY96" fmla="*/ 2404799 h 3498714"/>
                    <a:gd name="connsiteX97" fmla="*/ 5388995 w 6462083"/>
                    <a:gd name="connsiteY97" fmla="*/ 2075460 h 3498714"/>
                    <a:gd name="connsiteX0" fmla="*/ 2979061 w 5470282"/>
                    <a:gd name="connsiteY0" fmla="*/ 2089512 h 3498714"/>
                    <a:gd name="connsiteX1" fmla="*/ 2671086 w 5470282"/>
                    <a:gd name="connsiteY1" fmla="*/ 2397487 h 3498714"/>
                    <a:gd name="connsiteX2" fmla="*/ 2671086 w 5470282"/>
                    <a:gd name="connsiteY2" fmla="*/ 2584811 h 3498714"/>
                    <a:gd name="connsiteX3" fmla="*/ 4083961 w 5470282"/>
                    <a:gd name="connsiteY3" fmla="*/ 2584811 h 3498714"/>
                    <a:gd name="connsiteX4" fmla="*/ 4083961 w 5470282"/>
                    <a:gd name="connsiteY4" fmla="*/ 2397487 h 3498714"/>
                    <a:gd name="connsiteX5" fmla="*/ 3775986 w 5470282"/>
                    <a:gd name="connsiteY5" fmla="*/ 2089512 h 3498714"/>
                    <a:gd name="connsiteX6" fmla="*/ 2979061 w 5470282"/>
                    <a:gd name="connsiteY6" fmla="*/ 2089512 h 3498714"/>
                    <a:gd name="connsiteX7" fmla="*/ 2251033 w 5470282"/>
                    <a:gd name="connsiteY7" fmla="*/ 2089512 h 3498714"/>
                    <a:gd name="connsiteX8" fmla="*/ 2070058 w 5470282"/>
                    <a:gd name="connsiteY8" fmla="*/ 2270487 h 3498714"/>
                    <a:gd name="connsiteX9" fmla="*/ 2251033 w 5470282"/>
                    <a:gd name="connsiteY9" fmla="*/ 2451462 h 3498714"/>
                    <a:gd name="connsiteX10" fmla="*/ 2432008 w 5470282"/>
                    <a:gd name="connsiteY10" fmla="*/ 2270487 h 3498714"/>
                    <a:gd name="connsiteX11" fmla="*/ 2251033 w 5470282"/>
                    <a:gd name="connsiteY11" fmla="*/ 2089512 h 3498714"/>
                    <a:gd name="connsiteX12" fmla="*/ 2842751 w 5470282"/>
                    <a:gd name="connsiteY12" fmla="*/ 1749356 h 3498714"/>
                    <a:gd name="connsiteX13" fmla="*/ 2392797 w 5470282"/>
                    <a:gd name="connsiteY13" fmla="*/ 1878907 h 3498714"/>
                    <a:gd name="connsiteX14" fmla="*/ 2478781 w 5470282"/>
                    <a:gd name="connsiteY14" fmla="*/ 1920808 h 3498714"/>
                    <a:gd name="connsiteX15" fmla="*/ 2842751 w 5470282"/>
                    <a:gd name="connsiteY15" fmla="*/ 1749356 h 3498714"/>
                    <a:gd name="connsiteX16" fmla="*/ 2534724 w 5470282"/>
                    <a:gd name="connsiteY16" fmla="*/ 982297 h 3498714"/>
                    <a:gd name="connsiteX17" fmla="*/ 4802103 w 5470282"/>
                    <a:gd name="connsiteY17" fmla="*/ 2588456 h 3498714"/>
                    <a:gd name="connsiteX18" fmla="*/ 4904699 w 5470282"/>
                    <a:gd name="connsiteY18" fmla="*/ 2705462 h 3498714"/>
                    <a:gd name="connsiteX19" fmla="*/ 4904698 w 5470282"/>
                    <a:gd name="connsiteY19" fmla="*/ 2705462 h 3498714"/>
                    <a:gd name="connsiteX20" fmla="*/ 4784047 w 5470282"/>
                    <a:gd name="connsiteY20" fmla="*/ 2826113 h 3498714"/>
                    <a:gd name="connsiteX21" fmla="*/ 1970999 w 5470282"/>
                    <a:gd name="connsiteY21" fmla="*/ 2826112 h 3498714"/>
                    <a:gd name="connsiteX22" fmla="*/ 1850348 w 5470282"/>
                    <a:gd name="connsiteY22" fmla="*/ 2705462 h 3498714"/>
                    <a:gd name="connsiteX23" fmla="*/ 1956769 w 5470282"/>
                    <a:gd name="connsiteY23" fmla="*/ 2587684 h 3498714"/>
                    <a:gd name="connsiteX24" fmla="*/ 1823360 w 5470282"/>
                    <a:gd name="connsiteY24" fmla="*/ 2279217 h 3498714"/>
                    <a:gd name="connsiteX25" fmla="*/ 2217440 w 5470282"/>
                    <a:gd name="connsiteY25" fmla="*/ 1856216 h 3498714"/>
                    <a:gd name="connsiteX26" fmla="*/ 2534724 w 5470282"/>
                    <a:gd name="connsiteY26" fmla="*/ 982297 h 3498714"/>
                    <a:gd name="connsiteX27" fmla="*/ 358791 w 5470282"/>
                    <a:gd name="connsiteY27" fmla="*/ 644545 h 3498714"/>
                    <a:gd name="connsiteX28" fmla="*/ 1006774 w 5470282"/>
                    <a:gd name="connsiteY28" fmla="*/ 644545 h 3498714"/>
                    <a:gd name="connsiteX29" fmla="*/ 1542636 w 5470282"/>
                    <a:gd name="connsiteY29" fmla="*/ 1193969 h 3498714"/>
                    <a:gd name="connsiteX30" fmla="*/ 1929878 w 5470282"/>
                    <a:gd name="connsiteY30" fmla="*/ 1193970 h 3498714"/>
                    <a:gd name="connsiteX31" fmla="*/ 2070059 w 5470282"/>
                    <a:gd name="connsiteY31" fmla="*/ 1334152 h 3498714"/>
                    <a:gd name="connsiteX32" fmla="*/ 1929878 w 5470282"/>
                    <a:gd name="connsiteY32" fmla="*/ 1474333 h 3498714"/>
                    <a:gd name="connsiteX33" fmla="*/ 1520943 w 5470282"/>
                    <a:gd name="connsiteY33" fmla="*/ 1470388 h 3498714"/>
                    <a:gd name="connsiteX34" fmla="*/ 1332825 w 5470282"/>
                    <a:gd name="connsiteY34" fmla="*/ 1367201 h 3498714"/>
                    <a:gd name="connsiteX35" fmla="*/ 1106501 w 5470282"/>
                    <a:gd name="connsiteY35" fmla="*/ 1098289 h 3498714"/>
                    <a:gd name="connsiteX36" fmla="*/ 1101049 w 5470282"/>
                    <a:gd name="connsiteY36" fmla="*/ 1092836 h 3498714"/>
                    <a:gd name="connsiteX37" fmla="*/ 1046523 w 5470282"/>
                    <a:gd name="connsiteY37" fmla="*/ 1092836 h 3498714"/>
                    <a:gd name="connsiteX38" fmla="*/ 1041071 w 5470282"/>
                    <a:gd name="connsiteY38" fmla="*/ 1098289 h 3498714"/>
                    <a:gd name="connsiteX39" fmla="*/ 1042136 w 5470282"/>
                    <a:gd name="connsiteY39" fmla="*/ 1419754 h 3498714"/>
                    <a:gd name="connsiteX40" fmla="*/ 1042136 w 5470282"/>
                    <a:gd name="connsiteY40" fmla="*/ 3337652 h 3498714"/>
                    <a:gd name="connsiteX41" fmla="*/ 881075 w 5470282"/>
                    <a:gd name="connsiteY41" fmla="*/ 3498714 h 3498714"/>
                    <a:gd name="connsiteX42" fmla="*/ 720012 w 5470282"/>
                    <a:gd name="connsiteY42" fmla="*/ 3337652 h 3498714"/>
                    <a:gd name="connsiteX43" fmla="*/ 720012 w 5470282"/>
                    <a:gd name="connsiteY43" fmla="*/ 2125717 h 3498714"/>
                    <a:gd name="connsiteX44" fmla="*/ 718947 w 5470282"/>
                    <a:gd name="connsiteY44" fmla="*/ 2033194 h 3498714"/>
                    <a:gd name="connsiteX45" fmla="*/ 714162 w 5470282"/>
                    <a:gd name="connsiteY45" fmla="*/ 2028410 h 3498714"/>
                    <a:gd name="connsiteX46" fmla="*/ 654759 w 5470282"/>
                    <a:gd name="connsiteY46" fmla="*/ 2028410 h 3498714"/>
                    <a:gd name="connsiteX47" fmla="*/ 649974 w 5470282"/>
                    <a:gd name="connsiteY47" fmla="*/ 2033194 h 3498714"/>
                    <a:gd name="connsiteX48" fmla="*/ 649974 w 5470282"/>
                    <a:gd name="connsiteY48" fmla="*/ 2125717 h 3498714"/>
                    <a:gd name="connsiteX49" fmla="*/ 649574 w 5470282"/>
                    <a:gd name="connsiteY49" fmla="*/ 3337652 h 3498714"/>
                    <a:gd name="connsiteX50" fmla="*/ 488511 w 5470282"/>
                    <a:gd name="connsiteY50" fmla="*/ 3498714 h 3498714"/>
                    <a:gd name="connsiteX51" fmla="*/ 327450 w 5470282"/>
                    <a:gd name="connsiteY51" fmla="*/ 3337652 h 3498714"/>
                    <a:gd name="connsiteX52" fmla="*/ 327450 w 5470282"/>
                    <a:gd name="connsiteY52" fmla="*/ 1458216 h 3498714"/>
                    <a:gd name="connsiteX53" fmla="*/ 322427 w 5470282"/>
                    <a:gd name="connsiteY53" fmla="*/ 1098205 h 3498714"/>
                    <a:gd name="connsiteX54" fmla="*/ 317058 w 5470282"/>
                    <a:gd name="connsiteY54" fmla="*/ 1092836 h 3498714"/>
                    <a:gd name="connsiteX55" fmla="*/ 263371 w 5470282"/>
                    <a:gd name="connsiteY55" fmla="*/ 1092836 h 3498714"/>
                    <a:gd name="connsiteX56" fmla="*/ 258001 w 5470282"/>
                    <a:gd name="connsiteY56" fmla="*/ 1098205 h 3498714"/>
                    <a:gd name="connsiteX57" fmla="*/ 258001 w 5470282"/>
                    <a:gd name="connsiteY57" fmla="*/ 1444446 h 3498714"/>
                    <a:gd name="connsiteX58" fmla="*/ 257700 w 5470282"/>
                    <a:gd name="connsiteY58" fmla="*/ 1444370 h 3498714"/>
                    <a:gd name="connsiteX59" fmla="*/ 257700 w 5470282"/>
                    <a:gd name="connsiteY59" fmla="*/ 1912573 h 3498714"/>
                    <a:gd name="connsiteX60" fmla="*/ 128850 w 5470282"/>
                    <a:gd name="connsiteY60" fmla="*/ 2041423 h 3498714"/>
                    <a:gd name="connsiteX61" fmla="*/ 0 w 5470282"/>
                    <a:gd name="connsiteY61" fmla="*/ 1912573 h 3498714"/>
                    <a:gd name="connsiteX62" fmla="*/ 0 w 5470282"/>
                    <a:gd name="connsiteY62" fmla="*/ 1101802 h 3498714"/>
                    <a:gd name="connsiteX63" fmla="*/ 0 w 5470282"/>
                    <a:gd name="connsiteY63" fmla="*/ 1003338 h 3498714"/>
                    <a:gd name="connsiteX64" fmla="*/ 0 w 5470282"/>
                    <a:gd name="connsiteY64" fmla="*/ 982486 h 3498714"/>
                    <a:gd name="connsiteX65" fmla="*/ 12733 w 5470282"/>
                    <a:gd name="connsiteY65" fmla="*/ 894663 h 3498714"/>
                    <a:gd name="connsiteX66" fmla="*/ 20539 w 5470282"/>
                    <a:gd name="connsiteY66" fmla="*/ 868773 h 3498714"/>
                    <a:gd name="connsiteX67" fmla="*/ 358791 w 5470282"/>
                    <a:gd name="connsiteY67" fmla="*/ 644545 h 3498714"/>
                    <a:gd name="connsiteX68" fmla="*/ 682782 w 5470282"/>
                    <a:gd name="connsiteY68" fmla="*/ 0 h 3498714"/>
                    <a:gd name="connsiteX69" fmla="*/ 966919 w 5470282"/>
                    <a:gd name="connsiteY69" fmla="*/ 284138 h 3498714"/>
                    <a:gd name="connsiteX70" fmla="*/ 682782 w 5470282"/>
                    <a:gd name="connsiteY70" fmla="*/ 568275 h 3498714"/>
                    <a:gd name="connsiteX71" fmla="*/ 398645 w 5470282"/>
                    <a:gd name="connsiteY71" fmla="*/ 284138 h 3498714"/>
                    <a:gd name="connsiteX72" fmla="*/ 682782 w 5470282"/>
                    <a:gd name="connsiteY72" fmla="*/ 0 h 3498714"/>
                    <a:gd name="connsiteX73" fmla="*/ 4707054 w 5470282"/>
                    <a:gd name="connsiteY73" fmla="*/ 2902312 h 3498714"/>
                    <a:gd name="connsiteX74" fmla="*/ 4818179 w 5470282"/>
                    <a:gd name="connsiteY74" fmla="*/ 3013437 h 3498714"/>
                    <a:gd name="connsiteX75" fmla="*/ 4707054 w 5470282"/>
                    <a:gd name="connsiteY75" fmla="*/ 3124562 h 3498714"/>
                    <a:gd name="connsiteX76" fmla="*/ 4545125 w 5470282"/>
                    <a:gd name="connsiteY76" fmla="*/ 3124562 h 3498714"/>
                    <a:gd name="connsiteX77" fmla="*/ 4545125 w 5470282"/>
                    <a:gd name="connsiteY77" fmla="*/ 3361625 h 3498714"/>
                    <a:gd name="connsiteX78" fmla="*/ 4436113 w 5470282"/>
                    <a:gd name="connsiteY78" fmla="*/ 3470637 h 3498714"/>
                    <a:gd name="connsiteX79" fmla="*/ 4235039 w 5470282"/>
                    <a:gd name="connsiteY79" fmla="*/ 3470637 h 3498714"/>
                    <a:gd name="connsiteX80" fmla="*/ 4126027 w 5470282"/>
                    <a:gd name="connsiteY80" fmla="*/ 3361625 h 3498714"/>
                    <a:gd name="connsiteX81" fmla="*/ 4126027 w 5470282"/>
                    <a:gd name="connsiteY81" fmla="*/ 3124562 h 3498714"/>
                    <a:gd name="connsiteX82" fmla="*/ 2589325 w 5470282"/>
                    <a:gd name="connsiteY82" fmla="*/ 3124562 h 3498714"/>
                    <a:gd name="connsiteX83" fmla="*/ 2589325 w 5470282"/>
                    <a:gd name="connsiteY83" fmla="*/ 3361625 h 3498714"/>
                    <a:gd name="connsiteX84" fmla="*/ 2480313 w 5470282"/>
                    <a:gd name="connsiteY84" fmla="*/ 3470637 h 3498714"/>
                    <a:gd name="connsiteX85" fmla="*/ 2279239 w 5470282"/>
                    <a:gd name="connsiteY85" fmla="*/ 3470637 h 3498714"/>
                    <a:gd name="connsiteX86" fmla="*/ 2170227 w 5470282"/>
                    <a:gd name="connsiteY86" fmla="*/ 3361625 h 3498714"/>
                    <a:gd name="connsiteX87" fmla="*/ 2170227 w 5470282"/>
                    <a:gd name="connsiteY87" fmla="*/ 3124562 h 3498714"/>
                    <a:gd name="connsiteX88" fmla="*/ 2052754 w 5470282"/>
                    <a:gd name="connsiteY88" fmla="*/ 3124562 h 3498714"/>
                    <a:gd name="connsiteX89" fmla="*/ 1941629 w 5470282"/>
                    <a:gd name="connsiteY89" fmla="*/ 3013437 h 3498714"/>
                    <a:gd name="connsiteX90" fmla="*/ 2052754 w 5470282"/>
                    <a:gd name="connsiteY90" fmla="*/ 2902312 h 3498714"/>
                    <a:gd name="connsiteX91" fmla="*/ 682782 w 5470282"/>
                    <a:gd name="connsiteY91" fmla="*/ 0 h 3498714"/>
                    <a:gd name="connsiteX92" fmla="*/ 4492583 w 5470282"/>
                    <a:gd name="connsiteY92" fmla="*/ 2089512 h 3498714"/>
                    <a:gd name="connsiteX93" fmla="*/ 4311608 w 5470282"/>
                    <a:gd name="connsiteY93" fmla="*/ 2270487 h 3498714"/>
                    <a:gd name="connsiteX94" fmla="*/ 4492583 w 5470282"/>
                    <a:gd name="connsiteY94" fmla="*/ 2451462 h 3498714"/>
                    <a:gd name="connsiteX95" fmla="*/ 5407618 w 5470282"/>
                    <a:gd name="connsiteY95" fmla="*/ 2468742 h 3498714"/>
                    <a:gd name="connsiteX96" fmla="*/ 5388995 w 5470282"/>
                    <a:gd name="connsiteY96" fmla="*/ 2075460 h 3498714"/>
                    <a:gd name="connsiteX0" fmla="*/ 2979061 w 5388995"/>
                    <a:gd name="connsiteY0" fmla="*/ 2089512 h 3498714"/>
                    <a:gd name="connsiteX1" fmla="*/ 2671086 w 5388995"/>
                    <a:gd name="connsiteY1" fmla="*/ 2397487 h 3498714"/>
                    <a:gd name="connsiteX2" fmla="*/ 2671086 w 5388995"/>
                    <a:gd name="connsiteY2" fmla="*/ 2584811 h 3498714"/>
                    <a:gd name="connsiteX3" fmla="*/ 4083961 w 5388995"/>
                    <a:gd name="connsiteY3" fmla="*/ 2584811 h 3498714"/>
                    <a:gd name="connsiteX4" fmla="*/ 4083961 w 5388995"/>
                    <a:gd name="connsiteY4" fmla="*/ 2397487 h 3498714"/>
                    <a:gd name="connsiteX5" fmla="*/ 3775986 w 5388995"/>
                    <a:gd name="connsiteY5" fmla="*/ 2089512 h 3498714"/>
                    <a:gd name="connsiteX6" fmla="*/ 2979061 w 5388995"/>
                    <a:gd name="connsiteY6" fmla="*/ 2089512 h 3498714"/>
                    <a:gd name="connsiteX7" fmla="*/ 2251033 w 5388995"/>
                    <a:gd name="connsiteY7" fmla="*/ 2089512 h 3498714"/>
                    <a:gd name="connsiteX8" fmla="*/ 2070058 w 5388995"/>
                    <a:gd name="connsiteY8" fmla="*/ 2270487 h 3498714"/>
                    <a:gd name="connsiteX9" fmla="*/ 2251033 w 5388995"/>
                    <a:gd name="connsiteY9" fmla="*/ 2451462 h 3498714"/>
                    <a:gd name="connsiteX10" fmla="*/ 2432008 w 5388995"/>
                    <a:gd name="connsiteY10" fmla="*/ 2270487 h 3498714"/>
                    <a:gd name="connsiteX11" fmla="*/ 2251033 w 5388995"/>
                    <a:gd name="connsiteY11" fmla="*/ 2089512 h 3498714"/>
                    <a:gd name="connsiteX12" fmla="*/ 2842751 w 5388995"/>
                    <a:gd name="connsiteY12" fmla="*/ 1749356 h 3498714"/>
                    <a:gd name="connsiteX13" fmla="*/ 2392797 w 5388995"/>
                    <a:gd name="connsiteY13" fmla="*/ 1878907 h 3498714"/>
                    <a:gd name="connsiteX14" fmla="*/ 2478781 w 5388995"/>
                    <a:gd name="connsiteY14" fmla="*/ 1920808 h 3498714"/>
                    <a:gd name="connsiteX15" fmla="*/ 2842751 w 5388995"/>
                    <a:gd name="connsiteY15" fmla="*/ 1749356 h 3498714"/>
                    <a:gd name="connsiteX16" fmla="*/ 2534724 w 5388995"/>
                    <a:gd name="connsiteY16" fmla="*/ 982297 h 3498714"/>
                    <a:gd name="connsiteX17" fmla="*/ 4802103 w 5388995"/>
                    <a:gd name="connsiteY17" fmla="*/ 2588456 h 3498714"/>
                    <a:gd name="connsiteX18" fmla="*/ 4904699 w 5388995"/>
                    <a:gd name="connsiteY18" fmla="*/ 2705462 h 3498714"/>
                    <a:gd name="connsiteX19" fmla="*/ 4904698 w 5388995"/>
                    <a:gd name="connsiteY19" fmla="*/ 2705462 h 3498714"/>
                    <a:gd name="connsiteX20" fmla="*/ 4784047 w 5388995"/>
                    <a:gd name="connsiteY20" fmla="*/ 2826113 h 3498714"/>
                    <a:gd name="connsiteX21" fmla="*/ 1970999 w 5388995"/>
                    <a:gd name="connsiteY21" fmla="*/ 2826112 h 3498714"/>
                    <a:gd name="connsiteX22" fmla="*/ 1850348 w 5388995"/>
                    <a:gd name="connsiteY22" fmla="*/ 2705462 h 3498714"/>
                    <a:gd name="connsiteX23" fmla="*/ 1956769 w 5388995"/>
                    <a:gd name="connsiteY23" fmla="*/ 2587684 h 3498714"/>
                    <a:gd name="connsiteX24" fmla="*/ 1823360 w 5388995"/>
                    <a:gd name="connsiteY24" fmla="*/ 2279217 h 3498714"/>
                    <a:gd name="connsiteX25" fmla="*/ 2217440 w 5388995"/>
                    <a:gd name="connsiteY25" fmla="*/ 1856216 h 3498714"/>
                    <a:gd name="connsiteX26" fmla="*/ 2534724 w 5388995"/>
                    <a:gd name="connsiteY26" fmla="*/ 982297 h 3498714"/>
                    <a:gd name="connsiteX27" fmla="*/ 358791 w 5388995"/>
                    <a:gd name="connsiteY27" fmla="*/ 644545 h 3498714"/>
                    <a:gd name="connsiteX28" fmla="*/ 1006774 w 5388995"/>
                    <a:gd name="connsiteY28" fmla="*/ 644545 h 3498714"/>
                    <a:gd name="connsiteX29" fmla="*/ 1542636 w 5388995"/>
                    <a:gd name="connsiteY29" fmla="*/ 1193969 h 3498714"/>
                    <a:gd name="connsiteX30" fmla="*/ 1929878 w 5388995"/>
                    <a:gd name="connsiteY30" fmla="*/ 1193970 h 3498714"/>
                    <a:gd name="connsiteX31" fmla="*/ 2070059 w 5388995"/>
                    <a:gd name="connsiteY31" fmla="*/ 1334152 h 3498714"/>
                    <a:gd name="connsiteX32" fmla="*/ 1929878 w 5388995"/>
                    <a:gd name="connsiteY32" fmla="*/ 1474333 h 3498714"/>
                    <a:gd name="connsiteX33" fmla="*/ 1520943 w 5388995"/>
                    <a:gd name="connsiteY33" fmla="*/ 1470388 h 3498714"/>
                    <a:gd name="connsiteX34" fmla="*/ 1332825 w 5388995"/>
                    <a:gd name="connsiteY34" fmla="*/ 1367201 h 3498714"/>
                    <a:gd name="connsiteX35" fmla="*/ 1106501 w 5388995"/>
                    <a:gd name="connsiteY35" fmla="*/ 1098289 h 3498714"/>
                    <a:gd name="connsiteX36" fmla="*/ 1101049 w 5388995"/>
                    <a:gd name="connsiteY36" fmla="*/ 1092836 h 3498714"/>
                    <a:gd name="connsiteX37" fmla="*/ 1046523 w 5388995"/>
                    <a:gd name="connsiteY37" fmla="*/ 1092836 h 3498714"/>
                    <a:gd name="connsiteX38" fmla="*/ 1041071 w 5388995"/>
                    <a:gd name="connsiteY38" fmla="*/ 1098289 h 3498714"/>
                    <a:gd name="connsiteX39" fmla="*/ 1042136 w 5388995"/>
                    <a:gd name="connsiteY39" fmla="*/ 1419754 h 3498714"/>
                    <a:gd name="connsiteX40" fmla="*/ 1042136 w 5388995"/>
                    <a:gd name="connsiteY40" fmla="*/ 3337652 h 3498714"/>
                    <a:gd name="connsiteX41" fmla="*/ 881075 w 5388995"/>
                    <a:gd name="connsiteY41" fmla="*/ 3498714 h 3498714"/>
                    <a:gd name="connsiteX42" fmla="*/ 720012 w 5388995"/>
                    <a:gd name="connsiteY42" fmla="*/ 3337652 h 3498714"/>
                    <a:gd name="connsiteX43" fmla="*/ 720012 w 5388995"/>
                    <a:gd name="connsiteY43" fmla="*/ 2125717 h 3498714"/>
                    <a:gd name="connsiteX44" fmla="*/ 718947 w 5388995"/>
                    <a:gd name="connsiteY44" fmla="*/ 2033194 h 3498714"/>
                    <a:gd name="connsiteX45" fmla="*/ 714162 w 5388995"/>
                    <a:gd name="connsiteY45" fmla="*/ 2028410 h 3498714"/>
                    <a:gd name="connsiteX46" fmla="*/ 654759 w 5388995"/>
                    <a:gd name="connsiteY46" fmla="*/ 2028410 h 3498714"/>
                    <a:gd name="connsiteX47" fmla="*/ 649974 w 5388995"/>
                    <a:gd name="connsiteY47" fmla="*/ 2033194 h 3498714"/>
                    <a:gd name="connsiteX48" fmla="*/ 649974 w 5388995"/>
                    <a:gd name="connsiteY48" fmla="*/ 2125717 h 3498714"/>
                    <a:gd name="connsiteX49" fmla="*/ 649574 w 5388995"/>
                    <a:gd name="connsiteY49" fmla="*/ 3337652 h 3498714"/>
                    <a:gd name="connsiteX50" fmla="*/ 488511 w 5388995"/>
                    <a:gd name="connsiteY50" fmla="*/ 3498714 h 3498714"/>
                    <a:gd name="connsiteX51" fmla="*/ 327450 w 5388995"/>
                    <a:gd name="connsiteY51" fmla="*/ 3337652 h 3498714"/>
                    <a:gd name="connsiteX52" fmla="*/ 327450 w 5388995"/>
                    <a:gd name="connsiteY52" fmla="*/ 1458216 h 3498714"/>
                    <a:gd name="connsiteX53" fmla="*/ 322427 w 5388995"/>
                    <a:gd name="connsiteY53" fmla="*/ 1098205 h 3498714"/>
                    <a:gd name="connsiteX54" fmla="*/ 317058 w 5388995"/>
                    <a:gd name="connsiteY54" fmla="*/ 1092836 h 3498714"/>
                    <a:gd name="connsiteX55" fmla="*/ 263371 w 5388995"/>
                    <a:gd name="connsiteY55" fmla="*/ 1092836 h 3498714"/>
                    <a:gd name="connsiteX56" fmla="*/ 258001 w 5388995"/>
                    <a:gd name="connsiteY56" fmla="*/ 1098205 h 3498714"/>
                    <a:gd name="connsiteX57" fmla="*/ 258001 w 5388995"/>
                    <a:gd name="connsiteY57" fmla="*/ 1444446 h 3498714"/>
                    <a:gd name="connsiteX58" fmla="*/ 257700 w 5388995"/>
                    <a:gd name="connsiteY58" fmla="*/ 1444370 h 3498714"/>
                    <a:gd name="connsiteX59" fmla="*/ 257700 w 5388995"/>
                    <a:gd name="connsiteY59" fmla="*/ 1912573 h 3498714"/>
                    <a:gd name="connsiteX60" fmla="*/ 128850 w 5388995"/>
                    <a:gd name="connsiteY60" fmla="*/ 2041423 h 3498714"/>
                    <a:gd name="connsiteX61" fmla="*/ 0 w 5388995"/>
                    <a:gd name="connsiteY61" fmla="*/ 1912573 h 3498714"/>
                    <a:gd name="connsiteX62" fmla="*/ 0 w 5388995"/>
                    <a:gd name="connsiteY62" fmla="*/ 1101802 h 3498714"/>
                    <a:gd name="connsiteX63" fmla="*/ 0 w 5388995"/>
                    <a:gd name="connsiteY63" fmla="*/ 1003338 h 3498714"/>
                    <a:gd name="connsiteX64" fmla="*/ 0 w 5388995"/>
                    <a:gd name="connsiteY64" fmla="*/ 982486 h 3498714"/>
                    <a:gd name="connsiteX65" fmla="*/ 12733 w 5388995"/>
                    <a:gd name="connsiteY65" fmla="*/ 894663 h 3498714"/>
                    <a:gd name="connsiteX66" fmla="*/ 20539 w 5388995"/>
                    <a:gd name="connsiteY66" fmla="*/ 868773 h 3498714"/>
                    <a:gd name="connsiteX67" fmla="*/ 358791 w 5388995"/>
                    <a:gd name="connsiteY67" fmla="*/ 644545 h 3498714"/>
                    <a:gd name="connsiteX68" fmla="*/ 682782 w 5388995"/>
                    <a:gd name="connsiteY68" fmla="*/ 0 h 3498714"/>
                    <a:gd name="connsiteX69" fmla="*/ 966919 w 5388995"/>
                    <a:gd name="connsiteY69" fmla="*/ 284138 h 3498714"/>
                    <a:gd name="connsiteX70" fmla="*/ 682782 w 5388995"/>
                    <a:gd name="connsiteY70" fmla="*/ 568275 h 3498714"/>
                    <a:gd name="connsiteX71" fmla="*/ 398645 w 5388995"/>
                    <a:gd name="connsiteY71" fmla="*/ 284138 h 3498714"/>
                    <a:gd name="connsiteX72" fmla="*/ 682782 w 5388995"/>
                    <a:gd name="connsiteY72" fmla="*/ 0 h 3498714"/>
                    <a:gd name="connsiteX73" fmla="*/ 4707054 w 5388995"/>
                    <a:gd name="connsiteY73" fmla="*/ 2902312 h 3498714"/>
                    <a:gd name="connsiteX74" fmla="*/ 4818179 w 5388995"/>
                    <a:gd name="connsiteY74" fmla="*/ 3013437 h 3498714"/>
                    <a:gd name="connsiteX75" fmla="*/ 4707054 w 5388995"/>
                    <a:gd name="connsiteY75" fmla="*/ 3124562 h 3498714"/>
                    <a:gd name="connsiteX76" fmla="*/ 4545125 w 5388995"/>
                    <a:gd name="connsiteY76" fmla="*/ 3124562 h 3498714"/>
                    <a:gd name="connsiteX77" fmla="*/ 4545125 w 5388995"/>
                    <a:gd name="connsiteY77" fmla="*/ 3361625 h 3498714"/>
                    <a:gd name="connsiteX78" fmla="*/ 4436113 w 5388995"/>
                    <a:gd name="connsiteY78" fmla="*/ 3470637 h 3498714"/>
                    <a:gd name="connsiteX79" fmla="*/ 4235039 w 5388995"/>
                    <a:gd name="connsiteY79" fmla="*/ 3470637 h 3498714"/>
                    <a:gd name="connsiteX80" fmla="*/ 4126027 w 5388995"/>
                    <a:gd name="connsiteY80" fmla="*/ 3361625 h 3498714"/>
                    <a:gd name="connsiteX81" fmla="*/ 4126027 w 5388995"/>
                    <a:gd name="connsiteY81" fmla="*/ 3124562 h 3498714"/>
                    <a:gd name="connsiteX82" fmla="*/ 2589325 w 5388995"/>
                    <a:gd name="connsiteY82" fmla="*/ 3124562 h 3498714"/>
                    <a:gd name="connsiteX83" fmla="*/ 2589325 w 5388995"/>
                    <a:gd name="connsiteY83" fmla="*/ 3361625 h 3498714"/>
                    <a:gd name="connsiteX84" fmla="*/ 2480313 w 5388995"/>
                    <a:gd name="connsiteY84" fmla="*/ 3470637 h 3498714"/>
                    <a:gd name="connsiteX85" fmla="*/ 2279239 w 5388995"/>
                    <a:gd name="connsiteY85" fmla="*/ 3470637 h 3498714"/>
                    <a:gd name="connsiteX86" fmla="*/ 2170227 w 5388995"/>
                    <a:gd name="connsiteY86" fmla="*/ 3361625 h 3498714"/>
                    <a:gd name="connsiteX87" fmla="*/ 2170227 w 5388995"/>
                    <a:gd name="connsiteY87" fmla="*/ 3124562 h 3498714"/>
                    <a:gd name="connsiteX88" fmla="*/ 2052754 w 5388995"/>
                    <a:gd name="connsiteY88" fmla="*/ 3124562 h 3498714"/>
                    <a:gd name="connsiteX89" fmla="*/ 1941629 w 5388995"/>
                    <a:gd name="connsiteY89" fmla="*/ 3013437 h 3498714"/>
                    <a:gd name="connsiteX90" fmla="*/ 2052754 w 5388995"/>
                    <a:gd name="connsiteY90" fmla="*/ 2902312 h 3498714"/>
                    <a:gd name="connsiteX91" fmla="*/ 682782 w 5388995"/>
                    <a:gd name="connsiteY91" fmla="*/ 0 h 3498714"/>
                    <a:gd name="connsiteX92" fmla="*/ 4492583 w 5388995"/>
                    <a:gd name="connsiteY92" fmla="*/ 2089512 h 3498714"/>
                    <a:gd name="connsiteX93" fmla="*/ 4311608 w 5388995"/>
                    <a:gd name="connsiteY93" fmla="*/ 2270487 h 3498714"/>
                    <a:gd name="connsiteX94" fmla="*/ 4492583 w 5388995"/>
                    <a:gd name="connsiteY94" fmla="*/ 2451462 h 3498714"/>
                    <a:gd name="connsiteX95" fmla="*/ 5388995 w 5388995"/>
                    <a:gd name="connsiteY95" fmla="*/ 2075460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492583 w 4904699"/>
                    <a:gd name="connsiteY92" fmla="*/ 2089512 h 3498714"/>
                    <a:gd name="connsiteX93" fmla="*/ 4311608 w 4904699"/>
                    <a:gd name="connsiteY93" fmla="*/ 2270487 h 3498714"/>
                    <a:gd name="connsiteX94" fmla="*/ 4492583 w 4904699"/>
                    <a:gd name="connsiteY94"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802103 w 4904699"/>
                    <a:gd name="connsiteY17" fmla="*/ 2588456 h 3498714"/>
                    <a:gd name="connsiteX18" fmla="*/ 4904699 w 4904699"/>
                    <a:gd name="connsiteY18" fmla="*/ 2705462 h 3498714"/>
                    <a:gd name="connsiteX19" fmla="*/ 4904698 w 4904699"/>
                    <a:gd name="connsiteY19" fmla="*/ 2705462 h 3498714"/>
                    <a:gd name="connsiteX20" fmla="*/ 4784047 w 4904699"/>
                    <a:gd name="connsiteY20" fmla="*/ 2826113 h 3498714"/>
                    <a:gd name="connsiteX21" fmla="*/ 1970999 w 4904699"/>
                    <a:gd name="connsiteY21" fmla="*/ 2826112 h 3498714"/>
                    <a:gd name="connsiteX22" fmla="*/ 1850348 w 4904699"/>
                    <a:gd name="connsiteY22" fmla="*/ 2705462 h 3498714"/>
                    <a:gd name="connsiteX23" fmla="*/ 1956769 w 4904699"/>
                    <a:gd name="connsiteY23" fmla="*/ 2587684 h 3498714"/>
                    <a:gd name="connsiteX24" fmla="*/ 1823360 w 4904699"/>
                    <a:gd name="connsiteY24" fmla="*/ 2279217 h 3498714"/>
                    <a:gd name="connsiteX25" fmla="*/ 2217440 w 4904699"/>
                    <a:gd name="connsiteY25" fmla="*/ 1856216 h 3498714"/>
                    <a:gd name="connsiteX26" fmla="*/ 2534724 w 4904699"/>
                    <a:gd name="connsiteY26" fmla="*/ 982297 h 3498714"/>
                    <a:gd name="connsiteX27" fmla="*/ 358791 w 4904699"/>
                    <a:gd name="connsiteY27" fmla="*/ 644545 h 3498714"/>
                    <a:gd name="connsiteX28" fmla="*/ 1006774 w 4904699"/>
                    <a:gd name="connsiteY28" fmla="*/ 644545 h 3498714"/>
                    <a:gd name="connsiteX29" fmla="*/ 1542636 w 4904699"/>
                    <a:gd name="connsiteY29" fmla="*/ 1193969 h 3498714"/>
                    <a:gd name="connsiteX30" fmla="*/ 1929878 w 4904699"/>
                    <a:gd name="connsiteY30" fmla="*/ 1193970 h 3498714"/>
                    <a:gd name="connsiteX31" fmla="*/ 2070059 w 4904699"/>
                    <a:gd name="connsiteY31" fmla="*/ 1334152 h 3498714"/>
                    <a:gd name="connsiteX32" fmla="*/ 1929878 w 4904699"/>
                    <a:gd name="connsiteY32" fmla="*/ 1474333 h 3498714"/>
                    <a:gd name="connsiteX33" fmla="*/ 1520943 w 4904699"/>
                    <a:gd name="connsiteY33" fmla="*/ 1470388 h 3498714"/>
                    <a:gd name="connsiteX34" fmla="*/ 1332825 w 4904699"/>
                    <a:gd name="connsiteY34" fmla="*/ 1367201 h 3498714"/>
                    <a:gd name="connsiteX35" fmla="*/ 1106501 w 4904699"/>
                    <a:gd name="connsiteY35" fmla="*/ 1098289 h 3498714"/>
                    <a:gd name="connsiteX36" fmla="*/ 1101049 w 4904699"/>
                    <a:gd name="connsiteY36" fmla="*/ 1092836 h 3498714"/>
                    <a:gd name="connsiteX37" fmla="*/ 1046523 w 4904699"/>
                    <a:gd name="connsiteY37" fmla="*/ 1092836 h 3498714"/>
                    <a:gd name="connsiteX38" fmla="*/ 1041071 w 4904699"/>
                    <a:gd name="connsiteY38" fmla="*/ 1098289 h 3498714"/>
                    <a:gd name="connsiteX39" fmla="*/ 1042136 w 4904699"/>
                    <a:gd name="connsiteY39" fmla="*/ 1419754 h 3498714"/>
                    <a:gd name="connsiteX40" fmla="*/ 1042136 w 4904699"/>
                    <a:gd name="connsiteY40" fmla="*/ 3337652 h 3498714"/>
                    <a:gd name="connsiteX41" fmla="*/ 881075 w 4904699"/>
                    <a:gd name="connsiteY41" fmla="*/ 3498714 h 3498714"/>
                    <a:gd name="connsiteX42" fmla="*/ 720012 w 4904699"/>
                    <a:gd name="connsiteY42" fmla="*/ 3337652 h 3498714"/>
                    <a:gd name="connsiteX43" fmla="*/ 720012 w 4904699"/>
                    <a:gd name="connsiteY43" fmla="*/ 2125717 h 3498714"/>
                    <a:gd name="connsiteX44" fmla="*/ 718947 w 4904699"/>
                    <a:gd name="connsiteY44" fmla="*/ 2033194 h 3498714"/>
                    <a:gd name="connsiteX45" fmla="*/ 714162 w 4904699"/>
                    <a:gd name="connsiteY45" fmla="*/ 2028410 h 3498714"/>
                    <a:gd name="connsiteX46" fmla="*/ 654759 w 4904699"/>
                    <a:gd name="connsiteY46" fmla="*/ 2028410 h 3498714"/>
                    <a:gd name="connsiteX47" fmla="*/ 649974 w 4904699"/>
                    <a:gd name="connsiteY47" fmla="*/ 2033194 h 3498714"/>
                    <a:gd name="connsiteX48" fmla="*/ 649974 w 4904699"/>
                    <a:gd name="connsiteY48" fmla="*/ 2125717 h 3498714"/>
                    <a:gd name="connsiteX49" fmla="*/ 649574 w 4904699"/>
                    <a:gd name="connsiteY49" fmla="*/ 3337652 h 3498714"/>
                    <a:gd name="connsiteX50" fmla="*/ 488511 w 4904699"/>
                    <a:gd name="connsiteY50" fmla="*/ 3498714 h 3498714"/>
                    <a:gd name="connsiteX51" fmla="*/ 327450 w 4904699"/>
                    <a:gd name="connsiteY51" fmla="*/ 3337652 h 3498714"/>
                    <a:gd name="connsiteX52" fmla="*/ 327450 w 4904699"/>
                    <a:gd name="connsiteY52" fmla="*/ 1458216 h 3498714"/>
                    <a:gd name="connsiteX53" fmla="*/ 322427 w 4904699"/>
                    <a:gd name="connsiteY53" fmla="*/ 1098205 h 3498714"/>
                    <a:gd name="connsiteX54" fmla="*/ 317058 w 4904699"/>
                    <a:gd name="connsiteY54" fmla="*/ 1092836 h 3498714"/>
                    <a:gd name="connsiteX55" fmla="*/ 263371 w 4904699"/>
                    <a:gd name="connsiteY55" fmla="*/ 1092836 h 3498714"/>
                    <a:gd name="connsiteX56" fmla="*/ 258001 w 4904699"/>
                    <a:gd name="connsiteY56" fmla="*/ 1098205 h 3498714"/>
                    <a:gd name="connsiteX57" fmla="*/ 258001 w 4904699"/>
                    <a:gd name="connsiteY57" fmla="*/ 1444446 h 3498714"/>
                    <a:gd name="connsiteX58" fmla="*/ 257700 w 4904699"/>
                    <a:gd name="connsiteY58" fmla="*/ 1444370 h 3498714"/>
                    <a:gd name="connsiteX59" fmla="*/ 257700 w 4904699"/>
                    <a:gd name="connsiteY59" fmla="*/ 1912573 h 3498714"/>
                    <a:gd name="connsiteX60" fmla="*/ 128850 w 4904699"/>
                    <a:gd name="connsiteY60" fmla="*/ 2041423 h 3498714"/>
                    <a:gd name="connsiteX61" fmla="*/ 0 w 4904699"/>
                    <a:gd name="connsiteY61" fmla="*/ 1912573 h 3498714"/>
                    <a:gd name="connsiteX62" fmla="*/ 0 w 4904699"/>
                    <a:gd name="connsiteY62" fmla="*/ 1101802 h 3498714"/>
                    <a:gd name="connsiteX63" fmla="*/ 0 w 4904699"/>
                    <a:gd name="connsiteY63" fmla="*/ 1003338 h 3498714"/>
                    <a:gd name="connsiteX64" fmla="*/ 0 w 4904699"/>
                    <a:gd name="connsiteY64" fmla="*/ 982486 h 3498714"/>
                    <a:gd name="connsiteX65" fmla="*/ 12733 w 4904699"/>
                    <a:gd name="connsiteY65" fmla="*/ 894663 h 3498714"/>
                    <a:gd name="connsiteX66" fmla="*/ 20539 w 4904699"/>
                    <a:gd name="connsiteY66" fmla="*/ 868773 h 3498714"/>
                    <a:gd name="connsiteX67" fmla="*/ 358791 w 4904699"/>
                    <a:gd name="connsiteY67" fmla="*/ 644545 h 3498714"/>
                    <a:gd name="connsiteX68" fmla="*/ 682782 w 4904699"/>
                    <a:gd name="connsiteY68" fmla="*/ 0 h 3498714"/>
                    <a:gd name="connsiteX69" fmla="*/ 966919 w 4904699"/>
                    <a:gd name="connsiteY69" fmla="*/ 284138 h 3498714"/>
                    <a:gd name="connsiteX70" fmla="*/ 682782 w 4904699"/>
                    <a:gd name="connsiteY70" fmla="*/ 568275 h 3498714"/>
                    <a:gd name="connsiteX71" fmla="*/ 398645 w 4904699"/>
                    <a:gd name="connsiteY71" fmla="*/ 284138 h 3498714"/>
                    <a:gd name="connsiteX72" fmla="*/ 682782 w 4904699"/>
                    <a:gd name="connsiteY72" fmla="*/ 0 h 3498714"/>
                    <a:gd name="connsiteX73" fmla="*/ 4707054 w 4904699"/>
                    <a:gd name="connsiteY73" fmla="*/ 2902312 h 3498714"/>
                    <a:gd name="connsiteX74" fmla="*/ 4818179 w 4904699"/>
                    <a:gd name="connsiteY74" fmla="*/ 3013437 h 3498714"/>
                    <a:gd name="connsiteX75" fmla="*/ 4707054 w 4904699"/>
                    <a:gd name="connsiteY75" fmla="*/ 3124562 h 3498714"/>
                    <a:gd name="connsiteX76" fmla="*/ 4545125 w 4904699"/>
                    <a:gd name="connsiteY76" fmla="*/ 3124562 h 3498714"/>
                    <a:gd name="connsiteX77" fmla="*/ 4545125 w 4904699"/>
                    <a:gd name="connsiteY77" fmla="*/ 3361625 h 3498714"/>
                    <a:gd name="connsiteX78" fmla="*/ 4436113 w 4904699"/>
                    <a:gd name="connsiteY78" fmla="*/ 3470637 h 3498714"/>
                    <a:gd name="connsiteX79" fmla="*/ 4235039 w 4904699"/>
                    <a:gd name="connsiteY79" fmla="*/ 3470637 h 3498714"/>
                    <a:gd name="connsiteX80" fmla="*/ 4126027 w 4904699"/>
                    <a:gd name="connsiteY80" fmla="*/ 3361625 h 3498714"/>
                    <a:gd name="connsiteX81" fmla="*/ 4126027 w 4904699"/>
                    <a:gd name="connsiteY81" fmla="*/ 3124562 h 3498714"/>
                    <a:gd name="connsiteX82" fmla="*/ 2589325 w 4904699"/>
                    <a:gd name="connsiteY82" fmla="*/ 3124562 h 3498714"/>
                    <a:gd name="connsiteX83" fmla="*/ 2589325 w 4904699"/>
                    <a:gd name="connsiteY83" fmla="*/ 3361625 h 3498714"/>
                    <a:gd name="connsiteX84" fmla="*/ 2480313 w 4904699"/>
                    <a:gd name="connsiteY84" fmla="*/ 3470637 h 3498714"/>
                    <a:gd name="connsiteX85" fmla="*/ 2279239 w 4904699"/>
                    <a:gd name="connsiteY85" fmla="*/ 3470637 h 3498714"/>
                    <a:gd name="connsiteX86" fmla="*/ 2170227 w 4904699"/>
                    <a:gd name="connsiteY86" fmla="*/ 3361625 h 3498714"/>
                    <a:gd name="connsiteX87" fmla="*/ 2170227 w 4904699"/>
                    <a:gd name="connsiteY87" fmla="*/ 3124562 h 3498714"/>
                    <a:gd name="connsiteX88" fmla="*/ 2052754 w 4904699"/>
                    <a:gd name="connsiteY88" fmla="*/ 3124562 h 3498714"/>
                    <a:gd name="connsiteX89" fmla="*/ 1941629 w 4904699"/>
                    <a:gd name="connsiteY89" fmla="*/ 3013437 h 3498714"/>
                    <a:gd name="connsiteX90" fmla="*/ 2052754 w 4904699"/>
                    <a:gd name="connsiteY90" fmla="*/ 2902312 h 3498714"/>
                    <a:gd name="connsiteX91" fmla="*/ 682782 w 4904699"/>
                    <a:gd name="connsiteY91" fmla="*/ 0 h 3498714"/>
                    <a:gd name="connsiteX92" fmla="*/ 4311608 w 4904699"/>
                    <a:gd name="connsiteY92" fmla="*/ 2270487 h 3498714"/>
                    <a:gd name="connsiteX93" fmla="*/ 4492583 w 4904699"/>
                    <a:gd name="connsiteY93"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904698 w 4904699"/>
                    <a:gd name="connsiteY18" fmla="*/ 2705462 h 3498714"/>
                    <a:gd name="connsiteX19" fmla="*/ 4784047 w 4904699"/>
                    <a:gd name="connsiteY19" fmla="*/ 2826113 h 3498714"/>
                    <a:gd name="connsiteX20" fmla="*/ 1970999 w 4904699"/>
                    <a:gd name="connsiteY20" fmla="*/ 2826112 h 3498714"/>
                    <a:gd name="connsiteX21" fmla="*/ 1850348 w 4904699"/>
                    <a:gd name="connsiteY21" fmla="*/ 2705462 h 3498714"/>
                    <a:gd name="connsiteX22" fmla="*/ 1956769 w 4904699"/>
                    <a:gd name="connsiteY22" fmla="*/ 2587684 h 3498714"/>
                    <a:gd name="connsiteX23" fmla="*/ 1823360 w 4904699"/>
                    <a:gd name="connsiteY23" fmla="*/ 2279217 h 3498714"/>
                    <a:gd name="connsiteX24" fmla="*/ 2217440 w 4904699"/>
                    <a:gd name="connsiteY24" fmla="*/ 1856216 h 3498714"/>
                    <a:gd name="connsiteX25" fmla="*/ 2534724 w 4904699"/>
                    <a:gd name="connsiteY25" fmla="*/ 982297 h 3498714"/>
                    <a:gd name="connsiteX26" fmla="*/ 358791 w 4904699"/>
                    <a:gd name="connsiteY26" fmla="*/ 644545 h 3498714"/>
                    <a:gd name="connsiteX27" fmla="*/ 1006774 w 4904699"/>
                    <a:gd name="connsiteY27" fmla="*/ 644545 h 3498714"/>
                    <a:gd name="connsiteX28" fmla="*/ 1542636 w 4904699"/>
                    <a:gd name="connsiteY28" fmla="*/ 1193969 h 3498714"/>
                    <a:gd name="connsiteX29" fmla="*/ 1929878 w 4904699"/>
                    <a:gd name="connsiteY29" fmla="*/ 1193970 h 3498714"/>
                    <a:gd name="connsiteX30" fmla="*/ 2070059 w 4904699"/>
                    <a:gd name="connsiteY30" fmla="*/ 1334152 h 3498714"/>
                    <a:gd name="connsiteX31" fmla="*/ 1929878 w 4904699"/>
                    <a:gd name="connsiteY31" fmla="*/ 1474333 h 3498714"/>
                    <a:gd name="connsiteX32" fmla="*/ 1520943 w 4904699"/>
                    <a:gd name="connsiteY32" fmla="*/ 1470388 h 3498714"/>
                    <a:gd name="connsiteX33" fmla="*/ 1332825 w 4904699"/>
                    <a:gd name="connsiteY33" fmla="*/ 1367201 h 3498714"/>
                    <a:gd name="connsiteX34" fmla="*/ 1106501 w 4904699"/>
                    <a:gd name="connsiteY34" fmla="*/ 1098289 h 3498714"/>
                    <a:gd name="connsiteX35" fmla="*/ 1101049 w 4904699"/>
                    <a:gd name="connsiteY35" fmla="*/ 1092836 h 3498714"/>
                    <a:gd name="connsiteX36" fmla="*/ 1046523 w 4904699"/>
                    <a:gd name="connsiteY36" fmla="*/ 1092836 h 3498714"/>
                    <a:gd name="connsiteX37" fmla="*/ 1041071 w 4904699"/>
                    <a:gd name="connsiteY37" fmla="*/ 1098289 h 3498714"/>
                    <a:gd name="connsiteX38" fmla="*/ 1042136 w 4904699"/>
                    <a:gd name="connsiteY38" fmla="*/ 1419754 h 3498714"/>
                    <a:gd name="connsiteX39" fmla="*/ 1042136 w 4904699"/>
                    <a:gd name="connsiteY39" fmla="*/ 3337652 h 3498714"/>
                    <a:gd name="connsiteX40" fmla="*/ 881075 w 4904699"/>
                    <a:gd name="connsiteY40" fmla="*/ 3498714 h 3498714"/>
                    <a:gd name="connsiteX41" fmla="*/ 720012 w 4904699"/>
                    <a:gd name="connsiteY41" fmla="*/ 3337652 h 3498714"/>
                    <a:gd name="connsiteX42" fmla="*/ 720012 w 4904699"/>
                    <a:gd name="connsiteY42" fmla="*/ 2125717 h 3498714"/>
                    <a:gd name="connsiteX43" fmla="*/ 718947 w 4904699"/>
                    <a:gd name="connsiteY43" fmla="*/ 2033194 h 3498714"/>
                    <a:gd name="connsiteX44" fmla="*/ 714162 w 4904699"/>
                    <a:gd name="connsiteY44" fmla="*/ 2028410 h 3498714"/>
                    <a:gd name="connsiteX45" fmla="*/ 654759 w 4904699"/>
                    <a:gd name="connsiteY45" fmla="*/ 2028410 h 3498714"/>
                    <a:gd name="connsiteX46" fmla="*/ 649974 w 4904699"/>
                    <a:gd name="connsiteY46" fmla="*/ 2033194 h 3498714"/>
                    <a:gd name="connsiteX47" fmla="*/ 649974 w 4904699"/>
                    <a:gd name="connsiteY47" fmla="*/ 2125717 h 3498714"/>
                    <a:gd name="connsiteX48" fmla="*/ 649574 w 4904699"/>
                    <a:gd name="connsiteY48" fmla="*/ 3337652 h 3498714"/>
                    <a:gd name="connsiteX49" fmla="*/ 488511 w 4904699"/>
                    <a:gd name="connsiteY49" fmla="*/ 3498714 h 3498714"/>
                    <a:gd name="connsiteX50" fmla="*/ 327450 w 4904699"/>
                    <a:gd name="connsiteY50" fmla="*/ 3337652 h 3498714"/>
                    <a:gd name="connsiteX51" fmla="*/ 327450 w 4904699"/>
                    <a:gd name="connsiteY51" fmla="*/ 1458216 h 3498714"/>
                    <a:gd name="connsiteX52" fmla="*/ 322427 w 4904699"/>
                    <a:gd name="connsiteY52" fmla="*/ 1098205 h 3498714"/>
                    <a:gd name="connsiteX53" fmla="*/ 317058 w 4904699"/>
                    <a:gd name="connsiteY53" fmla="*/ 1092836 h 3498714"/>
                    <a:gd name="connsiteX54" fmla="*/ 263371 w 4904699"/>
                    <a:gd name="connsiteY54" fmla="*/ 1092836 h 3498714"/>
                    <a:gd name="connsiteX55" fmla="*/ 258001 w 4904699"/>
                    <a:gd name="connsiteY55" fmla="*/ 1098205 h 3498714"/>
                    <a:gd name="connsiteX56" fmla="*/ 258001 w 4904699"/>
                    <a:gd name="connsiteY56" fmla="*/ 1444446 h 3498714"/>
                    <a:gd name="connsiteX57" fmla="*/ 257700 w 4904699"/>
                    <a:gd name="connsiteY57" fmla="*/ 1444370 h 3498714"/>
                    <a:gd name="connsiteX58" fmla="*/ 257700 w 4904699"/>
                    <a:gd name="connsiteY58" fmla="*/ 1912573 h 3498714"/>
                    <a:gd name="connsiteX59" fmla="*/ 128850 w 4904699"/>
                    <a:gd name="connsiteY59" fmla="*/ 2041423 h 3498714"/>
                    <a:gd name="connsiteX60" fmla="*/ 0 w 4904699"/>
                    <a:gd name="connsiteY60" fmla="*/ 1912573 h 3498714"/>
                    <a:gd name="connsiteX61" fmla="*/ 0 w 4904699"/>
                    <a:gd name="connsiteY61" fmla="*/ 1101802 h 3498714"/>
                    <a:gd name="connsiteX62" fmla="*/ 0 w 4904699"/>
                    <a:gd name="connsiteY62" fmla="*/ 1003338 h 3498714"/>
                    <a:gd name="connsiteX63" fmla="*/ 0 w 4904699"/>
                    <a:gd name="connsiteY63" fmla="*/ 982486 h 3498714"/>
                    <a:gd name="connsiteX64" fmla="*/ 12733 w 4904699"/>
                    <a:gd name="connsiteY64" fmla="*/ 894663 h 3498714"/>
                    <a:gd name="connsiteX65" fmla="*/ 20539 w 4904699"/>
                    <a:gd name="connsiteY65" fmla="*/ 868773 h 3498714"/>
                    <a:gd name="connsiteX66" fmla="*/ 358791 w 4904699"/>
                    <a:gd name="connsiteY66" fmla="*/ 644545 h 3498714"/>
                    <a:gd name="connsiteX67" fmla="*/ 682782 w 4904699"/>
                    <a:gd name="connsiteY67" fmla="*/ 0 h 3498714"/>
                    <a:gd name="connsiteX68" fmla="*/ 966919 w 4904699"/>
                    <a:gd name="connsiteY68" fmla="*/ 284138 h 3498714"/>
                    <a:gd name="connsiteX69" fmla="*/ 682782 w 4904699"/>
                    <a:gd name="connsiteY69" fmla="*/ 568275 h 3498714"/>
                    <a:gd name="connsiteX70" fmla="*/ 398645 w 4904699"/>
                    <a:gd name="connsiteY70" fmla="*/ 284138 h 3498714"/>
                    <a:gd name="connsiteX71" fmla="*/ 682782 w 4904699"/>
                    <a:gd name="connsiteY71" fmla="*/ 0 h 3498714"/>
                    <a:gd name="connsiteX72" fmla="*/ 4707054 w 4904699"/>
                    <a:gd name="connsiteY72" fmla="*/ 2902312 h 3498714"/>
                    <a:gd name="connsiteX73" fmla="*/ 4818179 w 4904699"/>
                    <a:gd name="connsiteY73" fmla="*/ 3013437 h 3498714"/>
                    <a:gd name="connsiteX74" fmla="*/ 4707054 w 4904699"/>
                    <a:gd name="connsiteY74" fmla="*/ 3124562 h 3498714"/>
                    <a:gd name="connsiteX75" fmla="*/ 4545125 w 4904699"/>
                    <a:gd name="connsiteY75" fmla="*/ 3124562 h 3498714"/>
                    <a:gd name="connsiteX76" fmla="*/ 4545125 w 4904699"/>
                    <a:gd name="connsiteY76" fmla="*/ 3361625 h 3498714"/>
                    <a:gd name="connsiteX77" fmla="*/ 4436113 w 4904699"/>
                    <a:gd name="connsiteY77" fmla="*/ 3470637 h 3498714"/>
                    <a:gd name="connsiteX78" fmla="*/ 4235039 w 4904699"/>
                    <a:gd name="connsiteY78" fmla="*/ 3470637 h 3498714"/>
                    <a:gd name="connsiteX79" fmla="*/ 4126027 w 4904699"/>
                    <a:gd name="connsiteY79" fmla="*/ 3361625 h 3498714"/>
                    <a:gd name="connsiteX80" fmla="*/ 4126027 w 4904699"/>
                    <a:gd name="connsiteY80" fmla="*/ 3124562 h 3498714"/>
                    <a:gd name="connsiteX81" fmla="*/ 2589325 w 4904699"/>
                    <a:gd name="connsiteY81" fmla="*/ 3124562 h 3498714"/>
                    <a:gd name="connsiteX82" fmla="*/ 2589325 w 4904699"/>
                    <a:gd name="connsiteY82" fmla="*/ 3361625 h 3498714"/>
                    <a:gd name="connsiteX83" fmla="*/ 2480313 w 4904699"/>
                    <a:gd name="connsiteY83" fmla="*/ 3470637 h 3498714"/>
                    <a:gd name="connsiteX84" fmla="*/ 2279239 w 4904699"/>
                    <a:gd name="connsiteY84" fmla="*/ 3470637 h 3498714"/>
                    <a:gd name="connsiteX85" fmla="*/ 2170227 w 4904699"/>
                    <a:gd name="connsiteY85" fmla="*/ 3361625 h 3498714"/>
                    <a:gd name="connsiteX86" fmla="*/ 2170227 w 4904699"/>
                    <a:gd name="connsiteY86" fmla="*/ 3124562 h 3498714"/>
                    <a:gd name="connsiteX87" fmla="*/ 2052754 w 4904699"/>
                    <a:gd name="connsiteY87" fmla="*/ 3124562 h 3498714"/>
                    <a:gd name="connsiteX88" fmla="*/ 1941629 w 4904699"/>
                    <a:gd name="connsiteY88" fmla="*/ 3013437 h 3498714"/>
                    <a:gd name="connsiteX89" fmla="*/ 2052754 w 4904699"/>
                    <a:gd name="connsiteY89" fmla="*/ 2902312 h 3498714"/>
                    <a:gd name="connsiteX90" fmla="*/ 682782 w 4904699"/>
                    <a:gd name="connsiteY90" fmla="*/ 0 h 3498714"/>
                    <a:gd name="connsiteX91" fmla="*/ 4311608 w 4904699"/>
                    <a:gd name="connsiteY91" fmla="*/ 2270487 h 3498714"/>
                    <a:gd name="connsiteX92" fmla="*/ 4492583 w 4904699"/>
                    <a:gd name="connsiteY92"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4784047 w 4904699"/>
                    <a:gd name="connsiteY18" fmla="*/ 2826113 h 3498714"/>
                    <a:gd name="connsiteX19" fmla="*/ 1970999 w 4904699"/>
                    <a:gd name="connsiteY19" fmla="*/ 2826112 h 3498714"/>
                    <a:gd name="connsiteX20" fmla="*/ 1850348 w 4904699"/>
                    <a:gd name="connsiteY20" fmla="*/ 2705462 h 3498714"/>
                    <a:gd name="connsiteX21" fmla="*/ 1956769 w 4904699"/>
                    <a:gd name="connsiteY21" fmla="*/ 2587684 h 3498714"/>
                    <a:gd name="connsiteX22" fmla="*/ 1823360 w 4904699"/>
                    <a:gd name="connsiteY22" fmla="*/ 2279217 h 3498714"/>
                    <a:gd name="connsiteX23" fmla="*/ 2217440 w 4904699"/>
                    <a:gd name="connsiteY23" fmla="*/ 1856216 h 3498714"/>
                    <a:gd name="connsiteX24" fmla="*/ 2534724 w 4904699"/>
                    <a:gd name="connsiteY24" fmla="*/ 982297 h 3498714"/>
                    <a:gd name="connsiteX25" fmla="*/ 358791 w 4904699"/>
                    <a:gd name="connsiteY25" fmla="*/ 644545 h 3498714"/>
                    <a:gd name="connsiteX26" fmla="*/ 1006774 w 4904699"/>
                    <a:gd name="connsiteY26" fmla="*/ 644545 h 3498714"/>
                    <a:gd name="connsiteX27" fmla="*/ 1542636 w 4904699"/>
                    <a:gd name="connsiteY27" fmla="*/ 1193969 h 3498714"/>
                    <a:gd name="connsiteX28" fmla="*/ 1929878 w 4904699"/>
                    <a:gd name="connsiteY28" fmla="*/ 1193970 h 3498714"/>
                    <a:gd name="connsiteX29" fmla="*/ 2070059 w 4904699"/>
                    <a:gd name="connsiteY29" fmla="*/ 1334152 h 3498714"/>
                    <a:gd name="connsiteX30" fmla="*/ 1929878 w 4904699"/>
                    <a:gd name="connsiteY30" fmla="*/ 1474333 h 3498714"/>
                    <a:gd name="connsiteX31" fmla="*/ 1520943 w 4904699"/>
                    <a:gd name="connsiteY31" fmla="*/ 1470388 h 3498714"/>
                    <a:gd name="connsiteX32" fmla="*/ 1332825 w 4904699"/>
                    <a:gd name="connsiteY32" fmla="*/ 1367201 h 3498714"/>
                    <a:gd name="connsiteX33" fmla="*/ 1106501 w 4904699"/>
                    <a:gd name="connsiteY33" fmla="*/ 1098289 h 3498714"/>
                    <a:gd name="connsiteX34" fmla="*/ 1101049 w 4904699"/>
                    <a:gd name="connsiteY34" fmla="*/ 1092836 h 3498714"/>
                    <a:gd name="connsiteX35" fmla="*/ 1046523 w 4904699"/>
                    <a:gd name="connsiteY35" fmla="*/ 1092836 h 3498714"/>
                    <a:gd name="connsiteX36" fmla="*/ 1041071 w 4904699"/>
                    <a:gd name="connsiteY36" fmla="*/ 1098289 h 3498714"/>
                    <a:gd name="connsiteX37" fmla="*/ 1042136 w 4904699"/>
                    <a:gd name="connsiteY37" fmla="*/ 1419754 h 3498714"/>
                    <a:gd name="connsiteX38" fmla="*/ 1042136 w 4904699"/>
                    <a:gd name="connsiteY38" fmla="*/ 3337652 h 3498714"/>
                    <a:gd name="connsiteX39" fmla="*/ 881075 w 4904699"/>
                    <a:gd name="connsiteY39" fmla="*/ 3498714 h 3498714"/>
                    <a:gd name="connsiteX40" fmla="*/ 720012 w 4904699"/>
                    <a:gd name="connsiteY40" fmla="*/ 3337652 h 3498714"/>
                    <a:gd name="connsiteX41" fmla="*/ 720012 w 4904699"/>
                    <a:gd name="connsiteY41" fmla="*/ 2125717 h 3498714"/>
                    <a:gd name="connsiteX42" fmla="*/ 718947 w 4904699"/>
                    <a:gd name="connsiteY42" fmla="*/ 2033194 h 3498714"/>
                    <a:gd name="connsiteX43" fmla="*/ 714162 w 4904699"/>
                    <a:gd name="connsiteY43" fmla="*/ 2028410 h 3498714"/>
                    <a:gd name="connsiteX44" fmla="*/ 654759 w 4904699"/>
                    <a:gd name="connsiteY44" fmla="*/ 2028410 h 3498714"/>
                    <a:gd name="connsiteX45" fmla="*/ 649974 w 4904699"/>
                    <a:gd name="connsiteY45" fmla="*/ 2033194 h 3498714"/>
                    <a:gd name="connsiteX46" fmla="*/ 649974 w 4904699"/>
                    <a:gd name="connsiteY46" fmla="*/ 2125717 h 3498714"/>
                    <a:gd name="connsiteX47" fmla="*/ 649574 w 4904699"/>
                    <a:gd name="connsiteY47" fmla="*/ 3337652 h 3498714"/>
                    <a:gd name="connsiteX48" fmla="*/ 488511 w 4904699"/>
                    <a:gd name="connsiteY48" fmla="*/ 3498714 h 3498714"/>
                    <a:gd name="connsiteX49" fmla="*/ 327450 w 4904699"/>
                    <a:gd name="connsiteY49" fmla="*/ 3337652 h 3498714"/>
                    <a:gd name="connsiteX50" fmla="*/ 327450 w 4904699"/>
                    <a:gd name="connsiteY50" fmla="*/ 1458216 h 3498714"/>
                    <a:gd name="connsiteX51" fmla="*/ 322427 w 4904699"/>
                    <a:gd name="connsiteY51" fmla="*/ 1098205 h 3498714"/>
                    <a:gd name="connsiteX52" fmla="*/ 317058 w 4904699"/>
                    <a:gd name="connsiteY52" fmla="*/ 1092836 h 3498714"/>
                    <a:gd name="connsiteX53" fmla="*/ 263371 w 4904699"/>
                    <a:gd name="connsiteY53" fmla="*/ 1092836 h 3498714"/>
                    <a:gd name="connsiteX54" fmla="*/ 258001 w 4904699"/>
                    <a:gd name="connsiteY54" fmla="*/ 1098205 h 3498714"/>
                    <a:gd name="connsiteX55" fmla="*/ 258001 w 4904699"/>
                    <a:gd name="connsiteY55" fmla="*/ 1444446 h 3498714"/>
                    <a:gd name="connsiteX56" fmla="*/ 257700 w 4904699"/>
                    <a:gd name="connsiteY56" fmla="*/ 1444370 h 3498714"/>
                    <a:gd name="connsiteX57" fmla="*/ 257700 w 4904699"/>
                    <a:gd name="connsiteY57" fmla="*/ 1912573 h 3498714"/>
                    <a:gd name="connsiteX58" fmla="*/ 128850 w 4904699"/>
                    <a:gd name="connsiteY58" fmla="*/ 2041423 h 3498714"/>
                    <a:gd name="connsiteX59" fmla="*/ 0 w 4904699"/>
                    <a:gd name="connsiteY59" fmla="*/ 1912573 h 3498714"/>
                    <a:gd name="connsiteX60" fmla="*/ 0 w 4904699"/>
                    <a:gd name="connsiteY60" fmla="*/ 1101802 h 3498714"/>
                    <a:gd name="connsiteX61" fmla="*/ 0 w 4904699"/>
                    <a:gd name="connsiteY61" fmla="*/ 1003338 h 3498714"/>
                    <a:gd name="connsiteX62" fmla="*/ 0 w 4904699"/>
                    <a:gd name="connsiteY62" fmla="*/ 982486 h 3498714"/>
                    <a:gd name="connsiteX63" fmla="*/ 12733 w 4904699"/>
                    <a:gd name="connsiteY63" fmla="*/ 894663 h 3498714"/>
                    <a:gd name="connsiteX64" fmla="*/ 20539 w 4904699"/>
                    <a:gd name="connsiteY64" fmla="*/ 868773 h 3498714"/>
                    <a:gd name="connsiteX65" fmla="*/ 358791 w 4904699"/>
                    <a:gd name="connsiteY65" fmla="*/ 644545 h 3498714"/>
                    <a:gd name="connsiteX66" fmla="*/ 682782 w 4904699"/>
                    <a:gd name="connsiteY66" fmla="*/ 0 h 3498714"/>
                    <a:gd name="connsiteX67" fmla="*/ 966919 w 4904699"/>
                    <a:gd name="connsiteY67" fmla="*/ 284138 h 3498714"/>
                    <a:gd name="connsiteX68" fmla="*/ 682782 w 4904699"/>
                    <a:gd name="connsiteY68" fmla="*/ 568275 h 3498714"/>
                    <a:gd name="connsiteX69" fmla="*/ 398645 w 4904699"/>
                    <a:gd name="connsiteY69" fmla="*/ 284138 h 3498714"/>
                    <a:gd name="connsiteX70" fmla="*/ 682782 w 4904699"/>
                    <a:gd name="connsiteY70" fmla="*/ 0 h 3498714"/>
                    <a:gd name="connsiteX71" fmla="*/ 4707054 w 4904699"/>
                    <a:gd name="connsiteY71" fmla="*/ 2902312 h 3498714"/>
                    <a:gd name="connsiteX72" fmla="*/ 4818179 w 4904699"/>
                    <a:gd name="connsiteY72" fmla="*/ 3013437 h 3498714"/>
                    <a:gd name="connsiteX73" fmla="*/ 4707054 w 4904699"/>
                    <a:gd name="connsiteY73" fmla="*/ 3124562 h 3498714"/>
                    <a:gd name="connsiteX74" fmla="*/ 4545125 w 4904699"/>
                    <a:gd name="connsiteY74" fmla="*/ 3124562 h 3498714"/>
                    <a:gd name="connsiteX75" fmla="*/ 4545125 w 4904699"/>
                    <a:gd name="connsiteY75" fmla="*/ 3361625 h 3498714"/>
                    <a:gd name="connsiteX76" fmla="*/ 4436113 w 4904699"/>
                    <a:gd name="connsiteY76" fmla="*/ 3470637 h 3498714"/>
                    <a:gd name="connsiteX77" fmla="*/ 4235039 w 4904699"/>
                    <a:gd name="connsiteY77" fmla="*/ 3470637 h 3498714"/>
                    <a:gd name="connsiteX78" fmla="*/ 4126027 w 4904699"/>
                    <a:gd name="connsiteY78" fmla="*/ 3361625 h 3498714"/>
                    <a:gd name="connsiteX79" fmla="*/ 4126027 w 4904699"/>
                    <a:gd name="connsiteY79" fmla="*/ 3124562 h 3498714"/>
                    <a:gd name="connsiteX80" fmla="*/ 2589325 w 4904699"/>
                    <a:gd name="connsiteY80" fmla="*/ 3124562 h 3498714"/>
                    <a:gd name="connsiteX81" fmla="*/ 2589325 w 4904699"/>
                    <a:gd name="connsiteY81" fmla="*/ 3361625 h 3498714"/>
                    <a:gd name="connsiteX82" fmla="*/ 2480313 w 4904699"/>
                    <a:gd name="connsiteY82" fmla="*/ 3470637 h 3498714"/>
                    <a:gd name="connsiteX83" fmla="*/ 2279239 w 4904699"/>
                    <a:gd name="connsiteY83" fmla="*/ 3470637 h 3498714"/>
                    <a:gd name="connsiteX84" fmla="*/ 2170227 w 4904699"/>
                    <a:gd name="connsiteY84" fmla="*/ 3361625 h 3498714"/>
                    <a:gd name="connsiteX85" fmla="*/ 2170227 w 4904699"/>
                    <a:gd name="connsiteY85" fmla="*/ 3124562 h 3498714"/>
                    <a:gd name="connsiteX86" fmla="*/ 2052754 w 4904699"/>
                    <a:gd name="connsiteY86" fmla="*/ 3124562 h 3498714"/>
                    <a:gd name="connsiteX87" fmla="*/ 1941629 w 4904699"/>
                    <a:gd name="connsiteY87" fmla="*/ 3013437 h 3498714"/>
                    <a:gd name="connsiteX88" fmla="*/ 2052754 w 4904699"/>
                    <a:gd name="connsiteY88" fmla="*/ 2902312 h 3498714"/>
                    <a:gd name="connsiteX89" fmla="*/ 682782 w 4904699"/>
                    <a:gd name="connsiteY89" fmla="*/ 0 h 3498714"/>
                    <a:gd name="connsiteX90" fmla="*/ 4311608 w 4904699"/>
                    <a:gd name="connsiteY90" fmla="*/ 2270487 h 3498714"/>
                    <a:gd name="connsiteX91" fmla="*/ 4492583 w 4904699"/>
                    <a:gd name="connsiteY91" fmla="*/ 2451462 h 3498714"/>
                    <a:gd name="connsiteX0" fmla="*/ 2979061 w 4904699"/>
                    <a:gd name="connsiteY0" fmla="*/ 2089512 h 3498714"/>
                    <a:gd name="connsiteX1" fmla="*/ 2671086 w 4904699"/>
                    <a:gd name="connsiteY1" fmla="*/ 2397487 h 3498714"/>
                    <a:gd name="connsiteX2" fmla="*/ 2671086 w 4904699"/>
                    <a:gd name="connsiteY2" fmla="*/ 2584811 h 3498714"/>
                    <a:gd name="connsiteX3" fmla="*/ 4083961 w 4904699"/>
                    <a:gd name="connsiteY3" fmla="*/ 2584811 h 3498714"/>
                    <a:gd name="connsiteX4" fmla="*/ 4083961 w 4904699"/>
                    <a:gd name="connsiteY4" fmla="*/ 2397487 h 3498714"/>
                    <a:gd name="connsiteX5" fmla="*/ 3775986 w 4904699"/>
                    <a:gd name="connsiteY5" fmla="*/ 2089512 h 3498714"/>
                    <a:gd name="connsiteX6" fmla="*/ 2979061 w 4904699"/>
                    <a:gd name="connsiteY6" fmla="*/ 2089512 h 3498714"/>
                    <a:gd name="connsiteX7" fmla="*/ 2251033 w 4904699"/>
                    <a:gd name="connsiteY7" fmla="*/ 2089512 h 3498714"/>
                    <a:gd name="connsiteX8" fmla="*/ 2070058 w 4904699"/>
                    <a:gd name="connsiteY8" fmla="*/ 2270487 h 3498714"/>
                    <a:gd name="connsiteX9" fmla="*/ 2251033 w 4904699"/>
                    <a:gd name="connsiteY9" fmla="*/ 2451462 h 3498714"/>
                    <a:gd name="connsiteX10" fmla="*/ 2432008 w 4904699"/>
                    <a:gd name="connsiteY10" fmla="*/ 2270487 h 3498714"/>
                    <a:gd name="connsiteX11" fmla="*/ 2251033 w 4904699"/>
                    <a:gd name="connsiteY11" fmla="*/ 2089512 h 3498714"/>
                    <a:gd name="connsiteX12" fmla="*/ 2842751 w 4904699"/>
                    <a:gd name="connsiteY12" fmla="*/ 1749356 h 3498714"/>
                    <a:gd name="connsiteX13" fmla="*/ 2392797 w 4904699"/>
                    <a:gd name="connsiteY13" fmla="*/ 1878907 h 3498714"/>
                    <a:gd name="connsiteX14" fmla="*/ 2478781 w 4904699"/>
                    <a:gd name="connsiteY14" fmla="*/ 1920808 h 3498714"/>
                    <a:gd name="connsiteX15" fmla="*/ 2842751 w 4904699"/>
                    <a:gd name="connsiteY15" fmla="*/ 1749356 h 3498714"/>
                    <a:gd name="connsiteX16" fmla="*/ 2534724 w 4904699"/>
                    <a:gd name="connsiteY16" fmla="*/ 982297 h 3498714"/>
                    <a:gd name="connsiteX17" fmla="*/ 4904699 w 4904699"/>
                    <a:gd name="connsiteY17" fmla="*/ 2705462 h 3498714"/>
                    <a:gd name="connsiteX18" fmla="*/ 1970999 w 4904699"/>
                    <a:gd name="connsiteY18" fmla="*/ 2826112 h 3498714"/>
                    <a:gd name="connsiteX19" fmla="*/ 1850348 w 4904699"/>
                    <a:gd name="connsiteY19" fmla="*/ 2705462 h 3498714"/>
                    <a:gd name="connsiteX20" fmla="*/ 1956769 w 4904699"/>
                    <a:gd name="connsiteY20" fmla="*/ 2587684 h 3498714"/>
                    <a:gd name="connsiteX21" fmla="*/ 1823360 w 4904699"/>
                    <a:gd name="connsiteY21" fmla="*/ 2279217 h 3498714"/>
                    <a:gd name="connsiteX22" fmla="*/ 2217440 w 4904699"/>
                    <a:gd name="connsiteY22" fmla="*/ 1856216 h 3498714"/>
                    <a:gd name="connsiteX23" fmla="*/ 2534724 w 4904699"/>
                    <a:gd name="connsiteY23" fmla="*/ 982297 h 3498714"/>
                    <a:gd name="connsiteX24" fmla="*/ 358791 w 4904699"/>
                    <a:gd name="connsiteY24" fmla="*/ 644545 h 3498714"/>
                    <a:gd name="connsiteX25" fmla="*/ 1006774 w 4904699"/>
                    <a:gd name="connsiteY25" fmla="*/ 644545 h 3498714"/>
                    <a:gd name="connsiteX26" fmla="*/ 1542636 w 4904699"/>
                    <a:gd name="connsiteY26" fmla="*/ 1193969 h 3498714"/>
                    <a:gd name="connsiteX27" fmla="*/ 1929878 w 4904699"/>
                    <a:gd name="connsiteY27" fmla="*/ 1193970 h 3498714"/>
                    <a:gd name="connsiteX28" fmla="*/ 2070059 w 4904699"/>
                    <a:gd name="connsiteY28" fmla="*/ 1334152 h 3498714"/>
                    <a:gd name="connsiteX29" fmla="*/ 1929878 w 4904699"/>
                    <a:gd name="connsiteY29" fmla="*/ 1474333 h 3498714"/>
                    <a:gd name="connsiteX30" fmla="*/ 1520943 w 4904699"/>
                    <a:gd name="connsiteY30" fmla="*/ 1470388 h 3498714"/>
                    <a:gd name="connsiteX31" fmla="*/ 1332825 w 4904699"/>
                    <a:gd name="connsiteY31" fmla="*/ 1367201 h 3498714"/>
                    <a:gd name="connsiteX32" fmla="*/ 1106501 w 4904699"/>
                    <a:gd name="connsiteY32" fmla="*/ 1098289 h 3498714"/>
                    <a:gd name="connsiteX33" fmla="*/ 1101049 w 4904699"/>
                    <a:gd name="connsiteY33" fmla="*/ 1092836 h 3498714"/>
                    <a:gd name="connsiteX34" fmla="*/ 1046523 w 4904699"/>
                    <a:gd name="connsiteY34" fmla="*/ 1092836 h 3498714"/>
                    <a:gd name="connsiteX35" fmla="*/ 1041071 w 4904699"/>
                    <a:gd name="connsiteY35" fmla="*/ 1098289 h 3498714"/>
                    <a:gd name="connsiteX36" fmla="*/ 1042136 w 4904699"/>
                    <a:gd name="connsiteY36" fmla="*/ 1419754 h 3498714"/>
                    <a:gd name="connsiteX37" fmla="*/ 1042136 w 4904699"/>
                    <a:gd name="connsiteY37" fmla="*/ 3337652 h 3498714"/>
                    <a:gd name="connsiteX38" fmla="*/ 881075 w 4904699"/>
                    <a:gd name="connsiteY38" fmla="*/ 3498714 h 3498714"/>
                    <a:gd name="connsiteX39" fmla="*/ 720012 w 4904699"/>
                    <a:gd name="connsiteY39" fmla="*/ 3337652 h 3498714"/>
                    <a:gd name="connsiteX40" fmla="*/ 720012 w 4904699"/>
                    <a:gd name="connsiteY40" fmla="*/ 2125717 h 3498714"/>
                    <a:gd name="connsiteX41" fmla="*/ 718947 w 4904699"/>
                    <a:gd name="connsiteY41" fmla="*/ 2033194 h 3498714"/>
                    <a:gd name="connsiteX42" fmla="*/ 714162 w 4904699"/>
                    <a:gd name="connsiteY42" fmla="*/ 2028410 h 3498714"/>
                    <a:gd name="connsiteX43" fmla="*/ 654759 w 4904699"/>
                    <a:gd name="connsiteY43" fmla="*/ 2028410 h 3498714"/>
                    <a:gd name="connsiteX44" fmla="*/ 649974 w 4904699"/>
                    <a:gd name="connsiteY44" fmla="*/ 2033194 h 3498714"/>
                    <a:gd name="connsiteX45" fmla="*/ 649974 w 4904699"/>
                    <a:gd name="connsiteY45" fmla="*/ 2125717 h 3498714"/>
                    <a:gd name="connsiteX46" fmla="*/ 649574 w 4904699"/>
                    <a:gd name="connsiteY46" fmla="*/ 3337652 h 3498714"/>
                    <a:gd name="connsiteX47" fmla="*/ 488511 w 4904699"/>
                    <a:gd name="connsiteY47" fmla="*/ 3498714 h 3498714"/>
                    <a:gd name="connsiteX48" fmla="*/ 327450 w 4904699"/>
                    <a:gd name="connsiteY48" fmla="*/ 3337652 h 3498714"/>
                    <a:gd name="connsiteX49" fmla="*/ 327450 w 4904699"/>
                    <a:gd name="connsiteY49" fmla="*/ 1458216 h 3498714"/>
                    <a:gd name="connsiteX50" fmla="*/ 322427 w 4904699"/>
                    <a:gd name="connsiteY50" fmla="*/ 1098205 h 3498714"/>
                    <a:gd name="connsiteX51" fmla="*/ 317058 w 4904699"/>
                    <a:gd name="connsiteY51" fmla="*/ 1092836 h 3498714"/>
                    <a:gd name="connsiteX52" fmla="*/ 263371 w 4904699"/>
                    <a:gd name="connsiteY52" fmla="*/ 1092836 h 3498714"/>
                    <a:gd name="connsiteX53" fmla="*/ 258001 w 4904699"/>
                    <a:gd name="connsiteY53" fmla="*/ 1098205 h 3498714"/>
                    <a:gd name="connsiteX54" fmla="*/ 258001 w 4904699"/>
                    <a:gd name="connsiteY54" fmla="*/ 1444446 h 3498714"/>
                    <a:gd name="connsiteX55" fmla="*/ 257700 w 4904699"/>
                    <a:gd name="connsiteY55" fmla="*/ 1444370 h 3498714"/>
                    <a:gd name="connsiteX56" fmla="*/ 257700 w 4904699"/>
                    <a:gd name="connsiteY56" fmla="*/ 1912573 h 3498714"/>
                    <a:gd name="connsiteX57" fmla="*/ 128850 w 4904699"/>
                    <a:gd name="connsiteY57" fmla="*/ 2041423 h 3498714"/>
                    <a:gd name="connsiteX58" fmla="*/ 0 w 4904699"/>
                    <a:gd name="connsiteY58" fmla="*/ 1912573 h 3498714"/>
                    <a:gd name="connsiteX59" fmla="*/ 0 w 4904699"/>
                    <a:gd name="connsiteY59" fmla="*/ 1101802 h 3498714"/>
                    <a:gd name="connsiteX60" fmla="*/ 0 w 4904699"/>
                    <a:gd name="connsiteY60" fmla="*/ 1003338 h 3498714"/>
                    <a:gd name="connsiteX61" fmla="*/ 0 w 4904699"/>
                    <a:gd name="connsiteY61" fmla="*/ 982486 h 3498714"/>
                    <a:gd name="connsiteX62" fmla="*/ 12733 w 4904699"/>
                    <a:gd name="connsiteY62" fmla="*/ 894663 h 3498714"/>
                    <a:gd name="connsiteX63" fmla="*/ 20539 w 4904699"/>
                    <a:gd name="connsiteY63" fmla="*/ 868773 h 3498714"/>
                    <a:gd name="connsiteX64" fmla="*/ 358791 w 4904699"/>
                    <a:gd name="connsiteY64" fmla="*/ 644545 h 3498714"/>
                    <a:gd name="connsiteX65" fmla="*/ 682782 w 4904699"/>
                    <a:gd name="connsiteY65" fmla="*/ 0 h 3498714"/>
                    <a:gd name="connsiteX66" fmla="*/ 966919 w 4904699"/>
                    <a:gd name="connsiteY66" fmla="*/ 284138 h 3498714"/>
                    <a:gd name="connsiteX67" fmla="*/ 682782 w 4904699"/>
                    <a:gd name="connsiteY67" fmla="*/ 568275 h 3498714"/>
                    <a:gd name="connsiteX68" fmla="*/ 398645 w 4904699"/>
                    <a:gd name="connsiteY68" fmla="*/ 284138 h 3498714"/>
                    <a:gd name="connsiteX69" fmla="*/ 682782 w 4904699"/>
                    <a:gd name="connsiteY69" fmla="*/ 0 h 3498714"/>
                    <a:gd name="connsiteX70" fmla="*/ 4707054 w 4904699"/>
                    <a:gd name="connsiteY70" fmla="*/ 2902312 h 3498714"/>
                    <a:gd name="connsiteX71" fmla="*/ 4818179 w 4904699"/>
                    <a:gd name="connsiteY71" fmla="*/ 3013437 h 3498714"/>
                    <a:gd name="connsiteX72" fmla="*/ 4707054 w 4904699"/>
                    <a:gd name="connsiteY72" fmla="*/ 3124562 h 3498714"/>
                    <a:gd name="connsiteX73" fmla="*/ 4545125 w 4904699"/>
                    <a:gd name="connsiteY73" fmla="*/ 3124562 h 3498714"/>
                    <a:gd name="connsiteX74" fmla="*/ 4545125 w 4904699"/>
                    <a:gd name="connsiteY74" fmla="*/ 3361625 h 3498714"/>
                    <a:gd name="connsiteX75" fmla="*/ 4436113 w 4904699"/>
                    <a:gd name="connsiteY75" fmla="*/ 3470637 h 3498714"/>
                    <a:gd name="connsiteX76" fmla="*/ 4235039 w 4904699"/>
                    <a:gd name="connsiteY76" fmla="*/ 3470637 h 3498714"/>
                    <a:gd name="connsiteX77" fmla="*/ 4126027 w 4904699"/>
                    <a:gd name="connsiteY77" fmla="*/ 3361625 h 3498714"/>
                    <a:gd name="connsiteX78" fmla="*/ 4126027 w 4904699"/>
                    <a:gd name="connsiteY78" fmla="*/ 3124562 h 3498714"/>
                    <a:gd name="connsiteX79" fmla="*/ 2589325 w 4904699"/>
                    <a:gd name="connsiteY79" fmla="*/ 3124562 h 3498714"/>
                    <a:gd name="connsiteX80" fmla="*/ 2589325 w 4904699"/>
                    <a:gd name="connsiteY80" fmla="*/ 3361625 h 3498714"/>
                    <a:gd name="connsiteX81" fmla="*/ 2480313 w 4904699"/>
                    <a:gd name="connsiteY81" fmla="*/ 3470637 h 3498714"/>
                    <a:gd name="connsiteX82" fmla="*/ 2279239 w 4904699"/>
                    <a:gd name="connsiteY82" fmla="*/ 3470637 h 3498714"/>
                    <a:gd name="connsiteX83" fmla="*/ 2170227 w 4904699"/>
                    <a:gd name="connsiteY83" fmla="*/ 3361625 h 3498714"/>
                    <a:gd name="connsiteX84" fmla="*/ 2170227 w 4904699"/>
                    <a:gd name="connsiteY84" fmla="*/ 3124562 h 3498714"/>
                    <a:gd name="connsiteX85" fmla="*/ 2052754 w 4904699"/>
                    <a:gd name="connsiteY85" fmla="*/ 3124562 h 3498714"/>
                    <a:gd name="connsiteX86" fmla="*/ 1941629 w 4904699"/>
                    <a:gd name="connsiteY86" fmla="*/ 3013437 h 3498714"/>
                    <a:gd name="connsiteX87" fmla="*/ 2052754 w 4904699"/>
                    <a:gd name="connsiteY87" fmla="*/ 2902312 h 3498714"/>
                    <a:gd name="connsiteX88" fmla="*/ 682782 w 4904699"/>
                    <a:gd name="connsiteY88" fmla="*/ 0 h 3498714"/>
                    <a:gd name="connsiteX89" fmla="*/ 4311608 w 4904699"/>
                    <a:gd name="connsiteY89" fmla="*/ 2270487 h 3498714"/>
                    <a:gd name="connsiteX90" fmla="*/ 4492583 w 4904699"/>
                    <a:gd name="connsiteY90"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88" fmla="*/ 4311608 w 4818179"/>
                    <a:gd name="connsiteY88" fmla="*/ 2270487 h 3498714"/>
                    <a:gd name="connsiteX89" fmla="*/ 4492583 w 4818179"/>
                    <a:gd name="connsiteY89" fmla="*/ 2451462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4083961 w 4818179"/>
                    <a:gd name="connsiteY4" fmla="*/ 2397487 h 3498714"/>
                    <a:gd name="connsiteX5" fmla="*/ 3775986 w 4818179"/>
                    <a:gd name="connsiteY5" fmla="*/ 2089512 h 3498714"/>
                    <a:gd name="connsiteX6" fmla="*/ 2979061 w 4818179"/>
                    <a:gd name="connsiteY6" fmla="*/ 2089512 h 3498714"/>
                    <a:gd name="connsiteX7" fmla="*/ 2251033 w 4818179"/>
                    <a:gd name="connsiteY7" fmla="*/ 2089512 h 3498714"/>
                    <a:gd name="connsiteX8" fmla="*/ 2070058 w 4818179"/>
                    <a:gd name="connsiteY8" fmla="*/ 2270487 h 3498714"/>
                    <a:gd name="connsiteX9" fmla="*/ 2251033 w 4818179"/>
                    <a:gd name="connsiteY9" fmla="*/ 2451462 h 3498714"/>
                    <a:gd name="connsiteX10" fmla="*/ 2432008 w 4818179"/>
                    <a:gd name="connsiteY10" fmla="*/ 2270487 h 3498714"/>
                    <a:gd name="connsiteX11" fmla="*/ 2251033 w 4818179"/>
                    <a:gd name="connsiteY11" fmla="*/ 2089512 h 3498714"/>
                    <a:gd name="connsiteX12" fmla="*/ 2842751 w 4818179"/>
                    <a:gd name="connsiteY12" fmla="*/ 1749356 h 3498714"/>
                    <a:gd name="connsiteX13" fmla="*/ 2392797 w 4818179"/>
                    <a:gd name="connsiteY13" fmla="*/ 1878907 h 3498714"/>
                    <a:gd name="connsiteX14" fmla="*/ 2478781 w 4818179"/>
                    <a:gd name="connsiteY14" fmla="*/ 1920808 h 3498714"/>
                    <a:gd name="connsiteX15" fmla="*/ 2842751 w 4818179"/>
                    <a:gd name="connsiteY15" fmla="*/ 1749356 h 3498714"/>
                    <a:gd name="connsiteX16" fmla="*/ 2534724 w 4818179"/>
                    <a:gd name="connsiteY16" fmla="*/ 982297 h 3498714"/>
                    <a:gd name="connsiteX17" fmla="*/ 1970999 w 4818179"/>
                    <a:gd name="connsiteY17" fmla="*/ 2826112 h 3498714"/>
                    <a:gd name="connsiteX18" fmla="*/ 1850348 w 4818179"/>
                    <a:gd name="connsiteY18" fmla="*/ 2705462 h 3498714"/>
                    <a:gd name="connsiteX19" fmla="*/ 1956769 w 4818179"/>
                    <a:gd name="connsiteY19" fmla="*/ 2587684 h 3498714"/>
                    <a:gd name="connsiteX20" fmla="*/ 1823360 w 4818179"/>
                    <a:gd name="connsiteY20" fmla="*/ 2279217 h 3498714"/>
                    <a:gd name="connsiteX21" fmla="*/ 2217440 w 4818179"/>
                    <a:gd name="connsiteY21" fmla="*/ 1856216 h 3498714"/>
                    <a:gd name="connsiteX22" fmla="*/ 2534724 w 4818179"/>
                    <a:gd name="connsiteY22" fmla="*/ 982297 h 3498714"/>
                    <a:gd name="connsiteX23" fmla="*/ 358791 w 4818179"/>
                    <a:gd name="connsiteY23" fmla="*/ 644545 h 3498714"/>
                    <a:gd name="connsiteX24" fmla="*/ 1006774 w 4818179"/>
                    <a:gd name="connsiteY24" fmla="*/ 644545 h 3498714"/>
                    <a:gd name="connsiteX25" fmla="*/ 1542636 w 4818179"/>
                    <a:gd name="connsiteY25" fmla="*/ 1193969 h 3498714"/>
                    <a:gd name="connsiteX26" fmla="*/ 1929878 w 4818179"/>
                    <a:gd name="connsiteY26" fmla="*/ 1193970 h 3498714"/>
                    <a:gd name="connsiteX27" fmla="*/ 2070059 w 4818179"/>
                    <a:gd name="connsiteY27" fmla="*/ 1334152 h 3498714"/>
                    <a:gd name="connsiteX28" fmla="*/ 1929878 w 4818179"/>
                    <a:gd name="connsiteY28" fmla="*/ 1474333 h 3498714"/>
                    <a:gd name="connsiteX29" fmla="*/ 1520943 w 4818179"/>
                    <a:gd name="connsiteY29" fmla="*/ 1470388 h 3498714"/>
                    <a:gd name="connsiteX30" fmla="*/ 1332825 w 4818179"/>
                    <a:gd name="connsiteY30" fmla="*/ 1367201 h 3498714"/>
                    <a:gd name="connsiteX31" fmla="*/ 1106501 w 4818179"/>
                    <a:gd name="connsiteY31" fmla="*/ 1098289 h 3498714"/>
                    <a:gd name="connsiteX32" fmla="*/ 1101049 w 4818179"/>
                    <a:gd name="connsiteY32" fmla="*/ 1092836 h 3498714"/>
                    <a:gd name="connsiteX33" fmla="*/ 1046523 w 4818179"/>
                    <a:gd name="connsiteY33" fmla="*/ 1092836 h 3498714"/>
                    <a:gd name="connsiteX34" fmla="*/ 1041071 w 4818179"/>
                    <a:gd name="connsiteY34" fmla="*/ 1098289 h 3498714"/>
                    <a:gd name="connsiteX35" fmla="*/ 1042136 w 4818179"/>
                    <a:gd name="connsiteY35" fmla="*/ 1419754 h 3498714"/>
                    <a:gd name="connsiteX36" fmla="*/ 1042136 w 4818179"/>
                    <a:gd name="connsiteY36" fmla="*/ 3337652 h 3498714"/>
                    <a:gd name="connsiteX37" fmla="*/ 881075 w 4818179"/>
                    <a:gd name="connsiteY37" fmla="*/ 3498714 h 3498714"/>
                    <a:gd name="connsiteX38" fmla="*/ 720012 w 4818179"/>
                    <a:gd name="connsiteY38" fmla="*/ 3337652 h 3498714"/>
                    <a:gd name="connsiteX39" fmla="*/ 720012 w 4818179"/>
                    <a:gd name="connsiteY39" fmla="*/ 2125717 h 3498714"/>
                    <a:gd name="connsiteX40" fmla="*/ 718947 w 4818179"/>
                    <a:gd name="connsiteY40" fmla="*/ 2033194 h 3498714"/>
                    <a:gd name="connsiteX41" fmla="*/ 714162 w 4818179"/>
                    <a:gd name="connsiteY41" fmla="*/ 2028410 h 3498714"/>
                    <a:gd name="connsiteX42" fmla="*/ 654759 w 4818179"/>
                    <a:gd name="connsiteY42" fmla="*/ 2028410 h 3498714"/>
                    <a:gd name="connsiteX43" fmla="*/ 649974 w 4818179"/>
                    <a:gd name="connsiteY43" fmla="*/ 2033194 h 3498714"/>
                    <a:gd name="connsiteX44" fmla="*/ 649974 w 4818179"/>
                    <a:gd name="connsiteY44" fmla="*/ 2125717 h 3498714"/>
                    <a:gd name="connsiteX45" fmla="*/ 649574 w 4818179"/>
                    <a:gd name="connsiteY45" fmla="*/ 3337652 h 3498714"/>
                    <a:gd name="connsiteX46" fmla="*/ 488511 w 4818179"/>
                    <a:gd name="connsiteY46" fmla="*/ 3498714 h 3498714"/>
                    <a:gd name="connsiteX47" fmla="*/ 327450 w 4818179"/>
                    <a:gd name="connsiteY47" fmla="*/ 3337652 h 3498714"/>
                    <a:gd name="connsiteX48" fmla="*/ 327450 w 4818179"/>
                    <a:gd name="connsiteY48" fmla="*/ 1458216 h 3498714"/>
                    <a:gd name="connsiteX49" fmla="*/ 322427 w 4818179"/>
                    <a:gd name="connsiteY49" fmla="*/ 1098205 h 3498714"/>
                    <a:gd name="connsiteX50" fmla="*/ 317058 w 4818179"/>
                    <a:gd name="connsiteY50" fmla="*/ 1092836 h 3498714"/>
                    <a:gd name="connsiteX51" fmla="*/ 263371 w 4818179"/>
                    <a:gd name="connsiteY51" fmla="*/ 1092836 h 3498714"/>
                    <a:gd name="connsiteX52" fmla="*/ 258001 w 4818179"/>
                    <a:gd name="connsiteY52" fmla="*/ 1098205 h 3498714"/>
                    <a:gd name="connsiteX53" fmla="*/ 258001 w 4818179"/>
                    <a:gd name="connsiteY53" fmla="*/ 1444446 h 3498714"/>
                    <a:gd name="connsiteX54" fmla="*/ 257700 w 4818179"/>
                    <a:gd name="connsiteY54" fmla="*/ 1444370 h 3498714"/>
                    <a:gd name="connsiteX55" fmla="*/ 257700 w 4818179"/>
                    <a:gd name="connsiteY55" fmla="*/ 1912573 h 3498714"/>
                    <a:gd name="connsiteX56" fmla="*/ 128850 w 4818179"/>
                    <a:gd name="connsiteY56" fmla="*/ 2041423 h 3498714"/>
                    <a:gd name="connsiteX57" fmla="*/ 0 w 4818179"/>
                    <a:gd name="connsiteY57" fmla="*/ 1912573 h 3498714"/>
                    <a:gd name="connsiteX58" fmla="*/ 0 w 4818179"/>
                    <a:gd name="connsiteY58" fmla="*/ 1101802 h 3498714"/>
                    <a:gd name="connsiteX59" fmla="*/ 0 w 4818179"/>
                    <a:gd name="connsiteY59" fmla="*/ 1003338 h 3498714"/>
                    <a:gd name="connsiteX60" fmla="*/ 0 w 4818179"/>
                    <a:gd name="connsiteY60" fmla="*/ 982486 h 3498714"/>
                    <a:gd name="connsiteX61" fmla="*/ 12733 w 4818179"/>
                    <a:gd name="connsiteY61" fmla="*/ 894663 h 3498714"/>
                    <a:gd name="connsiteX62" fmla="*/ 20539 w 4818179"/>
                    <a:gd name="connsiteY62" fmla="*/ 868773 h 3498714"/>
                    <a:gd name="connsiteX63" fmla="*/ 358791 w 4818179"/>
                    <a:gd name="connsiteY63" fmla="*/ 644545 h 3498714"/>
                    <a:gd name="connsiteX64" fmla="*/ 682782 w 4818179"/>
                    <a:gd name="connsiteY64" fmla="*/ 0 h 3498714"/>
                    <a:gd name="connsiteX65" fmla="*/ 966919 w 4818179"/>
                    <a:gd name="connsiteY65" fmla="*/ 284138 h 3498714"/>
                    <a:gd name="connsiteX66" fmla="*/ 682782 w 4818179"/>
                    <a:gd name="connsiteY66" fmla="*/ 568275 h 3498714"/>
                    <a:gd name="connsiteX67" fmla="*/ 398645 w 4818179"/>
                    <a:gd name="connsiteY67" fmla="*/ 284138 h 3498714"/>
                    <a:gd name="connsiteX68" fmla="*/ 682782 w 4818179"/>
                    <a:gd name="connsiteY68" fmla="*/ 0 h 3498714"/>
                    <a:gd name="connsiteX69" fmla="*/ 4707054 w 4818179"/>
                    <a:gd name="connsiteY69" fmla="*/ 2902312 h 3498714"/>
                    <a:gd name="connsiteX70" fmla="*/ 4818179 w 4818179"/>
                    <a:gd name="connsiteY70" fmla="*/ 3013437 h 3498714"/>
                    <a:gd name="connsiteX71" fmla="*/ 4707054 w 4818179"/>
                    <a:gd name="connsiteY71" fmla="*/ 3124562 h 3498714"/>
                    <a:gd name="connsiteX72" fmla="*/ 4545125 w 4818179"/>
                    <a:gd name="connsiteY72" fmla="*/ 3124562 h 3498714"/>
                    <a:gd name="connsiteX73" fmla="*/ 4545125 w 4818179"/>
                    <a:gd name="connsiteY73" fmla="*/ 3361625 h 3498714"/>
                    <a:gd name="connsiteX74" fmla="*/ 4436113 w 4818179"/>
                    <a:gd name="connsiteY74" fmla="*/ 3470637 h 3498714"/>
                    <a:gd name="connsiteX75" fmla="*/ 4235039 w 4818179"/>
                    <a:gd name="connsiteY75" fmla="*/ 3470637 h 3498714"/>
                    <a:gd name="connsiteX76" fmla="*/ 4126027 w 4818179"/>
                    <a:gd name="connsiteY76" fmla="*/ 3361625 h 3498714"/>
                    <a:gd name="connsiteX77" fmla="*/ 4126027 w 4818179"/>
                    <a:gd name="connsiteY77" fmla="*/ 3124562 h 3498714"/>
                    <a:gd name="connsiteX78" fmla="*/ 2589325 w 4818179"/>
                    <a:gd name="connsiteY78" fmla="*/ 3124562 h 3498714"/>
                    <a:gd name="connsiteX79" fmla="*/ 2589325 w 4818179"/>
                    <a:gd name="connsiteY79" fmla="*/ 3361625 h 3498714"/>
                    <a:gd name="connsiteX80" fmla="*/ 2480313 w 4818179"/>
                    <a:gd name="connsiteY80" fmla="*/ 3470637 h 3498714"/>
                    <a:gd name="connsiteX81" fmla="*/ 2279239 w 4818179"/>
                    <a:gd name="connsiteY81" fmla="*/ 3470637 h 3498714"/>
                    <a:gd name="connsiteX82" fmla="*/ 2170227 w 4818179"/>
                    <a:gd name="connsiteY82" fmla="*/ 3361625 h 3498714"/>
                    <a:gd name="connsiteX83" fmla="*/ 2170227 w 4818179"/>
                    <a:gd name="connsiteY83" fmla="*/ 3124562 h 3498714"/>
                    <a:gd name="connsiteX84" fmla="*/ 2052754 w 4818179"/>
                    <a:gd name="connsiteY84" fmla="*/ 3124562 h 3498714"/>
                    <a:gd name="connsiteX85" fmla="*/ 1941629 w 4818179"/>
                    <a:gd name="connsiteY85" fmla="*/ 3013437 h 3498714"/>
                    <a:gd name="connsiteX86" fmla="*/ 2052754 w 4818179"/>
                    <a:gd name="connsiteY86" fmla="*/ 2902312 h 3498714"/>
                    <a:gd name="connsiteX87" fmla="*/ 682782 w 4818179"/>
                    <a:gd name="connsiteY87"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4126027 w 4818179"/>
                    <a:gd name="connsiteY76" fmla="*/ 3124562 h 3498714"/>
                    <a:gd name="connsiteX77" fmla="*/ 2589325 w 4818179"/>
                    <a:gd name="connsiteY77" fmla="*/ 3124562 h 3498714"/>
                    <a:gd name="connsiteX78" fmla="*/ 2589325 w 4818179"/>
                    <a:gd name="connsiteY78" fmla="*/ 3361625 h 3498714"/>
                    <a:gd name="connsiteX79" fmla="*/ 2480313 w 4818179"/>
                    <a:gd name="connsiteY79" fmla="*/ 3470637 h 3498714"/>
                    <a:gd name="connsiteX80" fmla="*/ 2279239 w 4818179"/>
                    <a:gd name="connsiteY80" fmla="*/ 3470637 h 3498714"/>
                    <a:gd name="connsiteX81" fmla="*/ 2170227 w 4818179"/>
                    <a:gd name="connsiteY81" fmla="*/ 3361625 h 3498714"/>
                    <a:gd name="connsiteX82" fmla="*/ 2170227 w 4818179"/>
                    <a:gd name="connsiteY82" fmla="*/ 3124562 h 3498714"/>
                    <a:gd name="connsiteX83" fmla="*/ 2052754 w 4818179"/>
                    <a:gd name="connsiteY83" fmla="*/ 3124562 h 3498714"/>
                    <a:gd name="connsiteX84" fmla="*/ 1941629 w 4818179"/>
                    <a:gd name="connsiteY84" fmla="*/ 3013437 h 3498714"/>
                    <a:gd name="connsiteX85" fmla="*/ 2052754 w 4818179"/>
                    <a:gd name="connsiteY85" fmla="*/ 2902312 h 3498714"/>
                    <a:gd name="connsiteX86" fmla="*/ 682782 w 4818179"/>
                    <a:gd name="connsiteY86"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4126027 w 4818179"/>
                    <a:gd name="connsiteY75" fmla="*/ 3361625 h 3498714"/>
                    <a:gd name="connsiteX76" fmla="*/ 2589325 w 4818179"/>
                    <a:gd name="connsiteY76" fmla="*/ 3124562 h 3498714"/>
                    <a:gd name="connsiteX77" fmla="*/ 2589325 w 4818179"/>
                    <a:gd name="connsiteY77" fmla="*/ 3361625 h 3498714"/>
                    <a:gd name="connsiteX78" fmla="*/ 2480313 w 4818179"/>
                    <a:gd name="connsiteY78" fmla="*/ 3470637 h 3498714"/>
                    <a:gd name="connsiteX79" fmla="*/ 2279239 w 4818179"/>
                    <a:gd name="connsiteY79" fmla="*/ 3470637 h 3498714"/>
                    <a:gd name="connsiteX80" fmla="*/ 2170227 w 4818179"/>
                    <a:gd name="connsiteY80" fmla="*/ 3361625 h 3498714"/>
                    <a:gd name="connsiteX81" fmla="*/ 2170227 w 4818179"/>
                    <a:gd name="connsiteY81" fmla="*/ 3124562 h 3498714"/>
                    <a:gd name="connsiteX82" fmla="*/ 2052754 w 4818179"/>
                    <a:gd name="connsiteY82" fmla="*/ 3124562 h 3498714"/>
                    <a:gd name="connsiteX83" fmla="*/ 1941629 w 4818179"/>
                    <a:gd name="connsiteY83" fmla="*/ 3013437 h 3498714"/>
                    <a:gd name="connsiteX84" fmla="*/ 2052754 w 4818179"/>
                    <a:gd name="connsiteY84" fmla="*/ 2902312 h 3498714"/>
                    <a:gd name="connsiteX85" fmla="*/ 682782 w 4818179"/>
                    <a:gd name="connsiteY85" fmla="*/ 0 h 3498714"/>
                    <a:gd name="connsiteX0" fmla="*/ 2979061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979061 w 4818179"/>
                    <a:gd name="connsiteY5" fmla="*/ 2089512 h 3498714"/>
                    <a:gd name="connsiteX6" fmla="*/ 2251033 w 4818179"/>
                    <a:gd name="connsiteY6" fmla="*/ 2089512 h 3498714"/>
                    <a:gd name="connsiteX7" fmla="*/ 2070058 w 4818179"/>
                    <a:gd name="connsiteY7" fmla="*/ 2270487 h 3498714"/>
                    <a:gd name="connsiteX8" fmla="*/ 2251033 w 4818179"/>
                    <a:gd name="connsiteY8" fmla="*/ 2451462 h 3498714"/>
                    <a:gd name="connsiteX9" fmla="*/ 2432008 w 4818179"/>
                    <a:gd name="connsiteY9" fmla="*/ 2270487 h 3498714"/>
                    <a:gd name="connsiteX10" fmla="*/ 2251033 w 4818179"/>
                    <a:gd name="connsiteY10" fmla="*/ 2089512 h 3498714"/>
                    <a:gd name="connsiteX11" fmla="*/ 2842751 w 4818179"/>
                    <a:gd name="connsiteY11" fmla="*/ 1749356 h 3498714"/>
                    <a:gd name="connsiteX12" fmla="*/ 2392797 w 4818179"/>
                    <a:gd name="connsiteY12" fmla="*/ 1878907 h 3498714"/>
                    <a:gd name="connsiteX13" fmla="*/ 2478781 w 4818179"/>
                    <a:gd name="connsiteY13" fmla="*/ 1920808 h 3498714"/>
                    <a:gd name="connsiteX14" fmla="*/ 2842751 w 4818179"/>
                    <a:gd name="connsiteY14" fmla="*/ 1749356 h 3498714"/>
                    <a:gd name="connsiteX15" fmla="*/ 2534724 w 4818179"/>
                    <a:gd name="connsiteY15" fmla="*/ 982297 h 3498714"/>
                    <a:gd name="connsiteX16" fmla="*/ 1970999 w 4818179"/>
                    <a:gd name="connsiteY16" fmla="*/ 2826112 h 3498714"/>
                    <a:gd name="connsiteX17" fmla="*/ 1850348 w 4818179"/>
                    <a:gd name="connsiteY17" fmla="*/ 2705462 h 3498714"/>
                    <a:gd name="connsiteX18" fmla="*/ 1956769 w 4818179"/>
                    <a:gd name="connsiteY18" fmla="*/ 2587684 h 3498714"/>
                    <a:gd name="connsiteX19" fmla="*/ 1823360 w 4818179"/>
                    <a:gd name="connsiteY19" fmla="*/ 2279217 h 3498714"/>
                    <a:gd name="connsiteX20" fmla="*/ 2217440 w 4818179"/>
                    <a:gd name="connsiteY20" fmla="*/ 1856216 h 3498714"/>
                    <a:gd name="connsiteX21" fmla="*/ 2534724 w 4818179"/>
                    <a:gd name="connsiteY21" fmla="*/ 982297 h 3498714"/>
                    <a:gd name="connsiteX22" fmla="*/ 358791 w 4818179"/>
                    <a:gd name="connsiteY22" fmla="*/ 644545 h 3498714"/>
                    <a:gd name="connsiteX23" fmla="*/ 1006774 w 4818179"/>
                    <a:gd name="connsiteY23" fmla="*/ 644545 h 3498714"/>
                    <a:gd name="connsiteX24" fmla="*/ 1542636 w 4818179"/>
                    <a:gd name="connsiteY24" fmla="*/ 1193969 h 3498714"/>
                    <a:gd name="connsiteX25" fmla="*/ 1929878 w 4818179"/>
                    <a:gd name="connsiteY25" fmla="*/ 1193970 h 3498714"/>
                    <a:gd name="connsiteX26" fmla="*/ 2070059 w 4818179"/>
                    <a:gd name="connsiteY26" fmla="*/ 1334152 h 3498714"/>
                    <a:gd name="connsiteX27" fmla="*/ 1929878 w 4818179"/>
                    <a:gd name="connsiteY27" fmla="*/ 1474333 h 3498714"/>
                    <a:gd name="connsiteX28" fmla="*/ 1520943 w 4818179"/>
                    <a:gd name="connsiteY28" fmla="*/ 1470388 h 3498714"/>
                    <a:gd name="connsiteX29" fmla="*/ 1332825 w 4818179"/>
                    <a:gd name="connsiteY29" fmla="*/ 1367201 h 3498714"/>
                    <a:gd name="connsiteX30" fmla="*/ 1106501 w 4818179"/>
                    <a:gd name="connsiteY30" fmla="*/ 1098289 h 3498714"/>
                    <a:gd name="connsiteX31" fmla="*/ 1101049 w 4818179"/>
                    <a:gd name="connsiteY31" fmla="*/ 1092836 h 3498714"/>
                    <a:gd name="connsiteX32" fmla="*/ 1046523 w 4818179"/>
                    <a:gd name="connsiteY32" fmla="*/ 1092836 h 3498714"/>
                    <a:gd name="connsiteX33" fmla="*/ 1041071 w 4818179"/>
                    <a:gd name="connsiteY33" fmla="*/ 1098289 h 3498714"/>
                    <a:gd name="connsiteX34" fmla="*/ 1042136 w 4818179"/>
                    <a:gd name="connsiteY34" fmla="*/ 1419754 h 3498714"/>
                    <a:gd name="connsiteX35" fmla="*/ 1042136 w 4818179"/>
                    <a:gd name="connsiteY35" fmla="*/ 3337652 h 3498714"/>
                    <a:gd name="connsiteX36" fmla="*/ 881075 w 4818179"/>
                    <a:gd name="connsiteY36" fmla="*/ 3498714 h 3498714"/>
                    <a:gd name="connsiteX37" fmla="*/ 720012 w 4818179"/>
                    <a:gd name="connsiteY37" fmla="*/ 3337652 h 3498714"/>
                    <a:gd name="connsiteX38" fmla="*/ 720012 w 4818179"/>
                    <a:gd name="connsiteY38" fmla="*/ 2125717 h 3498714"/>
                    <a:gd name="connsiteX39" fmla="*/ 718947 w 4818179"/>
                    <a:gd name="connsiteY39" fmla="*/ 2033194 h 3498714"/>
                    <a:gd name="connsiteX40" fmla="*/ 714162 w 4818179"/>
                    <a:gd name="connsiteY40" fmla="*/ 2028410 h 3498714"/>
                    <a:gd name="connsiteX41" fmla="*/ 654759 w 4818179"/>
                    <a:gd name="connsiteY41" fmla="*/ 2028410 h 3498714"/>
                    <a:gd name="connsiteX42" fmla="*/ 649974 w 4818179"/>
                    <a:gd name="connsiteY42" fmla="*/ 2033194 h 3498714"/>
                    <a:gd name="connsiteX43" fmla="*/ 649974 w 4818179"/>
                    <a:gd name="connsiteY43" fmla="*/ 2125717 h 3498714"/>
                    <a:gd name="connsiteX44" fmla="*/ 649574 w 4818179"/>
                    <a:gd name="connsiteY44" fmla="*/ 3337652 h 3498714"/>
                    <a:gd name="connsiteX45" fmla="*/ 488511 w 4818179"/>
                    <a:gd name="connsiteY45" fmla="*/ 3498714 h 3498714"/>
                    <a:gd name="connsiteX46" fmla="*/ 327450 w 4818179"/>
                    <a:gd name="connsiteY46" fmla="*/ 3337652 h 3498714"/>
                    <a:gd name="connsiteX47" fmla="*/ 327450 w 4818179"/>
                    <a:gd name="connsiteY47" fmla="*/ 1458216 h 3498714"/>
                    <a:gd name="connsiteX48" fmla="*/ 322427 w 4818179"/>
                    <a:gd name="connsiteY48" fmla="*/ 1098205 h 3498714"/>
                    <a:gd name="connsiteX49" fmla="*/ 317058 w 4818179"/>
                    <a:gd name="connsiteY49" fmla="*/ 1092836 h 3498714"/>
                    <a:gd name="connsiteX50" fmla="*/ 263371 w 4818179"/>
                    <a:gd name="connsiteY50" fmla="*/ 1092836 h 3498714"/>
                    <a:gd name="connsiteX51" fmla="*/ 258001 w 4818179"/>
                    <a:gd name="connsiteY51" fmla="*/ 1098205 h 3498714"/>
                    <a:gd name="connsiteX52" fmla="*/ 258001 w 4818179"/>
                    <a:gd name="connsiteY52" fmla="*/ 1444446 h 3498714"/>
                    <a:gd name="connsiteX53" fmla="*/ 257700 w 4818179"/>
                    <a:gd name="connsiteY53" fmla="*/ 1444370 h 3498714"/>
                    <a:gd name="connsiteX54" fmla="*/ 257700 w 4818179"/>
                    <a:gd name="connsiteY54" fmla="*/ 1912573 h 3498714"/>
                    <a:gd name="connsiteX55" fmla="*/ 128850 w 4818179"/>
                    <a:gd name="connsiteY55" fmla="*/ 2041423 h 3498714"/>
                    <a:gd name="connsiteX56" fmla="*/ 0 w 4818179"/>
                    <a:gd name="connsiteY56" fmla="*/ 1912573 h 3498714"/>
                    <a:gd name="connsiteX57" fmla="*/ 0 w 4818179"/>
                    <a:gd name="connsiteY57" fmla="*/ 1101802 h 3498714"/>
                    <a:gd name="connsiteX58" fmla="*/ 0 w 4818179"/>
                    <a:gd name="connsiteY58" fmla="*/ 1003338 h 3498714"/>
                    <a:gd name="connsiteX59" fmla="*/ 0 w 4818179"/>
                    <a:gd name="connsiteY59" fmla="*/ 982486 h 3498714"/>
                    <a:gd name="connsiteX60" fmla="*/ 12733 w 4818179"/>
                    <a:gd name="connsiteY60" fmla="*/ 894663 h 3498714"/>
                    <a:gd name="connsiteX61" fmla="*/ 20539 w 4818179"/>
                    <a:gd name="connsiteY61" fmla="*/ 868773 h 3498714"/>
                    <a:gd name="connsiteX62" fmla="*/ 358791 w 4818179"/>
                    <a:gd name="connsiteY62" fmla="*/ 644545 h 3498714"/>
                    <a:gd name="connsiteX63" fmla="*/ 682782 w 4818179"/>
                    <a:gd name="connsiteY63" fmla="*/ 0 h 3498714"/>
                    <a:gd name="connsiteX64" fmla="*/ 966919 w 4818179"/>
                    <a:gd name="connsiteY64" fmla="*/ 284138 h 3498714"/>
                    <a:gd name="connsiteX65" fmla="*/ 682782 w 4818179"/>
                    <a:gd name="connsiteY65" fmla="*/ 568275 h 3498714"/>
                    <a:gd name="connsiteX66" fmla="*/ 398645 w 4818179"/>
                    <a:gd name="connsiteY66" fmla="*/ 284138 h 3498714"/>
                    <a:gd name="connsiteX67" fmla="*/ 682782 w 4818179"/>
                    <a:gd name="connsiteY67" fmla="*/ 0 h 3498714"/>
                    <a:gd name="connsiteX68" fmla="*/ 4707054 w 4818179"/>
                    <a:gd name="connsiteY68" fmla="*/ 2902312 h 3498714"/>
                    <a:gd name="connsiteX69" fmla="*/ 4818179 w 4818179"/>
                    <a:gd name="connsiteY69" fmla="*/ 3013437 h 3498714"/>
                    <a:gd name="connsiteX70" fmla="*/ 4707054 w 4818179"/>
                    <a:gd name="connsiteY70" fmla="*/ 3124562 h 3498714"/>
                    <a:gd name="connsiteX71" fmla="*/ 4545125 w 4818179"/>
                    <a:gd name="connsiteY71" fmla="*/ 3124562 h 3498714"/>
                    <a:gd name="connsiteX72" fmla="*/ 4545125 w 4818179"/>
                    <a:gd name="connsiteY72" fmla="*/ 3361625 h 3498714"/>
                    <a:gd name="connsiteX73" fmla="*/ 4436113 w 4818179"/>
                    <a:gd name="connsiteY73" fmla="*/ 3470637 h 3498714"/>
                    <a:gd name="connsiteX74" fmla="*/ 4235039 w 4818179"/>
                    <a:gd name="connsiteY74" fmla="*/ 3470637 h 3498714"/>
                    <a:gd name="connsiteX75" fmla="*/ 2589325 w 4818179"/>
                    <a:gd name="connsiteY75" fmla="*/ 3124562 h 3498714"/>
                    <a:gd name="connsiteX76" fmla="*/ 2589325 w 4818179"/>
                    <a:gd name="connsiteY76" fmla="*/ 3361625 h 3498714"/>
                    <a:gd name="connsiteX77" fmla="*/ 2480313 w 4818179"/>
                    <a:gd name="connsiteY77" fmla="*/ 3470637 h 3498714"/>
                    <a:gd name="connsiteX78" fmla="*/ 2279239 w 4818179"/>
                    <a:gd name="connsiteY78" fmla="*/ 3470637 h 3498714"/>
                    <a:gd name="connsiteX79" fmla="*/ 2170227 w 4818179"/>
                    <a:gd name="connsiteY79" fmla="*/ 3361625 h 3498714"/>
                    <a:gd name="connsiteX80" fmla="*/ 2170227 w 4818179"/>
                    <a:gd name="connsiteY80" fmla="*/ 3124562 h 3498714"/>
                    <a:gd name="connsiteX81" fmla="*/ 2052754 w 4818179"/>
                    <a:gd name="connsiteY81" fmla="*/ 3124562 h 3498714"/>
                    <a:gd name="connsiteX82" fmla="*/ 1941629 w 4818179"/>
                    <a:gd name="connsiteY82" fmla="*/ 3013437 h 3498714"/>
                    <a:gd name="connsiteX83" fmla="*/ 2052754 w 4818179"/>
                    <a:gd name="connsiteY83" fmla="*/ 2902312 h 3498714"/>
                    <a:gd name="connsiteX84" fmla="*/ 682782 w 4818179"/>
                    <a:gd name="connsiteY84" fmla="*/ 0 h 3498714"/>
                    <a:gd name="connsiteX0" fmla="*/ 3775986 w 4818179"/>
                    <a:gd name="connsiteY0" fmla="*/ 2089512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3775986 w 4818179"/>
                    <a:gd name="connsiteY4" fmla="*/ 2089512 h 3498714"/>
                    <a:gd name="connsiteX5" fmla="*/ 2251033 w 4818179"/>
                    <a:gd name="connsiteY5" fmla="*/ 2089512 h 3498714"/>
                    <a:gd name="connsiteX6" fmla="*/ 2070058 w 4818179"/>
                    <a:gd name="connsiteY6" fmla="*/ 2270487 h 3498714"/>
                    <a:gd name="connsiteX7" fmla="*/ 2251033 w 4818179"/>
                    <a:gd name="connsiteY7" fmla="*/ 2451462 h 3498714"/>
                    <a:gd name="connsiteX8" fmla="*/ 2432008 w 4818179"/>
                    <a:gd name="connsiteY8" fmla="*/ 2270487 h 3498714"/>
                    <a:gd name="connsiteX9" fmla="*/ 2251033 w 4818179"/>
                    <a:gd name="connsiteY9" fmla="*/ 2089512 h 3498714"/>
                    <a:gd name="connsiteX10" fmla="*/ 2842751 w 4818179"/>
                    <a:gd name="connsiteY10" fmla="*/ 1749356 h 3498714"/>
                    <a:gd name="connsiteX11" fmla="*/ 2392797 w 4818179"/>
                    <a:gd name="connsiteY11" fmla="*/ 1878907 h 3498714"/>
                    <a:gd name="connsiteX12" fmla="*/ 2478781 w 4818179"/>
                    <a:gd name="connsiteY12" fmla="*/ 1920808 h 3498714"/>
                    <a:gd name="connsiteX13" fmla="*/ 2842751 w 4818179"/>
                    <a:gd name="connsiteY13" fmla="*/ 1749356 h 3498714"/>
                    <a:gd name="connsiteX14" fmla="*/ 2534724 w 4818179"/>
                    <a:gd name="connsiteY14" fmla="*/ 982297 h 3498714"/>
                    <a:gd name="connsiteX15" fmla="*/ 1970999 w 4818179"/>
                    <a:gd name="connsiteY15" fmla="*/ 2826112 h 3498714"/>
                    <a:gd name="connsiteX16" fmla="*/ 1850348 w 4818179"/>
                    <a:gd name="connsiteY16" fmla="*/ 2705462 h 3498714"/>
                    <a:gd name="connsiteX17" fmla="*/ 1956769 w 4818179"/>
                    <a:gd name="connsiteY17" fmla="*/ 2587684 h 3498714"/>
                    <a:gd name="connsiteX18" fmla="*/ 1823360 w 4818179"/>
                    <a:gd name="connsiteY18" fmla="*/ 2279217 h 3498714"/>
                    <a:gd name="connsiteX19" fmla="*/ 2217440 w 4818179"/>
                    <a:gd name="connsiteY19" fmla="*/ 1856216 h 3498714"/>
                    <a:gd name="connsiteX20" fmla="*/ 2534724 w 4818179"/>
                    <a:gd name="connsiteY20" fmla="*/ 982297 h 3498714"/>
                    <a:gd name="connsiteX21" fmla="*/ 358791 w 4818179"/>
                    <a:gd name="connsiteY21" fmla="*/ 644545 h 3498714"/>
                    <a:gd name="connsiteX22" fmla="*/ 1006774 w 4818179"/>
                    <a:gd name="connsiteY22" fmla="*/ 644545 h 3498714"/>
                    <a:gd name="connsiteX23" fmla="*/ 1542636 w 4818179"/>
                    <a:gd name="connsiteY23" fmla="*/ 1193969 h 3498714"/>
                    <a:gd name="connsiteX24" fmla="*/ 1929878 w 4818179"/>
                    <a:gd name="connsiteY24" fmla="*/ 1193970 h 3498714"/>
                    <a:gd name="connsiteX25" fmla="*/ 2070059 w 4818179"/>
                    <a:gd name="connsiteY25" fmla="*/ 1334152 h 3498714"/>
                    <a:gd name="connsiteX26" fmla="*/ 1929878 w 4818179"/>
                    <a:gd name="connsiteY26" fmla="*/ 1474333 h 3498714"/>
                    <a:gd name="connsiteX27" fmla="*/ 1520943 w 4818179"/>
                    <a:gd name="connsiteY27" fmla="*/ 1470388 h 3498714"/>
                    <a:gd name="connsiteX28" fmla="*/ 1332825 w 4818179"/>
                    <a:gd name="connsiteY28" fmla="*/ 1367201 h 3498714"/>
                    <a:gd name="connsiteX29" fmla="*/ 1106501 w 4818179"/>
                    <a:gd name="connsiteY29" fmla="*/ 1098289 h 3498714"/>
                    <a:gd name="connsiteX30" fmla="*/ 1101049 w 4818179"/>
                    <a:gd name="connsiteY30" fmla="*/ 1092836 h 3498714"/>
                    <a:gd name="connsiteX31" fmla="*/ 1046523 w 4818179"/>
                    <a:gd name="connsiteY31" fmla="*/ 1092836 h 3498714"/>
                    <a:gd name="connsiteX32" fmla="*/ 1041071 w 4818179"/>
                    <a:gd name="connsiteY32" fmla="*/ 1098289 h 3498714"/>
                    <a:gd name="connsiteX33" fmla="*/ 1042136 w 4818179"/>
                    <a:gd name="connsiteY33" fmla="*/ 1419754 h 3498714"/>
                    <a:gd name="connsiteX34" fmla="*/ 1042136 w 4818179"/>
                    <a:gd name="connsiteY34" fmla="*/ 3337652 h 3498714"/>
                    <a:gd name="connsiteX35" fmla="*/ 881075 w 4818179"/>
                    <a:gd name="connsiteY35" fmla="*/ 3498714 h 3498714"/>
                    <a:gd name="connsiteX36" fmla="*/ 720012 w 4818179"/>
                    <a:gd name="connsiteY36" fmla="*/ 3337652 h 3498714"/>
                    <a:gd name="connsiteX37" fmla="*/ 720012 w 4818179"/>
                    <a:gd name="connsiteY37" fmla="*/ 2125717 h 3498714"/>
                    <a:gd name="connsiteX38" fmla="*/ 718947 w 4818179"/>
                    <a:gd name="connsiteY38" fmla="*/ 2033194 h 3498714"/>
                    <a:gd name="connsiteX39" fmla="*/ 714162 w 4818179"/>
                    <a:gd name="connsiteY39" fmla="*/ 2028410 h 3498714"/>
                    <a:gd name="connsiteX40" fmla="*/ 654759 w 4818179"/>
                    <a:gd name="connsiteY40" fmla="*/ 2028410 h 3498714"/>
                    <a:gd name="connsiteX41" fmla="*/ 649974 w 4818179"/>
                    <a:gd name="connsiteY41" fmla="*/ 2033194 h 3498714"/>
                    <a:gd name="connsiteX42" fmla="*/ 649974 w 4818179"/>
                    <a:gd name="connsiteY42" fmla="*/ 2125717 h 3498714"/>
                    <a:gd name="connsiteX43" fmla="*/ 649574 w 4818179"/>
                    <a:gd name="connsiteY43" fmla="*/ 3337652 h 3498714"/>
                    <a:gd name="connsiteX44" fmla="*/ 488511 w 4818179"/>
                    <a:gd name="connsiteY44" fmla="*/ 3498714 h 3498714"/>
                    <a:gd name="connsiteX45" fmla="*/ 327450 w 4818179"/>
                    <a:gd name="connsiteY45" fmla="*/ 3337652 h 3498714"/>
                    <a:gd name="connsiteX46" fmla="*/ 327450 w 4818179"/>
                    <a:gd name="connsiteY46" fmla="*/ 1458216 h 3498714"/>
                    <a:gd name="connsiteX47" fmla="*/ 322427 w 4818179"/>
                    <a:gd name="connsiteY47" fmla="*/ 1098205 h 3498714"/>
                    <a:gd name="connsiteX48" fmla="*/ 317058 w 4818179"/>
                    <a:gd name="connsiteY48" fmla="*/ 1092836 h 3498714"/>
                    <a:gd name="connsiteX49" fmla="*/ 263371 w 4818179"/>
                    <a:gd name="connsiteY49" fmla="*/ 1092836 h 3498714"/>
                    <a:gd name="connsiteX50" fmla="*/ 258001 w 4818179"/>
                    <a:gd name="connsiteY50" fmla="*/ 1098205 h 3498714"/>
                    <a:gd name="connsiteX51" fmla="*/ 258001 w 4818179"/>
                    <a:gd name="connsiteY51" fmla="*/ 1444446 h 3498714"/>
                    <a:gd name="connsiteX52" fmla="*/ 257700 w 4818179"/>
                    <a:gd name="connsiteY52" fmla="*/ 1444370 h 3498714"/>
                    <a:gd name="connsiteX53" fmla="*/ 257700 w 4818179"/>
                    <a:gd name="connsiteY53" fmla="*/ 1912573 h 3498714"/>
                    <a:gd name="connsiteX54" fmla="*/ 128850 w 4818179"/>
                    <a:gd name="connsiteY54" fmla="*/ 2041423 h 3498714"/>
                    <a:gd name="connsiteX55" fmla="*/ 0 w 4818179"/>
                    <a:gd name="connsiteY55" fmla="*/ 1912573 h 3498714"/>
                    <a:gd name="connsiteX56" fmla="*/ 0 w 4818179"/>
                    <a:gd name="connsiteY56" fmla="*/ 1101802 h 3498714"/>
                    <a:gd name="connsiteX57" fmla="*/ 0 w 4818179"/>
                    <a:gd name="connsiteY57" fmla="*/ 1003338 h 3498714"/>
                    <a:gd name="connsiteX58" fmla="*/ 0 w 4818179"/>
                    <a:gd name="connsiteY58" fmla="*/ 982486 h 3498714"/>
                    <a:gd name="connsiteX59" fmla="*/ 12733 w 4818179"/>
                    <a:gd name="connsiteY59" fmla="*/ 894663 h 3498714"/>
                    <a:gd name="connsiteX60" fmla="*/ 20539 w 4818179"/>
                    <a:gd name="connsiteY60" fmla="*/ 868773 h 3498714"/>
                    <a:gd name="connsiteX61" fmla="*/ 358791 w 4818179"/>
                    <a:gd name="connsiteY61" fmla="*/ 644545 h 3498714"/>
                    <a:gd name="connsiteX62" fmla="*/ 682782 w 4818179"/>
                    <a:gd name="connsiteY62" fmla="*/ 0 h 3498714"/>
                    <a:gd name="connsiteX63" fmla="*/ 966919 w 4818179"/>
                    <a:gd name="connsiteY63" fmla="*/ 284138 h 3498714"/>
                    <a:gd name="connsiteX64" fmla="*/ 682782 w 4818179"/>
                    <a:gd name="connsiteY64" fmla="*/ 568275 h 3498714"/>
                    <a:gd name="connsiteX65" fmla="*/ 398645 w 4818179"/>
                    <a:gd name="connsiteY65" fmla="*/ 284138 h 3498714"/>
                    <a:gd name="connsiteX66" fmla="*/ 682782 w 4818179"/>
                    <a:gd name="connsiteY66" fmla="*/ 0 h 3498714"/>
                    <a:gd name="connsiteX67" fmla="*/ 4707054 w 4818179"/>
                    <a:gd name="connsiteY67" fmla="*/ 2902312 h 3498714"/>
                    <a:gd name="connsiteX68" fmla="*/ 4818179 w 4818179"/>
                    <a:gd name="connsiteY68" fmla="*/ 3013437 h 3498714"/>
                    <a:gd name="connsiteX69" fmla="*/ 4707054 w 4818179"/>
                    <a:gd name="connsiteY69" fmla="*/ 3124562 h 3498714"/>
                    <a:gd name="connsiteX70" fmla="*/ 4545125 w 4818179"/>
                    <a:gd name="connsiteY70" fmla="*/ 3124562 h 3498714"/>
                    <a:gd name="connsiteX71" fmla="*/ 4545125 w 4818179"/>
                    <a:gd name="connsiteY71" fmla="*/ 3361625 h 3498714"/>
                    <a:gd name="connsiteX72" fmla="*/ 4436113 w 4818179"/>
                    <a:gd name="connsiteY72" fmla="*/ 3470637 h 3498714"/>
                    <a:gd name="connsiteX73" fmla="*/ 4235039 w 4818179"/>
                    <a:gd name="connsiteY73" fmla="*/ 3470637 h 3498714"/>
                    <a:gd name="connsiteX74" fmla="*/ 2589325 w 4818179"/>
                    <a:gd name="connsiteY74" fmla="*/ 3124562 h 3498714"/>
                    <a:gd name="connsiteX75" fmla="*/ 2589325 w 4818179"/>
                    <a:gd name="connsiteY75" fmla="*/ 3361625 h 3498714"/>
                    <a:gd name="connsiteX76" fmla="*/ 2480313 w 4818179"/>
                    <a:gd name="connsiteY76" fmla="*/ 3470637 h 3498714"/>
                    <a:gd name="connsiteX77" fmla="*/ 2279239 w 4818179"/>
                    <a:gd name="connsiteY77" fmla="*/ 3470637 h 3498714"/>
                    <a:gd name="connsiteX78" fmla="*/ 2170227 w 4818179"/>
                    <a:gd name="connsiteY78" fmla="*/ 3361625 h 3498714"/>
                    <a:gd name="connsiteX79" fmla="*/ 2170227 w 4818179"/>
                    <a:gd name="connsiteY79" fmla="*/ 3124562 h 3498714"/>
                    <a:gd name="connsiteX80" fmla="*/ 2052754 w 4818179"/>
                    <a:gd name="connsiteY80" fmla="*/ 3124562 h 3498714"/>
                    <a:gd name="connsiteX81" fmla="*/ 1941629 w 4818179"/>
                    <a:gd name="connsiteY81" fmla="*/ 3013437 h 3498714"/>
                    <a:gd name="connsiteX82" fmla="*/ 2052754 w 4818179"/>
                    <a:gd name="connsiteY82" fmla="*/ 2902312 h 3498714"/>
                    <a:gd name="connsiteX83" fmla="*/ 682782 w 4818179"/>
                    <a:gd name="connsiteY83" fmla="*/ 0 h 3498714"/>
                    <a:gd name="connsiteX0" fmla="*/ 4083961 w 4818179"/>
                    <a:gd name="connsiteY0" fmla="*/ 2584811 h 3498714"/>
                    <a:gd name="connsiteX1" fmla="*/ 2671086 w 4818179"/>
                    <a:gd name="connsiteY1" fmla="*/ 2397487 h 3498714"/>
                    <a:gd name="connsiteX2" fmla="*/ 2671086 w 4818179"/>
                    <a:gd name="connsiteY2" fmla="*/ 2584811 h 3498714"/>
                    <a:gd name="connsiteX3" fmla="*/ 4083961 w 4818179"/>
                    <a:gd name="connsiteY3" fmla="*/ 2584811 h 3498714"/>
                    <a:gd name="connsiteX4" fmla="*/ 2251033 w 4818179"/>
                    <a:gd name="connsiteY4" fmla="*/ 2089512 h 3498714"/>
                    <a:gd name="connsiteX5" fmla="*/ 2070058 w 4818179"/>
                    <a:gd name="connsiteY5" fmla="*/ 2270487 h 3498714"/>
                    <a:gd name="connsiteX6" fmla="*/ 2251033 w 4818179"/>
                    <a:gd name="connsiteY6" fmla="*/ 2451462 h 3498714"/>
                    <a:gd name="connsiteX7" fmla="*/ 2432008 w 4818179"/>
                    <a:gd name="connsiteY7" fmla="*/ 2270487 h 3498714"/>
                    <a:gd name="connsiteX8" fmla="*/ 2251033 w 4818179"/>
                    <a:gd name="connsiteY8" fmla="*/ 2089512 h 3498714"/>
                    <a:gd name="connsiteX9" fmla="*/ 2842751 w 4818179"/>
                    <a:gd name="connsiteY9" fmla="*/ 1749356 h 3498714"/>
                    <a:gd name="connsiteX10" fmla="*/ 2392797 w 4818179"/>
                    <a:gd name="connsiteY10" fmla="*/ 1878907 h 3498714"/>
                    <a:gd name="connsiteX11" fmla="*/ 2478781 w 4818179"/>
                    <a:gd name="connsiteY11" fmla="*/ 1920808 h 3498714"/>
                    <a:gd name="connsiteX12" fmla="*/ 2842751 w 4818179"/>
                    <a:gd name="connsiteY12" fmla="*/ 1749356 h 3498714"/>
                    <a:gd name="connsiteX13" fmla="*/ 2534724 w 4818179"/>
                    <a:gd name="connsiteY13" fmla="*/ 982297 h 3498714"/>
                    <a:gd name="connsiteX14" fmla="*/ 1970999 w 4818179"/>
                    <a:gd name="connsiteY14" fmla="*/ 2826112 h 3498714"/>
                    <a:gd name="connsiteX15" fmla="*/ 1850348 w 4818179"/>
                    <a:gd name="connsiteY15" fmla="*/ 2705462 h 3498714"/>
                    <a:gd name="connsiteX16" fmla="*/ 1956769 w 4818179"/>
                    <a:gd name="connsiteY16" fmla="*/ 2587684 h 3498714"/>
                    <a:gd name="connsiteX17" fmla="*/ 1823360 w 4818179"/>
                    <a:gd name="connsiteY17" fmla="*/ 2279217 h 3498714"/>
                    <a:gd name="connsiteX18" fmla="*/ 2217440 w 4818179"/>
                    <a:gd name="connsiteY18" fmla="*/ 1856216 h 3498714"/>
                    <a:gd name="connsiteX19" fmla="*/ 2534724 w 4818179"/>
                    <a:gd name="connsiteY19" fmla="*/ 982297 h 3498714"/>
                    <a:gd name="connsiteX20" fmla="*/ 358791 w 4818179"/>
                    <a:gd name="connsiteY20" fmla="*/ 644545 h 3498714"/>
                    <a:gd name="connsiteX21" fmla="*/ 1006774 w 4818179"/>
                    <a:gd name="connsiteY21" fmla="*/ 644545 h 3498714"/>
                    <a:gd name="connsiteX22" fmla="*/ 1542636 w 4818179"/>
                    <a:gd name="connsiteY22" fmla="*/ 1193969 h 3498714"/>
                    <a:gd name="connsiteX23" fmla="*/ 1929878 w 4818179"/>
                    <a:gd name="connsiteY23" fmla="*/ 1193970 h 3498714"/>
                    <a:gd name="connsiteX24" fmla="*/ 2070059 w 4818179"/>
                    <a:gd name="connsiteY24" fmla="*/ 1334152 h 3498714"/>
                    <a:gd name="connsiteX25" fmla="*/ 1929878 w 4818179"/>
                    <a:gd name="connsiteY25" fmla="*/ 1474333 h 3498714"/>
                    <a:gd name="connsiteX26" fmla="*/ 1520943 w 4818179"/>
                    <a:gd name="connsiteY26" fmla="*/ 1470388 h 3498714"/>
                    <a:gd name="connsiteX27" fmla="*/ 1332825 w 4818179"/>
                    <a:gd name="connsiteY27" fmla="*/ 1367201 h 3498714"/>
                    <a:gd name="connsiteX28" fmla="*/ 1106501 w 4818179"/>
                    <a:gd name="connsiteY28" fmla="*/ 1098289 h 3498714"/>
                    <a:gd name="connsiteX29" fmla="*/ 1101049 w 4818179"/>
                    <a:gd name="connsiteY29" fmla="*/ 1092836 h 3498714"/>
                    <a:gd name="connsiteX30" fmla="*/ 1046523 w 4818179"/>
                    <a:gd name="connsiteY30" fmla="*/ 1092836 h 3498714"/>
                    <a:gd name="connsiteX31" fmla="*/ 1041071 w 4818179"/>
                    <a:gd name="connsiteY31" fmla="*/ 1098289 h 3498714"/>
                    <a:gd name="connsiteX32" fmla="*/ 1042136 w 4818179"/>
                    <a:gd name="connsiteY32" fmla="*/ 1419754 h 3498714"/>
                    <a:gd name="connsiteX33" fmla="*/ 1042136 w 4818179"/>
                    <a:gd name="connsiteY33" fmla="*/ 3337652 h 3498714"/>
                    <a:gd name="connsiteX34" fmla="*/ 881075 w 4818179"/>
                    <a:gd name="connsiteY34" fmla="*/ 3498714 h 3498714"/>
                    <a:gd name="connsiteX35" fmla="*/ 720012 w 4818179"/>
                    <a:gd name="connsiteY35" fmla="*/ 3337652 h 3498714"/>
                    <a:gd name="connsiteX36" fmla="*/ 720012 w 4818179"/>
                    <a:gd name="connsiteY36" fmla="*/ 2125717 h 3498714"/>
                    <a:gd name="connsiteX37" fmla="*/ 718947 w 4818179"/>
                    <a:gd name="connsiteY37" fmla="*/ 2033194 h 3498714"/>
                    <a:gd name="connsiteX38" fmla="*/ 714162 w 4818179"/>
                    <a:gd name="connsiteY38" fmla="*/ 2028410 h 3498714"/>
                    <a:gd name="connsiteX39" fmla="*/ 654759 w 4818179"/>
                    <a:gd name="connsiteY39" fmla="*/ 2028410 h 3498714"/>
                    <a:gd name="connsiteX40" fmla="*/ 649974 w 4818179"/>
                    <a:gd name="connsiteY40" fmla="*/ 2033194 h 3498714"/>
                    <a:gd name="connsiteX41" fmla="*/ 649974 w 4818179"/>
                    <a:gd name="connsiteY41" fmla="*/ 2125717 h 3498714"/>
                    <a:gd name="connsiteX42" fmla="*/ 649574 w 4818179"/>
                    <a:gd name="connsiteY42" fmla="*/ 3337652 h 3498714"/>
                    <a:gd name="connsiteX43" fmla="*/ 488511 w 4818179"/>
                    <a:gd name="connsiteY43" fmla="*/ 3498714 h 3498714"/>
                    <a:gd name="connsiteX44" fmla="*/ 327450 w 4818179"/>
                    <a:gd name="connsiteY44" fmla="*/ 3337652 h 3498714"/>
                    <a:gd name="connsiteX45" fmla="*/ 327450 w 4818179"/>
                    <a:gd name="connsiteY45" fmla="*/ 1458216 h 3498714"/>
                    <a:gd name="connsiteX46" fmla="*/ 322427 w 4818179"/>
                    <a:gd name="connsiteY46" fmla="*/ 1098205 h 3498714"/>
                    <a:gd name="connsiteX47" fmla="*/ 317058 w 4818179"/>
                    <a:gd name="connsiteY47" fmla="*/ 1092836 h 3498714"/>
                    <a:gd name="connsiteX48" fmla="*/ 263371 w 4818179"/>
                    <a:gd name="connsiteY48" fmla="*/ 1092836 h 3498714"/>
                    <a:gd name="connsiteX49" fmla="*/ 258001 w 4818179"/>
                    <a:gd name="connsiteY49" fmla="*/ 1098205 h 3498714"/>
                    <a:gd name="connsiteX50" fmla="*/ 258001 w 4818179"/>
                    <a:gd name="connsiteY50" fmla="*/ 1444446 h 3498714"/>
                    <a:gd name="connsiteX51" fmla="*/ 257700 w 4818179"/>
                    <a:gd name="connsiteY51" fmla="*/ 1444370 h 3498714"/>
                    <a:gd name="connsiteX52" fmla="*/ 257700 w 4818179"/>
                    <a:gd name="connsiteY52" fmla="*/ 1912573 h 3498714"/>
                    <a:gd name="connsiteX53" fmla="*/ 128850 w 4818179"/>
                    <a:gd name="connsiteY53" fmla="*/ 2041423 h 3498714"/>
                    <a:gd name="connsiteX54" fmla="*/ 0 w 4818179"/>
                    <a:gd name="connsiteY54" fmla="*/ 1912573 h 3498714"/>
                    <a:gd name="connsiteX55" fmla="*/ 0 w 4818179"/>
                    <a:gd name="connsiteY55" fmla="*/ 1101802 h 3498714"/>
                    <a:gd name="connsiteX56" fmla="*/ 0 w 4818179"/>
                    <a:gd name="connsiteY56" fmla="*/ 1003338 h 3498714"/>
                    <a:gd name="connsiteX57" fmla="*/ 0 w 4818179"/>
                    <a:gd name="connsiteY57" fmla="*/ 982486 h 3498714"/>
                    <a:gd name="connsiteX58" fmla="*/ 12733 w 4818179"/>
                    <a:gd name="connsiteY58" fmla="*/ 894663 h 3498714"/>
                    <a:gd name="connsiteX59" fmla="*/ 20539 w 4818179"/>
                    <a:gd name="connsiteY59" fmla="*/ 868773 h 3498714"/>
                    <a:gd name="connsiteX60" fmla="*/ 358791 w 4818179"/>
                    <a:gd name="connsiteY60" fmla="*/ 644545 h 3498714"/>
                    <a:gd name="connsiteX61" fmla="*/ 682782 w 4818179"/>
                    <a:gd name="connsiteY61" fmla="*/ 0 h 3498714"/>
                    <a:gd name="connsiteX62" fmla="*/ 966919 w 4818179"/>
                    <a:gd name="connsiteY62" fmla="*/ 284138 h 3498714"/>
                    <a:gd name="connsiteX63" fmla="*/ 682782 w 4818179"/>
                    <a:gd name="connsiteY63" fmla="*/ 568275 h 3498714"/>
                    <a:gd name="connsiteX64" fmla="*/ 398645 w 4818179"/>
                    <a:gd name="connsiteY64" fmla="*/ 284138 h 3498714"/>
                    <a:gd name="connsiteX65" fmla="*/ 682782 w 4818179"/>
                    <a:gd name="connsiteY65" fmla="*/ 0 h 3498714"/>
                    <a:gd name="connsiteX66" fmla="*/ 4707054 w 4818179"/>
                    <a:gd name="connsiteY66" fmla="*/ 2902312 h 3498714"/>
                    <a:gd name="connsiteX67" fmla="*/ 4818179 w 4818179"/>
                    <a:gd name="connsiteY67" fmla="*/ 3013437 h 3498714"/>
                    <a:gd name="connsiteX68" fmla="*/ 4707054 w 4818179"/>
                    <a:gd name="connsiteY68" fmla="*/ 3124562 h 3498714"/>
                    <a:gd name="connsiteX69" fmla="*/ 4545125 w 4818179"/>
                    <a:gd name="connsiteY69" fmla="*/ 3124562 h 3498714"/>
                    <a:gd name="connsiteX70" fmla="*/ 4545125 w 4818179"/>
                    <a:gd name="connsiteY70" fmla="*/ 3361625 h 3498714"/>
                    <a:gd name="connsiteX71" fmla="*/ 4436113 w 4818179"/>
                    <a:gd name="connsiteY71" fmla="*/ 3470637 h 3498714"/>
                    <a:gd name="connsiteX72" fmla="*/ 4235039 w 4818179"/>
                    <a:gd name="connsiteY72" fmla="*/ 3470637 h 3498714"/>
                    <a:gd name="connsiteX73" fmla="*/ 2589325 w 4818179"/>
                    <a:gd name="connsiteY73" fmla="*/ 3124562 h 3498714"/>
                    <a:gd name="connsiteX74" fmla="*/ 2589325 w 4818179"/>
                    <a:gd name="connsiteY74" fmla="*/ 3361625 h 3498714"/>
                    <a:gd name="connsiteX75" fmla="*/ 2480313 w 4818179"/>
                    <a:gd name="connsiteY75" fmla="*/ 3470637 h 3498714"/>
                    <a:gd name="connsiteX76" fmla="*/ 2279239 w 4818179"/>
                    <a:gd name="connsiteY76" fmla="*/ 3470637 h 3498714"/>
                    <a:gd name="connsiteX77" fmla="*/ 2170227 w 4818179"/>
                    <a:gd name="connsiteY77" fmla="*/ 3361625 h 3498714"/>
                    <a:gd name="connsiteX78" fmla="*/ 2170227 w 4818179"/>
                    <a:gd name="connsiteY78" fmla="*/ 3124562 h 3498714"/>
                    <a:gd name="connsiteX79" fmla="*/ 2052754 w 4818179"/>
                    <a:gd name="connsiteY79" fmla="*/ 3124562 h 3498714"/>
                    <a:gd name="connsiteX80" fmla="*/ 1941629 w 4818179"/>
                    <a:gd name="connsiteY80" fmla="*/ 3013437 h 3498714"/>
                    <a:gd name="connsiteX81" fmla="*/ 2052754 w 4818179"/>
                    <a:gd name="connsiteY81" fmla="*/ 2902312 h 3498714"/>
                    <a:gd name="connsiteX82" fmla="*/ 682782 w 4818179"/>
                    <a:gd name="connsiteY82" fmla="*/ 0 h 3498714"/>
                    <a:gd name="connsiteX0" fmla="*/ 2671086 w 4818179"/>
                    <a:gd name="connsiteY0" fmla="*/ 2584811 h 3498714"/>
                    <a:gd name="connsiteX1" fmla="*/ 2671086 w 4818179"/>
                    <a:gd name="connsiteY1" fmla="*/ 2397487 h 3498714"/>
                    <a:gd name="connsiteX2" fmla="*/ 2671086 w 4818179"/>
                    <a:gd name="connsiteY2" fmla="*/ 2584811 h 3498714"/>
                    <a:gd name="connsiteX3" fmla="*/ 2251033 w 4818179"/>
                    <a:gd name="connsiteY3" fmla="*/ 2089512 h 3498714"/>
                    <a:gd name="connsiteX4" fmla="*/ 2070058 w 4818179"/>
                    <a:gd name="connsiteY4" fmla="*/ 2270487 h 3498714"/>
                    <a:gd name="connsiteX5" fmla="*/ 2251033 w 4818179"/>
                    <a:gd name="connsiteY5" fmla="*/ 2451462 h 3498714"/>
                    <a:gd name="connsiteX6" fmla="*/ 2432008 w 4818179"/>
                    <a:gd name="connsiteY6" fmla="*/ 2270487 h 3498714"/>
                    <a:gd name="connsiteX7" fmla="*/ 2251033 w 4818179"/>
                    <a:gd name="connsiteY7" fmla="*/ 2089512 h 3498714"/>
                    <a:gd name="connsiteX8" fmla="*/ 2842751 w 4818179"/>
                    <a:gd name="connsiteY8" fmla="*/ 1749356 h 3498714"/>
                    <a:gd name="connsiteX9" fmla="*/ 2392797 w 4818179"/>
                    <a:gd name="connsiteY9" fmla="*/ 1878907 h 3498714"/>
                    <a:gd name="connsiteX10" fmla="*/ 2478781 w 4818179"/>
                    <a:gd name="connsiteY10" fmla="*/ 1920808 h 3498714"/>
                    <a:gd name="connsiteX11" fmla="*/ 2842751 w 4818179"/>
                    <a:gd name="connsiteY11" fmla="*/ 1749356 h 3498714"/>
                    <a:gd name="connsiteX12" fmla="*/ 2534724 w 4818179"/>
                    <a:gd name="connsiteY12" fmla="*/ 982297 h 3498714"/>
                    <a:gd name="connsiteX13" fmla="*/ 1970999 w 4818179"/>
                    <a:gd name="connsiteY13" fmla="*/ 2826112 h 3498714"/>
                    <a:gd name="connsiteX14" fmla="*/ 1850348 w 4818179"/>
                    <a:gd name="connsiteY14" fmla="*/ 2705462 h 3498714"/>
                    <a:gd name="connsiteX15" fmla="*/ 1956769 w 4818179"/>
                    <a:gd name="connsiteY15" fmla="*/ 2587684 h 3498714"/>
                    <a:gd name="connsiteX16" fmla="*/ 1823360 w 4818179"/>
                    <a:gd name="connsiteY16" fmla="*/ 2279217 h 3498714"/>
                    <a:gd name="connsiteX17" fmla="*/ 2217440 w 4818179"/>
                    <a:gd name="connsiteY17" fmla="*/ 1856216 h 3498714"/>
                    <a:gd name="connsiteX18" fmla="*/ 2534724 w 4818179"/>
                    <a:gd name="connsiteY18" fmla="*/ 982297 h 3498714"/>
                    <a:gd name="connsiteX19" fmla="*/ 358791 w 4818179"/>
                    <a:gd name="connsiteY19" fmla="*/ 644545 h 3498714"/>
                    <a:gd name="connsiteX20" fmla="*/ 1006774 w 4818179"/>
                    <a:gd name="connsiteY20" fmla="*/ 644545 h 3498714"/>
                    <a:gd name="connsiteX21" fmla="*/ 1542636 w 4818179"/>
                    <a:gd name="connsiteY21" fmla="*/ 1193969 h 3498714"/>
                    <a:gd name="connsiteX22" fmla="*/ 1929878 w 4818179"/>
                    <a:gd name="connsiteY22" fmla="*/ 1193970 h 3498714"/>
                    <a:gd name="connsiteX23" fmla="*/ 2070059 w 4818179"/>
                    <a:gd name="connsiteY23" fmla="*/ 1334152 h 3498714"/>
                    <a:gd name="connsiteX24" fmla="*/ 1929878 w 4818179"/>
                    <a:gd name="connsiteY24" fmla="*/ 1474333 h 3498714"/>
                    <a:gd name="connsiteX25" fmla="*/ 1520943 w 4818179"/>
                    <a:gd name="connsiteY25" fmla="*/ 1470388 h 3498714"/>
                    <a:gd name="connsiteX26" fmla="*/ 1332825 w 4818179"/>
                    <a:gd name="connsiteY26" fmla="*/ 1367201 h 3498714"/>
                    <a:gd name="connsiteX27" fmla="*/ 1106501 w 4818179"/>
                    <a:gd name="connsiteY27" fmla="*/ 1098289 h 3498714"/>
                    <a:gd name="connsiteX28" fmla="*/ 1101049 w 4818179"/>
                    <a:gd name="connsiteY28" fmla="*/ 1092836 h 3498714"/>
                    <a:gd name="connsiteX29" fmla="*/ 1046523 w 4818179"/>
                    <a:gd name="connsiteY29" fmla="*/ 1092836 h 3498714"/>
                    <a:gd name="connsiteX30" fmla="*/ 1041071 w 4818179"/>
                    <a:gd name="connsiteY30" fmla="*/ 1098289 h 3498714"/>
                    <a:gd name="connsiteX31" fmla="*/ 1042136 w 4818179"/>
                    <a:gd name="connsiteY31" fmla="*/ 1419754 h 3498714"/>
                    <a:gd name="connsiteX32" fmla="*/ 1042136 w 4818179"/>
                    <a:gd name="connsiteY32" fmla="*/ 3337652 h 3498714"/>
                    <a:gd name="connsiteX33" fmla="*/ 881075 w 4818179"/>
                    <a:gd name="connsiteY33" fmla="*/ 3498714 h 3498714"/>
                    <a:gd name="connsiteX34" fmla="*/ 720012 w 4818179"/>
                    <a:gd name="connsiteY34" fmla="*/ 3337652 h 3498714"/>
                    <a:gd name="connsiteX35" fmla="*/ 720012 w 4818179"/>
                    <a:gd name="connsiteY35" fmla="*/ 2125717 h 3498714"/>
                    <a:gd name="connsiteX36" fmla="*/ 718947 w 4818179"/>
                    <a:gd name="connsiteY36" fmla="*/ 2033194 h 3498714"/>
                    <a:gd name="connsiteX37" fmla="*/ 714162 w 4818179"/>
                    <a:gd name="connsiteY37" fmla="*/ 2028410 h 3498714"/>
                    <a:gd name="connsiteX38" fmla="*/ 654759 w 4818179"/>
                    <a:gd name="connsiteY38" fmla="*/ 2028410 h 3498714"/>
                    <a:gd name="connsiteX39" fmla="*/ 649974 w 4818179"/>
                    <a:gd name="connsiteY39" fmla="*/ 2033194 h 3498714"/>
                    <a:gd name="connsiteX40" fmla="*/ 649974 w 4818179"/>
                    <a:gd name="connsiteY40" fmla="*/ 2125717 h 3498714"/>
                    <a:gd name="connsiteX41" fmla="*/ 649574 w 4818179"/>
                    <a:gd name="connsiteY41" fmla="*/ 3337652 h 3498714"/>
                    <a:gd name="connsiteX42" fmla="*/ 488511 w 4818179"/>
                    <a:gd name="connsiteY42" fmla="*/ 3498714 h 3498714"/>
                    <a:gd name="connsiteX43" fmla="*/ 327450 w 4818179"/>
                    <a:gd name="connsiteY43" fmla="*/ 3337652 h 3498714"/>
                    <a:gd name="connsiteX44" fmla="*/ 327450 w 4818179"/>
                    <a:gd name="connsiteY44" fmla="*/ 1458216 h 3498714"/>
                    <a:gd name="connsiteX45" fmla="*/ 322427 w 4818179"/>
                    <a:gd name="connsiteY45" fmla="*/ 1098205 h 3498714"/>
                    <a:gd name="connsiteX46" fmla="*/ 317058 w 4818179"/>
                    <a:gd name="connsiteY46" fmla="*/ 1092836 h 3498714"/>
                    <a:gd name="connsiteX47" fmla="*/ 263371 w 4818179"/>
                    <a:gd name="connsiteY47" fmla="*/ 1092836 h 3498714"/>
                    <a:gd name="connsiteX48" fmla="*/ 258001 w 4818179"/>
                    <a:gd name="connsiteY48" fmla="*/ 1098205 h 3498714"/>
                    <a:gd name="connsiteX49" fmla="*/ 258001 w 4818179"/>
                    <a:gd name="connsiteY49" fmla="*/ 1444446 h 3498714"/>
                    <a:gd name="connsiteX50" fmla="*/ 257700 w 4818179"/>
                    <a:gd name="connsiteY50" fmla="*/ 1444370 h 3498714"/>
                    <a:gd name="connsiteX51" fmla="*/ 257700 w 4818179"/>
                    <a:gd name="connsiteY51" fmla="*/ 1912573 h 3498714"/>
                    <a:gd name="connsiteX52" fmla="*/ 128850 w 4818179"/>
                    <a:gd name="connsiteY52" fmla="*/ 2041423 h 3498714"/>
                    <a:gd name="connsiteX53" fmla="*/ 0 w 4818179"/>
                    <a:gd name="connsiteY53" fmla="*/ 1912573 h 3498714"/>
                    <a:gd name="connsiteX54" fmla="*/ 0 w 4818179"/>
                    <a:gd name="connsiteY54" fmla="*/ 1101802 h 3498714"/>
                    <a:gd name="connsiteX55" fmla="*/ 0 w 4818179"/>
                    <a:gd name="connsiteY55" fmla="*/ 1003338 h 3498714"/>
                    <a:gd name="connsiteX56" fmla="*/ 0 w 4818179"/>
                    <a:gd name="connsiteY56" fmla="*/ 982486 h 3498714"/>
                    <a:gd name="connsiteX57" fmla="*/ 12733 w 4818179"/>
                    <a:gd name="connsiteY57" fmla="*/ 894663 h 3498714"/>
                    <a:gd name="connsiteX58" fmla="*/ 20539 w 4818179"/>
                    <a:gd name="connsiteY58" fmla="*/ 868773 h 3498714"/>
                    <a:gd name="connsiteX59" fmla="*/ 358791 w 4818179"/>
                    <a:gd name="connsiteY59" fmla="*/ 644545 h 3498714"/>
                    <a:gd name="connsiteX60" fmla="*/ 682782 w 4818179"/>
                    <a:gd name="connsiteY60" fmla="*/ 0 h 3498714"/>
                    <a:gd name="connsiteX61" fmla="*/ 966919 w 4818179"/>
                    <a:gd name="connsiteY61" fmla="*/ 284138 h 3498714"/>
                    <a:gd name="connsiteX62" fmla="*/ 682782 w 4818179"/>
                    <a:gd name="connsiteY62" fmla="*/ 568275 h 3498714"/>
                    <a:gd name="connsiteX63" fmla="*/ 398645 w 4818179"/>
                    <a:gd name="connsiteY63" fmla="*/ 284138 h 3498714"/>
                    <a:gd name="connsiteX64" fmla="*/ 682782 w 4818179"/>
                    <a:gd name="connsiteY64" fmla="*/ 0 h 3498714"/>
                    <a:gd name="connsiteX65" fmla="*/ 4707054 w 4818179"/>
                    <a:gd name="connsiteY65" fmla="*/ 2902312 h 3498714"/>
                    <a:gd name="connsiteX66" fmla="*/ 4818179 w 4818179"/>
                    <a:gd name="connsiteY66" fmla="*/ 3013437 h 3498714"/>
                    <a:gd name="connsiteX67" fmla="*/ 4707054 w 4818179"/>
                    <a:gd name="connsiteY67" fmla="*/ 3124562 h 3498714"/>
                    <a:gd name="connsiteX68" fmla="*/ 4545125 w 4818179"/>
                    <a:gd name="connsiteY68" fmla="*/ 3124562 h 3498714"/>
                    <a:gd name="connsiteX69" fmla="*/ 4545125 w 4818179"/>
                    <a:gd name="connsiteY69" fmla="*/ 3361625 h 3498714"/>
                    <a:gd name="connsiteX70" fmla="*/ 4436113 w 4818179"/>
                    <a:gd name="connsiteY70" fmla="*/ 3470637 h 3498714"/>
                    <a:gd name="connsiteX71" fmla="*/ 4235039 w 4818179"/>
                    <a:gd name="connsiteY71" fmla="*/ 3470637 h 3498714"/>
                    <a:gd name="connsiteX72" fmla="*/ 2589325 w 4818179"/>
                    <a:gd name="connsiteY72" fmla="*/ 3124562 h 3498714"/>
                    <a:gd name="connsiteX73" fmla="*/ 2589325 w 4818179"/>
                    <a:gd name="connsiteY73" fmla="*/ 3361625 h 3498714"/>
                    <a:gd name="connsiteX74" fmla="*/ 2480313 w 4818179"/>
                    <a:gd name="connsiteY74" fmla="*/ 3470637 h 3498714"/>
                    <a:gd name="connsiteX75" fmla="*/ 2279239 w 4818179"/>
                    <a:gd name="connsiteY75" fmla="*/ 3470637 h 3498714"/>
                    <a:gd name="connsiteX76" fmla="*/ 2170227 w 4818179"/>
                    <a:gd name="connsiteY76" fmla="*/ 3361625 h 3498714"/>
                    <a:gd name="connsiteX77" fmla="*/ 2170227 w 4818179"/>
                    <a:gd name="connsiteY77" fmla="*/ 3124562 h 3498714"/>
                    <a:gd name="connsiteX78" fmla="*/ 2052754 w 4818179"/>
                    <a:gd name="connsiteY78" fmla="*/ 3124562 h 3498714"/>
                    <a:gd name="connsiteX79" fmla="*/ 1941629 w 4818179"/>
                    <a:gd name="connsiteY79" fmla="*/ 3013437 h 3498714"/>
                    <a:gd name="connsiteX80" fmla="*/ 2052754 w 4818179"/>
                    <a:gd name="connsiteY80" fmla="*/ 2902312 h 3498714"/>
                    <a:gd name="connsiteX81" fmla="*/ 682782 w 4818179"/>
                    <a:gd name="connsiteY81"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707054 w 4818179"/>
                    <a:gd name="connsiteY62" fmla="*/ 2902312 h 3498714"/>
                    <a:gd name="connsiteX63" fmla="*/ 4818179 w 4818179"/>
                    <a:gd name="connsiteY63" fmla="*/ 3013437 h 3498714"/>
                    <a:gd name="connsiteX64" fmla="*/ 4707054 w 4818179"/>
                    <a:gd name="connsiteY64" fmla="*/ 3124562 h 3498714"/>
                    <a:gd name="connsiteX65" fmla="*/ 4545125 w 4818179"/>
                    <a:gd name="connsiteY65" fmla="*/ 3124562 h 3498714"/>
                    <a:gd name="connsiteX66" fmla="*/ 4545125 w 4818179"/>
                    <a:gd name="connsiteY66" fmla="*/ 3361625 h 3498714"/>
                    <a:gd name="connsiteX67" fmla="*/ 4436113 w 4818179"/>
                    <a:gd name="connsiteY67" fmla="*/ 3470637 h 3498714"/>
                    <a:gd name="connsiteX68" fmla="*/ 4235039 w 4818179"/>
                    <a:gd name="connsiteY68" fmla="*/ 3470637 h 3498714"/>
                    <a:gd name="connsiteX69" fmla="*/ 2589325 w 4818179"/>
                    <a:gd name="connsiteY69" fmla="*/ 3124562 h 3498714"/>
                    <a:gd name="connsiteX70" fmla="*/ 2589325 w 4818179"/>
                    <a:gd name="connsiteY70" fmla="*/ 3361625 h 3498714"/>
                    <a:gd name="connsiteX71" fmla="*/ 2480313 w 4818179"/>
                    <a:gd name="connsiteY71" fmla="*/ 3470637 h 3498714"/>
                    <a:gd name="connsiteX72" fmla="*/ 2279239 w 4818179"/>
                    <a:gd name="connsiteY72" fmla="*/ 3470637 h 3498714"/>
                    <a:gd name="connsiteX73" fmla="*/ 2170227 w 4818179"/>
                    <a:gd name="connsiteY73" fmla="*/ 3361625 h 3498714"/>
                    <a:gd name="connsiteX74" fmla="*/ 2170227 w 4818179"/>
                    <a:gd name="connsiteY74" fmla="*/ 3124562 h 3498714"/>
                    <a:gd name="connsiteX75" fmla="*/ 2052754 w 4818179"/>
                    <a:gd name="connsiteY75" fmla="*/ 3124562 h 3498714"/>
                    <a:gd name="connsiteX76" fmla="*/ 1941629 w 4818179"/>
                    <a:gd name="connsiteY76" fmla="*/ 3013437 h 3498714"/>
                    <a:gd name="connsiteX77" fmla="*/ 2052754 w 4818179"/>
                    <a:gd name="connsiteY77" fmla="*/ 2902312 h 3498714"/>
                    <a:gd name="connsiteX78" fmla="*/ 682782 w 4818179"/>
                    <a:gd name="connsiteY78" fmla="*/ 0 h 3498714"/>
                    <a:gd name="connsiteX0" fmla="*/ 2251033 w 4818179"/>
                    <a:gd name="connsiteY0" fmla="*/ 2089512 h 3498714"/>
                    <a:gd name="connsiteX1" fmla="*/ 2070058 w 4818179"/>
                    <a:gd name="connsiteY1" fmla="*/ 2270487 h 3498714"/>
                    <a:gd name="connsiteX2" fmla="*/ 2251033 w 4818179"/>
                    <a:gd name="connsiteY2" fmla="*/ 2451462 h 3498714"/>
                    <a:gd name="connsiteX3" fmla="*/ 2432008 w 4818179"/>
                    <a:gd name="connsiteY3" fmla="*/ 2270487 h 3498714"/>
                    <a:gd name="connsiteX4" fmla="*/ 2251033 w 4818179"/>
                    <a:gd name="connsiteY4" fmla="*/ 2089512 h 3498714"/>
                    <a:gd name="connsiteX5" fmla="*/ 2842751 w 4818179"/>
                    <a:gd name="connsiteY5" fmla="*/ 1749356 h 3498714"/>
                    <a:gd name="connsiteX6" fmla="*/ 2392797 w 4818179"/>
                    <a:gd name="connsiteY6" fmla="*/ 1878907 h 3498714"/>
                    <a:gd name="connsiteX7" fmla="*/ 2478781 w 4818179"/>
                    <a:gd name="connsiteY7" fmla="*/ 1920808 h 3498714"/>
                    <a:gd name="connsiteX8" fmla="*/ 2842751 w 4818179"/>
                    <a:gd name="connsiteY8" fmla="*/ 1749356 h 3498714"/>
                    <a:gd name="connsiteX9" fmla="*/ 2534724 w 4818179"/>
                    <a:gd name="connsiteY9" fmla="*/ 982297 h 3498714"/>
                    <a:gd name="connsiteX10" fmla="*/ 1970999 w 4818179"/>
                    <a:gd name="connsiteY10" fmla="*/ 2826112 h 3498714"/>
                    <a:gd name="connsiteX11" fmla="*/ 1850348 w 4818179"/>
                    <a:gd name="connsiteY11" fmla="*/ 2705462 h 3498714"/>
                    <a:gd name="connsiteX12" fmla="*/ 1956769 w 4818179"/>
                    <a:gd name="connsiteY12" fmla="*/ 2587684 h 3498714"/>
                    <a:gd name="connsiteX13" fmla="*/ 1823360 w 4818179"/>
                    <a:gd name="connsiteY13" fmla="*/ 2279217 h 3498714"/>
                    <a:gd name="connsiteX14" fmla="*/ 2217440 w 4818179"/>
                    <a:gd name="connsiteY14" fmla="*/ 1856216 h 3498714"/>
                    <a:gd name="connsiteX15" fmla="*/ 2534724 w 4818179"/>
                    <a:gd name="connsiteY15" fmla="*/ 982297 h 3498714"/>
                    <a:gd name="connsiteX16" fmla="*/ 358791 w 4818179"/>
                    <a:gd name="connsiteY16" fmla="*/ 644545 h 3498714"/>
                    <a:gd name="connsiteX17" fmla="*/ 1006774 w 4818179"/>
                    <a:gd name="connsiteY17" fmla="*/ 644545 h 3498714"/>
                    <a:gd name="connsiteX18" fmla="*/ 1542636 w 4818179"/>
                    <a:gd name="connsiteY18" fmla="*/ 1193969 h 3498714"/>
                    <a:gd name="connsiteX19" fmla="*/ 1929878 w 4818179"/>
                    <a:gd name="connsiteY19" fmla="*/ 1193970 h 3498714"/>
                    <a:gd name="connsiteX20" fmla="*/ 2070059 w 4818179"/>
                    <a:gd name="connsiteY20" fmla="*/ 1334152 h 3498714"/>
                    <a:gd name="connsiteX21" fmla="*/ 1929878 w 4818179"/>
                    <a:gd name="connsiteY21" fmla="*/ 1474333 h 3498714"/>
                    <a:gd name="connsiteX22" fmla="*/ 1520943 w 4818179"/>
                    <a:gd name="connsiteY22" fmla="*/ 1470388 h 3498714"/>
                    <a:gd name="connsiteX23" fmla="*/ 1332825 w 4818179"/>
                    <a:gd name="connsiteY23" fmla="*/ 1367201 h 3498714"/>
                    <a:gd name="connsiteX24" fmla="*/ 1106501 w 4818179"/>
                    <a:gd name="connsiteY24" fmla="*/ 1098289 h 3498714"/>
                    <a:gd name="connsiteX25" fmla="*/ 1101049 w 4818179"/>
                    <a:gd name="connsiteY25" fmla="*/ 1092836 h 3498714"/>
                    <a:gd name="connsiteX26" fmla="*/ 1046523 w 4818179"/>
                    <a:gd name="connsiteY26" fmla="*/ 1092836 h 3498714"/>
                    <a:gd name="connsiteX27" fmla="*/ 1041071 w 4818179"/>
                    <a:gd name="connsiteY27" fmla="*/ 1098289 h 3498714"/>
                    <a:gd name="connsiteX28" fmla="*/ 1042136 w 4818179"/>
                    <a:gd name="connsiteY28" fmla="*/ 1419754 h 3498714"/>
                    <a:gd name="connsiteX29" fmla="*/ 1042136 w 4818179"/>
                    <a:gd name="connsiteY29" fmla="*/ 3337652 h 3498714"/>
                    <a:gd name="connsiteX30" fmla="*/ 881075 w 4818179"/>
                    <a:gd name="connsiteY30" fmla="*/ 3498714 h 3498714"/>
                    <a:gd name="connsiteX31" fmla="*/ 720012 w 4818179"/>
                    <a:gd name="connsiteY31" fmla="*/ 3337652 h 3498714"/>
                    <a:gd name="connsiteX32" fmla="*/ 720012 w 4818179"/>
                    <a:gd name="connsiteY32" fmla="*/ 2125717 h 3498714"/>
                    <a:gd name="connsiteX33" fmla="*/ 718947 w 4818179"/>
                    <a:gd name="connsiteY33" fmla="*/ 2033194 h 3498714"/>
                    <a:gd name="connsiteX34" fmla="*/ 714162 w 4818179"/>
                    <a:gd name="connsiteY34" fmla="*/ 2028410 h 3498714"/>
                    <a:gd name="connsiteX35" fmla="*/ 654759 w 4818179"/>
                    <a:gd name="connsiteY35" fmla="*/ 2028410 h 3498714"/>
                    <a:gd name="connsiteX36" fmla="*/ 649974 w 4818179"/>
                    <a:gd name="connsiteY36" fmla="*/ 2033194 h 3498714"/>
                    <a:gd name="connsiteX37" fmla="*/ 649974 w 4818179"/>
                    <a:gd name="connsiteY37" fmla="*/ 2125717 h 3498714"/>
                    <a:gd name="connsiteX38" fmla="*/ 649574 w 4818179"/>
                    <a:gd name="connsiteY38" fmla="*/ 3337652 h 3498714"/>
                    <a:gd name="connsiteX39" fmla="*/ 488511 w 4818179"/>
                    <a:gd name="connsiteY39" fmla="*/ 3498714 h 3498714"/>
                    <a:gd name="connsiteX40" fmla="*/ 327450 w 4818179"/>
                    <a:gd name="connsiteY40" fmla="*/ 3337652 h 3498714"/>
                    <a:gd name="connsiteX41" fmla="*/ 327450 w 4818179"/>
                    <a:gd name="connsiteY41" fmla="*/ 1458216 h 3498714"/>
                    <a:gd name="connsiteX42" fmla="*/ 322427 w 4818179"/>
                    <a:gd name="connsiteY42" fmla="*/ 1098205 h 3498714"/>
                    <a:gd name="connsiteX43" fmla="*/ 317058 w 4818179"/>
                    <a:gd name="connsiteY43" fmla="*/ 1092836 h 3498714"/>
                    <a:gd name="connsiteX44" fmla="*/ 263371 w 4818179"/>
                    <a:gd name="connsiteY44" fmla="*/ 1092836 h 3498714"/>
                    <a:gd name="connsiteX45" fmla="*/ 258001 w 4818179"/>
                    <a:gd name="connsiteY45" fmla="*/ 1098205 h 3498714"/>
                    <a:gd name="connsiteX46" fmla="*/ 258001 w 4818179"/>
                    <a:gd name="connsiteY46" fmla="*/ 1444446 h 3498714"/>
                    <a:gd name="connsiteX47" fmla="*/ 257700 w 4818179"/>
                    <a:gd name="connsiteY47" fmla="*/ 1444370 h 3498714"/>
                    <a:gd name="connsiteX48" fmla="*/ 257700 w 4818179"/>
                    <a:gd name="connsiteY48" fmla="*/ 1912573 h 3498714"/>
                    <a:gd name="connsiteX49" fmla="*/ 128850 w 4818179"/>
                    <a:gd name="connsiteY49" fmla="*/ 2041423 h 3498714"/>
                    <a:gd name="connsiteX50" fmla="*/ 0 w 4818179"/>
                    <a:gd name="connsiteY50" fmla="*/ 1912573 h 3498714"/>
                    <a:gd name="connsiteX51" fmla="*/ 0 w 4818179"/>
                    <a:gd name="connsiteY51" fmla="*/ 1101802 h 3498714"/>
                    <a:gd name="connsiteX52" fmla="*/ 0 w 4818179"/>
                    <a:gd name="connsiteY52" fmla="*/ 1003338 h 3498714"/>
                    <a:gd name="connsiteX53" fmla="*/ 0 w 4818179"/>
                    <a:gd name="connsiteY53" fmla="*/ 982486 h 3498714"/>
                    <a:gd name="connsiteX54" fmla="*/ 12733 w 4818179"/>
                    <a:gd name="connsiteY54" fmla="*/ 894663 h 3498714"/>
                    <a:gd name="connsiteX55" fmla="*/ 20539 w 4818179"/>
                    <a:gd name="connsiteY55" fmla="*/ 868773 h 3498714"/>
                    <a:gd name="connsiteX56" fmla="*/ 358791 w 4818179"/>
                    <a:gd name="connsiteY56" fmla="*/ 644545 h 3498714"/>
                    <a:gd name="connsiteX57" fmla="*/ 682782 w 4818179"/>
                    <a:gd name="connsiteY57" fmla="*/ 0 h 3498714"/>
                    <a:gd name="connsiteX58" fmla="*/ 966919 w 4818179"/>
                    <a:gd name="connsiteY58" fmla="*/ 284138 h 3498714"/>
                    <a:gd name="connsiteX59" fmla="*/ 682782 w 4818179"/>
                    <a:gd name="connsiteY59" fmla="*/ 568275 h 3498714"/>
                    <a:gd name="connsiteX60" fmla="*/ 398645 w 4818179"/>
                    <a:gd name="connsiteY60" fmla="*/ 284138 h 3498714"/>
                    <a:gd name="connsiteX61" fmla="*/ 682782 w 4818179"/>
                    <a:gd name="connsiteY61" fmla="*/ 0 h 3498714"/>
                    <a:gd name="connsiteX62" fmla="*/ 4818179 w 4818179"/>
                    <a:gd name="connsiteY62" fmla="*/ 3013437 h 3498714"/>
                    <a:gd name="connsiteX63" fmla="*/ 4707054 w 4818179"/>
                    <a:gd name="connsiteY63" fmla="*/ 3124562 h 3498714"/>
                    <a:gd name="connsiteX64" fmla="*/ 4545125 w 4818179"/>
                    <a:gd name="connsiteY64" fmla="*/ 3124562 h 3498714"/>
                    <a:gd name="connsiteX65" fmla="*/ 4545125 w 4818179"/>
                    <a:gd name="connsiteY65" fmla="*/ 3361625 h 3498714"/>
                    <a:gd name="connsiteX66" fmla="*/ 4436113 w 4818179"/>
                    <a:gd name="connsiteY66" fmla="*/ 3470637 h 3498714"/>
                    <a:gd name="connsiteX67" fmla="*/ 4235039 w 4818179"/>
                    <a:gd name="connsiteY67" fmla="*/ 3470637 h 3498714"/>
                    <a:gd name="connsiteX68" fmla="*/ 2589325 w 4818179"/>
                    <a:gd name="connsiteY68" fmla="*/ 3124562 h 3498714"/>
                    <a:gd name="connsiteX69" fmla="*/ 2589325 w 4818179"/>
                    <a:gd name="connsiteY69" fmla="*/ 3361625 h 3498714"/>
                    <a:gd name="connsiteX70" fmla="*/ 2480313 w 4818179"/>
                    <a:gd name="connsiteY70" fmla="*/ 3470637 h 3498714"/>
                    <a:gd name="connsiteX71" fmla="*/ 2279239 w 4818179"/>
                    <a:gd name="connsiteY71" fmla="*/ 3470637 h 3498714"/>
                    <a:gd name="connsiteX72" fmla="*/ 2170227 w 4818179"/>
                    <a:gd name="connsiteY72" fmla="*/ 3361625 h 3498714"/>
                    <a:gd name="connsiteX73" fmla="*/ 2170227 w 4818179"/>
                    <a:gd name="connsiteY73" fmla="*/ 3124562 h 3498714"/>
                    <a:gd name="connsiteX74" fmla="*/ 2052754 w 4818179"/>
                    <a:gd name="connsiteY74" fmla="*/ 3124562 h 3498714"/>
                    <a:gd name="connsiteX75" fmla="*/ 1941629 w 4818179"/>
                    <a:gd name="connsiteY75" fmla="*/ 3013437 h 3498714"/>
                    <a:gd name="connsiteX76" fmla="*/ 2052754 w 4818179"/>
                    <a:gd name="connsiteY76" fmla="*/ 2902312 h 3498714"/>
                    <a:gd name="connsiteX77" fmla="*/ 682782 w 4818179"/>
                    <a:gd name="connsiteY77" fmla="*/ 0 h 3498714"/>
                    <a:gd name="connsiteX0" fmla="*/ 2251033 w 4707054"/>
                    <a:gd name="connsiteY0" fmla="*/ 2089512 h 3498714"/>
                    <a:gd name="connsiteX1" fmla="*/ 2070058 w 4707054"/>
                    <a:gd name="connsiteY1" fmla="*/ 2270487 h 3498714"/>
                    <a:gd name="connsiteX2" fmla="*/ 2251033 w 4707054"/>
                    <a:gd name="connsiteY2" fmla="*/ 2451462 h 3498714"/>
                    <a:gd name="connsiteX3" fmla="*/ 2432008 w 4707054"/>
                    <a:gd name="connsiteY3" fmla="*/ 2270487 h 3498714"/>
                    <a:gd name="connsiteX4" fmla="*/ 2251033 w 4707054"/>
                    <a:gd name="connsiteY4" fmla="*/ 2089512 h 3498714"/>
                    <a:gd name="connsiteX5" fmla="*/ 2842751 w 4707054"/>
                    <a:gd name="connsiteY5" fmla="*/ 1749356 h 3498714"/>
                    <a:gd name="connsiteX6" fmla="*/ 2392797 w 4707054"/>
                    <a:gd name="connsiteY6" fmla="*/ 1878907 h 3498714"/>
                    <a:gd name="connsiteX7" fmla="*/ 2478781 w 4707054"/>
                    <a:gd name="connsiteY7" fmla="*/ 1920808 h 3498714"/>
                    <a:gd name="connsiteX8" fmla="*/ 2842751 w 4707054"/>
                    <a:gd name="connsiteY8" fmla="*/ 1749356 h 3498714"/>
                    <a:gd name="connsiteX9" fmla="*/ 2534724 w 4707054"/>
                    <a:gd name="connsiteY9" fmla="*/ 982297 h 3498714"/>
                    <a:gd name="connsiteX10" fmla="*/ 1970999 w 4707054"/>
                    <a:gd name="connsiteY10" fmla="*/ 2826112 h 3498714"/>
                    <a:gd name="connsiteX11" fmla="*/ 1850348 w 4707054"/>
                    <a:gd name="connsiteY11" fmla="*/ 2705462 h 3498714"/>
                    <a:gd name="connsiteX12" fmla="*/ 1956769 w 4707054"/>
                    <a:gd name="connsiteY12" fmla="*/ 2587684 h 3498714"/>
                    <a:gd name="connsiteX13" fmla="*/ 1823360 w 4707054"/>
                    <a:gd name="connsiteY13" fmla="*/ 2279217 h 3498714"/>
                    <a:gd name="connsiteX14" fmla="*/ 2217440 w 4707054"/>
                    <a:gd name="connsiteY14" fmla="*/ 1856216 h 3498714"/>
                    <a:gd name="connsiteX15" fmla="*/ 2534724 w 4707054"/>
                    <a:gd name="connsiteY15" fmla="*/ 982297 h 3498714"/>
                    <a:gd name="connsiteX16" fmla="*/ 358791 w 4707054"/>
                    <a:gd name="connsiteY16" fmla="*/ 644545 h 3498714"/>
                    <a:gd name="connsiteX17" fmla="*/ 1006774 w 4707054"/>
                    <a:gd name="connsiteY17" fmla="*/ 644545 h 3498714"/>
                    <a:gd name="connsiteX18" fmla="*/ 1542636 w 4707054"/>
                    <a:gd name="connsiteY18" fmla="*/ 1193969 h 3498714"/>
                    <a:gd name="connsiteX19" fmla="*/ 1929878 w 4707054"/>
                    <a:gd name="connsiteY19" fmla="*/ 1193970 h 3498714"/>
                    <a:gd name="connsiteX20" fmla="*/ 2070059 w 4707054"/>
                    <a:gd name="connsiteY20" fmla="*/ 1334152 h 3498714"/>
                    <a:gd name="connsiteX21" fmla="*/ 1929878 w 4707054"/>
                    <a:gd name="connsiteY21" fmla="*/ 1474333 h 3498714"/>
                    <a:gd name="connsiteX22" fmla="*/ 1520943 w 4707054"/>
                    <a:gd name="connsiteY22" fmla="*/ 1470388 h 3498714"/>
                    <a:gd name="connsiteX23" fmla="*/ 1332825 w 4707054"/>
                    <a:gd name="connsiteY23" fmla="*/ 1367201 h 3498714"/>
                    <a:gd name="connsiteX24" fmla="*/ 1106501 w 4707054"/>
                    <a:gd name="connsiteY24" fmla="*/ 1098289 h 3498714"/>
                    <a:gd name="connsiteX25" fmla="*/ 1101049 w 4707054"/>
                    <a:gd name="connsiteY25" fmla="*/ 1092836 h 3498714"/>
                    <a:gd name="connsiteX26" fmla="*/ 1046523 w 4707054"/>
                    <a:gd name="connsiteY26" fmla="*/ 1092836 h 3498714"/>
                    <a:gd name="connsiteX27" fmla="*/ 1041071 w 4707054"/>
                    <a:gd name="connsiteY27" fmla="*/ 1098289 h 3498714"/>
                    <a:gd name="connsiteX28" fmla="*/ 1042136 w 4707054"/>
                    <a:gd name="connsiteY28" fmla="*/ 1419754 h 3498714"/>
                    <a:gd name="connsiteX29" fmla="*/ 1042136 w 4707054"/>
                    <a:gd name="connsiteY29" fmla="*/ 3337652 h 3498714"/>
                    <a:gd name="connsiteX30" fmla="*/ 881075 w 4707054"/>
                    <a:gd name="connsiteY30" fmla="*/ 3498714 h 3498714"/>
                    <a:gd name="connsiteX31" fmla="*/ 720012 w 4707054"/>
                    <a:gd name="connsiteY31" fmla="*/ 3337652 h 3498714"/>
                    <a:gd name="connsiteX32" fmla="*/ 720012 w 4707054"/>
                    <a:gd name="connsiteY32" fmla="*/ 2125717 h 3498714"/>
                    <a:gd name="connsiteX33" fmla="*/ 718947 w 4707054"/>
                    <a:gd name="connsiteY33" fmla="*/ 2033194 h 3498714"/>
                    <a:gd name="connsiteX34" fmla="*/ 714162 w 4707054"/>
                    <a:gd name="connsiteY34" fmla="*/ 2028410 h 3498714"/>
                    <a:gd name="connsiteX35" fmla="*/ 654759 w 4707054"/>
                    <a:gd name="connsiteY35" fmla="*/ 2028410 h 3498714"/>
                    <a:gd name="connsiteX36" fmla="*/ 649974 w 4707054"/>
                    <a:gd name="connsiteY36" fmla="*/ 2033194 h 3498714"/>
                    <a:gd name="connsiteX37" fmla="*/ 649974 w 4707054"/>
                    <a:gd name="connsiteY37" fmla="*/ 2125717 h 3498714"/>
                    <a:gd name="connsiteX38" fmla="*/ 649574 w 4707054"/>
                    <a:gd name="connsiteY38" fmla="*/ 3337652 h 3498714"/>
                    <a:gd name="connsiteX39" fmla="*/ 488511 w 4707054"/>
                    <a:gd name="connsiteY39" fmla="*/ 3498714 h 3498714"/>
                    <a:gd name="connsiteX40" fmla="*/ 327450 w 4707054"/>
                    <a:gd name="connsiteY40" fmla="*/ 3337652 h 3498714"/>
                    <a:gd name="connsiteX41" fmla="*/ 327450 w 4707054"/>
                    <a:gd name="connsiteY41" fmla="*/ 1458216 h 3498714"/>
                    <a:gd name="connsiteX42" fmla="*/ 322427 w 4707054"/>
                    <a:gd name="connsiteY42" fmla="*/ 1098205 h 3498714"/>
                    <a:gd name="connsiteX43" fmla="*/ 317058 w 4707054"/>
                    <a:gd name="connsiteY43" fmla="*/ 1092836 h 3498714"/>
                    <a:gd name="connsiteX44" fmla="*/ 263371 w 4707054"/>
                    <a:gd name="connsiteY44" fmla="*/ 1092836 h 3498714"/>
                    <a:gd name="connsiteX45" fmla="*/ 258001 w 4707054"/>
                    <a:gd name="connsiteY45" fmla="*/ 1098205 h 3498714"/>
                    <a:gd name="connsiteX46" fmla="*/ 258001 w 4707054"/>
                    <a:gd name="connsiteY46" fmla="*/ 1444446 h 3498714"/>
                    <a:gd name="connsiteX47" fmla="*/ 257700 w 4707054"/>
                    <a:gd name="connsiteY47" fmla="*/ 1444370 h 3498714"/>
                    <a:gd name="connsiteX48" fmla="*/ 257700 w 4707054"/>
                    <a:gd name="connsiteY48" fmla="*/ 1912573 h 3498714"/>
                    <a:gd name="connsiteX49" fmla="*/ 128850 w 4707054"/>
                    <a:gd name="connsiteY49" fmla="*/ 2041423 h 3498714"/>
                    <a:gd name="connsiteX50" fmla="*/ 0 w 4707054"/>
                    <a:gd name="connsiteY50" fmla="*/ 1912573 h 3498714"/>
                    <a:gd name="connsiteX51" fmla="*/ 0 w 4707054"/>
                    <a:gd name="connsiteY51" fmla="*/ 1101802 h 3498714"/>
                    <a:gd name="connsiteX52" fmla="*/ 0 w 4707054"/>
                    <a:gd name="connsiteY52" fmla="*/ 1003338 h 3498714"/>
                    <a:gd name="connsiteX53" fmla="*/ 0 w 4707054"/>
                    <a:gd name="connsiteY53" fmla="*/ 982486 h 3498714"/>
                    <a:gd name="connsiteX54" fmla="*/ 12733 w 4707054"/>
                    <a:gd name="connsiteY54" fmla="*/ 894663 h 3498714"/>
                    <a:gd name="connsiteX55" fmla="*/ 20539 w 4707054"/>
                    <a:gd name="connsiteY55" fmla="*/ 868773 h 3498714"/>
                    <a:gd name="connsiteX56" fmla="*/ 358791 w 4707054"/>
                    <a:gd name="connsiteY56" fmla="*/ 644545 h 3498714"/>
                    <a:gd name="connsiteX57" fmla="*/ 682782 w 4707054"/>
                    <a:gd name="connsiteY57" fmla="*/ 0 h 3498714"/>
                    <a:gd name="connsiteX58" fmla="*/ 966919 w 4707054"/>
                    <a:gd name="connsiteY58" fmla="*/ 284138 h 3498714"/>
                    <a:gd name="connsiteX59" fmla="*/ 682782 w 4707054"/>
                    <a:gd name="connsiteY59" fmla="*/ 568275 h 3498714"/>
                    <a:gd name="connsiteX60" fmla="*/ 398645 w 4707054"/>
                    <a:gd name="connsiteY60" fmla="*/ 284138 h 3498714"/>
                    <a:gd name="connsiteX61" fmla="*/ 682782 w 4707054"/>
                    <a:gd name="connsiteY61" fmla="*/ 0 h 3498714"/>
                    <a:gd name="connsiteX62" fmla="*/ 4707054 w 4707054"/>
                    <a:gd name="connsiteY62" fmla="*/ 3124562 h 3498714"/>
                    <a:gd name="connsiteX63" fmla="*/ 4545125 w 4707054"/>
                    <a:gd name="connsiteY63" fmla="*/ 3124562 h 3498714"/>
                    <a:gd name="connsiteX64" fmla="*/ 4545125 w 4707054"/>
                    <a:gd name="connsiteY64" fmla="*/ 3361625 h 3498714"/>
                    <a:gd name="connsiteX65" fmla="*/ 4436113 w 4707054"/>
                    <a:gd name="connsiteY65" fmla="*/ 3470637 h 3498714"/>
                    <a:gd name="connsiteX66" fmla="*/ 4235039 w 4707054"/>
                    <a:gd name="connsiteY66" fmla="*/ 3470637 h 3498714"/>
                    <a:gd name="connsiteX67" fmla="*/ 2589325 w 4707054"/>
                    <a:gd name="connsiteY67" fmla="*/ 3124562 h 3498714"/>
                    <a:gd name="connsiteX68" fmla="*/ 2589325 w 4707054"/>
                    <a:gd name="connsiteY68" fmla="*/ 3361625 h 3498714"/>
                    <a:gd name="connsiteX69" fmla="*/ 2480313 w 4707054"/>
                    <a:gd name="connsiteY69" fmla="*/ 3470637 h 3498714"/>
                    <a:gd name="connsiteX70" fmla="*/ 2279239 w 4707054"/>
                    <a:gd name="connsiteY70" fmla="*/ 3470637 h 3498714"/>
                    <a:gd name="connsiteX71" fmla="*/ 2170227 w 4707054"/>
                    <a:gd name="connsiteY71" fmla="*/ 3361625 h 3498714"/>
                    <a:gd name="connsiteX72" fmla="*/ 2170227 w 4707054"/>
                    <a:gd name="connsiteY72" fmla="*/ 3124562 h 3498714"/>
                    <a:gd name="connsiteX73" fmla="*/ 2052754 w 4707054"/>
                    <a:gd name="connsiteY73" fmla="*/ 3124562 h 3498714"/>
                    <a:gd name="connsiteX74" fmla="*/ 1941629 w 4707054"/>
                    <a:gd name="connsiteY74" fmla="*/ 3013437 h 3498714"/>
                    <a:gd name="connsiteX75" fmla="*/ 2052754 w 4707054"/>
                    <a:gd name="connsiteY75" fmla="*/ 2902312 h 3498714"/>
                    <a:gd name="connsiteX76" fmla="*/ 682782 w 4707054"/>
                    <a:gd name="connsiteY76"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124562 h 3498714"/>
                    <a:gd name="connsiteX63" fmla="*/ 4545125 w 4545125"/>
                    <a:gd name="connsiteY63" fmla="*/ 3361625 h 3498714"/>
                    <a:gd name="connsiteX64" fmla="*/ 4436113 w 4545125"/>
                    <a:gd name="connsiteY64" fmla="*/ 3470637 h 3498714"/>
                    <a:gd name="connsiteX65" fmla="*/ 4235039 w 4545125"/>
                    <a:gd name="connsiteY65" fmla="*/ 3470637 h 3498714"/>
                    <a:gd name="connsiteX66" fmla="*/ 2589325 w 4545125"/>
                    <a:gd name="connsiteY66" fmla="*/ 3124562 h 3498714"/>
                    <a:gd name="connsiteX67" fmla="*/ 2589325 w 4545125"/>
                    <a:gd name="connsiteY67" fmla="*/ 3361625 h 3498714"/>
                    <a:gd name="connsiteX68" fmla="*/ 2480313 w 4545125"/>
                    <a:gd name="connsiteY68" fmla="*/ 3470637 h 3498714"/>
                    <a:gd name="connsiteX69" fmla="*/ 2279239 w 4545125"/>
                    <a:gd name="connsiteY69" fmla="*/ 3470637 h 3498714"/>
                    <a:gd name="connsiteX70" fmla="*/ 2170227 w 4545125"/>
                    <a:gd name="connsiteY70" fmla="*/ 3361625 h 3498714"/>
                    <a:gd name="connsiteX71" fmla="*/ 2170227 w 4545125"/>
                    <a:gd name="connsiteY71" fmla="*/ 3124562 h 3498714"/>
                    <a:gd name="connsiteX72" fmla="*/ 2052754 w 4545125"/>
                    <a:gd name="connsiteY72" fmla="*/ 3124562 h 3498714"/>
                    <a:gd name="connsiteX73" fmla="*/ 1941629 w 4545125"/>
                    <a:gd name="connsiteY73" fmla="*/ 3013437 h 3498714"/>
                    <a:gd name="connsiteX74" fmla="*/ 2052754 w 4545125"/>
                    <a:gd name="connsiteY74" fmla="*/ 2902312 h 3498714"/>
                    <a:gd name="connsiteX75" fmla="*/ 682782 w 4545125"/>
                    <a:gd name="connsiteY75" fmla="*/ 0 h 3498714"/>
                    <a:gd name="connsiteX0" fmla="*/ 2251033 w 4545125"/>
                    <a:gd name="connsiteY0" fmla="*/ 2089512 h 3498714"/>
                    <a:gd name="connsiteX1" fmla="*/ 2070058 w 4545125"/>
                    <a:gd name="connsiteY1" fmla="*/ 2270487 h 3498714"/>
                    <a:gd name="connsiteX2" fmla="*/ 2251033 w 4545125"/>
                    <a:gd name="connsiteY2" fmla="*/ 2451462 h 3498714"/>
                    <a:gd name="connsiteX3" fmla="*/ 2432008 w 4545125"/>
                    <a:gd name="connsiteY3" fmla="*/ 2270487 h 3498714"/>
                    <a:gd name="connsiteX4" fmla="*/ 2251033 w 4545125"/>
                    <a:gd name="connsiteY4" fmla="*/ 2089512 h 3498714"/>
                    <a:gd name="connsiteX5" fmla="*/ 2842751 w 4545125"/>
                    <a:gd name="connsiteY5" fmla="*/ 1749356 h 3498714"/>
                    <a:gd name="connsiteX6" fmla="*/ 2392797 w 4545125"/>
                    <a:gd name="connsiteY6" fmla="*/ 1878907 h 3498714"/>
                    <a:gd name="connsiteX7" fmla="*/ 2478781 w 4545125"/>
                    <a:gd name="connsiteY7" fmla="*/ 1920808 h 3498714"/>
                    <a:gd name="connsiteX8" fmla="*/ 2842751 w 4545125"/>
                    <a:gd name="connsiteY8" fmla="*/ 1749356 h 3498714"/>
                    <a:gd name="connsiteX9" fmla="*/ 2534724 w 4545125"/>
                    <a:gd name="connsiteY9" fmla="*/ 982297 h 3498714"/>
                    <a:gd name="connsiteX10" fmla="*/ 1970999 w 4545125"/>
                    <a:gd name="connsiteY10" fmla="*/ 2826112 h 3498714"/>
                    <a:gd name="connsiteX11" fmla="*/ 1850348 w 4545125"/>
                    <a:gd name="connsiteY11" fmla="*/ 2705462 h 3498714"/>
                    <a:gd name="connsiteX12" fmla="*/ 1956769 w 4545125"/>
                    <a:gd name="connsiteY12" fmla="*/ 2587684 h 3498714"/>
                    <a:gd name="connsiteX13" fmla="*/ 1823360 w 4545125"/>
                    <a:gd name="connsiteY13" fmla="*/ 2279217 h 3498714"/>
                    <a:gd name="connsiteX14" fmla="*/ 2217440 w 4545125"/>
                    <a:gd name="connsiteY14" fmla="*/ 1856216 h 3498714"/>
                    <a:gd name="connsiteX15" fmla="*/ 2534724 w 4545125"/>
                    <a:gd name="connsiteY15" fmla="*/ 982297 h 3498714"/>
                    <a:gd name="connsiteX16" fmla="*/ 358791 w 4545125"/>
                    <a:gd name="connsiteY16" fmla="*/ 644545 h 3498714"/>
                    <a:gd name="connsiteX17" fmla="*/ 1006774 w 4545125"/>
                    <a:gd name="connsiteY17" fmla="*/ 644545 h 3498714"/>
                    <a:gd name="connsiteX18" fmla="*/ 1542636 w 4545125"/>
                    <a:gd name="connsiteY18" fmla="*/ 1193969 h 3498714"/>
                    <a:gd name="connsiteX19" fmla="*/ 1929878 w 4545125"/>
                    <a:gd name="connsiteY19" fmla="*/ 1193970 h 3498714"/>
                    <a:gd name="connsiteX20" fmla="*/ 2070059 w 4545125"/>
                    <a:gd name="connsiteY20" fmla="*/ 1334152 h 3498714"/>
                    <a:gd name="connsiteX21" fmla="*/ 1929878 w 4545125"/>
                    <a:gd name="connsiteY21" fmla="*/ 1474333 h 3498714"/>
                    <a:gd name="connsiteX22" fmla="*/ 1520943 w 4545125"/>
                    <a:gd name="connsiteY22" fmla="*/ 1470388 h 3498714"/>
                    <a:gd name="connsiteX23" fmla="*/ 1332825 w 4545125"/>
                    <a:gd name="connsiteY23" fmla="*/ 1367201 h 3498714"/>
                    <a:gd name="connsiteX24" fmla="*/ 1106501 w 4545125"/>
                    <a:gd name="connsiteY24" fmla="*/ 1098289 h 3498714"/>
                    <a:gd name="connsiteX25" fmla="*/ 1101049 w 4545125"/>
                    <a:gd name="connsiteY25" fmla="*/ 1092836 h 3498714"/>
                    <a:gd name="connsiteX26" fmla="*/ 1046523 w 4545125"/>
                    <a:gd name="connsiteY26" fmla="*/ 1092836 h 3498714"/>
                    <a:gd name="connsiteX27" fmla="*/ 1041071 w 4545125"/>
                    <a:gd name="connsiteY27" fmla="*/ 1098289 h 3498714"/>
                    <a:gd name="connsiteX28" fmla="*/ 1042136 w 4545125"/>
                    <a:gd name="connsiteY28" fmla="*/ 1419754 h 3498714"/>
                    <a:gd name="connsiteX29" fmla="*/ 1042136 w 4545125"/>
                    <a:gd name="connsiteY29" fmla="*/ 3337652 h 3498714"/>
                    <a:gd name="connsiteX30" fmla="*/ 881075 w 4545125"/>
                    <a:gd name="connsiteY30" fmla="*/ 3498714 h 3498714"/>
                    <a:gd name="connsiteX31" fmla="*/ 720012 w 4545125"/>
                    <a:gd name="connsiteY31" fmla="*/ 3337652 h 3498714"/>
                    <a:gd name="connsiteX32" fmla="*/ 720012 w 4545125"/>
                    <a:gd name="connsiteY32" fmla="*/ 2125717 h 3498714"/>
                    <a:gd name="connsiteX33" fmla="*/ 718947 w 4545125"/>
                    <a:gd name="connsiteY33" fmla="*/ 2033194 h 3498714"/>
                    <a:gd name="connsiteX34" fmla="*/ 714162 w 4545125"/>
                    <a:gd name="connsiteY34" fmla="*/ 2028410 h 3498714"/>
                    <a:gd name="connsiteX35" fmla="*/ 654759 w 4545125"/>
                    <a:gd name="connsiteY35" fmla="*/ 2028410 h 3498714"/>
                    <a:gd name="connsiteX36" fmla="*/ 649974 w 4545125"/>
                    <a:gd name="connsiteY36" fmla="*/ 2033194 h 3498714"/>
                    <a:gd name="connsiteX37" fmla="*/ 649974 w 4545125"/>
                    <a:gd name="connsiteY37" fmla="*/ 2125717 h 3498714"/>
                    <a:gd name="connsiteX38" fmla="*/ 649574 w 4545125"/>
                    <a:gd name="connsiteY38" fmla="*/ 3337652 h 3498714"/>
                    <a:gd name="connsiteX39" fmla="*/ 488511 w 4545125"/>
                    <a:gd name="connsiteY39" fmla="*/ 3498714 h 3498714"/>
                    <a:gd name="connsiteX40" fmla="*/ 327450 w 4545125"/>
                    <a:gd name="connsiteY40" fmla="*/ 3337652 h 3498714"/>
                    <a:gd name="connsiteX41" fmla="*/ 327450 w 4545125"/>
                    <a:gd name="connsiteY41" fmla="*/ 1458216 h 3498714"/>
                    <a:gd name="connsiteX42" fmla="*/ 322427 w 4545125"/>
                    <a:gd name="connsiteY42" fmla="*/ 1098205 h 3498714"/>
                    <a:gd name="connsiteX43" fmla="*/ 317058 w 4545125"/>
                    <a:gd name="connsiteY43" fmla="*/ 1092836 h 3498714"/>
                    <a:gd name="connsiteX44" fmla="*/ 263371 w 4545125"/>
                    <a:gd name="connsiteY44" fmla="*/ 1092836 h 3498714"/>
                    <a:gd name="connsiteX45" fmla="*/ 258001 w 4545125"/>
                    <a:gd name="connsiteY45" fmla="*/ 1098205 h 3498714"/>
                    <a:gd name="connsiteX46" fmla="*/ 258001 w 4545125"/>
                    <a:gd name="connsiteY46" fmla="*/ 1444446 h 3498714"/>
                    <a:gd name="connsiteX47" fmla="*/ 257700 w 4545125"/>
                    <a:gd name="connsiteY47" fmla="*/ 1444370 h 3498714"/>
                    <a:gd name="connsiteX48" fmla="*/ 257700 w 4545125"/>
                    <a:gd name="connsiteY48" fmla="*/ 1912573 h 3498714"/>
                    <a:gd name="connsiteX49" fmla="*/ 128850 w 4545125"/>
                    <a:gd name="connsiteY49" fmla="*/ 2041423 h 3498714"/>
                    <a:gd name="connsiteX50" fmla="*/ 0 w 4545125"/>
                    <a:gd name="connsiteY50" fmla="*/ 1912573 h 3498714"/>
                    <a:gd name="connsiteX51" fmla="*/ 0 w 4545125"/>
                    <a:gd name="connsiteY51" fmla="*/ 1101802 h 3498714"/>
                    <a:gd name="connsiteX52" fmla="*/ 0 w 4545125"/>
                    <a:gd name="connsiteY52" fmla="*/ 1003338 h 3498714"/>
                    <a:gd name="connsiteX53" fmla="*/ 0 w 4545125"/>
                    <a:gd name="connsiteY53" fmla="*/ 982486 h 3498714"/>
                    <a:gd name="connsiteX54" fmla="*/ 12733 w 4545125"/>
                    <a:gd name="connsiteY54" fmla="*/ 894663 h 3498714"/>
                    <a:gd name="connsiteX55" fmla="*/ 20539 w 4545125"/>
                    <a:gd name="connsiteY55" fmla="*/ 868773 h 3498714"/>
                    <a:gd name="connsiteX56" fmla="*/ 358791 w 4545125"/>
                    <a:gd name="connsiteY56" fmla="*/ 644545 h 3498714"/>
                    <a:gd name="connsiteX57" fmla="*/ 682782 w 4545125"/>
                    <a:gd name="connsiteY57" fmla="*/ 0 h 3498714"/>
                    <a:gd name="connsiteX58" fmla="*/ 966919 w 4545125"/>
                    <a:gd name="connsiteY58" fmla="*/ 284138 h 3498714"/>
                    <a:gd name="connsiteX59" fmla="*/ 682782 w 4545125"/>
                    <a:gd name="connsiteY59" fmla="*/ 568275 h 3498714"/>
                    <a:gd name="connsiteX60" fmla="*/ 398645 w 4545125"/>
                    <a:gd name="connsiteY60" fmla="*/ 284138 h 3498714"/>
                    <a:gd name="connsiteX61" fmla="*/ 682782 w 4545125"/>
                    <a:gd name="connsiteY61" fmla="*/ 0 h 3498714"/>
                    <a:gd name="connsiteX62" fmla="*/ 4545125 w 4545125"/>
                    <a:gd name="connsiteY62" fmla="*/ 3361625 h 3498714"/>
                    <a:gd name="connsiteX63" fmla="*/ 4436113 w 4545125"/>
                    <a:gd name="connsiteY63" fmla="*/ 3470637 h 3498714"/>
                    <a:gd name="connsiteX64" fmla="*/ 4235039 w 4545125"/>
                    <a:gd name="connsiteY64" fmla="*/ 3470637 h 3498714"/>
                    <a:gd name="connsiteX65" fmla="*/ 2589325 w 4545125"/>
                    <a:gd name="connsiteY65" fmla="*/ 3124562 h 3498714"/>
                    <a:gd name="connsiteX66" fmla="*/ 2589325 w 4545125"/>
                    <a:gd name="connsiteY66" fmla="*/ 3361625 h 3498714"/>
                    <a:gd name="connsiteX67" fmla="*/ 2480313 w 4545125"/>
                    <a:gd name="connsiteY67" fmla="*/ 3470637 h 3498714"/>
                    <a:gd name="connsiteX68" fmla="*/ 2279239 w 4545125"/>
                    <a:gd name="connsiteY68" fmla="*/ 3470637 h 3498714"/>
                    <a:gd name="connsiteX69" fmla="*/ 2170227 w 4545125"/>
                    <a:gd name="connsiteY69" fmla="*/ 3361625 h 3498714"/>
                    <a:gd name="connsiteX70" fmla="*/ 2170227 w 4545125"/>
                    <a:gd name="connsiteY70" fmla="*/ 3124562 h 3498714"/>
                    <a:gd name="connsiteX71" fmla="*/ 2052754 w 4545125"/>
                    <a:gd name="connsiteY71" fmla="*/ 3124562 h 3498714"/>
                    <a:gd name="connsiteX72" fmla="*/ 1941629 w 4545125"/>
                    <a:gd name="connsiteY72" fmla="*/ 3013437 h 3498714"/>
                    <a:gd name="connsiteX73" fmla="*/ 2052754 w 4545125"/>
                    <a:gd name="connsiteY73" fmla="*/ 2902312 h 3498714"/>
                    <a:gd name="connsiteX74" fmla="*/ 682782 w 4545125"/>
                    <a:gd name="connsiteY74" fmla="*/ 0 h 3498714"/>
                    <a:gd name="connsiteX0" fmla="*/ 2251033 w 4436113"/>
                    <a:gd name="connsiteY0" fmla="*/ 2089512 h 3498714"/>
                    <a:gd name="connsiteX1" fmla="*/ 2070058 w 4436113"/>
                    <a:gd name="connsiteY1" fmla="*/ 2270487 h 3498714"/>
                    <a:gd name="connsiteX2" fmla="*/ 2251033 w 4436113"/>
                    <a:gd name="connsiteY2" fmla="*/ 2451462 h 3498714"/>
                    <a:gd name="connsiteX3" fmla="*/ 2432008 w 4436113"/>
                    <a:gd name="connsiteY3" fmla="*/ 2270487 h 3498714"/>
                    <a:gd name="connsiteX4" fmla="*/ 2251033 w 4436113"/>
                    <a:gd name="connsiteY4" fmla="*/ 2089512 h 3498714"/>
                    <a:gd name="connsiteX5" fmla="*/ 2842751 w 4436113"/>
                    <a:gd name="connsiteY5" fmla="*/ 1749356 h 3498714"/>
                    <a:gd name="connsiteX6" fmla="*/ 2392797 w 4436113"/>
                    <a:gd name="connsiteY6" fmla="*/ 1878907 h 3498714"/>
                    <a:gd name="connsiteX7" fmla="*/ 2478781 w 4436113"/>
                    <a:gd name="connsiteY7" fmla="*/ 1920808 h 3498714"/>
                    <a:gd name="connsiteX8" fmla="*/ 2842751 w 4436113"/>
                    <a:gd name="connsiteY8" fmla="*/ 1749356 h 3498714"/>
                    <a:gd name="connsiteX9" fmla="*/ 2534724 w 4436113"/>
                    <a:gd name="connsiteY9" fmla="*/ 982297 h 3498714"/>
                    <a:gd name="connsiteX10" fmla="*/ 1970999 w 4436113"/>
                    <a:gd name="connsiteY10" fmla="*/ 2826112 h 3498714"/>
                    <a:gd name="connsiteX11" fmla="*/ 1850348 w 4436113"/>
                    <a:gd name="connsiteY11" fmla="*/ 2705462 h 3498714"/>
                    <a:gd name="connsiteX12" fmla="*/ 1956769 w 4436113"/>
                    <a:gd name="connsiteY12" fmla="*/ 2587684 h 3498714"/>
                    <a:gd name="connsiteX13" fmla="*/ 1823360 w 4436113"/>
                    <a:gd name="connsiteY13" fmla="*/ 2279217 h 3498714"/>
                    <a:gd name="connsiteX14" fmla="*/ 2217440 w 4436113"/>
                    <a:gd name="connsiteY14" fmla="*/ 1856216 h 3498714"/>
                    <a:gd name="connsiteX15" fmla="*/ 2534724 w 4436113"/>
                    <a:gd name="connsiteY15" fmla="*/ 982297 h 3498714"/>
                    <a:gd name="connsiteX16" fmla="*/ 358791 w 4436113"/>
                    <a:gd name="connsiteY16" fmla="*/ 644545 h 3498714"/>
                    <a:gd name="connsiteX17" fmla="*/ 1006774 w 4436113"/>
                    <a:gd name="connsiteY17" fmla="*/ 644545 h 3498714"/>
                    <a:gd name="connsiteX18" fmla="*/ 1542636 w 4436113"/>
                    <a:gd name="connsiteY18" fmla="*/ 1193969 h 3498714"/>
                    <a:gd name="connsiteX19" fmla="*/ 1929878 w 4436113"/>
                    <a:gd name="connsiteY19" fmla="*/ 1193970 h 3498714"/>
                    <a:gd name="connsiteX20" fmla="*/ 2070059 w 4436113"/>
                    <a:gd name="connsiteY20" fmla="*/ 1334152 h 3498714"/>
                    <a:gd name="connsiteX21" fmla="*/ 1929878 w 4436113"/>
                    <a:gd name="connsiteY21" fmla="*/ 1474333 h 3498714"/>
                    <a:gd name="connsiteX22" fmla="*/ 1520943 w 4436113"/>
                    <a:gd name="connsiteY22" fmla="*/ 1470388 h 3498714"/>
                    <a:gd name="connsiteX23" fmla="*/ 1332825 w 4436113"/>
                    <a:gd name="connsiteY23" fmla="*/ 1367201 h 3498714"/>
                    <a:gd name="connsiteX24" fmla="*/ 1106501 w 4436113"/>
                    <a:gd name="connsiteY24" fmla="*/ 1098289 h 3498714"/>
                    <a:gd name="connsiteX25" fmla="*/ 1101049 w 4436113"/>
                    <a:gd name="connsiteY25" fmla="*/ 1092836 h 3498714"/>
                    <a:gd name="connsiteX26" fmla="*/ 1046523 w 4436113"/>
                    <a:gd name="connsiteY26" fmla="*/ 1092836 h 3498714"/>
                    <a:gd name="connsiteX27" fmla="*/ 1041071 w 4436113"/>
                    <a:gd name="connsiteY27" fmla="*/ 1098289 h 3498714"/>
                    <a:gd name="connsiteX28" fmla="*/ 1042136 w 4436113"/>
                    <a:gd name="connsiteY28" fmla="*/ 1419754 h 3498714"/>
                    <a:gd name="connsiteX29" fmla="*/ 1042136 w 4436113"/>
                    <a:gd name="connsiteY29" fmla="*/ 3337652 h 3498714"/>
                    <a:gd name="connsiteX30" fmla="*/ 881075 w 4436113"/>
                    <a:gd name="connsiteY30" fmla="*/ 3498714 h 3498714"/>
                    <a:gd name="connsiteX31" fmla="*/ 720012 w 4436113"/>
                    <a:gd name="connsiteY31" fmla="*/ 3337652 h 3498714"/>
                    <a:gd name="connsiteX32" fmla="*/ 720012 w 4436113"/>
                    <a:gd name="connsiteY32" fmla="*/ 2125717 h 3498714"/>
                    <a:gd name="connsiteX33" fmla="*/ 718947 w 4436113"/>
                    <a:gd name="connsiteY33" fmla="*/ 2033194 h 3498714"/>
                    <a:gd name="connsiteX34" fmla="*/ 714162 w 4436113"/>
                    <a:gd name="connsiteY34" fmla="*/ 2028410 h 3498714"/>
                    <a:gd name="connsiteX35" fmla="*/ 654759 w 4436113"/>
                    <a:gd name="connsiteY35" fmla="*/ 2028410 h 3498714"/>
                    <a:gd name="connsiteX36" fmla="*/ 649974 w 4436113"/>
                    <a:gd name="connsiteY36" fmla="*/ 2033194 h 3498714"/>
                    <a:gd name="connsiteX37" fmla="*/ 649974 w 4436113"/>
                    <a:gd name="connsiteY37" fmla="*/ 2125717 h 3498714"/>
                    <a:gd name="connsiteX38" fmla="*/ 649574 w 4436113"/>
                    <a:gd name="connsiteY38" fmla="*/ 3337652 h 3498714"/>
                    <a:gd name="connsiteX39" fmla="*/ 488511 w 4436113"/>
                    <a:gd name="connsiteY39" fmla="*/ 3498714 h 3498714"/>
                    <a:gd name="connsiteX40" fmla="*/ 327450 w 4436113"/>
                    <a:gd name="connsiteY40" fmla="*/ 3337652 h 3498714"/>
                    <a:gd name="connsiteX41" fmla="*/ 327450 w 4436113"/>
                    <a:gd name="connsiteY41" fmla="*/ 1458216 h 3498714"/>
                    <a:gd name="connsiteX42" fmla="*/ 322427 w 4436113"/>
                    <a:gd name="connsiteY42" fmla="*/ 1098205 h 3498714"/>
                    <a:gd name="connsiteX43" fmla="*/ 317058 w 4436113"/>
                    <a:gd name="connsiteY43" fmla="*/ 1092836 h 3498714"/>
                    <a:gd name="connsiteX44" fmla="*/ 263371 w 4436113"/>
                    <a:gd name="connsiteY44" fmla="*/ 1092836 h 3498714"/>
                    <a:gd name="connsiteX45" fmla="*/ 258001 w 4436113"/>
                    <a:gd name="connsiteY45" fmla="*/ 1098205 h 3498714"/>
                    <a:gd name="connsiteX46" fmla="*/ 258001 w 4436113"/>
                    <a:gd name="connsiteY46" fmla="*/ 1444446 h 3498714"/>
                    <a:gd name="connsiteX47" fmla="*/ 257700 w 4436113"/>
                    <a:gd name="connsiteY47" fmla="*/ 1444370 h 3498714"/>
                    <a:gd name="connsiteX48" fmla="*/ 257700 w 4436113"/>
                    <a:gd name="connsiteY48" fmla="*/ 1912573 h 3498714"/>
                    <a:gd name="connsiteX49" fmla="*/ 128850 w 4436113"/>
                    <a:gd name="connsiteY49" fmla="*/ 2041423 h 3498714"/>
                    <a:gd name="connsiteX50" fmla="*/ 0 w 4436113"/>
                    <a:gd name="connsiteY50" fmla="*/ 1912573 h 3498714"/>
                    <a:gd name="connsiteX51" fmla="*/ 0 w 4436113"/>
                    <a:gd name="connsiteY51" fmla="*/ 1101802 h 3498714"/>
                    <a:gd name="connsiteX52" fmla="*/ 0 w 4436113"/>
                    <a:gd name="connsiteY52" fmla="*/ 1003338 h 3498714"/>
                    <a:gd name="connsiteX53" fmla="*/ 0 w 4436113"/>
                    <a:gd name="connsiteY53" fmla="*/ 982486 h 3498714"/>
                    <a:gd name="connsiteX54" fmla="*/ 12733 w 4436113"/>
                    <a:gd name="connsiteY54" fmla="*/ 894663 h 3498714"/>
                    <a:gd name="connsiteX55" fmla="*/ 20539 w 4436113"/>
                    <a:gd name="connsiteY55" fmla="*/ 868773 h 3498714"/>
                    <a:gd name="connsiteX56" fmla="*/ 358791 w 4436113"/>
                    <a:gd name="connsiteY56" fmla="*/ 644545 h 3498714"/>
                    <a:gd name="connsiteX57" fmla="*/ 682782 w 4436113"/>
                    <a:gd name="connsiteY57" fmla="*/ 0 h 3498714"/>
                    <a:gd name="connsiteX58" fmla="*/ 966919 w 4436113"/>
                    <a:gd name="connsiteY58" fmla="*/ 284138 h 3498714"/>
                    <a:gd name="connsiteX59" fmla="*/ 682782 w 4436113"/>
                    <a:gd name="connsiteY59" fmla="*/ 568275 h 3498714"/>
                    <a:gd name="connsiteX60" fmla="*/ 398645 w 4436113"/>
                    <a:gd name="connsiteY60" fmla="*/ 284138 h 3498714"/>
                    <a:gd name="connsiteX61" fmla="*/ 682782 w 4436113"/>
                    <a:gd name="connsiteY61" fmla="*/ 0 h 3498714"/>
                    <a:gd name="connsiteX62" fmla="*/ 4436113 w 4436113"/>
                    <a:gd name="connsiteY62" fmla="*/ 3470637 h 3498714"/>
                    <a:gd name="connsiteX63" fmla="*/ 4235039 w 4436113"/>
                    <a:gd name="connsiteY63" fmla="*/ 3470637 h 3498714"/>
                    <a:gd name="connsiteX64" fmla="*/ 2589325 w 4436113"/>
                    <a:gd name="connsiteY64" fmla="*/ 3124562 h 3498714"/>
                    <a:gd name="connsiteX65" fmla="*/ 2589325 w 4436113"/>
                    <a:gd name="connsiteY65" fmla="*/ 3361625 h 3498714"/>
                    <a:gd name="connsiteX66" fmla="*/ 2480313 w 4436113"/>
                    <a:gd name="connsiteY66" fmla="*/ 3470637 h 3498714"/>
                    <a:gd name="connsiteX67" fmla="*/ 2279239 w 4436113"/>
                    <a:gd name="connsiteY67" fmla="*/ 3470637 h 3498714"/>
                    <a:gd name="connsiteX68" fmla="*/ 2170227 w 4436113"/>
                    <a:gd name="connsiteY68" fmla="*/ 3361625 h 3498714"/>
                    <a:gd name="connsiteX69" fmla="*/ 2170227 w 4436113"/>
                    <a:gd name="connsiteY69" fmla="*/ 3124562 h 3498714"/>
                    <a:gd name="connsiteX70" fmla="*/ 2052754 w 4436113"/>
                    <a:gd name="connsiteY70" fmla="*/ 3124562 h 3498714"/>
                    <a:gd name="connsiteX71" fmla="*/ 1941629 w 4436113"/>
                    <a:gd name="connsiteY71" fmla="*/ 3013437 h 3498714"/>
                    <a:gd name="connsiteX72" fmla="*/ 2052754 w 4436113"/>
                    <a:gd name="connsiteY72" fmla="*/ 2902312 h 3498714"/>
                    <a:gd name="connsiteX73" fmla="*/ 682782 w 4436113"/>
                    <a:gd name="connsiteY73" fmla="*/ 0 h 3498714"/>
                    <a:gd name="connsiteX0" fmla="*/ 2251033 w 4235039"/>
                    <a:gd name="connsiteY0" fmla="*/ 2089512 h 3498714"/>
                    <a:gd name="connsiteX1" fmla="*/ 2070058 w 4235039"/>
                    <a:gd name="connsiteY1" fmla="*/ 2270487 h 3498714"/>
                    <a:gd name="connsiteX2" fmla="*/ 2251033 w 4235039"/>
                    <a:gd name="connsiteY2" fmla="*/ 2451462 h 3498714"/>
                    <a:gd name="connsiteX3" fmla="*/ 2432008 w 4235039"/>
                    <a:gd name="connsiteY3" fmla="*/ 2270487 h 3498714"/>
                    <a:gd name="connsiteX4" fmla="*/ 2251033 w 4235039"/>
                    <a:gd name="connsiteY4" fmla="*/ 2089512 h 3498714"/>
                    <a:gd name="connsiteX5" fmla="*/ 2842751 w 4235039"/>
                    <a:gd name="connsiteY5" fmla="*/ 1749356 h 3498714"/>
                    <a:gd name="connsiteX6" fmla="*/ 2392797 w 4235039"/>
                    <a:gd name="connsiteY6" fmla="*/ 1878907 h 3498714"/>
                    <a:gd name="connsiteX7" fmla="*/ 2478781 w 4235039"/>
                    <a:gd name="connsiteY7" fmla="*/ 1920808 h 3498714"/>
                    <a:gd name="connsiteX8" fmla="*/ 2842751 w 4235039"/>
                    <a:gd name="connsiteY8" fmla="*/ 1749356 h 3498714"/>
                    <a:gd name="connsiteX9" fmla="*/ 2534724 w 4235039"/>
                    <a:gd name="connsiteY9" fmla="*/ 982297 h 3498714"/>
                    <a:gd name="connsiteX10" fmla="*/ 1970999 w 4235039"/>
                    <a:gd name="connsiteY10" fmla="*/ 2826112 h 3498714"/>
                    <a:gd name="connsiteX11" fmla="*/ 1850348 w 4235039"/>
                    <a:gd name="connsiteY11" fmla="*/ 2705462 h 3498714"/>
                    <a:gd name="connsiteX12" fmla="*/ 1956769 w 4235039"/>
                    <a:gd name="connsiteY12" fmla="*/ 2587684 h 3498714"/>
                    <a:gd name="connsiteX13" fmla="*/ 1823360 w 4235039"/>
                    <a:gd name="connsiteY13" fmla="*/ 2279217 h 3498714"/>
                    <a:gd name="connsiteX14" fmla="*/ 2217440 w 4235039"/>
                    <a:gd name="connsiteY14" fmla="*/ 1856216 h 3498714"/>
                    <a:gd name="connsiteX15" fmla="*/ 2534724 w 4235039"/>
                    <a:gd name="connsiteY15" fmla="*/ 982297 h 3498714"/>
                    <a:gd name="connsiteX16" fmla="*/ 358791 w 4235039"/>
                    <a:gd name="connsiteY16" fmla="*/ 644545 h 3498714"/>
                    <a:gd name="connsiteX17" fmla="*/ 1006774 w 4235039"/>
                    <a:gd name="connsiteY17" fmla="*/ 644545 h 3498714"/>
                    <a:gd name="connsiteX18" fmla="*/ 1542636 w 4235039"/>
                    <a:gd name="connsiteY18" fmla="*/ 1193969 h 3498714"/>
                    <a:gd name="connsiteX19" fmla="*/ 1929878 w 4235039"/>
                    <a:gd name="connsiteY19" fmla="*/ 1193970 h 3498714"/>
                    <a:gd name="connsiteX20" fmla="*/ 2070059 w 4235039"/>
                    <a:gd name="connsiteY20" fmla="*/ 1334152 h 3498714"/>
                    <a:gd name="connsiteX21" fmla="*/ 1929878 w 4235039"/>
                    <a:gd name="connsiteY21" fmla="*/ 1474333 h 3498714"/>
                    <a:gd name="connsiteX22" fmla="*/ 1520943 w 4235039"/>
                    <a:gd name="connsiteY22" fmla="*/ 1470388 h 3498714"/>
                    <a:gd name="connsiteX23" fmla="*/ 1332825 w 4235039"/>
                    <a:gd name="connsiteY23" fmla="*/ 1367201 h 3498714"/>
                    <a:gd name="connsiteX24" fmla="*/ 1106501 w 4235039"/>
                    <a:gd name="connsiteY24" fmla="*/ 1098289 h 3498714"/>
                    <a:gd name="connsiteX25" fmla="*/ 1101049 w 4235039"/>
                    <a:gd name="connsiteY25" fmla="*/ 1092836 h 3498714"/>
                    <a:gd name="connsiteX26" fmla="*/ 1046523 w 4235039"/>
                    <a:gd name="connsiteY26" fmla="*/ 1092836 h 3498714"/>
                    <a:gd name="connsiteX27" fmla="*/ 1041071 w 4235039"/>
                    <a:gd name="connsiteY27" fmla="*/ 1098289 h 3498714"/>
                    <a:gd name="connsiteX28" fmla="*/ 1042136 w 4235039"/>
                    <a:gd name="connsiteY28" fmla="*/ 1419754 h 3498714"/>
                    <a:gd name="connsiteX29" fmla="*/ 1042136 w 4235039"/>
                    <a:gd name="connsiteY29" fmla="*/ 3337652 h 3498714"/>
                    <a:gd name="connsiteX30" fmla="*/ 881075 w 4235039"/>
                    <a:gd name="connsiteY30" fmla="*/ 3498714 h 3498714"/>
                    <a:gd name="connsiteX31" fmla="*/ 720012 w 4235039"/>
                    <a:gd name="connsiteY31" fmla="*/ 3337652 h 3498714"/>
                    <a:gd name="connsiteX32" fmla="*/ 720012 w 4235039"/>
                    <a:gd name="connsiteY32" fmla="*/ 2125717 h 3498714"/>
                    <a:gd name="connsiteX33" fmla="*/ 718947 w 4235039"/>
                    <a:gd name="connsiteY33" fmla="*/ 2033194 h 3498714"/>
                    <a:gd name="connsiteX34" fmla="*/ 714162 w 4235039"/>
                    <a:gd name="connsiteY34" fmla="*/ 2028410 h 3498714"/>
                    <a:gd name="connsiteX35" fmla="*/ 654759 w 4235039"/>
                    <a:gd name="connsiteY35" fmla="*/ 2028410 h 3498714"/>
                    <a:gd name="connsiteX36" fmla="*/ 649974 w 4235039"/>
                    <a:gd name="connsiteY36" fmla="*/ 2033194 h 3498714"/>
                    <a:gd name="connsiteX37" fmla="*/ 649974 w 4235039"/>
                    <a:gd name="connsiteY37" fmla="*/ 2125717 h 3498714"/>
                    <a:gd name="connsiteX38" fmla="*/ 649574 w 4235039"/>
                    <a:gd name="connsiteY38" fmla="*/ 3337652 h 3498714"/>
                    <a:gd name="connsiteX39" fmla="*/ 488511 w 4235039"/>
                    <a:gd name="connsiteY39" fmla="*/ 3498714 h 3498714"/>
                    <a:gd name="connsiteX40" fmla="*/ 327450 w 4235039"/>
                    <a:gd name="connsiteY40" fmla="*/ 3337652 h 3498714"/>
                    <a:gd name="connsiteX41" fmla="*/ 327450 w 4235039"/>
                    <a:gd name="connsiteY41" fmla="*/ 1458216 h 3498714"/>
                    <a:gd name="connsiteX42" fmla="*/ 322427 w 4235039"/>
                    <a:gd name="connsiteY42" fmla="*/ 1098205 h 3498714"/>
                    <a:gd name="connsiteX43" fmla="*/ 317058 w 4235039"/>
                    <a:gd name="connsiteY43" fmla="*/ 1092836 h 3498714"/>
                    <a:gd name="connsiteX44" fmla="*/ 263371 w 4235039"/>
                    <a:gd name="connsiteY44" fmla="*/ 1092836 h 3498714"/>
                    <a:gd name="connsiteX45" fmla="*/ 258001 w 4235039"/>
                    <a:gd name="connsiteY45" fmla="*/ 1098205 h 3498714"/>
                    <a:gd name="connsiteX46" fmla="*/ 258001 w 4235039"/>
                    <a:gd name="connsiteY46" fmla="*/ 1444446 h 3498714"/>
                    <a:gd name="connsiteX47" fmla="*/ 257700 w 4235039"/>
                    <a:gd name="connsiteY47" fmla="*/ 1444370 h 3498714"/>
                    <a:gd name="connsiteX48" fmla="*/ 257700 w 4235039"/>
                    <a:gd name="connsiteY48" fmla="*/ 1912573 h 3498714"/>
                    <a:gd name="connsiteX49" fmla="*/ 128850 w 4235039"/>
                    <a:gd name="connsiteY49" fmla="*/ 2041423 h 3498714"/>
                    <a:gd name="connsiteX50" fmla="*/ 0 w 4235039"/>
                    <a:gd name="connsiteY50" fmla="*/ 1912573 h 3498714"/>
                    <a:gd name="connsiteX51" fmla="*/ 0 w 4235039"/>
                    <a:gd name="connsiteY51" fmla="*/ 1101802 h 3498714"/>
                    <a:gd name="connsiteX52" fmla="*/ 0 w 4235039"/>
                    <a:gd name="connsiteY52" fmla="*/ 1003338 h 3498714"/>
                    <a:gd name="connsiteX53" fmla="*/ 0 w 4235039"/>
                    <a:gd name="connsiteY53" fmla="*/ 982486 h 3498714"/>
                    <a:gd name="connsiteX54" fmla="*/ 12733 w 4235039"/>
                    <a:gd name="connsiteY54" fmla="*/ 894663 h 3498714"/>
                    <a:gd name="connsiteX55" fmla="*/ 20539 w 4235039"/>
                    <a:gd name="connsiteY55" fmla="*/ 868773 h 3498714"/>
                    <a:gd name="connsiteX56" fmla="*/ 358791 w 4235039"/>
                    <a:gd name="connsiteY56" fmla="*/ 644545 h 3498714"/>
                    <a:gd name="connsiteX57" fmla="*/ 682782 w 4235039"/>
                    <a:gd name="connsiteY57" fmla="*/ 0 h 3498714"/>
                    <a:gd name="connsiteX58" fmla="*/ 966919 w 4235039"/>
                    <a:gd name="connsiteY58" fmla="*/ 284138 h 3498714"/>
                    <a:gd name="connsiteX59" fmla="*/ 682782 w 4235039"/>
                    <a:gd name="connsiteY59" fmla="*/ 568275 h 3498714"/>
                    <a:gd name="connsiteX60" fmla="*/ 398645 w 4235039"/>
                    <a:gd name="connsiteY60" fmla="*/ 284138 h 3498714"/>
                    <a:gd name="connsiteX61" fmla="*/ 682782 w 4235039"/>
                    <a:gd name="connsiteY61" fmla="*/ 0 h 3498714"/>
                    <a:gd name="connsiteX62" fmla="*/ 4235039 w 4235039"/>
                    <a:gd name="connsiteY62" fmla="*/ 3470637 h 3498714"/>
                    <a:gd name="connsiteX63" fmla="*/ 2589325 w 4235039"/>
                    <a:gd name="connsiteY63" fmla="*/ 3124562 h 3498714"/>
                    <a:gd name="connsiteX64" fmla="*/ 2589325 w 4235039"/>
                    <a:gd name="connsiteY64" fmla="*/ 3361625 h 3498714"/>
                    <a:gd name="connsiteX65" fmla="*/ 2480313 w 4235039"/>
                    <a:gd name="connsiteY65" fmla="*/ 3470637 h 3498714"/>
                    <a:gd name="connsiteX66" fmla="*/ 2279239 w 4235039"/>
                    <a:gd name="connsiteY66" fmla="*/ 3470637 h 3498714"/>
                    <a:gd name="connsiteX67" fmla="*/ 2170227 w 4235039"/>
                    <a:gd name="connsiteY67" fmla="*/ 3361625 h 3498714"/>
                    <a:gd name="connsiteX68" fmla="*/ 2170227 w 4235039"/>
                    <a:gd name="connsiteY68" fmla="*/ 3124562 h 3498714"/>
                    <a:gd name="connsiteX69" fmla="*/ 2052754 w 4235039"/>
                    <a:gd name="connsiteY69" fmla="*/ 3124562 h 3498714"/>
                    <a:gd name="connsiteX70" fmla="*/ 1941629 w 4235039"/>
                    <a:gd name="connsiteY70" fmla="*/ 3013437 h 3498714"/>
                    <a:gd name="connsiteX71" fmla="*/ 2052754 w 4235039"/>
                    <a:gd name="connsiteY71" fmla="*/ 2902312 h 3498714"/>
                    <a:gd name="connsiteX72" fmla="*/ 682782 w 4235039"/>
                    <a:gd name="connsiteY72" fmla="*/ 0 h 3498714"/>
                    <a:gd name="connsiteX0" fmla="*/ 2251033 w 2842751"/>
                    <a:gd name="connsiteY0" fmla="*/ 2089512 h 3498714"/>
                    <a:gd name="connsiteX1" fmla="*/ 2070058 w 2842751"/>
                    <a:gd name="connsiteY1" fmla="*/ 2270487 h 3498714"/>
                    <a:gd name="connsiteX2" fmla="*/ 2251033 w 2842751"/>
                    <a:gd name="connsiteY2" fmla="*/ 2451462 h 3498714"/>
                    <a:gd name="connsiteX3" fmla="*/ 2432008 w 2842751"/>
                    <a:gd name="connsiteY3" fmla="*/ 2270487 h 3498714"/>
                    <a:gd name="connsiteX4" fmla="*/ 2251033 w 2842751"/>
                    <a:gd name="connsiteY4" fmla="*/ 2089512 h 3498714"/>
                    <a:gd name="connsiteX5" fmla="*/ 2842751 w 2842751"/>
                    <a:gd name="connsiteY5" fmla="*/ 1749356 h 3498714"/>
                    <a:gd name="connsiteX6" fmla="*/ 2392797 w 2842751"/>
                    <a:gd name="connsiteY6" fmla="*/ 1878907 h 3498714"/>
                    <a:gd name="connsiteX7" fmla="*/ 2478781 w 2842751"/>
                    <a:gd name="connsiteY7" fmla="*/ 1920808 h 3498714"/>
                    <a:gd name="connsiteX8" fmla="*/ 2842751 w 2842751"/>
                    <a:gd name="connsiteY8" fmla="*/ 1749356 h 3498714"/>
                    <a:gd name="connsiteX9" fmla="*/ 2534724 w 2842751"/>
                    <a:gd name="connsiteY9" fmla="*/ 982297 h 3498714"/>
                    <a:gd name="connsiteX10" fmla="*/ 1970999 w 2842751"/>
                    <a:gd name="connsiteY10" fmla="*/ 2826112 h 3498714"/>
                    <a:gd name="connsiteX11" fmla="*/ 1850348 w 2842751"/>
                    <a:gd name="connsiteY11" fmla="*/ 2705462 h 3498714"/>
                    <a:gd name="connsiteX12" fmla="*/ 1956769 w 2842751"/>
                    <a:gd name="connsiteY12" fmla="*/ 2587684 h 3498714"/>
                    <a:gd name="connsiteX13" fmla="*/ 1823360 w 2842751"/>
                    <a:gd name="connsiteY13" fmla="*/ 2279217 h 3498714"/>
                    <a:gd name="connsiteX14" fmla="*/ 2217440 w 2842751"/>
                    <a:gd name="connsiteY14" fmla="*/ 1856216 h 3498714"/>
                    <a:gd name="connsiteX15" fmla="*/ 2534724 w 2842751"/>
                    <a:gd name="connsiteY15" fmla="*/ 982297 h 3498714"/>
                    <a:gd name="connsiteX16" fmla="*/ 358791 w 2842751"/>
                    <a:gd name="connsiteY16" fmla="*/ 644545 h 3498714"/>
                    <a:gd name="connsiteX17" fmla="*/ 1006774 w 2842751"/>
                    <a:gd name="connsiteY17" fmla="*/ 644545 h 3498714"/>
                    <a:gd name="connsiteX18" fmla="*/ 1542636 w 2842751"/>
                    <a:gd name="connsiteY18" fmla="*/ 1193969 h 3498714"/>
                    <a:gd name="connsiteX19" fmla="*/ 1929878 w 2842751"/>
                    <a:gd name="connsiteY19" fmla="*/ 1193970 h 3498714"/>
                    <a:gd name="connsiteX20" fmla="*/ 2070059 w 2842751"/>
                    <a:gd name="connsiteY20" fmla="*/ 1334152 h 3498714"/>
                    <a:gd name="connsiteX21" fmla="*/ 1929878 w 2842751"/>
                    <a:gd name="connsiteY21" fmla="*/ 1474333 h 3498714"/>
                    <a:gd name="connsiteX22" fmla="*/ 1520943 w 2842751"/>
                    <a:gd name="connsiteY22" fmla="*/ 1470388 h 3498714"/>
                    <a:gd name="connsiteX23" fmla="*/ 1332825 w 2842751"/>
                    <a:gd name="connsiteY23" fmla="*/ 1367201 h 3498714"/>
                    <a:gd name="connsiteX24" fmla="*/ 1106501 w 2842751"/>
                    <a:gd name="connsiteY24" fmla="*/ 1098289 h 3498714"/>
                    <a:gd name="connsiteX25" fmla="*/ 1101049 w 2842751"/>
                    <a:gd name="connsiteY25" fmla="*/ 1092836 h 3498714"/>
                    <a:gd name="connsiteX26" fmla="*/ 1046523 w 2842751"/>
                    <a:gd name="connsiteY26" fmla="*/ 1092836 h 3498714"/>
                    <a:gd name="connsiteX27" fmla="*/ 1041071 w 2842751"/>
                    <a:gd name="connsiteY27" fmla="*/ 1098289 h 3498714"/>
                    <a:gd name="connsiteX28" fmla="*/ 1042136 w 2842751"/>
                    <a:gd name="connsiteY28" fmla="*/ 1419754 h 3498714"/>
                    <a:gd name="connsiteX29" fmla="*/ 1042136 w 2842751"/>
                    <a:gd name="connsiteY29" fmla="*/ 3337652 h 3498714"/>
                    <a:gd name="connsiteX30" fmla="*/ 881075 w 2842751"/>
                    <a:gd name="connsiteY30" fmla="*/ 3498714 h 3498714"/>
                    <a:gd name="connsiteX31" fmla="*/ 720012 w 2842751"/>
                    <a:gd name="connsiteY31" fmla="*/ 3337652 h 3498714"/>
                    <a:gd name="connsiteX32" fmla="*/ 720012 w 2842751"/>
                    <a:gd name="connsiteY32" fmla="*/ 2125717 h 3498714"/>
                    <a:gd name="connsiteX33" fmla="*/ 718947 w 2842751"/>
                    <a:gd name="connsiteY33" fmla="*/ 2033194 h 3498714"/>
                    <a:gd name="connsiteX34" fmla="*/ 714162 w 2842751"/>
                    <a:gd name="connsiteY34" fmla="*/ 2028410 h 3498714"/>
                    <a:gd name="connsiteX35" fmla="*/ 654759 w 2842751"/>
                    <a:gd name="connsiteY35" fmla="*/ 2028410 h 3498714"/>
                    <a:gd name="connsiteX36" fmla="*/ 649974 w 2842751"/>
                    <a:gd name="connsiteY36" fmla="*/ 2033194 h 3498714"/>
                    <a:gd name="connsiteX37" fmla="*/ 649974 w 2842751"/>
                    <a:gd name="connsiteY37" fmla="*/ 2125717 h 3498714"/>
                    <a:gd name="connsiteX38" fmla="*/ 649574 w 2842751"/>
                    <a:gd name="connsiteY38" fmla="*/ 3337652 h 3498714"/>
                    <a:gd name="connsiteX39" fmla="*/ 488511 w 2842751"/>
                    <a:gd name="connsiteY39" fmla="*/ 3498714 h 3498714"/>
                    <a:gd name="connsiteX40" fmla="*/ 327450 w 2842751"/>
                    <a:gd name="connsiteY40" fmla="*/ 3337652 h 3498714"/>
                    <a:gd name="connsiteX41" fmla="*/ 327450 w 2842751"/>
                    <a:gd name="connsiteY41" fmla="*/ 1458216 h 3498714"/>
                    <a:gd name="connsiteX42" fmla="*/ 322427 w 2842751"/>
                    <a:gd name="connsiteY42" fmla="*/ 1098205 h 3498714"/>
                    <a:gd name="connsiteX43" fmla="*/ 317058 w 2842751"/>
                    <a:gd name="connsiteY43" fmla="*/ 1092836 h 3498714"/>
                    <a:gd name="connsiteX44" fmla="*/ 263371 w 2842751"/>
                    <a:gd name="connsiteY44" fmla="*/ 1092836 h 3498714"/>
                    <a:gd name="connsiteX45" fmla="*/ 258001 w 2842751"/>
                    <a:gd name="connsiteY45" fmla="*/ 1098205 h 3498714"/>
                    <a:gd name="connsiteX46" fmla="*/ 258001 w 2842751"/>
                    <a:gd name="connsiteY46" fmla="*/ 1444446 h 3498714"/>
                    <a:gd name="connsiteX47" fmla="*/ 257700 w 2842751"/>
                    <a:gd name="connsiteY47" fmla="*/ 1444370 h 3498714"/>
                    <a:gd name="connsiteX48" fmla="*/ 257700 w 2842751"/>
                    <a:gd name="connsiteY48" fmla="*/ 1912573 h 3498714"/>
                    <a:gd name="connsiteX49" fmla="*/ 128850 w 2842751"/>
                    <a:gd name="connsiteY49" fmla="*/ 2041423 h 3498714"/>
                    <a:gd name="connsiteX50" fmla="*/ 0 w 2842751"/>
                    <a:gd name="connsiteY50" fmla="*/ 1912573 h 3498714"/>
                    <a:gd name="connsiteX51" fmla="*/ 0 w 2842751"/>
                    <a:gd name="connsiteY51" fmla="*/ 1101802 h 3498714"/>
                    <a:gd name="connsiteX52" fmla="*/ 0 w 2842751"/>
                    <a:gd name="connsiteY52" fmla="*/ 1003338 h 3498714"/>
                    <a:gd name="connsiteX53" fmla="*/ 0 w 2842751"/>
                    <a:gd name="connsiteY53" fmla="*/ 982486 h 3498714"/>
                    <a:gd name="connsiteX54" fmla="*/ 12733 w 2842751"/>
                    <a:gd name="connsiteY54" fmla="*/ 894663 h 3498714"/>
                    <a:gd name="connsiteX55" fmla="*/ 20539 w 2842751"/>
                    <a:gd name="connsiteY55" fmla="*/ 868773 h 3498714"/>
                    <a:gd name="connsiteX56" fmla="*/ 358791 w 2842751"/>
                    <a:gd name="connsiteY56" fmla="*/ 644545 h 3498714"/>
                    <a:gd name="connsiteX57" fmla="*/ 682782 w 2842751"/>
                    <a:gd name="connsiteY57" fmla="*/ 0 h 3498714"/>
                    <a:gd name="connsiteX58" fmla="*/ 966919 w 2842751"/>
                    <a:gd name="connsiteY58" fmla="*/ 284138 h 3498714"/>
                    <a:gd name="connsiteX59" fmla="*/ 682782 w 2842751"/>
                    <a:gd name="connsiteY59" fmla="*/ 568275 h 3498714"/>
                    <a:gd name="connsiteX60" fmla="*/ 398645 w 2842751"/>
                    <a:gd name="connsiteY60" fmla="*/ 284138 h 3498714"/>
                    <a:gd name="connsiteX61" fmla="*/ 682782 w 2842751"/>
                    <a:gd name="connsiteY61" fmla="*/ 0 h 3498714"/>
                    <a:gd name="connsiteX62" fmla="*/ 2589325 w 2842751"/>
                    <a:gd name="connsiteY62" fmla="*/ 3124562 h 3498714"/>
                    <a:gd name="connsiteX63" fmla="*/ 2589325 w 2842751"/>
                    <a:gd name="connsiteY63" fmla="*/ 3361625 h 3498714"/>
                    <a:gd name="connsiteX64" fmla="*/ 2480313 w 2842751"/>
                    <a:gd name="connsiteY64" fmla="*/ 3470637 h 3498714"/>
                    <a:gd name="connsiteX65" fmla="*/ 2279239 w 2842751"/>
                    <a:gd name="connsiteY65" fmla="*/ 3470637 h 3498714"/>
                    <a:gd name="connsiteX66" fmla="*/ 2170227 w 2842751"/>
                    <a:gd name="connsiteY66" fmla="*/ 3361625 h 3498714"/>
                    <a:gd name="connsiteX67" fmla="*/ 2170227 w 2842751"/>
                    <a:gd name="connsiteY67" fmla="*/ 3124562 h 3498714"/>
                    <a:gd name="connsiteX68" fmla="*/ 2052754 w 2842751"/>
                    <a:gd name="connsiteY68" fmla="*/ 3124562 h 3498714"/>
                    <a:gd name="connsiteX69" fmla="*/ 1941629 w 2842751"/>
                    <a:gd name="connsiteY69" fmla="*/ 3013437 h 3498714"/>
                    <a:gd name="connsiteX70" fmla="*/ 2052754 w 2842751"/>
                    <a:gd name="connsiteY70" fmla="*/ 2902312 h 3498714"/>
                    <a:gd name="connsiteX71" fmla="*/ 682782 w 2842751"/>
                    <a:gd name="connsiteY71" fmla="*/ 0 h 3498714"/>
                    <a:gd name="connsiteX0" fmla="*/ 2251033 w 2842751"/>
                    <a:gd name="connsiteY0" fmla="*/ 2089512 h 3498714"/>
                    <a:gd name="connsiteX1" fmla="*/ 2070058 w 2842751"/>
                    <a:gd name="connsiteY1" fmla="*/ 2270487 h 3498714"/>
                    <a:gd name="connsiteX2" fmla="*/ 2432008 w 2842751"/>
                    <a:gd name="connsiteY2" fmla="*/ 2270487 h 3498714"/>
                    <a:gd name="connsiteX3" fmla="*/ 2251033 w 2842751"/>
                    <a:gd name="connsiteY3" fmla="*/ 2089512 h 3498714"/>
                    <a:gd name="connsiteX4" fmla="*/ 2842751 w 2842751"/>
                    <a:gd name="connsiteY4" fmla="*/ 1749356 h 3498714"/>
                    <a:gd name="connsiteX5" fmla="*/ 2392797 w 2842751"/>
                    <a:gd name="connsiteY5" fmla="*/ 1878907 h 3498714"/>
                    <a:gd name="connsiteX6" fmla="*/ 2478781 w 2842751"/>
                    <a:gd name="connsiteY6" fmla="*/ 1920808 h 3498714"/>
                    <a:gd name="connsiteX7" fmla="*/ 2842751 w 2842751"/>
                    <a:gd name="connsiteY7" fmla="*/ 1749356 h 3498714"/>
                    <a:gd name="connsiteX8" fmla="*/ 2534724 w 2842751"/>
                    <a:gd name="connsiteY8" fmla="*/ 982297 h 3498714"/>
                    <a:gd name="connsiteX9" fmla="*/ 1970999 w 2842751"/>
                    <a:gd name="connsiteY9" fmla="*/ 2826112 h 3498714"/>
                    <a:gd name="connsiteX10" fmla="*/ 1850348 w 2842751"/>
                    <a:gd name="connsiteY10" fmla="*/ 2705462 h 3498714"/>
                    <a:gd name="connsiteX11" fmla="*/ 1956769 w 2842751"/>
                    <a:gd name="connsiteY11" fmla="*/ 2587684 h 3498714"/>
                    <a:gd name="connsiteX12" fmla="*/ 1823360 w 2842751"/>
                    <a:gd name="connsiteY12" fmla="*/ 2279217 h 3498714"/>
                    <a:gd name="connsiteX13" fmla="*/ 2217440 w 2842751"/>
                    <a:gd name="connsiteY13" fmla="*/ 1856216 h 3498714"/>
                    <a:gd name="connsiteX14" fmla="*/ 2534724 w 2842751"/>
                    <a:gd name="connsiteY14" fmla="*/ 982297 h 3498714"/>
                    <a:gd name="connsiteX15" fmla="*/ 358791 w 2842751"/>
                    <a:gd name="connsiteY15" fmla="*/ 644545 h 3498714"/>
                    <a:gd name="connsiteX16" fmla="*/ 1006774 w 2842751"/>
                    <a:gd name="connsiteY16" fmla="*/ 644545 h 3498714"/>
                    <a:gd name="connsiteX17" fmla="*/ 1542636 w 2842751"/>
                    <a:gd name="connsiteY17" fmla="*/ 1193969 h 3498714"/>
                    <a:gd name="connsiteX18" fmla="*/ 1929878 w 2842751"/>
                    <a:gd name="connsiteY18" fmla="*/ 1193970 h 3498714"/>
                    <a:gd name="connsiteX19" fmla="*/ 2070059 w 2842751"/>
                    <a:gd name="connsiteY19" fmla="*/ 1334152 h 3498714"/>
                    <a:gd name="connsiteX20" fmla="*/ 1929878 w 2842751"/>
                    <a:gd name="connsiteY20" fmla="*/ 1474333 h 3498714"/>
                    <a:gd name="connsiteX21" fmla="*/ 1520943 w 2842751"/>
                    <a:gd name="connsiteY21" fmla="*/ 1470388 h 3498714"/>
                    <a:gd name="connsiteX22" fmla="*/ 1332825 w 2842751"/>
                    <a:gd name="connsiteY22" fmla="*/ 1367201 h 3498714"/>
                    <a:gd name="connsiteX23" fmla="*/ 1106501 w 2842751"/>
                    <a:gd name="connsiteY23" fmla="*/ 1098289 h 3498714"/>
                    <a:gd name="connsiteX24" fmla="*/ 1101049 w 2842751"/>
                    <a:gd name="connsiteY24" fmla="*/ 1092836 h 3498714"/>
                    <a:gd name="connsiteX25" fmla="*/ 1046523 w 2842751"/>
                    <a:gd name="connsiteY25" fmla="*/ 1092836 h 3498714"/>
                    <a:gd name="connsiteX26" fmla="*/ 1041071 w 2842751"/>
                    <a:gd name="connsiteY26" fmla="*/ 1098289 h 3498714"/>
                    <a:gd name="connsiteX27" fmla="*/ 1042136 w 2842751"/>
                    <a:gd name="connsiteY27" fmla="*/ 1419754 h 3498714"/>
                    <a:gd name="connsiteX28" fmla="*/ 1042136 w 2842751"/>
                    <a:gd name="connsiteY28" fmla="*/ 3337652 h 3498714"/>
                    <a:gd name="connsiteX29" fmla="*/ 881075 w 2842751"/>
                    <a:gd name="connsiteY29" fmla="*/ 3498714 h 3498714"/>
                    <a:gd name="connsiteX30" fmla="*/ 720012 w 2842751"/>
                    <a:gd name="connsiteY30" fmla="*/ 3337652 h 3498714"/>
                    <a:gd name="connsiteX31" fmla="*/ 720012 w 2842751"/>
                    <a:gd name="connsiteY31" fmla="*/ 2125717 h 3498714"/>
                    <a:gd name="connsiteX32" fmla="*/ 718947 w 2842751"/>
                    <a:gd name="connsiteY32" fmla="*/ 2033194 h 3498714"/>
                    <a:gd name="connsiteX33" fmla="*/ 714162 w 2842751"/>
                    <a:gd name="connsiteY33" fmla="*/ 2028410 h 3498714"/>
                    <a:gd name="connsiteX34" fmla="*/ 654759 w 2842751"/>
                    <a:gd name="connsiteY34" fmla="*/ 2028410 h 3498714"/>
                    <a:gd name="connsiteX35" fmla="*/ 649974 w 2842751"/>
                    <a:gd name="connsiteY35" fmla="*/ 2033194 h 3498714"/>
                    <a:gd name="connsiteX36" fmla="*/ 649974 w 2842751"/>
                    <a:gd name="connsiteY36" fmla="*/ 2125717 h 3498714"/>
                    <a:gd name="connsiteX37" fmla="*/ 649574 w 2842751"/>
                    <a:gd name="connsiteY37" fmla="*/ 3337652 h 3498714"/>
                    <a:gd name="connsiteX38" fmla="*/ 488511 w 2842751"/>
                    <a:gd name="connsiteY38" fmla="*/ 3498714 h 3498714"/>
                    <a:gd name="connsiteX39" fmla="*/ 327450 w 2842751"/>
                    <a:gd name="connsiteY39" fmla="*/ 3337652 h 3498714"/>
                    <a:gd name="connsiteX40" fmla="*/ 327450 w 2842751"/>
                    <a:gd name="connsiteY40" fmla="*/ 1458216 h 3498714"/>
                    <a:gd name="connsiteX41" fmla="*/ 322427 w 2842751"/>
                    <a:gd name="connsiteY41" fmla="*/ 1098205 h 3498714"/>
                    <a:gd name="connsiteX42" fmla="*/ 317058 w 2842751"/>
                    <a:gd name="connsiteY42" fmla="*/ 1092836 h 3498714"/>
                    <a:gd name="connsiteX43" fmla="*/ 263371 w 2842751"/>
                    <a:gd name="connsiteY43" fmla="*/ 1092836 h 3498714"/>
                    <a:gd name="connsiteX44" fmla="*/ 258001 w 2842751"/>
                    <a:gd name="connsiteY44" fmla="*/ 1098205 h 3498714"/>
                    <a:gd name="connsiteX45" fmla="*/ 258001 w 2842751"/>
                    <a:gd name="connsiteY45" fmla="*/ 1444446 h 3498714"/>
                    <a:gd name="connsiteX46" fmla="*/ 257700 w 2842751"/>
                    <a:gd name="connsiteY46" fmla="*/ 1444370 h 3498714"/>
                    <a:gd name="connsiteX47" fmla="*/ 257700 w 2842751"/>
                    <a:gd name="connsiteY47" fmla="*/ 1912573 h 3498714"/>
                    <a:gd name="connsiteX48" fmla="*/ 128850 w 2842751"/>
                    <a:gd name="connsiteY48" fmla="*/ 2041423 h 3498714"/>
                    <a:gd name="connsiteX49" fmla="*/ 0 w 2842751"/>
                    <a:gd name="connsiteY49" fmla="*/ 1912573 h 3498714"/>
                    <a:gd name="connsiteX50" fmla="*/ 0 w 2842751"/>
                    <a:gd name="connsiteY50" fmla="*/ 1101802 h 3498714"/>
                    <a:gd name="connsiteX51" fmla="*/ 0 w 2842751"/>
                    <a:gd name="connsiteY51" fmla="*/ 1003338 h 3498714"/>
                    <a:gd name="connsiteX52" fmla="*/ 0 w 2842751"/>
                    <a:gd name="connsiteY52" fmla="*/ 982486 h 3498714"/>
                    <a:gd name="connsiteX53" fmla="*/ 12733 w 2842751"/>
                    <a:gd name="connsiteY53" fmla="*/ 894663 h 3498714"/>
                    <a:gd name="connsiteX54" fmla="*/ 20539 w 2842751"/>
                    <a:gd name="connsiteY54" fmla="*/ 868773 h 3498714"/>
                    <a:gd name="connsiteX55" fmla="*/ 358791 w 2842751"/>
                    <a:gd name="connsiteY55" fmla="*/ 644545 h 3498714"/>
                    <a:gd name="connsiteX56" fmla="*/ 682782 w 2842751"/>
                    <a:gd name="connsiteY56" fmla="*/ 0 h 3498714"/>
                    <a:gd name="connsiteX57" fmla="*/ 966919 w 2842751"/>
                    <a:gd name="connsiteY57" fmla="*/ 284138 h 3498714"/>
                    <a:gd name="connsiteX58" fmla="*/ 682782 w 2842751"/>
                    <a:gd name="connsiteY58" fmla="*/ 568275 h 3498714"/>
                    <a:gd name="connsiteX59" fmla="*/ 398645 w 2842751"/>
                    <a:gd name="connsiteY59" fmla="*/ 284138 h 3498714"/>
                    <a:gd name="connsiteX60" fmla="*/ 682782 w 2842751"/>
                    <a:gd name="connsiteY60" fmla="*/ 0 h 3498714"/>
                    <a:gd name="connsiteX61" fmla="*/ 2589325 w 2842751"/>
                    <a:gd name="connsiteY61" fmla="*/ 3124562 h 3498714"/>
                    <a:gd name="connsiteX62" fmla="*/ 2589325 w 2842751"/>
                    <a:gd name="connsiteY62" fmla="*/ 3361625 h 3498714"/>
                    <a:gd name="connsiteX63" fmla="*/ 2480313 w 2842751"/>
                    <a:gd name="connsiteY63" fmla="*/ 3470637 h 3498714"/>
                    <a:gd name="connsiteX64" fmla="*/ 2279239 w 2842751"/>
                    <a:gd name="connsiteY64" fmla="*/ 3470637 h 3498714"/>
                    <a:gd name="connsiteX65" fmla="*/ 2170227 w 2842751"/>
                    <a:gd name="connsiteY65" fmla="*/ 3361625 h 3498714"/>
                    <a:gd name="connsiteX66" fmla="*/ 2170227 w 2842751"/>
                    <a:gd name="connsiteY66" fmla="*/ 3124562 h 3498714"/>
                    <a:gd name="connsiteX67" fmla="*/ 2052754 w 2842751"/>
                    <a:gd name="connsiteY67" fmla="*/ 3124562 h 3498714"/>
                    <a:gd name="connsiteX68" fmla="*/ 1941629 w 2842751"/>
                    <a:gd name="connsiteY68" fmla="*/ 3013437 h 3498714"/>
                    <a:gd name="connsiteX69" fmla="*/ 2052754 w 2842751"/>
                    <a:gd name="connsiteY69" fmla="*/ 2902312 h 3498714"/>
                    <a:gd name="connsiteX70" fmla="*/ 682782 w 2842751"/>
                    <a:gd name="connsiteY70"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70999 w 2842751"/>
                    <a:gd name="connsiteY8" fmla="*/ 2826112 h 3498714"/>
                    <a:gd name="connsiteX9" fmla="*/ 1850348 w 2842751"/>
                    <a:gd name="connsiteY9" fmla="*/ 2705462 h 3498714"/>
                    <a:gd name="connsiteX10" fmla="*/ 1956769 w 2842751"/>
                    <a:gd name="connsiteY10" fmla="*/ 2587684 h 3498714"/>
                    <a:gd name="connsiteX11" fmla="*/ 1823360 w 2842751"/>
                    <a:gd name="connsiteY11" fmla="*/ 2279217 h 3498714"/>
                    <a:gd name="connsiteX12" fmla="*/ 2217440 w 2842751"/>
                    <a:gd name="connsiteY12" fmla="*/ 1856216 h 3498714"/>
                    <a:gd name="connsiteX13" fmla="*/ 2534724 w 2842751"/>
                    <a:gd name="connsiteY13" fmla="*/ 982297 h 3498714"/>
                    <a:gd name="connsiteX14" fmla="*/ 358791 w 2842751"/>
                    <a:gd name="connsiteY14" fmla="*/ 644545 h 3498714"/>
                    <a:gd name="connsiteX15" fmla="*/ 1006774 w 2842751"/>
                    <a:gd name="connsiteY15" fmla="*/ 644545 h 3498714"/>
                    <a:gd name="connsiteX16" fmla="*/ 1542636 w 2842751"/>
                    <a:gd name="connsiteY16" fmla="*/ 1193969 h 3498714"/>
                    <a:gd name="connsiteX17" fmla="*/ 1929878 w 2842751"/>
                    <a:gd name="connsiteY17" fmla="*/ 1193970 h 3498714"/>
                    <a:gd name="connsiteX18" fmla="*/ 2070059 w 2842751"/>
                    <a:gd name="connsiteY18" fmla="*/ 1334152 h 3498714"/>
                    <a:gd name="connsiteX19" fmla="*/ 1929878 w 2842751"/>
                    <a:gd name="connsiteY19" fmla="*/ 1474333 h 3498714"/>
                    <a:gd name="connsiteX20" fmla="*/ 1520943 w 2842751"/>
                    <a:gd name="connsiteY20" fmla="*/ 1470388 h 3498714"/>
                    <a:gd name="connsiteX21" fmla="*/ 1332825 w 2842751"/>
                    <a:gd name="connsiteY21" fmla="*/ 1367201 h 3498714"/>
                    <a:gd name="connsiteX22" fmla="*/ 1106501 w 2842751"/>
                    <a:gd name="connsiteY22" fmla="*/ 1098289 h 3498714"/>
                    <a:gd name="connsiteX23" fmla="*/ 1101049 w 2842751"/>
                    <a:gd name="connsiteY23" fmla="*/ 1092836 h 3498714"/>
                    <a:gd name="connsiteX24" fmla="*/ 1046523 w 2842751"/>
                    <a:gd name="connsiteY24" fmla="*/ 1092836 h 3498714"/>
                    <a:gd name="connsiteX25" fmla="*/ 1041071 w 2842751"/>
                    <a:gd name="connsiteY25" fmla="*/ 1098289 h 3498714"/>
                    <a:gd name="connsiteX26" fmla="*/ 1042136 w 2842751"/>
                    <a:gd name="connsiteY26" fmla="*/ 1419754 h 3498714"/>
                    <a:gd name="connsiteX27" fmla="*/ 1042136 w 2842751"/>
                    <a:gd name="connsiteY27" fmla="*/ 3337652 h 3498714"/>
                    <a:gd name="connsiteX28" fmla="*/ 881075 w 2842751"/>
                    <a:gd name="connsiteY28" fmla="*/ 3498714 h 3498714"/>
                    <a:gd name="connsiteX29" fmla="*/ 720012 w 2842751"/>
                    <a:gd name="connsiteY29" fmla="*/ 3337652 h 3498714"/>
                    <a:gd name="connsiteX30" fmla="*/ 720012 w 2842751"/>
                    <a:gd name="connsiteY30" fmla="*/ 2125717 h 3498714"/>
                    <a:gd name="connsiteX31" fmla="*/ 718947 w 2842751"/>
                    <a:gd name="connsiteY31" fmla="*/ 2033194 h 3498714"/>
                    <a:gd name="connsiteX32" fmla="*/ 714162 w 2842751"/>
                    <a:gd name="connsiteY32" fmla="*/ 2028410 h 3498714"/>
                    <a:gd name="connsiteX33" fmla="*/ 654759 w 2842751"/>
                    <a:gd name="connsiteY33" fmla="*/ 2028410 h 3498714"/>
                    <a:gd name="connsiteX34" fmla="*/ 649974 w 2842751"/>
                    <a:gd name="connsiteY34" fmla="*/ 2033194 h 3498714"/>
                    <a:gd name="connsiteX35" fmla="*/ 649974 w 2842751"/>
                    <a:gd name="connsiteY35" fmla="*/ 2125717 h 3498714"/>
                    <a:gd name="connsiteX36" fmla="*/ 649574 w 2842751"/>
                    <a:gd name="connsiteY36" fmla="*/ 3337652 h 3498714"/>
                    <a:gd name="connsiteX37" fmla="*/ 488511 w 2842751"/>
                    <a:gd name="connsiteY37" fmla="*/ 3498714 h 3498714"/>
                    <a:gd name="connsiteX38" fmla="*/ 327450 w 2842751"/>
                    <a:gd name="connsiteY38" fmla="*/ 3337652 h 3498714"/>
                    <a:gd name="connsiteX39" fmla="*/ 327450 w 2842751"/>
                    <a:gd name="connsiteY39" fmla="*/ 1458216 h 3498714"/>
                    <a:gd name="connsiteX40" fmla="*/ 322427 w 2842751"/>
                    <a:gd name="connsiteY40" fmla="*/ 1098205 h 3498714"/>
                    <a:gd name="connsiteX41" fmla="*/ 317058 w 2842751"/>
                    <a:gd name="connsiteY41" fmla="*/ 1092836 h 3498714"/>
                    <a:gd name="connsiteX42" fmla="*/ 263371 w 2842751"/>
                    <a:gd name="connsiteY42" fmla="*/ 1092836 h 3498714"/>
                    <a:gd name="connsiteX43" fmla="*/ 258001 w 2842751"/>
                    <a:gd name="connsiteY43" fmla="*/ 1098205 h 3498714"/>
                    <a:gd name="connsiteX44" fmla="*/ 258001 w 2842751"/>
                    <a:gd name="connsiteY44" fmla="*/ 1444446 h 3498714"/>
                    <a:gd name="connsiteX45" fmla="*/ 257700 w 2842751"/>
                    <a:gd name="connsiteY45" fmla="*/ 1444370 h 3498714"/>
                    <a:gd name="connsiteX46" fmla="*/ 257700 w 2842751"/>
                    <a:gd name="connsiteY46" fmla="*/ 1912573 h 3498714"/>
                    <a:gd name="connsiteX47" fmla="*/ 128850 w 2842751"/>
                    <a:gd name="connsiteY47" fmla="*/ 2041423 h 3498714"/>
                    <a:gd name="connsiteX48" fmla="*/ 0 w 2842751"/>
                    <a:gd name="connsiteY48" fmla="*/ 1912573 h 3498714"/>
                    <a:gd name="connsiteX49" fmla="*/ 0 w 2842751"/>
                    <a:gd name="connsiteY49" fmla="*/ 1101802 h 3498714"/>
                    <a:gd name="connsiteX50" fmla="*/ 0 w 2842751"/>
                    <a:gd name="connsiteY50" fmla="*/ 1003338 h 3498714"/>
                    <a:gd name="connsiteX51" fmla="*/ 0 w 2842751"/>
                    <a:gd name="connsiteY51" fmla="*/ 982486 h 3498714"/>
                    <a:gd name="connsiteX52" fmla="*/ 12733 w 2842751"/>
                    <a:gd name="connsiteY52" fmla="*/ 894663 h 3498714"/>
                    <a:gd name="connsiteX53" fmla="*/ 20539 w 2842751"/>
                    <a:gd name="connsiteY53" fmla="*/ 868773 h 3498714"/>
                    <a:gd name="connsiteX54" fmla="*/ 358791 w 2842751"/>
                    <a:gd name="connsiteY54" fmla="*/ 644545 h 3498714"/>
                    <a:gd name="connsiteX55" fmla="*/ 682782 w 2842751"/>
                    <a:gd name="connsiteY55" fmla="*/ 0 h 3498714"/>
                    <a:gd name="connsiteX56" fmla="*/ 966919 w 2842751"/>
                    <a:gd name="connsiteY56" fmla="*/ 284138 h 3498714"/>
                    <a:gd name="connsiteX57" fmla="*/ 682782 w 2842751"/>
                    <a:gd name="connsiteY57" fmla="*/ 568275 h 3498714"/>
                    <a:gd name="connsiteX58" fmla="*/ 398645 w 2842751"/>
                    <a:gd name="connsiteY58" fmla="*/ 284138 h 3498714"/>
                    <a:gd name="connsiteX59" fmla="*/ 682782 w 2842751"/>
                    <a:gd name="connsiteY59" fmla="*/ 0 h 3498714"/>
                    <a:gd name="connsiteX60" fmla="*/ 2589325 w 2842751"/>
                    <a:gd name="connsiteY60" fmla="*/ 3124562 h 3498714"/>
                    <a:gd name="connsiteX61" fmla="*/ 2589325 w 2842751"/>
                    <a:gd name="connsiteY61" fmla="*/ 3361625 h 3498714"/>
                    <a:gd name="connsiteX62" fmla="*/ 2480313 w 2842751"/>
                    <a:gd name="connsiteY62" fmla="*/ 3470637 h 3498714"/>
                    <a:gd name="connsiteX63" fmla="*/ 2279239 w 2842751"/>
                    <a:gd name="connsiteY63" fmla="*/ 3470637 h 3498714"/>
                    <a:gd name="connsiteX64" fmla="*/ 2170227 w 2842751"/>
                    <a:gd name="connsiteY64" fmla="*/ 3361625 h 3498714"/>
                    <a:gd name="connsiteX65" fmla="*/ 2170227 w 2842751"/>
                    <a:gd name="connsiteY65" fmla="*/ 3124562 h 3498714"/>
                    <a:gd name="connsiteX66" fmla="*/ 2052754 w 2842751"/>
                    <a:gd name="connsiteY66" fmla="*/ 3124562 h 3498714"/>
                    <a:gd name="connsiteX67" fmla="*/ 1941629 w 2842751"/>
                    <a:gd name="connsiteY67" fmla="*/ 3013437 h 3498714"/>
                    <a:gd name="connsiteX68" fmla="*/ 2052754 w 2842751"/>
                    <a:gd name="connsiteY68" fmla="*/ 2902312 h 3498714"/>
                    <a:gd name="connsiteX69" fmla="*/ 682782 w 2842751"/>
                    <a:gd name="connsiteY69"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50348 w 2842751"/>
                    <a:gd name="connsiteY8" fmla="*/ 2705462 h 3498714"/>
                    <a:gd name="connsiteX9" fmla="*/ 1956769 w 2842751"/>
                    <a:gd name="connsiteY9" fmla="*/ 2587684 h 3498714"/>
                    <a:gd name="connsiteX10" fmla="*/ 1823360 w 2842751"/>
                    <a:gd name="connsiteY10" fmla="*/ 2279217 h 3498714"/>
                    <a:gd name="connsiteX11" fmla="*/ 2217440 w 2842751"/>
                    <a:gd name="connsiteY11" fmla="*/ 1856216 h 3498714"/>
                    <a:gd name="connsiteX12" fmla="*/ 2534724 w 2842751"/>
                    <a:gd name="connsiteY12" fmla="*/ 982297 h 3498714"/>
                    <a:gd name="connsiteX13" fmla="*/ 358791 w 2842751"/>
                    <a:gd name="connsiteY13" fmla="*/ 644545 h 3498714"/>
                    <a:gd name="connsiteX14" fmla="*/ 1006774 w 2842751"/>
                    <a:gd name="connsiteY14" fmla="*/ 644545 h 3498714"/>
                    <a:gd name="connsiteX15" fmla="*/ 1542636 w 2842751"/>
                    <a:gd name="connsiteY15" fmla="*/ 1193969 h 3498714"/>
                    <a:gd name="connsiteX16" fmla="*/ 1929878 w 2842751"/>
                    <a:gd name="connsiteY16" fmla="*/ 1193970 h 3498714"/>
                    <a:gd name="connsiteX17" fmla="*/ 2070059 w 2842751"/>
                    <a:gd name="connsiteY17" fmla="*/ 1334152 h 3498714"/>
                    <a:gd name="connsiteX18" fmla="*/ 1929878 w 2842751"/>
                    <a:gd name="connsiteY18" fmla="*/ 1474333 h 3498714"/>
                    <a:gd name="connsiteX19" fmla="*/ 1520943 w 2842751"/>
                    <a:gd name="connsiteY19" fmla="*/ 1470388 h 3498714"/>
                    <a:gd name="connsiteX20" fmla="*/ 1332825 w 2842751"/>
                    <a:gd name="connsiteY20" fmla="*/ 1367201 h 3498714"/>
                    <a:gd name="connsiteX21" fmla="*/ 1106501 w 2842751"/>
                    <a:gd name="connsiteY21" fmla="*/ 1098289 h 3498714"/>
                    <a:gd name="connsiteX22" fmla="*/ 1101049 w 2842751"/>
                    <a:gd name="connsiteY22" fmla="*/ 1092836 h 3498714"/>
                    <a:gd name="connsiteX23" fmla="*/ 1046523 w 2842751"/>
                    <a:gd name="connsiteY23" fmla="*/ 1092836 h 3498714"/>
                    <a:gd name="connsiteX24" fmla="*/ 1041071 w 2842751"/>
                    <a:gd name="connsiteY24" fmla="*/ 1098289 h 3498714"/>
                    <a:gd name="connsiteX25" fmla="*/ 1042136 w 2842751"/>
                    <a:gd name="connsiteY25" fmla="*/ 1419754 h 3498714"/>
                    <a:gd name="connsiteX26" fmla="*/ 1042136 w 2842751"/>
                    <a:gd name="connsiteY26" fmla="*/ 3337652 h 3498714"/>
                    <a:gd name="connsiteX27" fmla="*/ 881075 w 2842751"/>
                    <a:gd name="connsiteY27" fmla="*/ 3498714 h 3498714"/>
                    <a:gd name="connsiteX28" fmla="*/ 720012 w 2842751"/>
                    <a:gd name="connsiteY28" fmla="*/ 3337652 h 3498714"/>
                    <a:gd name="connsiteX29" fmla="*/ 720012 w 2842751"/>
                    <a:gd name="connsiteY29" fmla="*/ 2125717 h 3498714"/>
                    <a:gd name="connsiteX30" fmla="*/ 718947 w 2842751"/>
                    <a:gd name="connsiteY30" fmla="*/ 2033194 h 3498714"/>
                    <a:gd name="connsiteX31" fmla="*/ 714162 w 2842751"/>
                    <a:gd name="connsiteY31" fmla="*/ 2028410 h 3498714"/>
                    <a:gd name="connsiteX32" fmla="*/ 654759 w 2842751"/>
                    <a:gd name="connsiteY32" fmla="*/ 2028410 h 3498714"/>
                    <a:gd name="connsiteX33" fmla="*/ 649974 w 2842751"/>
                    <a:gd name="connsiteY33" fmla="*/ 2033194 h 3498714"/>
                    <a:gd name="connsiteX34" fmla="*/ 649974 w 2842751"/>
                    <a:gd name="connsiteY34" fmla="*/ 2125717 h 3498714"/>
                    <a:gd name="connsiteX35" fmla="*/ 649574 w 2842751"/>
                    <a:gd name="connsiteY35" fmla="*/ 3337652 h 3498714"/>
                    <a:gd name="connsiteX36" fmla="*/ 488511 w 2842751"/>
                    <a:gd name="connsiteY36" fmla="*/ 3498714 h 3498714"/>
                    <a:gd name="connsiteX37" fmla="*/ 327450 w 2842751"/>
                    <a:gd name="connsiteY37" fmla="*/ 3337652 h 3498714"/>
                    <a:gd name="connsiteX38" fmla="*/ 327450 w 2842751"/>
                    <a:gd name="connsiteY38" fmla="*/ 1458216 h 3498714"/>
                    <a:gd name="connsiteX39" fmla="*/ 322427 w 2842751"/>
                    <a:gd name="connsiteY39" fmla="*/ 1098205 h 3498714"/>
                    <a:gd name="connsiteX40" fmla="*/ 317058 w 2842751"/>
                    <a:gd name="connsiteY40" fmla="*/ 1092836 h 3498714"/>
                    <a:gd name="connsiteX41" fmla="*/ 263371 w 2842751"/>
                    <a:gd name="connsiteY41" fmla="*/ 1092836 h 3498714"/>
                    <a:gd name="connsiteX42" fmla="*/ 258001 w 2842751"/>
                    <a:gd name="connsiteY42" fmla="*/ 1098205 h 3498714"/>
                    <a:gd name="connsiteX43" fmla="*/ 258001 w 2842751"/>
                    <a:gd name="connsiteY43" fmla="*/ 1444446 h 3498714"/>
                    <a:gd name="connsiteX44" fmla="*/ 257700 w 2842751"/>
                    <a:gd name="connsiteY44" fmla="*/ 1444370 h 3498714"/>
                    <a:gd name="connsiteX45" fmla="*/ 257700 w 2842751"/>
                    <a:gd name="connsiteY45" fmla="*/ 1912573 h 3498714"/>
                    <a:gd name="connsiteX46" fmla="*/ 128850 w 2842751"/>
                    <a:gd name="connsiteY46" fmla="*/ 2041423 h 3498714"/>
                    <a:gd name="connsiteX47" fmla="*/ 0 w 2842751"/>
                    <a:gd name="connsiteY47" fmla="*/ 1912573 h 3498714"/>
                    <a:gd name="connsiteX48" fmla="*/ 0 w 2842751"/>
                    <a:gd name="connsiteY48" fmla="*/ 1101802 h 3498714"/>
                    <a:gd name="connsiteX49" fmla="*/ 0 w 2842751"/>
                    <a:gd name="connsiteY49" fmla="*/ 1003338 h 3498714"/>
                    <a:gd name="connsiteX50" fmla="*/ 0 w 2842751"/>
                    <a:gd name="connsiteY50" fmla="*/ 982486 h 3498714"/>
                    <a:gd name="connsiteX51" fmla="*/ 12733 w 2842751"/>
                    <a:gd name="connsiteY51" fmla="*/ 894663 h 3498714"/>
                    <a:gd name="connsiteX52" fmla="*/ 20539 w 2842751"/>
                    <a:gd name="connsiteY52" fmla="*/ 868773 h 3498714"/>
                    <a:gd name="connsiteX53" fmla="*/ 358791 w 2842751"/>
                    <a:gd name="connsiteY53" fmla="*/ 644545 h 3498714"/>
                    <a:gd name="connsiteX54" fmla="*/ 682782 w 2842751"/>
                    <a:gd name="connsiteY54" fmla="*/ 0 h 3498714"/>
                    <a:gd name="connsiteX55" fmla="*/ 966919 w 2842751"/>
                    <a:gd name="connsiteY55" fmla="*/ 284138 h 3498714"/>
                    <a:gd name="connsiteX56" fmla="*/ 682782 w 2842751"/>
                    <a:gd name="connsiteY56" fmla="*/ 568275 h 3498714"/>
                    <a:gd name="connsiteX57" fmla="*/ 398645 w 2842751"/>
                    <a:gd name="connsiteY57" fmla="*/ 284138 h 3498714"/>
                    <a:gd name="connsiteX58" fmla="*/ 682782 w 2842751"/>
                    <a:gd name="connsiteY58" fmla="*/ 0 h 3498714"/>
                    <a:gd name="connsiteX59" fmla="*/ 2589325 w 2842751"/>
                    <a:gd name="connsiteY59" fmla="*/ 3124562 h 3498714"/>
                    <a:gd name="connsiteX60" fmla="*/ 2589325 w 2842751"/>
                    <a:gd name="connsiteY60" fmla="*/ 3361625 h 3498714"/>
                    <a:gd name="connsiteX61" fmla="*/ 2480313 w 2842751"/>
                    <a:gd name="connsiteY61" fmla="*/ 3470637 h 3498714"/>
                    <a:gd name="connsiteX62" fmla="*/ 2279239 w 2842751"/>
                    <a:gd name="connsiteY62" fmla="*/ 3470637 h 3498714"/>
                    <a:gd name="connsiteX63" fmla="*/ 2170227 w 2842751"/>
                    <a:gd name="connsiteY63" fmla="*/ 3361625 h 3498714"/>
                    <a:gd name="connsiteX64" fmla="*/ 2170227 w 2842751"/>
                    <a:gd name="connsiteY64" fmla="*/ 3124562 h 3498714"/>
                    <a:gd name="connsiteX65" fmla="*/ 2052754 w 2842751"/>
                    <a:gd name="connsiteY65" fmla="*/ 3124562 h 3498714"/>
                    <a:gd name="connsiteX66" fmla="*/ 1941629 w 2842751"/>
                    <a:gd name="connsiteY66" fmla="*/ 3013437 h 3498714"/>
                    <a:gd name="connsiteX67" fmla="*/ 2052754 w 2842751"/>
                    <a:gd name="connsiteY67" fmla="*/ 2902312 h 3498714"/>
                    <a:gd name="connsiteX68" fmla="*/ 682782 w 2842751"/>
                    <a:gd name="connsiteY68"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956769 w 2842751"/>
                    <a:gd name="connsiteY8" fmla="*/ 2587684 h 3498714"/>
                    <a:gd name="connsiteX9" fmla="*/ 1823360 w 2842751"/>
                    <a:gd name="connsiteY9" fmla="*/ 2279217 h 3498714"/>
                    <a:gd name="connsiteX10" fmla="*/ 2217440 w 2842751"/>
                    <a:gd name="connsiteY10" fmla="*/ 1856216 h 3498714"/>
                    <a:gd name="connsiteX11" fmla="*/ 2534724 w 2842751"/>
                    <a:gd name="connsiteY11" fmla="*/ 982297 h 3498714"/>
                    <a:gd name="connsiteX12" fmla="*/ 358791 w 2842751"/>
                    <a:gd name="connsiteY12" fmla="*/ 644545 h 3498714"/>
                    <a:gd name="connsiteX13" fmla="*/ 1006774 w 2842751"/>
                    <a:gd name="connsiteY13" fmla="*/ 644545 h 3498714"/>
                    <a:gd name="connsiteX14" fmla="*/ 1542636 w 2842751"/>
                    <a:gd name="connsiteY14" fmla="*/ 1193969 h 3498714"/>
                    <a:gd name="connsiteX15" fmla="*/ 1929878 w 2842751"/>
                    <a:gd name="connsiteY15" fmla="*/ 1193970 h 3498714"/>
                    <a:gd name="connsiteX16" fmla="*/ 2070059 w 2842751"/>
                    <a:gd name="connsiteY16" fmla="*/ 1334152 h 3498714"/>
                    <a:gd name="connsiteX17" fmla="*/ 1929878 w 2842751"/>
                    <a:gd name="connsiteY17" fmla="*/ 1474333 h 3498714"/>
                    <a:gd name="connsiteX18" fmla="*/ 1520943 w 2842751"/>
                    <a:gd name="connsiteY18" fmla="*/ 1470388 h 3498714"/>
                    <a:gd name="connsiteX19" fmla="*/ 1332825 w 2842751"/>
                    <a:gd name="connsiteY19" fmla="*/ 1367201 h 3498714"/>
                    <a:gd name="connsiteX20" fmla="*/ 1106501 w 2842751"/>
                    <a:gd name="connsiteY20" fmla="*/ 1098289 h 3498714"/>
                    <a:gd name="connsiteX21" fmla="*/ 1101049 w 2842751"/>
                    <a:gd name="connsiteY21" fmla="*/ 1092836 h 3498714"/>
                    <a:gd name="connsiteX22" fmla="*/ 1046523 w 2842751"/>
                    <a:gd name="connsiteY22" fmla="*/ 1092836 h 3498714"/>
                    <a:gd name="connsiteX23" fmla="*/ 1041071 w 2842751"/>
                    <a:gd name="connsiteY23" fmla="*/ 1098289 h 3498714"/>
                    <a:gd name="connsiteX24" fmla="*/ 1042136 w 2842751"/>
                    <a:gd name="connsiteY24" fmla="*/ 1419754 h 3498714"/>
                    <a:gd name="connsiteX25" fmla="*/ 1042136 w 2842751"/>
                    <a:gd name="connsiteY25" fmla="*/ 3337652 h 3498714"/>
                    <a:gd name="connsiteX26" fmla="*/ 881075 w 2842751"/>
                    <a:gd name="connsiteY26" fmla="*/ 3498714 h 3498714"/>
                    <a:gd name="connsiteX27" fmla="*/ 720012 w 2842751"/>
                    <a:gd name="connsiteY27" fmla="*/ 3337652 h 3498714"/>
                    <a:gd name="connsiteX28" fmla="*/ 720012 w 2842751"/>
                    <a:gd name="connsiteY28" fmla="*/ 2125717 h 3498714"/>
                    <a:gd name="connsiteX29" fmla="*/ 718947 w 2842751"/>
                    <a:gd name="connsiteY29" fmla="*/ 2033194 h 3498714"/>
                    <a:gd name="connsiteX30" fmla="*/ 714162 w 2842751"/>
                    <a:gd name="connsiteY30" fmla="*/ 2028410 h 3498714"/>
                    <a:gd name="connsiteX31" fmla="*/ 654759 w 2842751"/>
                    <a:gd name="connsiteY31" fmla="*/ 2028410 h 3498714"/>
                    <a:gd name="connsiteX32" fmla="*/ 649974 w 2842751"/>
                    <a:gd name="connsiteY32" fmla="*/ 2033194 h 3498714"/>
                    <a:gd name="connsiteX33" fmla="*/ 649974 w 2842751"/>
                    <a:gd name="connsiteY33" fmla="*/ 2125717 h 3498714"/>
                    <a:gd name="connsiteX34" fmla="*/ 649574 w 2842751"/>
                    <a:gd name="connsiteY34" fmla="*/ 3337652 h 3498714"/>
                    <a:gd name="connsiteX35" fmla="*/ 488511 w 2842751"/>
                    <a:gd name="connsiteY35" fmla="*/ 3498714 h 3498714"/>
                    <a:gd name="connsiteX36" fmla="*/ 327450 w 2842751"/>
                    <a:gd name="connsiteY36" fmla="*/ 3337652 h 3498714"/>
                    <a:gd name="connsiteX37" fmla="*/ 327450 w 2842751"/>
                    <a:gd name="connsiteY37" fmla="*/ 1458216 h 3498714"/>
                    <a:gd name="connsiteX38" fmla="*/ 322427 w 2842751"/>
                    <a:gd name="connsiteY38" fmla="*/ 1098205 h 3498714"/>
                    <a:gd name="connsiteX39" fmla="*/ 317058 w 2842751"/>
                    <a:gd name="connsiteY39" fmla="*/ 1092836 h 3498714"/>
                    <a:gd name="connsiteX40" fmla="*/ 263371 w 2842751"/>
                    <a:gd name="connsiteY40" fmla="*/ 1092836 h 3498714"/>
                    <a:gd name="connsiteX41" fmla="*/ 258001 w 2842751"/>
                    <a:gd name="connsiteY41" fmla="*/ 1098205 h 3498714"/>
                    <a:gd name="connsiteX42" fmla="*/ 258001 w 2842751"/>
                    <a:gd name="connsiteY42" fmla="*/ 1444446 h 3498714"/>
                    <a:gd name="connsiteX43" fmla="*/ 257700 w 2842751"/>
                    <a:gd name="connsiteY43" fmla="*/ 1444370 h 3498714"/>
                    <a:gd name="connsiteX44" fmla="*/ 257700 w 2842751"/>
                    <a:gd name="connsiteY44" fmla="*/ 1912573 h 3498714"/>
                    <a:gd name="connsiteX45" fmla="*/ 128850 w 2842751"/>
                    <a:gd name="connsiteY45" fmla="*/ 2041423 h 3498714"/>
                    <a:gd name="connsiteX46" fmla="*/ 0 w 2842751"/>
                    <a:gd name="connsiteY46" fmla="*/ 1912573 h 3498714"/>
                    <a:gd name="connsiteX47" fmla="*/ 0 w 2842751"/>
                    <a:gd name="connsiteY47" fmla="*/ 1101802 h 3498714"/>
                    <a:gd name="connsiteX48" fmla="*/ 0 w 2842751"/>
                    <a:gd name="connsiteY48" fmla="*/ 1003338 h 3498714"/>
                    <a:gd name="connsiteX49" fmla="*/ 0 w 2842751"/>
                    <a:gd name="connsiteY49" fmla="*/ 982486 h 3498714"/>
                    <a:gd name="connsiteX50" fmla="*/ 12733 w 2842751"/>
                    <a:gd name="connsiteY50" fmla="*/ 894663 h 3498714"/>
                    <a:gd name="connsiteX51" fmla="*/ 20539 w 2842751"/>
                    <a:gd name="connsiteY51" fmla="*/ 868773 h 3498714"/>
                    <a:gd name="connsiteX52" fmla="*/ 358791 w 2842751"/>
                    <a:gd name="connsiteY52" fmla="*/ 644545 h 3498714"/>
                    <a:gd name="connsiteX53" fmla="*/ 682782 w 2842751"/>
                    <a:gd name="connsiteY53" fmla="*/ 0 h 3498714"/>
                    <a:gd name="connsiteX54" fmla="*/ 966919 w 2842751"/>
                    <a:gd name="connsiteY54" fmla="*/ 284138 h 3498714"/>
                    <a:gd name="connsiteX55" fmla="*/ 682782 w 2842751"/>
                    <a:gd name="connsiteY55" fmla="*/ 568275 h 3498714"/>
                    <a:gd name="connsiteX56" fmla="*/ 398645 w 2842751"/>
                    <a:gd name="connsiteY56" fmla="*/ 284138 h 3498714"/>
                    <a:gd name="connsiteX57" fmla="*/ 682782 w 2842751"/>
                    <a:gd name="connsiteY57" fmla="*/ 0 h 3498714"/>
                    <a:gd name="connsiteX58" fmla="*/ 2589325 w 2842751"/>
                    <a:gd name="connsiteY58" fmla="*/ 3124562 h 3498714"/>
                    <a:gd name="connsiteX59" fmla="*/ 2589325 w 2842751"/>
                    <a:gd name="connsiteY59" fmla="*/ 3361625 h 3498714"/>
                    <a:gd name="connsiteX60" fmla="*/ 2480313 w 2842751"/>
                    <a:gd name="connsiteY60" fmla="*/ 3470637 h 3498714"/>
                    <a:gd name="connsiteX61" fmla="*/ 2279239 w 2842751"/>
                    <a:gd name="connsiteY61" fmla="*/ 3470637 h 3498714"/>
                    <a:gd name="connsiteX62" fmla="*/ 2170227 w 2842751"/>
                    <a:gd name="connsiteY62" fmla="*/ 3361625 h 3498714"/>
                    <a:gd name="connsiteX63" fmla="*/ 2170227 w 2842751"/>
                    <a:gd name="connsiteY63" fmla="*/ 3124562 h 3498714"/>
                    <a:gd name="connsiteX64" fmla="*/ 2052754 w 2842751"/>
                    <a:gd name="connsiteY64" fmla="*/ 3124562 h 3498714"/>
                    <a:gd name="connsiteX65" fmla="*/ 1941629 w 2842751"/>
                    <a:gd name="connsiteY65" fmla="*/ 3013437 h 3498714"/>
                    <a:gd name="connsiteX66" fmla="*/ 2052754 w 2842751"/>
                    <a:gd name="connsiteY66" fmla="*/ 2902312 h 3498714"/>
                    <a:gd name="connsiteX67" fmla="*/ 682782 w 2842751"/>
                    <a:gd name="connsiteY67"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1823360 w 2842751"/>
                    <a:gd name="connsiteY8" fmla="*/ 2279217 h 3498714"/>
                    <a:gd name="connsiteX9" fmla="*/ 2217440 w 2842751"/>
                    <a:gd name="connsiteY9" fmla="*/ 1856216 h 3498714"/>
                    <a:gd name="connsiteX10" fmla="*/ 2534724 w 2842751"/>
                    <a:gd name="connsiteY10" fmla="*/ 982297 h 3498714"/>
                    <a:gd name="connsiteX11" fmla="*/ 358791 w 2842751"/>
                    <a:gd name="connsiteY11" fmla="*/ 644545 h 3498714"/>
                    <a:gd name="connsiteX12" fmla="*/ 1006774 w 2842751"/>
                    <a:gd name="connsiteY12" fmla="*/ 644545 h 3498714"/>
                    <a:gd name="connsiteX13" fmla="*/ 1542636 w 2842751"/>
                    <a:gd name="connsiteY13" fmla="*/ 1193969 h 3498714"/>
                    <a:gd name="connsiteX14" fmla="*/ 1929878 w 2842751"/>
                    <a:gd name="connsiteY14" fmla="*/ 1193970 h 3498714"/>
                    <a:gd name="connsiteX15" fmla="*/ 2070059 w 2842751"/>
                    <a:gd name="connsiteY15" fmla="*/ 1334152 h 3498714"/>
                    <a:gd name="connsiteX16" fmla="*/ 1929878 w 2842751"/>
                    <a:gd name="connsiteY16" fmla="*/ 1474333 h 3498714"/>
                    <a:gd name="connsiteX17" fmla="*/ 1520943 w 2842751"/>
                    <a:gd name="connsiteY17" fmla="*/ 1470388 h 3498714"/>
                    <a:gd name="connsiteX18" fmla="*/ 1332825 w 2842751"/>
                    <a:gd name="connsiteY18" fmla="*/ 1367201 h 3498714"/>
                    <a:gd name="connsiteX19" fmla="*/ 1106501 w 2842751"/>
                    <a:gd name="connsiteY19" fmla="*/ 1098289 h 3498714"/>
                    <a:gd name="connsiteX20" fmla="*/ 1101049 w 2842751"/>
                    <a:gd name="connsiteY20" fmla="*/ 1092836 h 3498714"/>
                    <a:gd name="connsiteX21" fmla="*/ 1046523 w 2842751"/>
                    <a:gd name="connsiteY21" fmla="*/ 1092836 h 3498714"/>
                    <a:gd name="connsiteX22" fmla="*/ 1041071 w 2842751"/>
                    <a:gd name="connsiteY22" fmla="*/ 1098289 h 3498714"/>
                    <a:gd name="connsiteX23" fmla="*/ 1042136 w 2842751"/>
                    <a:gd name="connsiteY23" fmla="*/ 1419754 h 3498714"/>
                    <a:gd name="connsiteX24" fmla="*/ 1042136 w 2842751"/>
                    <a:gd name="connsiteY24" fmla="*/ 3337652 h 3498714"/>
                    <a:gd name="connsiteX25" fmla="*/ 881075 w 2842751"/>
                    <a:gd name="connsiteY25" fmla="*/ 3498714 h 3498714"/>
                    <a:gd name="connsiteX26" fmla="*/ 720012 w 2842751"/>
                    <a:gd name="connsiteY26" fmla="*/ 3337652 h 3498714"/>
                    <a:gd name="connsiteX27" fmla="*/ 720012 w 2842751"/>
                    <a:gd name="connsiteY27" fmla="*/ 2125717 h 3498714"/>
                    <a:gd name="connsiteX28" fmla="*/ 718947 w 2842751"/>
                    <a:gd name="connsiteY28" fmla="*/ 2033194 h 3498714"/>
                    <a:gd name="connsiteX29" fmla="*/ 714162 w 2842751"/>
                    <a:gd name="connsiteY29" fmla="*/ 2028410 h 3498714"/>
                    <a:gd name="connsiteX30" fmla="*/ 654759 w 2842751"/>
                    <a:gd name="connsiteY30" fmla="*/ 2028410 h 3498714"/>
                    <a:gd name="connsiteX31" fmla="*/ 649974 w 2842751"/>
                    <a:gd name="connsiteY31" fmla="*/ 2033194 h 3498714"/>
                    <a:gd name="connsiteX32" fmla="*/ 649974 w 2842751"/>
                    <a:gd name="connsiteY32" fmla="*/ 2125717 h 3498714"/>
                    <a:gd name="connsiteX33" fmla="*/ 649574 w 2842751"/>
                    <a:gd name="connsiteY33" fmla="*/ 3337652 h 3498714"/>
                    <a:gd name="connsiteX34" fmla="*/ 488511 w 2842751"/>
                    <a:gd name="connsiteY34" fmla="*/ 3498714 h 3498714"/>
                    <a:gd name="connsiteX35" fmla="*/ 327450 w 2842751"/>
                    <a:gd name="connsiteY35" fmla="*/ 3337652 h 3498714"/>
                    <a:gd name="connsiteX36" fmla="*/ 327450 w 2842751"/>
                    <a:gd name="connsiteY36" fmla="*/ 1458216 h 3498714"/>
                    <a:gd name="connsiteX37" fmla="*/ 322427 w 2842751"/>
                    <a:gd name="connsiteY37" fmla="*/ 1098205 h 3498714"/>
                    <a:gd name="connsiteX38" fmla="*/ 317058 w 2842751"/>
                    <a:gd name="connsiteY38" fmla="*/ 1092836 h 3498714"/>
                    <a:gd name="connsiteX39" fmla="*/ 263371 w 2842751"/>
                    <a:gd name="connsiteY39" fmla="*/ 1092836 h 3498714"/>
                    <a:gd name="connsiteX40" fmla="*/ 258001 w 2842751"/>
                    <a:gd name="connsiteY40" fmla="*/ 1098205 h 3498714"/>
                    <a:gd name="connsiteX41" fmla="*/ 258001 w 2842751"/>
                    <a:gd name="connsiteY41" fmla="*/ 1444446 h 3498714"/>
                    <a:gd name="connsiteX42" fmla="*/ 257700 w 2842751"/>
                    <a:gd name="connsiteY42" fmla="*/ 1444370 h 3498714"/>
                    <a:gd name="connsiteX43" fmla="*/ 257700 w 2842751"/>
                    <a:gd name="connsiteY43" fmla="*/ 1912573 h 3498714"/>
                    <a:gd name="connsiteX44" fmla="*/ 128850 w 2842751"/>
                    <a:gd name="connsiteY44" fmla="*/ 2041423 h 3498714"/>
                    <a:gd name="connsiteX45" fmla="*/ 0 w 2842751"/>
                    <a:gd name="connsiteY45" fmla="*/ 1912573 h 3498714"/>
                    <a:gd name="connsiteX46" fmla="*/ 0 w 2842751"/>
                    <a:gd name="connsiteY46" fmla="*/ 1101802 h 3498714"/>
                    <a:gd name="connsiteX47" fmla="*/ 0 w 2842751"/>
                    <a:gd name="connsiteY47" fmla="*/ 1003338 h 3498714"/>
                    <a:gd name="connsiteX48" fmla="*/ 0 w 2842751"/>
                    <a:gd name="connsiteY48" fmla="*/ 982486 h 3498714"/>
                    <a:gd name="connsiteX49" fmla="*/ 12733 w 2842751"/>
                    <a:gd name="connsiteY49" fmla="*/ 894663 h 3498714"/>
                    <a:gd name="connsiteX50" fmla="*/ 20539 w 2842751"/>
                    <a:gd name="connsiteY50" fmla="*/ 868773 h 3498714"/>
                    <a:gd name="connsiteX51" fmla="*/ 358791 w 2842751"/>
                    <a:gd name="connsiteY51" fmla="*/ 644545 h 3498714"/>
                    <a:gd name="connsiteX52" fmla="*/ 682782 w 2842751"/>
                    <a:gd name="connsiteY52" fmla="*/ 0 h 3498714"/>
                    <a:gd name="connsiteX53" fmla="*/ 966919 w 2842751"/>
                    <a:gd name="connsiteY53" fmla="*/ 284138 h 3498714"/>
                    <a:gd name="connsiteX54" fmla="*/ 682782 w 2842751"/>
                    <a:gd name="connsiteY54" fmla="*/ 568275 h 3498714"/>
                    <a:gd name="connsiteX55" fmla="*/ 398645 w 2842751"/>
                    <a:gd name="connsiteY55" fmla="*/ 284138 h 3498714"/>
                    <a:gd name="connsiteX56" fmla="*/ 682782 w 2842751"/>
                    <a:gd name="connsiteY56" fmla="*/ 0 h 3498714"/>
                    <a:gd name="connsiteX57" fmla="*/ 2589325 w 2842751"/>
                    <a:gd name="connsiteY57" fmla="*/ 3124562 h 3498714"/>
                    <a:gd name="connsiteX58" fmla="*/ 2589325 w 2842751"/>
                    <a:gd name="connsiteY58" fmla="*/ 3361625 h 3498714"/>
                    <a:gd name="connsiteX59" fmla="*/ 2480313 w 2842751"/>
                    <a:gd name="connsiteY59" fmla="*/ 3470637 h 3498714"/>
                    <a:gd name="connsiteX60" fmla="*/ 2279239 w 2842751"/>
                    <a:gd name="connsiteY60" fmla="*/ 3470637 h 3498714"/>
                    <a:gd name="connsiteX61" fmla="*/ 2170227 w 2842751"/>
                    <a:gd name="connsiteY61" fmla="*/ 3361625 h 3498714"/>
                    <a:gd name="connsiteX62" fmla="*/ 2170227 w 2842751"/>
                    <a:gd name="connsiteY62" fmla="*/ 3124562 h 3498714"/>
                    <a:gd name="connsiteX63" fmla="*/ 2052754 w 2842751"/>
                    <a:gd name="connsiteY63" fmla="*/ 3124562 h 3498714"/>
                    <a:gd name="connsiteX64" fmla="*/ 1941629 w 2842751"/>
                    <a:gd name="connsiteY64" fmla="*/ 3013437 h 3498714"/>
                    <a:gd name="connsiteX65" fmla="*/ 2052754 w 2842751"/>
                    <a:gd name="connsiteY65" fmla="*/ 2902312 h 3498714"/>
                    <a:gd name="connsiteX66" fmla="*/ 682782 w 2842751"/>
                    <a:gd name="connsiteY66" fmla="*/ 0 h 3498714"/>
                    <a:gd name="connsiteX0" fmla="*/ 2251033 w 2842751"/>
                    <a:gd name="connsiteY0" fmla="*/ 2089512 h 3498714"/>
                    <a:gd name="connsiteX1" fmla="*/ 2070058 w 2842751"/>
                    <a:gd name="connsiteY1" fmla="*/ 2270487 h 3498714"/>
                    <a:gd name="connsiteX2" fmla="*/ 2251033 w 2842751"/>
                    <a:gd name="connsiteY2" fmla="*/ 2089512 h 3498714"/>
                    <a:gd name="connsiteX3" fmla="*/ 2842751 w 2842751"/>
                    <a:gd name="connsiteY3" fmla="*/ 1749356 h 3498714"/>
                    <a:gd name="connsiteX4" fmla="*/ 2392797 w 2842751"/>
                    <a:gd name="connsiteY4" fmla="*/ 1878907 h 3498714"/>
                    <a:gd name="connsiteX5" fmla="*/ 2478781 w 2842751"/>
                    <a:gd name="connsiteY5" fmla="*/ 1920808 h 3498714"/>
                    <a:gd name="connsiteX6" fmla="*/ 2842751 w 2842751"/>
                    <a:gd name="connsiteY6" fmla="*/ 1749356 h 3498714"/>
                    <a:gd name="connsiteX7" fmla="*/ 2534724 w 2842751"/>
                    <a:gd name="connsiteY7" fmla="*/ 982297 h 3498714"/>
                    <a:gd name="connsiteX8" fmla="*/ 2217440 w 2842751"/>
                    <a:gd name="connsiteY8" fmla="*/ 1856216 h 3498714"/>
                    <a:gd name="connsiteX9" fmla="*/ 2534724 w 2842751"/>
                    <a:gd name="connsiteY9" fmla="*/ 982297 h 3498714"/>
                    <a:gd name="connsiteX10" fmla="*/ 358791 w 2842751"/>
                    <a:gd name="connsiteY10" fmla="*/ 644545 h 3498714"/>
                    <a:gd name="connsiteX11" fmla="*/ 1006774 w 2842751"/>
                    <a:gd name="connsiteY11" fmla="*/ 644545 h 3498714"/>
                    <a:gd name="connsiteX12" fmla="*/ 1542636 w 2842751"/>
                    <a:gd name="connsiteY12" fmla="*/ 1193969 h 3498714"/>
                    <a:gd name="connsiteX13" fmla="*/ 1929878 w 2842751"/>
                    <a:gd name="connsiteY13" fmla="*/ 1193970 h 3498714"/>
                    <a:gd name="connsiteX14" fmla="*/ 2070059 w 2842751"/>
                    <a:gd name="connsiteY14" fmla="*/ 1334152 h 3498714"/>
                    <a:gd name="connsiteX15" fmla="*/ 1929878 w 2842751"/>
                    <a:gd name="connsiteY15" fmla="*/ 1474333 h 3498714"/>
                    <a:gd name="connsiteX16" fmla="*/ 1520943 w 2842751"/>
                    <a:gd name="connsiteY16" fmla="*/ 1470388 h 3498714"/>
                    <a:gd name="connsiteX17" fmla="*/ 1332825 w 2842751"/>
                    <a:gd name="connsiteY17" fmla="*/ 1367201 h 3498714"/>
                    <a:gd name="connsiteX18" fmla="*/ 1106501 w 2842751"/>
                    <a:gd name="connsiteY18" fmla="*/ 1098289 h 3498714"/>
                    <a:gd name="connsiteX19" fmla="*/ 1101049 w 2842751"/>
                    <a:gd name="connsiteY19" fmla="*/ 1092836 h 3498714"/>
                    <a:gd name="connsiteX20" fmla="*/ 1046523 w 2842751"/>
                    <a:gd name="connsiteY20" fmla="*/ 1092836 h 3498714"/>
                    <a:gd name="connsiteX21" fmla="*/ 1041071 w 2842751"/>
                    <a:gd name="connsiteY21" fmla="*/ 1098289 h 3498714"/>
                    <a:gd name="connsiteX22" fmla="*/ 1042136 w 2842751"/>
                    <a:gd name="connsiteY22" fmla="*/ 1419754 h 3498714"/>
                    <a:gd name="connsiteX23" fmla="*/ 1042136 w 2842751"/>
                    <a:gd name="connsiteY23" fmla="*/ 3337652 h 3498714"/>
                    <a:gd name="connsiteX24" fmla="*/ 881075 w 2842751"/>
                    <a:gd name="connsiteY24" fmla="*/ 3498714 h 3498714"/>
                    <a:gd name="connsiteX25" fmla="*/ 720012 w 2842751"/>
                    <a:gd name="connsiteY25" fmla="*/ 3337652 h 3498714"/>
                    <a:gd name="connsiteX26" fmla="*/ 720012 w 2842751"/>
                    <a:gd name="connsiteY26" fmla="*/ 2125717 h 3498714"/>
                    <a:gd name="connsiteX27" fmla="*/ 718947 w 2842751"/>
                    <a:gd name="connsiteY27" fmla="*/ 2033194 h 3498714"/>
                    <a:gd name="connsiteX28" fmla="*/ 714162 w 2842751"/>
                    <a:gd name="connsiteY28" fmla="*/ 2028410 h 3498714"/>
                    <a:gd name="connsiteX29" fmla="*/ 654759 w 2842751"/>
                    <a:gd name="connsiteY29" fmla="*/ 2028410 h 3498714"/>
                    <a:gd name="connsiteX30" fmla="*/ 649974 w 2842751"/>
                    <a:gd name="connsiteY30" fmla="*/ 2033194 h 3498714"/>
                    <a:gd name="connsiteX31" fmla="*/ 649974 w 2842751"/>
                    <a:gd name="connsiteY31" fmla="*/ 2125717 h 3498714"/>
                    <a:gd name="connsiteX32" fmla="*/ 649574 w 2842751"/>
                    <a:gd name="connsiteY32" fmla="*/ 3337652 h 3498714"/>
                    <a:gd name="connsiteX33" fmla="*/ 488511 w 2842751"/>
                    <a:gd name="connsiteY33" fmla="*/ 3498714 h 3498714"/>
                    <a:gd name="connsiteX34" fmla="*/ 327450 w 2842751"/>
                    <a:gd name="connsiteY34" fmla="*/ 3337652 h 3498714"/>
                    <a:gd name="connsiteX35" fmla="*/ 327450 w 2842751"/>
                    <a:gd name="connsiteY35" fmla="*/ 1458216 h 3498714"/>
                    <a:gd name="connsiteX36" fmla="*/ 322427 w 2842751"/>
                    <a:gd name="connsiteY36" fmla="*/ 1098205 h 3498714"/>
                    <a:gd name="connsiteX37" fmla="*/ 317058 w 2842751"/>
                    <a:gd name="connsiteY37" fmla="*/ 1092836 h 3498714"/>
                    <a:gd name="connsiteX38" fmla="*/ 263371 w 2842751"/>
                    <a:gd name="connsiteY38" fmla="*/ 1092836 h 3498714"/>
                    <a:gd name="connsiteX39" fmla="*/ 258001 w 2842751"/>
                    <a:gd name="connsiteY39" fmla="*/ 1098205 h 3498714"/>
                    <a:gd name="connsiteX40" fmla="*/ 258001 w 2842751"/>
                    <a:gd name="connsiteY40" fmla="*/ 1444446 h 3498714"/>
                    <a:gd name="connsiteX41" fmla="*/ 257700 w 2842751"/>
                    <a:gd name="connsiteY41" fmla="*/ 1444370 h 3498714"/>
                    <a:gd name="connsiteX42" fmla="*/ 257700 w 2842751"/>
                    <a:gd name="connsiteY42" fmla="*/ 1912573 h 3498714"/>
                    <a:gd name="connsiteX43" fmla="*/ 128850 w 2842751"/>
                    <a:gd name="connsiteY43" fmla="*/ 2041423 h 3498714"/>
                    <a:gd name="connsiteX44" fmla="*/ 0 w 2842751"/>
                    <a:gd name="connsiteY44" fmla="*/ 1912573 h 3498714"/>
                    <a:gd name="connsiteX45" fmla="*/ 0 w 2842751"/>
                    <a:gd name="connsiteY45" fmla="*/ 1101802 h 3498714"/>
                    <a:gd name="connsiteX46" fmla="*/ 0 w 2842751"/>
                    <a:gd name="connsiteY46" fmla="*/ 1003338 h 3498714"/>
                    <a:gd name="connsiteX47" fmla="*/ 0 w 2842751"/>
                    <a:gd name="connsiteY47" fmla="*/ 982486 h 3498714"/>
                    <a:gd name="connsiteX48" fmla="*/ 12733 w 2842751"/>
                    <a:gd name="connsiteY48" fmla="*/ 894663 h 3498714"/>
                    <a:gd name="connsiteX49" fmla="*/ 20539 w 2842751"/>
                    <a:gd name="connsiteY49" fmla="*/ 868773 h 3498714"/>
                    <a:gd name="connsiteX50" fmla="*/ 358791 w 2842751"/>
                    <a:gd name="connsiteY50" fmla="*/ 644545 h 3498714"/>
                    <a:gd name="connsiteX51" fmla="*/ 682782 w 2842751"/>
                    <a:gd name="connsiteY51" fmla="*/ 0 h 3498714"/>
                    <a:gd name="connsiteX52" fmla="*/ 966919 w 2842751"/>
                    <a:gd name="connsiteY52" fmla="*/ 284138 h 3498714"/>
                    <a:gd name="connsiteX53" fmla="*/ 682782 w 2842751"/>
                    <a:gd name="connsiteY53" fmla="*/ 568275 h 3498714"/>
                    <a:gd name="connsiteX54" fmla="*/ 398645 w 2842751"/>
                    <a:gd name="connsiteY54" fmla="*/ 284138 h 3498714"/>
                    <a:gd name="connsiteX55" fmla="*/ 682782 w 2842751"/>
                    <a:gd name="connsiteY55" fmla="*/ 0 h 3498714"/>
                    <a:gd name="connsiteX56" fmla="*/ 2589325 w 2842751"/>
                    <a:gd name="connsiteY56" fmla="*/ 3124562 h 3498714"/>
                    <a:gd name="connsiteX57" fmla="*/ 2589325 w 2842751"/>
                    <a:gd name="connsiteY57" fmla="*/ 3361625 h 3498714"/>
                    <a:gd name="connsiteX58" fmla="*/ 2480313 w 2842751"/>
                    <a:gd name="connsiteY58" fmla="*/ 3470637 h 3498714"/>
                    <a:gd name="connsiteX59" fmla="*/ 2279239 w 2842751"/>
                    <a:gd name="connsiteY59" fmla="*/ 3470637 h 3498714"/>
                    <a:gd name="connsiteX60" fmla="*/ 2170227 w 2842751"/>
                    <a:gd name="connsiteY60" fmla="*/ 3361625 h 3498714"/>
                    <a:gd name="connsiteX61" fmla="*/ 2170227 w 2842751"/>
                    <a:gd name="connsiteY61" fmla="*/ 3124562 h 3498714"/>
                    <a:gd name="connsiteX62" fmla="*/ 2052754 w 2842751"/>
                    <a:gd name="connsiteY62" fmla="*/ 3124562 h 3498714"/>
                    <a:gd name="connsiteX63" fmla="*/ 1941629 w 2842751"/>
                    <a:gd name="connsiteY63" fmla="*/ 3013437 h 3498714"/>
                    <a:gd name="connsiteX64" fmla="*/ 2052754 w 2842751"/>
                    <a:gd name="connsiteY64" fmla="*/ 2902312 h 3498714"/>
                    <a:gd name="connsiteX65" fmla="*/ 682782 w 2842751"/>
                    <a:gd name="connsiteY65"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2534724 w 2842751"/>
                    <a:gd name="connsiteY4" fmla="*/ 982297 h 3498714"/>
                    <a:gd name="connsiteX5" fmla="*/ 2217440 w 2842751"/>
                    <a:gd name="connsiteY5" fmla="*/ 1856216 h 3498714"/>
                    <a:gd name="connsiteX6" fmla="*/ 2534724 w 2842751"/>
                    <a:gd name="connsiteY6" fmla="*/ 982297 h 3498714"/>
                    <a:gd name="connsiteX7" fmla="*/ 358791 w 2842751"/>
                    <a:gd name="connsiteY7" fmla="*/ 644545 h 3498714"/>
                    <a:gd name="connsiteX8" fmla="*/ 1006774 w 2842751"/>
                    <a:gd name="connsiteY8" fmla="*/ 644545 h 3498714"/>
                    <a:gd name="connsiteX9" fmla="*/ 1542636 w 2842751"/>
                    <a:gd name="connsiteY9" fmla="*/ 1193969 h 3498714"/>
                    <a:gd name="connsiteX10" fmla="*/ 1929878 w 2842751"/>
                    <a:gd name="connsiteY10" fmla="*/ 1193970 h 3498714"/>
                    <a:gd name="connsiteX11" fmla="*/ 2070059 w 2842751"/>
                    <a:gd name="connsiteY11" fmla="*/ 1334152 h 3498714"/>
                    <a:gd name="connsiteX12" fmla="*/ 1929878 w 2842751"/>
                    <a:gd name="connsiteY12" fmla="*/ 1474333 h 3498714"/>
                    <a:gd name="connsiteX13" fmla="*/ 1520943 w 2842751"/>
                    <a:gd name="connsiteY13" fmla="*/ 1470388 h 3498714"/>
                    <a:gd name="connsiteX14" fmla="*/ 1332825 w 2842751"/>
                    <a:gd name="connsiteY14" fmla="*/ 1367201 h 3498714"/>
                    <a:gd name="connsiteX15" fmla="*/ 1106501 w 2842751"/>
                    <a:gd name="connsiteY15" fmla="*/ 1098289 h 3498714"/>
                    <a:gd name="connsiteX16" fmla="*/ 1101049 w 2842751"/>
                    <a:gd name="connsiteY16" fmla="*/ 1092836 h 3498714"/>
                    <a:gd name="connsiteX17" fmla="*/ 1046523 w 2842751"/>
                    <a:gd name="connsiteY17" fmla="*/ 1092836 h 3498714"/>
                    <a:gd name="connsiteX18" fmla="*/ 1041071 w 2842751"/>
                    <a:gd name="connsiteY18" fmla="*/ 1098289 h 3498714"/>
                    <a:gd name="connsiteX19" fmla="*/ 1042136 w 2842751"/>
                    <a:gd name="connsiteY19" fmla="*/ 1419754 h 3498714"/>
                    <a:gd name="connsiteX20" fmla="*/ 1042136 w 2842751"/>
                    <a:gd name="connsiteY20" fmla="*/ 3337652 h 3498714"/>
                    <a:gd name="connsiteX21" fmla="*/ 881075 w 2842751"/>
                    <a:gd name="connsiteY21" fmla="*/ 3498714 h 3498714"/>
                    <a:gd name="connsiteX22" fmla="*/ 720012 w 2842751"/>
                    <a:gd name="connsiteY22" fmla="*/ 3337652 h 3498714"/>
                    <a:gd name="connsiteX23" fmla="*/ 720012 w 2842751"/>
                    <a:gd name="connsiteY23" fmla="*/ 2125717 h 3498714"/>
                    <a:gd name="connsiteX24" fmla="*/ 718947 w 2842751"/>
                    <a:gd name="connsiteY24" fmla="*/ 2033194 h 3498714"/>
                    <a:gd name="connsiteX25" fmla="*/ 714162 w 2842751"/>
                    <a:gd name="connsiteY25" fmla="*/ 2028410 h 3498714"/>
                    <a:gd name="connsiteX26" fmla="*/ 654759 w 2842751"/>
                    <a:gd name="connsiteY26" fmla="*/ 2028410 h 3498714"/>
                    <a:gd name="connsiteX27" fmla="*/ 649974 w 2842751"/>
                    <a:gd name="connsiteY27" fmla="*/ 2033194 h 3498714"/>
                    <a:gd name="connsiteX28" fmla="*/ 649974 w 2842751"/>
                    <a:gd name="connsiteY28" fmla="*/ 2125717 h 3498714"/>
                    <a:gd name="connsiteX29" fmla="*/ 649574 w 2842751"/>
                    <a:gd name="connsiteY29" fmla="*/ 3337652 h 3498714"/>
                    <a:gd name="connsiteX30" fmla="*/ 488511 w 2842751"/>
                    <a:gd name="connsiteY30" fmla="*/ 3498714 h 3498714"/>
                    <a:gd name="connsiteX31" fmla="*/ 327450 w 2842751"/>
                    <a:gd name="connsiteY31" fmla="*/ 3337652 h 3498714"/>
                    <a:gd name="connsiteX32" fmla="*/ 327450 w 2842751"/>
                    <a:gd name="connsiteY32" fmla="*/ 1458216 h 3498714"/>
                    <a:gd name="connsiteX33" fmla="*/ 322427 w 2842751"/>
                    <a:gd name="connsiteY33" fmla="*/ 1098205 h 3498714"/>
                    <a:gd name="connsiteX34" fmla="*/ 317058 w 2842751"/>
                    <a:gd name="connsiteY34" fmla="*/ 1092836 h 3498714"/>
                    <a:gd name="connsiteX35" fmla="*/ 263371 w 2842751"/>
                    <a:gd name="connsiteY35" fmla="*/ 1092836 h 3498714"/>
                    <a:gd name="connsiteX36" fmla="*/ 258001 w 2842751"/>
                    <a:gd name="connsiteY36" fmla="*/ 1098205 h 3498714"/>
                    <a:gd name="connsiteX37" fmla="*/ 258001 w 2842751"/>
                    <a:gd name="connsiteY37" fmla="*/ 1444446 h 3498714"/>
                    <a:gd name="connsiteX38" fmla="*/ 257700 w 2842751"/>
                    <a:gd name="connsiteY38" fmla="*/ 1444370 h 3498714"/>
                    <a:gd name="connsiteX39" fmla="*/ 257700 w 2842751"/>
                    <a:gd name="connsiteY39" fmla="*/ 1912573 h 3498714"/>
                    <a:gd name="connsiteX40" fmla="*/ 128850 w 2842751"/>
                    <a:gd name="connsiteY40" fmla="*/ 2041423 h 3498714"/>
                    <a:gd name="connsiteX41" fmla="*/ 0 w 2842751"/>
                    <a:gd name="connsiteY41" fmla="*/ 1912573 h 3498714"/>
                    <a:gd name="connsiteX42" fmla="*/ 0 w 2842751"/>
                    <a:gd name="connsiteY42" fmla="*/ 1101802 h 3498714"/>
                    <a:gd name="connsiteX43" fmla="*/ 0 w 2842751"/>
                    <a:gd name="connsiteY43" fmla="*/ 1003338 h 3498714"/>
                    <a:gd name="connsiteX44" fmla="*/ 0 w 2842751"/>
                    <a:gd name="connsiteY44" fmla="*/ 982486 h 3498714"/>
                    <a:gd name="connsiteX45" fmla="*/ 12733 w 2842751"/>
                    <a:gd name="connsiteY45" fmla="*/ 894663 h 3498714"/>
                    <a:gd name="connsiteX46" fmla="*/ 20539 w 2842751"/>
                    <a:gd name="connsiteY46" fmla="*/ 868773 h 3498714"/>
                    <a:gd name="connsiteX47" fmla="*/ 358791 w 2842751"/>
                    <a:gd name="connsiteY47" fmla="*/ 644545 h 3498714"/>
                    <a:gd name="connsiteX48" fmla="*/ 682782 w 2842751"/>
                    <a:gd name="connsiteY48" fmla="*/ 0 h 3498714"/>
                    <a:gd name="connsiteX49" fmla="*/ 966919 w 2842751"/>
                    <a:gd name="connsiteY49" fmla="*/ 284138 h 3498714"/>
                    <a:gd name="connsiteX50" fmla="*/ 682782 w 2842751"/>
                    <a:gd name="connsiteY50" fmla="*/ 568275 h 3498714"/>
                    <a:gd name="connsiteX51" fmla="*/ 398645 w 2842751"/>
                    <a:gd name="connsiteY51" fmla="*/ 284138 h 3498714"/>
                    <a:gd name="connsiteX52" fmla="*/ 682782 w 2842751"/>
                    <a:gd name="connsiteY52" fmla="*/ 0 h 3498714"/>
                    <a:gd name="connsiteX53" fmla="*/ 2589325 w 2842751"/>
                    <a:gd name="connsiteY53" fmla="*/ 3124562 h 3498714"/>
                    <a:gd name="connsiteX54" fmla="*/ 2589325 w 2842751"/>
                    <a:gd name="connsiteY54" fmla="*/ 3361625 h 3498714"/>
                    <a:gd name="connsiteX55" fmla="*/ 2480313 w 2842751"/>
                    <a:gd name="connsiteY55" fmla="*/ 3470637 h 3498714"/>
                    <a:gd name="connsiteX56" fmla="*/ 2279239 w 2842751"/>
                    <a:gd name="connsiteY56" fmla="*/ 3470637 h 3498714"/>
                    <a:gd name="connsiteX57" fmla="*/ 2170227 w 2842751"/>
                    <a:gd name="connsiteY57" fmla="*/ 3361625 h 3498714"/>
                    <a:gd name="connsiteX58" fmla="*/ 2170227 w 2842751"/>
                    <a:gd name="connsiteY58" fmla="*/ 3124562 h 3498714"/>
                    <a:gd name="connsiteX59" fmla="*/ 2052754 w 2842751"/>
                    <a:gd name="connsiteY59" fmla="*/ 3124562 h 3498714"/>
                    <a:gd name="connsiteX60" fmla="*/ 1941629 w 2842751"/>
                    <a:gd name="connsiteY60" fmla="*/ 3013437 h 3498714"/>
                    <a:gd name="connsiteX61" fmla="*/ 2052754 w 2842751"/>
                    <a:gd name="connsiteY61" fmla="*/ 2902312 h 3498714"/>
                    <a:gd name="connsiteX62" fmla="*/ 682782 w 2842751"/>
                    <a:gd name="connsiteY62" fmla="*/ 0 h 3498714"/>
                    <a:gd name="connsiteX0" fmla="*/ 2842751 w 2842751"/>
                    <a:gd name="connsiteY0" fmla="*/ 1749356 h 3498714"/>
                    <a:gd name="connsiteX1" fmla="*/ 2392797 w 2842751"/>
                    <a:gd name="connsiteY1" fmla="*/ 1878907 h 3498714"/>
                    <a:gd name="connsiteX2" fmla="*/ 2478781 w 2842751"/>
                    <a:gd name="connsiteY2" fmla="*/ 1920808 h 3498714"/>
                    <a:gd name="connsiteX3" fmla="*/ 2842751 w 2842751"/>
                    <a:gd name="connsiteY3" fmla="*/ 1749356 h 3498714"/>
                    <a:gd name="connsiteX4" fmla="*/ 358791 w 2842751"/>
                    <a:gd name="connsiteY4" fmla="*/ 644545 h 3498714"/>
                    <a:gd name="connsiteX5" fmla="*/ 1006774 w 2842751"/>
                    <a:gd name="connsiteY5" fmla="*/ 644545 h 3498714"/>
                    <a:gd name="connsiteX6" fmla="*/ 1542636 w 2842751"/>
                    <a:gd name="connsiteY6" fmla="*/ 1193969 h 3498714"/>
                    <a:gd name="connsiteX7" fmla="*/ 1929878 w 2842751"/>
                    <a:gd name="connsiteY7" fmla="*/ 1193970 h 3498714"/>
                    <a:gd name="connsiteX8" fmla="*/ 2070059 w 2842751"/>
                    <a:gd name="connsiteY8" fmla="*/ 1334152 h 3498714"/>
                    <a:gd name="connsiteX9" fmla="*/ 1929878 w 2842751"/>
                    <a:gd name="connsiteY9" fmla="*/ 1474333 h 3498714"/>
                    <a:gd name="connsiteX10" fmla="*/ 1520943 w 2842751"/>
                    <a:gd name="connsiteY10" fmla="*/ 1470388 h 3498714"/>
                    <a:gd name="connsiteX11" fmla="*/ 1332825 w 2842751"/>
                    <a:gd name="connsiteY11" fmla="*/ 1367201 h 3498714"/>
                    <a:gd name="connsiteX12" fmla="*/ 1106501 w 2842751"/>
                    <a:gd name="connsiteY12" fmla="*/ 1098289 h 3498714"/>
                    <a:gd name="connsiteX13" fmla="*/ 1101049 w 2842751"/>
                    <a:gd name="connsiteY13" fmla="*/ 1092836 h 3498714"/>
                    <a:gd name="connsiteX14" fmla="*/ 1046523 w 2842751"/>
                    <a:gd name="connsiteY14" fmla="*/ 1092836 h 3498714"/>
                    <a:gd name="connsiteX15" fmla="*/ 1041071 w 2842751"/>
                    <a:gd name="connsiteY15" fmla="*/ 1098289 h 3498714"/>
                    <a:gd name="connsiteX16" fmla="*/ 1042136 w 2842751"/>
                    <a:gd name="connsiteY16" fmla="*/ 1419754 h 3498714"/>
                    <a:gd name="connsiteX17" fmla="*/ 1042136 w 2842751"/>
                    <a:gd name="connsiteY17" fmla="*/ 3337652 h 3498714"/>
                    <a:gd name="connsiteX18" fmla="*/ 881075 w 2842751"/>
                    <a:gd name="connsiteY18" fmla="*/ 3498714 h 3498714"/>
                    <a:gd name="connsiteX19" fmla="*/ 720012 w 2842751"/>
                    <a:gd name="connsiteY19" fmla="*/ 3337652 h 3498714"/>
                    <a:gd name="connsiteX20" fmla="*/ 720012 w 2842751"/>
                    <a:gd name="connsiteY20" fmla="*/ 2125717 h 3498714"/>
                    <a:gd name="connsiteX21" fmla="*/ 718947 w 2842751"/>
                    <a:gd name="connsiteY21" fmla="*/ 2033194 h 3498714"/>
                    <a:gd name="connsiteX22" fmla="*/ 714162 w 2842751"/>
                    <a:gd name="connsiteY22" fmla="*/ 2028410 h 3498714"/>
                    <a:gd name="connsiteX23" fmla="*/ 654759 w 2842751"/>
                    <a:gd name="connsiteY23" fmla="*/ 2028410 h 3498714"/>
                    <a:gd name="connsiteX24" fmla="*/ 649974 w 2842751"/>
                    <a:gd name="connsiteY24" fmla="*/ 2033194 h 3498714"/>
                    <a:gd name="connsiteX25" fmla="*/ 649974 w 2842751"/>
                    <a:gd name="connsiteY25" fmla="*/ 2125717 h 3498714"/>
                    <a:gd name="connsiteX26" fmla="*/ 649574 w 2842751"/>
                    <a:gd name="connsiteY26" fmla="*/ 3337652 h 3498714"/>
                    <a:gd name="connsiteX27" fmla="*/ 488511 w 2842751"/>
                    <a:gd name="connsiteY27" fmla="*/ 3498714 h 3498714"/>
                    <a:gd name="connsiteX28" fmla="*/ 327450 w 2842751"/>
                    <a:gd name="connsiteY28" fmla="*/ 3337652 h 3498714"/>
                    <a:gd name="connsiteX29" fmla="*/ 327450 w 2842751"/>
                    <a:gd name="connsiteY29" fmla="*/ 1458216 h 3498714"/>
                    <a:gd name="connsiteX30" fmla="*/ 322427 w 2842751"/>
                    <a:gd name="connsiteY30" fmla="*/ 1098205 h 3498714"/>
                    <a:gd name="connsiteX31" fmla="*/ 317058 w 2842751"/>
                    <a:gd name="connsiteY31" fmla="*/ 1092836 h 3498714"/>
                    <a:gd name="connsiteX32" fmla="*/ 263371 w 2842751"/>
                    <a:gd name="connsiteY32" fmla="*/ 1092836 h 3498714"/>
                    <a:gd name="connsiteX33" fmla="*/ 258001 w 2842751"/>
                    <a:gd name="connsiteY33" fmla="*/ 1098205 h 3498714"/>
                    <a:gd name="connsiteX34" fmla="*/ 258001 w 2842751"/>
                    <a:gd name="connsiteY34" fmla="*/ 1444446 h 3498714"/>
                    <a:gd name="connsiteX35" fmla="*/ 257700 w 2842751"/>
                    <a:gd name="connsiteY35" fmla="*/ 1444370 h 3498714"/>
                    <a:gd name="connsiteX36" fmla="*/ 257700 w 2842751"/>
                    <a:gd name="connsiteY36" fmla="*/ 1912573 h 3498714"/>
                    <a:gd name="connsiteX37" fmla="*/ 128850 w 2842751"/>
                    <a:gd name="connsiteY37" fmla="*/ 2041423 h 3498714"/>
                    <a:gd name="connsiteX38" fmla="*/ 0 w 2842751"/>
                    <a:gd name="connsiteY38" fmla="*/ 1912573 h 3498714"/>
                    <a:gd name="connsiteX39" fmla="*/ 0 w 2842751"/>
                    <a:gd name="connsiteY39" fmla="*/ 1101802 h 3498714"/>
                    <a:gd name="connsiteX40" fmla="*/ 0 w 2842751"/>
                    <a:gd name="connsiteY40" fmla="*/ 1003338 h 3498714"/>
                    <a:gd name="connsiteX41" fmla="*/ 0 w 2842751"/>
                    <a:gd name="connsiteY41" fmla="*/ 982486 h 3498714"/>
                    <a:gd name="connsiteX42" fmla="*/ 12733 w 2842751"/>
                    <a:gd name="connsiteY42" fmla="*/ 894663 h 3498714"/>
                    <a:gd name="connsiteX43" fmla="*/ 20539 w 2842751"/>
                    <a:gd name="connsiteY43" fmla="*/ 868773 h 3498714"/>
                    <a:gd name="connsiteX44" fmla="*/ 358791 w 2842751"/>
                    <a:gd name="connsiteY44" fmla="*/ 644545 h 3498714"/>
                    <a:gd name="connsiteX45" fmla="*/ 682782 w 2842751"/>
                    <a:gd name="connsiteY45" fmla="*/ 0 h 3498714"/>
                    <a:gd name="connsiteX46" fmla="*/ 966919 w 2842751"/>
                    <a:gd name="connsiteY46" fmla="*/ 284138 h 3498714"/>
                    <a:gd name="connsiteX47" fmla="*/ 682782 w 2842751"/>
                    <a:gd name="connsiteY47" fmla="*/ 568275 h 3498714"/>
                    <a:gd name="connsiteX48" fmla="*/ 398645 w 2842751"/>
                    <a:gd name="connsiteY48" fmla="*/ 284138 h 3498714"/>
                    <a:gd name="connsiteX49" fmla="*/ 682782 w 2842751"/>
                    <a:gd name="connsiteY49" fmla="*/ 0 h 3498714"/>
                    <a:gd name="connsiteX50" fmla="*/ 2589325 w 2842751"/>
                    <a:gd name="connsiteY50" fmla="*/ 3124562 h 3498714"/>
                    <a:gd name="connsiteX51" fmla="*/ 2589325 w 2842751"/>
                    <a:gd name="connsiteY51" fmla="*/ 3361625 h 3498714"/>
                    <a:gd name="connsiteX52" fmla="*/ 2480313 w 2842751"/>
                    <a:gd name="connsiteY52" fmla="*/ 3470637 h 3498714"/>
                    <a:gd name="connsiteX53" fmla="*/ 2279239 w 2842751"/>
                    <a:gd name="connsiteY53" fmla="*/ 3470637 h 3498714"/>
                    <a:gd name="connsiteX54" fmla="*/ 2170227 w 2842751"/>
                    <a:gd name="connsiteY54" fmla="*/ 3361625 h 3498714"/>
                    <a:gd name="connsiteX55" fmla="*/ 2170227 w 2842751"/>
                    <a:gd name="connsiteY55" fmla="*/ 3124562 h 3498714"/>
                    <a:gd name="connsiteX56" fmla="*/ 2052754 w 2842751"/>
                    <a:gd name="connsiteY56" fmla="*/ 3124562 h 3498714"/>
                    <a:gd name="connsiteX57" fmla="*/ 1941629 w 2842751"/>
                    <a:gd name="connsiteY57" fmla="*/ 3013437 h 3498714"/>
                    <a:gd name="connsiteX58" fmla="*/ 2052754 w 2842751"/>
                    <a:gd name="connsiteY58" fmla="*/ 2902312 h 3498714"/>
                    <a:gd name="connsiteX59" fmla="*/ 682782 w 2842751"/>
                    <a:gd name="connsiteY59" fmla="*/ 0 h 3498714"/>
                    <a:gd name="connsiteX0" fmla="*/ 2478781 w 2589325"/>
                    <a:gd name="connsiteY0" fmla="*/ 1920808 h 3498714"/>
                    <a:gd name="connsiteX1" fmla="*/ 2392797 w 2589325"/>
                    <a:gd name="connsiteY1" fmla="*/ 1878907 h 3498714"/>
                    <a:gd name="connsiteX2" fmla="*/ 2478781 w 2589325"/>
                    <a:gd name="connsiteY2" fmla="*/ 1920808 h 3498714"/>
                    <a:gd name="connsiteX3" fmla="*/ 358791 w 2589325"/>
                    <a:gd name="connsiteY3" fmla="*/ 644545 h 3498714"/>
                    <a:gd name="connsiteX4" fmla="*/ 1006774 w 2589325"/>
                    <a:gd name="connsiteY4" fmla="*/ 644545 h 3498714"/>
                    <a:gd name="connsiteX5" fmla="*/ 1542636 w 2589325"/>
                    <a:gd name="connsiteY5" fmla="*/ 1193969 h 3498714"/>
                    <a:gd name="connsiteX6" fmla="*/ 1929878 w 2589325"/>
                    <a:gd name="connsiteY6" fmla="*/ 1193970 h 3498714"/>
                    <a:gd name="connsiteX7" fmla="*/ 2070059 w 2589325"/>
                    <a:gd name="connsiteY7" fmla="*/ 1334152 h 3498714"/>
                    <a:gd name="connsiteX8" fmla="*/ 1929878 w 2589325"/>
                    <a:gd name="connsiteY8" fmla="*/ 1474333 h 3498714"/>
                    <a:gd name="connsiteX9" fmla="*/ 1520943 w 2589325"/>
                    <a:gd name="connsiteY9" fmla="*/ 1470388 h 3498714"/>
                    <a:gd name="connsiteX10" fmla="*/ 1332825 w 2589325"/>
                    <a:gd name="connsiteY10" fmla="*/ 1367201 h 3498714"/>
                    <a:gd name="connsiteX11" fmla="*/ 1106501 w 2589325"/>
                    <a:gd name="connsiteY11" fmla="*/ 1098289 h 3498714"/>
                    <a:gd name="connsiteX12" fmla="*/ 1101049 w 2589325"/>
                    <a:gd name="connsiteY12" fmla="*/ 1092836 h 3498714"/>
                    <a:gd name="connsiteX13" fmla="*/ 1046523 w 2589325"/>
                    <a:gd name="connsiteY13" fmla="*/ 1092836 h 3498714"/>
                    <a:gd name="connsiteX14" fmla="*/ 1041071 w 2589325"/>
                    <a:gd name="connsiteY14" fmla="*/ 1098289 h 3498714"/>
                    <a:gd name="connsiteX15" fmla="*/ 1042136 w 2589325"/>
                    <a:gd name="connsiteY15" fmla="*/ 1419754 h 3498714"/>
                    <a:gd name="connsiteX16" fmla="*/ 1042136 w 2589325"/>
                    <a:gd name="connsiteY16" fmla="*/ 3337652 h 3498714"/>
                    <a:gd name="connsiteX17" fmla="*/ 881075 w 2589325"/>
                    <a:gd name="connsiteY17" fmla="*/ 3498714 h 3498714"/>
                    <a:gd name="connsiteX18" fmla="*/ 720012 w 2589325"/>
                    <a:gd name="connsiteY18" fmla="*/ 3337652 h 3498714"/>
                    <a:gd name="connsiteX19" fmla="*/ 720012 w 2589325"/>
                    <a:gd name="connsiteY19" fmla="*/ 2125717 h 3498714"/>
                    <a:gd name="connsiteX20" fmla="*/ 718947 w 2589325"/>
                    <a:gd name="connsiteY20" fmla="*/ 2033194 h 3498714"/>
                    <a:gd name="connsiteX21" fmla="*/ 714162 w 2589325"/>
                    <a:gd name="connsiteY21" fmla="*/ 2028410 h 3498714"/>
                    <a:gd name="connsiteX22" fmla="*/ 654759 w 2589325"/>
                    <a:gd name="connsiteY22" fmla="*/ 2028410 h 3498714"/>
                    <a:gd name="connsiteX23" fmla="*/ 649974 w 2589325"/>
                    <a:gd name="connsiteY23" fmla="*/ 2033194 h 3498714"/>
                    <a:gd name="connsiteX24" fmla="*/ 649974 w 2589325"/>
                    <a:gd name="connsiteY24" fmla="*/ 2125717 h 3498714"/>
                    <a:gd name="connsiteX25" fmla="*/ 649574 w 2589325"/>
                    <a:gd name="connsiteY25" fmla="*/ 3337652 h 3498714"/>
                    <a:gd name="connsiteX26" fmla="*/ 488511 w 2589325"/>
                    <a:gd name="connsiteY26" fmla="*/ 3498714 h 3498714"/>
                    <a:gd name="connsiteX27" fmla="*/ 327450 w 2589325"/>
                    <a:gd name="connsiteY27" fmla="*/ 3337652 h 3498714"/>
                    <a:gd name="connsiteX28" fmla="*/ 327450 w 2589325"/>
                    <a:gd name="connsiteY28" fmla="*/ 1458216 h 3498714"/>
                    <a:gd name="connsiteX29" fmla="*/ 322427 w 2589325"/>
                    <a:gd name="connsiteY29" fmla="*/ 1098205 h 3498714"/>
                    <a:gd name="connsiteX30" fmla="*/ 317058 w 2589325"/>
                    <a:gd name="connsiteY30" fmla="*/ 1092836 h 3498714"/>
                    <a:gd name="connsiteX31" fmla="*/ 263371 w 2589325"/>
                    <a:gd name="connsiteY31" fmla="*/ 1092836 h 3498714"/>
                    <a:gd name="connsiteX32" fmla="*/ 258001 w 2589325"/>
                    <a:gd name="connsiteY32" fmla="*/ 1098205 h 3498714"/>
                    <a:gd name="connsiteX33" fmla="*/ 258001 w 2589325"/>
                    <a:gd name="connsiteY33" fmla="*/ 1444446 h 3498714"/>
                    <a:gd name="connsiteX34" fmla="*/ 257700 w 2589325"/>
                    <a:gd name="connsiteY34" fmla="*/ 1444370 h 3498714"/>
                    <a:gd name="connsiteX35" fmla="*/ 257700 w 2589325"/>
                    <a:gd name="connsiteY35" fmla="*/ 1912573 h 3498714"/>
                    <a:gd name="connsiteX36" fmla="*/ 128850 w 2589325"/>
                    <a:gd name="connsiteY36" fmla="*/ 2041423 h 3498714"/>
                    <a:gd name="connsiteX37" fmla="*/ 0 w 2589325"/>
                    <a:gd name="connsiteY37" fmla="*/ 1912573 h 3498714"/>
                    <a:gd name="connsiteX38" fmla="*/ 0 w 2589325"/>
                    <a:gd name="connsiteY38" fmla="*/ 1101802 h 3498714"/>
                    <a:gd name="connsiteX39" fmla="*/ 0 w 2589325"/>
                    <a:gd name="connsiteY39" fmla="*/ 1003338 h 3498714"/>
                    <a:gd name="connsiteX40" fmla="*/ 0 w 2589325"/>
                    <a:gd name="connsiteY40" fmla="*/ 982486 h 3498714"/>
                    <a:gd name="connsiteX41" fmla="*/ 12733 w 2589325"/>
                    <a:gd name="connsiteY41" fmla="*/ 894663 h 3498714"/>
                    <a:gd name="connsiteX42" fmla="*/ 20539 w 2589325"/>
                    <a:gd name="connsiteY42" fmla="*/ 868773 h 3498714"/>
                    <a:gd name="connsiteX43" fmla="*/ 358791 w 2589325"/>
                    <a:gd name="connsiteY43" fmla="*/ 644545 h 3498714"/>
                    <a:gd name="connsiteX44" fmla="*/ 682782 w 2589325"/>
                    <a:gd name="connsiteY44" fmla="*/ 0 h 3498714"/>
                    <a:gd name="connsiteX45" fmla="*/ 966919 w 2589325"/>
                    <a:gd name="connsiteY45" fmla="*/ 284138 h 3498714"/>
                    <a:gd name="connsiteX46" fmla="*/ 682782 w 2589325"/>
                    <a:gd name="connsiteY46" fmla="*/ 568275 h 3498714"/>
                    <a:gd name="connsiteX47" fmla="*/ 398645 w 2589325"/>
                    <a:gd name="connsiteY47" fmla="*/ 284138 h 3498714"/>
                    <a:gd name="connsiteX48" fmla="*/ 682782 w 2589325"/>
                    <a:gd name="connsiteY48" fmla="*/ 0 h 3498714"/>
                    <a:gd name="connsiteX49" fmla="*/ 2589325 w 2589325"/>
                    <a:gd name="connsiteY49" fmla="*/ 3124562 h 3498714"/>
                    <a:gd name="connsiteX50" fmla="*/ 2589325 w 2589325"/>
                    <a:gd name="connsiteY50" fmla="*/ 3361625 h 3498714"/>
                    <a:gd name="connsiteX51" fmla="*/ 2480313 w 2589325"/>
                    <a:gd name="connsiteY51" fmla="*/ 3470637 h 3498714"/>
                    <a:gd name="connsiteX52" fmla="*/ 2279239 w 2589325"/>
                    <a:gd name="connsiteY52" fmla="*/ 3470637 h 3498714"/>
                    <a:gd name="connsiteX53" fmla="*/ 2170227 w 2589325"/>
                    <a:gd name="connsiteY53" fmla="*/ 3361625 h 3498714"/>
                    <a:gd name="connsiteX54" fmla="*/ 2170227 w 2589325"/>
                    <a:gd name="connsiteY54" fmla="*/ 3124562 h 3498714"/>
                    <a:gd name="connsiteX55" fmla="*/ 2052754 w 2589325"/>
                    <a:gd name="connsiteY55" fmla="*/ 3124562 h 3498714"/>
                    <a:gd name="connsiteX56" fmla="*/ 1941629 w 2589325"/>
                    <a:gd name="connsiteY56" fmla="*/ 3013437 h 3498714"/>
                    <a:gd name="connsiteX57" fmla="*/ 2052754 w 2589325"/>
                    <a:gd name="connsiteY57" fmla="*/ 2902312 h 3498714"/>
                    <a:gd name="connsiteX58" fmla="*/ 682782 w 2589325"/>
                    <a:gd name="connsiteY58"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124562 h 3498714"/>
                    <a:gd name="connsiteX47" fmla="*/ 2589325 w 2589325"/>
                    <a:gd name="connsiteY47" fmla="*/ 3361625 h 3498714"/>
                    <a:gd name="connsiteX48" fmla="*/ 2480313 w 2589325"/>
                    <a:gd name="connsiteY48" fmla="*/ 3470637 h 3498714"/>
                    <a:gd name="connsiteX49" fmla="*/ 2279239 w 2589325"/>
                    <a:gd name="connsiteY49" fmla="*/ 3470637 h 3498714"/>
                    <a:gd name="connsiteX50" fmla="*/ 2170227 w 2589325"/>
                    <a:gd name="connsiteY50" fmla="*/ 3361625 h 3498714"/>
                    <a:gd name="connsiteX51" fmla="*/ 2170227 w 2589325"/>
                    <a:gd name="connsiteY51" fmla="*/ 3124562 h 3498714"/>
                    <a:gd name="connsiteX52" fmla="*/ 2052754 w 2589325"/>
                    <a:gd name="connsiteY52" fmla="*/ 3124562 h 3498714"/>
                    <a:gd name="connsiteX53" fmla="*/ 1941629 w 2589325"/>
                    <a:gd name="connsiteY53" fmla="*/ 3013437 h 3498714"/>
                    <a:gd name="connsiteX54" fmla="*/ 2052754 w 2589325"/>
                    <a:gd name="connsiteY54" fmla="*/ 2902312 h 3498714"/>
                    <a:gd name="connsiteX55" fmla="*/ 682782 w 2589325"/>
                    <a:gd name="connsiteY55" fmla="*/ 0 h 3498714"/>
                    <a:gd name="connsiteX0" fmla="*/ 358791 w 2589325"/>
                    <a:gd name="connsiteY0" fmla="*/ 644545 h 3498714"/>
                    <a:gd name="connsiteX1" fmla="*/ 1006774 w 2589325"/>
                    <a:gd name="connsiteY1" fmla="*/ 644545 h 3498714"/>
                    <a:gd name="connsiteX2" fmla="*/ 1542636 w 2589325"/>
                    <a:gd name="connsiteY2" fmla="*/ 1193969 h 3498714"/>
                    <a:gd name="connsiteX3" fmla="*/ 1929878 w 2589325"/>
                    <a:gd name="connsiteY3" fmla="*/ 1193970 h 3498714"/>
                    <a:gd name="connsiteX4" fmla="*/ 2070059 w 2589325"/>
                    <a:gd name="connsiteY4" fmla="*/ 1334152 h 3498714"/>
                    <a:gd name="connsiteX5" fmla="*/ 1929878 w 2589325"/>
                    <a:gd name="connsiteY5" fmla="*/ 1474333 h 3498714"/>
                    <a:gd name="connsiteX6" fmla="*/ 1520943 w 2589325"/>
                    <a:gd name="connsiteY6" fmla="*/ 1470388 h 3498714"/>
                    <a:gd name="connsiteX7" fmla="*/ 1332825 w 2589325"/>
                    <a:gd name="connsiteY7" fmla="*/ 1367201 h 3498714"/>
                    <a:gd name="connsiteX8" fmla="*/ 1106501 w 2589325"/>
                    <a:gd name="connsiteY8" fmla="*/ 1098289 h 3498714"/>
                    <a:gd name="connsiteX9" fmla="*/ 1101049 w 2589325"/>
                    <a:gd name="connsiteY9" fmla="*/ 1092836 h 3498714"/>
                    <a:gd name="connsiteX10" fmla="*/ 1046523 w 2589325"/>
                    <a:gd name="connsiteY10" fmla="*/ 1092836 h 3498714"/>
                    <a:gd name="connsiteX11" fmla="*/ 1041071 w 2589325"/>
                    <a:gd name="connsiteY11" fmla="*/ 1098289 h 3498714"/>
                    <a:gd name="connsiteX12" fmla="*/ 1042136 w 2589325"/>
                    <a:gd name="connsiteY12" fmla="*/ 1419754 h 3498714"/>
                    <a:gd name="connsiteX13" fmla="*/ 1042136 w 2589325"/>
                    <a:gd name="connsiteY13" fmla="*/ 3337652 h 3498714"/>
                    <a:gd name="connsiteX14" fmla="*/ 881075 w 2589325"/>
                    <a:gd name="connsiteY14" fmla="*/ 3498714 h 3498714"/>
                    <a:gd name="connsiteX15" fmla="*/ 720012 w 2589325"/>
                    <a:gd name="connsiteY15" fmla="*/ 3337652 h 3498714"/>
                    <a:gd name="connsiteX16" fmla="*/ 720012 w 2589325"/>
                    <a:gd name="connsiteY16" fmla="*/ 2125717 h 3498714"/>
                    <a:gd name="connsiteX17" fmla="*/ 718947 w 2589325"/>
                    <a:gd name="connsiteY17" fmla="*/ 2033194 h 3498714"/>
                    <a:gd name="connsiteX18" fmla="*/ 714162 w 2589325"/>
                    <a:gd name="connsiteY18" fmla="*/ 2028410 h 3498714"/>
                    <a:gd name="connsiteX19" fmla="*/ 654759 w 2589325"/>
                    <a:gd name="connsiteY19" fmla="*/ 2028410 h 3498714"/>
                    <a:gd name="connsiteX20" fmla="*/ 649974 w 2589325"/>
                    <a:gd name="connsiteY20" fmla="*/ 2033194 h 3498714"/>
                    <a:gd name="connsiteX21" fmla="*/ 649974 w 2589325"/>
                    <a:gd name="connsiteY21" fmla="*/ 2125717 h 3498714"/>
                    <a:gd name="connsiteX22" fmla="*/ 649574 w 2589325"/>
                    <a:gd name="connsiteY22" fmla="*/ 3337652 h 3498714"/>
                    <a:gd name="connsiteX23" fmla="*/ 488511 w 2589325"/>
                    <a:gd name="connsiteY23" fmla="*/ 3498714 h 3498714"/>
                    <a:gd name="connsiteX24" fmla="*/ 327450 w 2589325"/>
                    <a:gd name="connsiteY24" fmla="*/ 3337652 h 3498714"/>
                    <a:gd name="connsiteX25" fmla="*/ 327450 w 2589325"/>
                    <a:gd name="connsiteY25" fmla="*/ 1458216 h 3498714"/>
                    <a:gd name="connsiteX26" fmla="*/ 322427 w 2589325"/>
                    <a:gd name="connsiteY26" fmla="*/ 1098205 h 3498714"/>
                    <a:gd name="connsiteX27" fmla="*/ 317058 w 2589325"/>
                    <a:gd name="connsiteY27" fmla="*/ 1092836 h 3498714"/>
                    <a:gd name="connsiteX28" fmla="*/ 263371 w 2589325"/>
                    <a:gd name="connsiteY28" fmla="*/ 1092836 h 3498714"/>
                    <a:gd name="connsiteX29" fmla="*/ 258001 w 2589325"/>
                    <a:gd name="connsiteY29" fmla="*/ 1098205 h 3498714"/>
                    <a:gd name="connsiteX30" fmla="*/ 258001 w 2589325"/>
                    <a:gd name="connsiteY30" fmla="*/ 1444446 h 3498714"/>
                    <a:gd name="connsiteX31" fmla="*/ 257700 w 2589325"/>
                    <a:gd name="connsiteY31" fmla="*/ 1444370 h 3498714"/>
                    <a:gd name="connsiteX32" fmla="*/ 257700 w 2589325"/>
                    <a:gd name="connsiteY32" fmla="*/ 1912573 h 3498714"/>
                    <a:gd name="connsiteX33" fmla="*/ 128850 w 2589325"/>
                    <a:gd name="connsiteY33" fmla="*/ 2041423 h 3498714"/>
                    <a:gd name="connsiteX34" fmla="*/ 0 w 2589325"/>
                    <a:gd name="connsiteY34" fmla="*/ 1912573 h 3498714"/>
                    <a:gd name="connsiteX35" fmla="*/ 0 w 2589325"/>
                    <a:gd name="connsiteY35" fmla="*/ 1101802 h 3498714"/>
                    <a:gd name="connsiteX36" fmla="*/ 0 w 2589325"/>
                    <a:gd name="connsiteY36" fmla="*/ 1003338 h 3498714"/>
                    <a:gd name="connsiteX37" fmla="*/ 0 w 2589325"/>
                    <a:gd name="connsiteY37" fmla="*/ 982486 h 3498714"/>
                    <a:gd name="connsiteX38" fmla="*/ 12733 w 2589325"/>
                    <a:gd name="connsiteY38" fmla="*/ 894663 h 3498714"/>
                    <a:gd name="connsiteX39" fmla="*/ 20539 w 2589325"/>
                    <a:gd name="connsiteY39" fmla="*/ 868773 h 3498714"/>
                    <a:gd name="connsiteX40" fmla="*/ 358791 w 2589325"/>
                    <a:gd name="connsiteY40" fmla="*/ 644545 h 3498714"/>
                    <a:gd name="connsiteX41" fmla="*/ 682782 w 2589325"/>
                    <a:gd name="connsiteY41" fmla="*/ 0 h 3498714"/>
                    <a:gd name="connsiteX42" fmla="*/ 966919 w 2589325"/>
                    <a:gd name="connsiteY42" fmla="*/ 284138 h 3498714"/>
                    <a:gd name="connsiteX43" fmla="*/ 682782 w 2589325"/>
                    <a:gd name="connsiteY43" fmla="*/ 568275 h 3498714"/>
                    <a:gd name="connsiteX44" fmla="*/ 398645 w 2589325"/>
                    <a:gd name="connsiteY44" fmla="*/ 284138 h 3498714"/>
                    <a:gd name="connsiteX45" fmla="*/ 682782 w 2589325"/>
                    <a:gd name="connsiteY45" fmla="*/ 0 h 3498714"/>
                    <a:gd name="connsiteX46" fmla="*/ 2589325 w 2589325"/>
                    <a:gd name="connsiteY46" fmla="*/ 3361625 h 3498714"/>
                    <a:gd name="connsiteX47" fmla="*/ 2480313 w 2589325"/>
                    <a:gd name="connsiteY47" fmla="*/ 3470637 h 3498714"/>
                    <a:gd name="connsiteX48" fmla="*/ 2279239 w 2589325"/>
                    <a:gd name="connsiteY48" fmla="*/ 3470637 h 3498714"/>
                    <a:gd name="connsiteX49" fmla="*/ 2170227 w 2589325"/>
                    <a:gd name="connsiteY49" fmla="*/ 3361625 h 3498714"/>
                    <a:gd name="connsiteX50" fmla="*/ 2170227 w 2589325"/>
                    <a:gd name="connsiteY50" fmla="*/ 3124562 h 3498714"/>
                    <a:gd name="connsiteX51" fmla="*/ 2052754 w 2589325"/>
                    <a:gd name="connsiteY51" fmla="*/ 3124562 h 3498714"/>
                    <a:gd name="connsiteX52" fmla="*/ 1941629 w 2589325"/>
                    <a:gd name="connsiteY52" fmla="*/ 3013437 h 3498714"/>
                    <a:gd name="connsiteX53" fmla="*/ 2052754 w 2589325"/>
                    <a:gd name="connsiteY53" fmla="*/ 2902312 h 3498714"/>
                    <a:gd name="connsiteX54" fmla="*/ 682782 w 2589325"/>
                    <a:gd name="connsiteY54" fmla="*/ 0 h 3498714"/>
                    <a:gd name="connsiteX0" fmla="*/ 358791 w 2480313"/>
                    <a:gd name="connsiteY0" fmla="*/ 644545 h 3498714"/>
                    <a:gd name="connsiteX1" fmla="*/ 1006774 w 2480313"/>
                    <a:gd name="connsiteY1" fmla="*/ 644545 h 3498714"/>
                    <a:gd name="connsiteX2" fmla="*/ 1542636 w 2480313"/>
                    <a:gd name="connsiteY2" fmla="*/ 1193969 h 3498714"/>
                    <a:gd name="connsiteX3" fmla="*/ 1929878 w 2480313"/>
                    <a:gd name="connsiteY3" fmla="*/ 1193970 h 3498714"/>
                    <a:gd name="connsiteX4" fmla="*/ 2070059 w 2480313"/>
                    <a:gd name="connsiteY4" fmla="*/ 1334152 h 3498714"/>
                    <a:gd name="connsiteX5" fmla="*/ 1929878 w 2480313"/>
                    <a:gd name="connsiteY5" fmla="*/ 1474333 h 3498714"/>
                    <a:gd name="connsiteX6" fmla="*/ 1520943 w 2480313"/>
                    <a:gd name="connsiteY6" fmla="*/ 1470388 h 3498714"/>
                    <a:gd name="connsiteX7" fmla="*/ 1332825 w 2480313"/>
                    <a:gd name="connsiteY7" fmla="*/ 1367201 h 3498714"/>
                    <a:gd name="connsiteX8" fmla="*/ 1106501 w 2480313"/>
                    <a:gd name="connsiteY8" fmla="*/ 1098289 h 3498714"/>
                    <a:gd name="connsiteX9" fmla="*/ 1101049 w 2480313"/>
                    <a:gd name="connsiteY9" fmla="*/ 1092836 h 3498714"/>
                    <a:gd name="connsiteX10" fmla="*/ 1046523 w 2480313"/>
                    <a:gd name="connsiteY10" fmla="*/ 1092836 h 3498714"/>
                    <a:gd name="connsiteX11" fmla="*/ 1041071 w 2480313"/>
                    <a:gd name="connsiteY11" fmla="*/ 1098289 h 3498714"/>
                    <a:gd name="connsiteX12" fmla="*/ 1042136 w 2480313"/>
                    <a:gd name="connsiteY12" fmla="*/ 1419754 h 3498714"/>
                    <a:gd name="connsiteX13" fmla="*/ 1042136 w 2480313"/>
                    <a:gd name="connsiteY13" fmla="*/ 3337652 h 3498714"/>
                    <a:gd name="connsiteX14" fmla="*/ 881075 w 2480313"/>
                    <a:gd name="connsiteY14" fmla="*/ 3498714 h 3498714"/>
                    <a:gd name="connsiteX15" fmla="*/ 720012 w 2480313"/>
                    <a:gd name="connsiteY15" fmla="*/ 3337652 h 3498714"/>
                    <a:gd name="connsiteX16" fmla="*/ 720012 w 2480313"/>
                    <a:gd name="connsiteY16" fmla="*/ 2125717 h 3498714"/>
                    <a:gd name="connsiteX17" fmla="*/ 718947 w 2480313"/>
                    <a:gd name="connsiteY17" fmla="*/ 2033194 h 3498714"/>
                    <a:gd name="connsiteX18" fmla="*/ 714162 w 2480313"/>
                    <a:gd name="connsiteY18" fmla="*/ 2028410 h 3498714"/>
                    <a:gd name="connsiteX19" fmla="*/ 654759 w 2480313"/>
                    <a:gd name="connsiteY19" fmla="*/ 2028410 h 3498714"/>
                    <a:gd name="connsiteX20" fmla="*/ 649974 w 2480313"/>
                    <a:gd name="connsiteY20" fmla="*/ 2033194 h 3498714"/>
                    <a:gd name="connsiteX21" fmla="*/ 649974 w 2480313"/>
                    <a:gd name="connsiteY21" fmla="*/ 2125717 h 3498714"/>
                    <a:gd name="connsiteX22" fmla="*/ 649574 w 2480313"/>
                    <a:gd name="connsiteY22" fmla="*/ 3337652 h 3498714"/>
                    <a:gd name="connsiteX23" fmla="*/ 488511 w 2480313"/>
                    <a:gd name="connsiteY23" fmla="*/ 3498714 h 3498714"/>
                    <a:gd name="connsiteX24" fmla="*/ 327450 w 2480313"/>
                    <a:gd name="connsiteY24" fmla="*/ 3337652 h 3498714"/>
                    <a:gd name="connsiteX25" fmla="*/ 327450 w 2480313"/>
                    <a:gd name="connsiteY25" fmla="*/ 1458216 h 3498714"/>
                    <a:gd name="connsiteX26" fmla="*/ 322427 w 2480313"/>
                    <a:gd name="connsiteY26" fmla="*/ 1098205 h 3498714"/>
                    <a:gd name="connsiteX27" fmla="*/ 317058 w 2480313"/>
                    <a:gd name="connsiteY27" fmla="*/ 1092836 h 3498714"/>
                    <a:gd name="connsiteX28" fmla="*/ 263371 w 2480313"/>
                    <a:gd name="connsiteY28" fmla="*/ 1092836 h 3498714"/>
                    <a:gd name="connsiteX29" fmla="*/ 258001 w 2480313"/>
                    <a:gd name="connsiteY29" fmla="*/ 1098205 h 3498714"/>
                    <a:gd name="connsiteX30" fmla="*/ 258001 w 2480313"/>
                    <a:gd name="connsiteY30" fmla="*/ 1444446 h 3498714"/>
                    <a:gd name="connsiteX31" fmla="*/ 257700 w 2480313"/>
                    <a:gd name="connsiteY31" fmla="*/ 1444370 h 3498714"/>
                    <a:gd name="connsiteX32" fmla="*/ 257700 w 2480313"/>
                    <a:gd name="connsiteY32" fmla="*/ 1912573 h 3498714"/>
                    <a:gd name="connsiteX33" fmla="*/ 128850 w 2480313"/>
                    <a:gd name="connsiteY33" fmla="*/ 2041423 h 3498714"/>
                    <a:gd name="connsiteX34" fmla="*/ 0 w 2480313"/>
                    <a:gd name="connsiteY34" fmla="*/ 1912573 h 3498714"/>
                    <a:gd name="connsiteX35" fmla="*/ 0 w 2480313"/>
                    <a:gd name="connsiteY35" fmla="*/ 1101802 h 3498714"/>
                    <a:gd name="connsiteX36" fmla="*/ 0 w 2480313"/>
                    <a:gd name="connsiteY36" fmla="*/ 1003338 h 3498714"/>
                    <a:gd name="connsiteX37" fmla="*/ 0 w 2480313"/>
                    <a:gd name="connsiteY37" fmla="*/ 982486 h 3498714"/>
                    <a:gd name="connsiteX38" fmla="*/ 12733 w 2480313"/>
                    <a:gd name="connsiteY38" fmla="*/ 894663 h 3498714"/>
                    <a:gd name="connsiteX39" fmla="*/ 20539 w 2480313"/>
                    <a:gd name="connsiteY39" fmla="*/ 868773 h 3498714"/>
                    <a:gd name="connsiteX40" fmla="*/ 358791 w 2480313"/>
                    <a:gd name="connsiteY40" fmla="*/ 644545 h 3498714"/>
                    <a:gd name="connsiteX41" fmla="*/ 682782 w 2480313"/>
                    <a:gd name="connsiteY41" fmla="*/ 0 h 3498714"/>
                    <a:gd name="connsiteX42" fmla="*/ 966919 w 2480313"/>
                    <a:gd name="connsiteY42" fmla="*/ 284138 h 3498714"/>
                    <a:gd name="connsiteX43" fmla="*/ 682782 w 2480313"/>
                    <a:gd name="connsiteY43" fmla="*/ 568275 h 3498714"/>
                    <a:gd name="connsiteX44" fmla="*/ 398645 w 2480313"/>
                    <a:gd name="connsiteY44" fmla="*/ 284138 h 3498714"/>
                    <a:gd name="connsiteX45" fmla="*/ 682782 w 2480313"/>
                    <a:gd name="connsiteY45" fmla="*/ 0 h 3498714"/>
                    <a:gd name="connsiteX46" fmla="*/ 2480313 w 2480313"/>
                    <a:gd name="connsiteY46" fmla="*/ 3470637 h 3498714"/>
                    <a:gd name="connsiteX47" fmla="*/ 2279239 w 2480313"/>
                    <a:gd name="connsiteY47" fmla="*/ 3470637 h 3498714"/>
                    <a:gd name="connsiteX48" fmla="*/ 2170227 w 2480313"/>
                    <a:gd name="connsiteY48" fmla="*/ 3361625 h 3498714"/>
                    <a:gd name="connsiteX49" fmla="*/ 2170227 w 2480313"/>
                    <a:gd name="connsiteY49" fmla="*/ 3124562 h 3498714"/>
                    <a:gd name="connsiteX50" fmla="*/ 2052754 w 2480313"/>
                    <a:gd name="connsiteY50" fmla="*/ 3124562 h 3498714"/>
                    <a:gd name="connsiteX51" fmla="*/ 1941629 w 2480313"/>
                    <a:gd name="connsiteY51" fmla="*/ 3013437 h 3498714"/>
                    <a:gd name="connsiteX52" fmla="*/ 2052754 w 2480313"/>
                    <a:gd name="connsiteY52" fmla="*/ 2902312 h 3498714"/>
                    <a:gd name="connsiteX53" fmla="*/ 682782 w 2480313"/>
                    <a:gd name="connsiteY53" fmla="*/ 0 h 3498714"/>
                    <a:gd name="connsiteX0" fmla="*/ 358791 w 2279239"/>
                    <a:gd name="connsiteY0" fmla="*/ 644545 h 3498714"/>
                    <a:gd name="connsiteX1" fmla="*/ 1006774 w 2279239"/>
                    <a:gd name="connsiteY1" fmla="*/ 644545 h 3498714"/>
                    <a:gd name="connsiteX2" fmla="*/ 1542636 w 2279239"/>
                    <a:gd name="connsiteY2" fmla="*/ 1193969 h 3498714"/>
                    <a:gd name="connsiteX3" fmla="*/ 1929878 w 2279239"/>
                    <a:gd name="connsiteY3" fmla="*/ 1193970 h 3498714"/>
                    <a:gd name="connsiteX4" fmla="*/ 2070059 w 2279239"/>
                    <a:gd name="connsiteY4" fmla="*/ 1334152 h 3498714"/>
                    <a:gd name="connsiteX5" fmla="*/ 1929878 w 2279239"/>
                    <a:gd name="connsiteY5" fmla="*/ 1474333 h 3498714"/>
                    <a:gd name="connsiteX6" fmla="*/ 1520943 w 2279239"/>
                    <a:gd name="connsiteY6" fmla="*/ 1470388 h 3498714"/>
                    <a:gd name="connsiteX7" fmla="*/ 1332825 w 2279239"/>
                    <a:gd name="connsiteY7" fmla="*/ 1367201 h 3498714"/>
                    <a:gd name="connsiteX8" fmla="*/ 1106501 w 2279239"/>
                    <a:gd name="connsiteY8" fmla="*/ 1098289 h 3498714"/>
                    <a:gd name="connsiteX9" fmla="*/ 1101049 w 2279239"/>
                    <a:gd name="connsiteY9" fmla="*/ 1092836 h 3498714"/>
                    <a:gd name="connsiteX10" fmla="*/ 1046523 w 2279239"/>
                    <a:gd name="connsiteY10" fmla="*/ 1092836 h 3498714"/>
                    <a:gd name="connsiteX11" fmla="*/ 1041071 w 2279239"/>
                    <a:gd name="connsiteY11" fmla="*/ 1098289 h 3498714"/>
                    <a:gd name="connsiteX12" fmla="*/ 1042136 w 2279239"/>
                    <a:gd name="connsiteY12" fmla="*/ 1419754 h 3498714"/>
                    <a:gd name="connsiteX13" fmla="*/ 1042136 w 2279239"/>
                    <a:gd name="connsiteY13" fmla="*/ 3337652 h 3498714"/>
                    <a:gd name="connsiteX14" fmla="*/ 881075 w 2279239"/>
                    <a:gd name="connsiteY14" fmla="*/ 3498714 h 3498714"/>
                    <a:gd name="connsiteX15" fmla="*/ 720012 w 2279239"/>
                    <a:gd name="connsiteY15" fmla="*/ 3337652 h 3498714"/>
                    <a:gd name="connsiteX16" fmla="*/ 720012 w 2279239"/>
                    <a:gd name="connsiteY16" fmla="*/ 2125717 h 3498714"/>
                    <a:gd name="connsiteX17" fmla="*/ 718947 w 2279239"/>
                    <a:gd name="connsiteY17" fmla="*/ 2033194 h 3498714"/>
                    <a:gd name="connsiteX18" fmla="*/ 714162 w 2279239"/>
                    <a:gd name="connsiteY18" fmla="*/ 2028410 h 3498714"/>
                    <a:gd name="connsiteX19" fmla="*/ 654759 w 2279239"/>
                    <a:gd name="connsiteY19" fmla="*/ 2028410 h 3498714"/>
                    <a:gd name="connsiteX20" fmla="*/ 649974 w 2279239"/>
                    <a:gd name="connsiteY20" fmla="*/ 2033194 h 3498714"/>
                    <a:gd name="connsiteX21" fmla="*/ 649974 w 2279239"/>
                    <a:gd name="connsiteY21" fmla="*/ 2125717 h 3498714"/>
                    <a:gd name="connsiteX22" fmla="*/ 649574 w 2279239"/>
                    <a:gd name="connsiteY22" fmla="*/ 3337652 h 3498714"/>
                    <a:gd name="connsiteX23" fmla="*/ 488511 w 2279239"/>
                    <a:gd name="connsiteY23" fmla="*/ 3498714 h 3498714"/>
                    <a:gd name="connsiteX24" fmla="*/ 327450 w 2279239"/>
                    <a:gd name="connsiteY24" fmla="*/ 3337652 h 3498714"/>
                    <a:gd name="connsiteX25" fmla="*/ 327450 w 2279239"/>
                    <a:gd name="connsiteY25" fmla="*/ 1458216 h 3498714"/>
                    <a:gd name="connsiteX26" fmla="*/ 322427 w 2279239"/>
                    <a:gd name="connsiteY26" fmla="*/ 1098205 h 3498714"/>
                    <a:gd name="connsiteX27" fmla="*/ 317058 w 2279239"/>
                    <a:gd name="connsiteY27" fmla="*/ 1092836 h 3498714"/>
                    <a:gd name="connsiteX28" fmla="*/ 263371 w 2279239"/>
                    <a:gd name="connsiteY28" fmla="*/ 1092836 h 3498714"/>
                    <a:gd name="connsiteX29" fmla="*/ 258001 w 2279239"/>
                    <a:gd name="connsiteY29" fmla="*/ 1098205 h 3498714"/>
                    <a:gd name="connsiteX30" fmla="*/ 258001 w 2279239"/>
                    <a:gd name="connsiteY30" fmla="*/ 1444446 h 3498714"/>
                    <a:gd name="connsiteX31" fmla="*/ 257700 w 2279239"/>
                    <a:gd name="connsiteY31" fmla="*/ 1444370 h 3498714"/>
                    <a:gd name="connsiteX32" fmla="*/ 257700 w 2279239"/>
                    <a:gd name="connsiteY32" fmla="*/ 1912573 h 3498714"/>
                    <a:gd name="connsiteX33" fmla="*/ 128850 w 2279239"/>
                    <a:gd name="connsiteY33" fmla="*/ 2041423 h 3498714"/>
                    <a:gd name="connsiteX34" fmla="*/ 0 w 2279239"/>
                    <a:gd name="connsiteY34" fmla="*/ 1912573 h 3498714"/>
                    <a:gd name="connsiteX35" fmla="*/ 0 w 2279239"/>
                    <a:gd name="connsiteY35" fmla="*/ 1101802 h 3498714"/>
                    <a:gd name="connsiteX36" fmla="*/ 0 w 2279239"/>
                    <a:gd name="connsiteY36" fmla="*/ 1003338 h 3498714"/>
                    <a:gd name="connsiteX37" fmla="*/ 0 w 2279239"/>
                    <a:gd name="connsiteY37" fmla="*/ 982486 h 3498714"/>
                    <a:gd name="connsiteX38" fmla="*/ 12733 w 2279239"/>
                    <a:gd name="connsiteY38" fmla="*/ 894663 h 3498714"/>
                    <a:gd name="connsiteX39" fmla="*/ 20539 w 2279239"/>
                    <a:gd name="connsiteY39" fmla="*/ 868773 h 3498714"/>
                    <a:gd name="connsiteX40" fmla="*/ 358791 w 2279239"/>
                    <a:gd name="connsiteY40" fmla="*/ 644545 h 3498714"/>
                    <a:gd name="connsiteX41" fmla="*/ 682782 w 2279239"/>
                    <a:gd name="connsiteY41" fmla="*/ 0 h 3498714"/>
                    <a:gd name="connsiteX42" fmla="*/ 966919 w 2279239"/>
                    <a:gd name="connsiteY42" fmla="*/ 284138 h 3498714"/>
                    <a:gd name="connsiteX43" fmla="*/ 682782 w 2279239"/>
                    <a:gd name="connsiteY43" fmla="*/ 568275 h 3498714"/>
                    <a:gd name="connsiteX44" fmla="*/ 398645 w 2279239"/>
                    <a:gd name="connsiteY44" fmla="*/ 284138 h 3498714"/>
                    <a:gd name="connsiteX45" fmla="*/ 682782 w 2279239"/>
                    <a:gd name="connsiteY45" fmla="*/ 0 h 3498714"/>
                    <a:gd name="connsiteX46" fmla="*/ 2279239 w 2279239"/>
                    <a:gd name="connsiteY46" fmla="*/ 3470637 h 3498714"/>
                    <a:gd name="connsiteX47" fmla="*/ 2170227 w 2279239"/>
                    <a:gd name="connsiteY47" fmla="*/ 3361625 h 3498714"/>
                    <a:gd name="connsiteX48" fmla="*/ 2170227 w 2279239"/>
                    <a:gd name="connsiteY48" fmla="*/ 3124562 h 3498714"/>
                    <a:gd name="connsiteX49" fmla="*/ 2052754 w 2279239"/>
                    <a:gd name="connsiteY49" fmla="*/ 3124562 h 3498714"/>
                    <a:gd name="connsiteX50" fmla="*/ 1941629 w 2279239"/>
                    <a:gd name="connsiteY50" fmla="*/ 3013437 h 3498714"/>
                    <a:gd name="connsiteX51" fmla="*/ 2052754 w 2279239"/>
                    <a:gd name="connsiteY51" fmla="*/ 2902312 h 3498714"/>
                    <a:gd name="connsiteX52" fmla="*/ 682782 w 2279239"/>
                    <a:gd name="connsiteY52"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361625 h 3498714"/>
                    <a:gd name="connsiteX47" fmla="*/ 2170227 w 2170227"/>
                    <a:gd name="connsiteY47" fmla="*/ 3124562 h 3498714"/>
                    <a:gd name="connsiteX48" fmla="*/ 2052754 w 2170227"/>
                    <a:gd name="connsiteY48" fmla="*/ 3124562 h 3498714"/>
                    <a:gd name="connsiteX49" fmla="*/ 1941629 w 2170227"/>
                    <a:gd name="connsiteY49" fmla="*/ 3013437 h 3498714"/>
                    <a:gd name="connsiteX50" fmla="*/ 2052754 w 2170227"/>
                    <a:gd name="connsiteY50" fmla="*/ 2902312 h 3498714"/>
                    <a:gd name="connsiteX51" fmla="*/ 682782 w 2170227"/>
                    <a:gd name="connsiteY51"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3124562 h 3498714"/>
                    <a:gd name="connsiteX48" fmla="*/ 1941629 w 2170227"/>
                    <a:gd name="connsiteY48" fmla="*/ 3013437 h 3498714"/>
                    <a:gd name="connsiteX49" fmla="*/ 2052754 w 2170227"/>
                    <a:gd name="connsiteY49" fmla="*/ 2902312 h 3498714"/>
                    <a:gd name="connsiteX50" fmla="*/ 682782 w 2170227"/>
                    <a:gd name="connsiteY50"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1941629 w 2170227"/>
                    <a:gd name="connsiteY47" fmla="*/ 3013437 h 3498714"/>
                    <a:gd name="connsiteX48" fmla="*/ 2052754 w 2170227"/>
                    <a:gd name="connsiteY48" fmla="*/ 2902312 h 3498714"/>
                    <a:gd name="connsiteX49" fmla="*/ 682782 w 2170227"/>
                    <a:gd name="connsiteY49"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2052754 w 2170227"/>
                    <a:gd name="connsiteY47" fmla="*/ 2902312 h 3498714"/>
                    <a:gd name="connsiteX48" fmla="*/ 682782 w 2170227"/>
                    <a:gd name="connsiteY48" fmla="*/ 0 h 3498714"/>
                    <a:gd name="connsiteX0" fmla="*/ 358791 w 2170227"/>
                    <a:gd name="connsiteY0" fmla="*/ 644545 h 3498714"/>
                    <a:gd name="connsiteX1" fmla="*/ 1006774 w 2170227"/>
                    <a:gd name="connsiteY1" fmla="*/ 644545 h 3498714"/>
                    <a:gd name="connsiteX2" fmla="*/ 1542636 w 2170227"/>
                    <a:gd name="connsiteY2" fmla="*/ 1193969 h 3498714"/>
                    <a:gd name="connsiteX3" fmla="*/ 1929878 w 2170227"/>
                    <a:gd name="connsiteY3" fmla="*/ 1193970 h 3498714"/>
                    <a:gd name="connsiteX4" fmla="*/ 2070059 w 2170227"/>
                    <a:gd name="connsiteY4" fmla="*/ 1334152 h 3498714"/>
                    <a:gd name="connsiteX5" fmla="*/ 1929878 w 2170227"/>
                    <a:gd name="connsiteY5" fmla="*/ 1474333 h 3498714"/>
                    <a:gd name="connsiteX6" fmla="*/ 1520943 w 2170227"/>
                    <a:gd name="connsiteY6" fmla="*/ 1470388 h 3498714"/>
                    <a:gd name="connsiteX7" fmla="*/ 1332825 w 2170227"/>
                    <a:gd name="connsiteY7" fmla="*/ 1367201 h 3498714"/>
                    <a:gd name="connsiteX8" fmla="*/ 1106501 w 2170227"/>
                    <a:gd name="connsiteY8" fmla="*/ 1098289 h 3498714"/>
                    <a:gd name="connsiteX9" fmla="*/ 1101049 w 2170227"/>
                    <a:gd name="connsiteY9" fmla="*/ 1092836 h 3498714"/>
                    <a:gd name="connsiteX10" fmla="*/ 1046523 w 2170227"/>
                    <a:gd name="connsiteY10" fmla="*/ 1092836 h 3498714"/>
                    <a:gd name="connsiteX11" fmla="*/ 1041071 w 2170227"/>
                    <a:gd name="connsiteY11" fmla="*/ 1098289 h 3498714"/>
                    <a:gd name="connsiteX12" fmla="*/ 1042136 w 2170227"/>
                    <a:gd name="connsiteY12" fmla="*/ 1419754 h 3498714"/>
                    <a:gd name="connsiteX13" fmla="*/ 1042136 w 2170227"/>
                    <a:gd name="connsiteY13" fmla="*/ 3337652 h 3498714"/>
                    <a:gd name="connsiteX14" fmla="*/ 881075 w 2170227"/>
                    <a:gd name="connsiteY14" fmla="*/ 3498714 h 3498714"/>
                    <a:gd name="connsiteX15" fmla="*/ 720012 w 2170227"/>
                    <a:gd name="connsiteY15" fmla="*/ 3337652 h 3498714"/>
                    <a:gd name="connsiteX16" fmla="*/ 720012 w 2170227"/>
                    <a:gd name="connsiteY16" fmla="*/ 2125717 h 3498714"/>
                    <a:gd name="connsiteX17" fmla="*/ 718947 w 2170227"/>
                    <a:gd name="connsiteY17" fmla="*/ 2033194 h 3498714"/>
                    <a:gd name="connsiteX18" fmla="*/ 714162 w 2170227"/>
                    <a:gd name="connsiteY18" fmla="*/ 2028410 h 3498714"/>
                    <a:gd name="connsiteX19" fmla="*/ 654759 w 2170227"/>
                    <a:gd name="connsiteY19" fmla="*/ 2028410 h 3498714"/>
                    <a:gd name="connsiteX20" fmla="*/ 649974 w 2170227"/>
                    <a:gd name="connsiteY20" fmla="*/ 2033194 h 3498714"/>
                    <a:gd name="connsiteX21" fmla="*/ 649974 w 2170227"/>
                    <a:gd name="connsiteY21" fmla="*/ 2125717 h 3498714"/>
                    <a:gd name="connsiteX22" fmla="*/ 649574 w 2170227"/>
                    <a:gd name="connsiteY22" fmla="*/ 3337652 h 3498714"/>
                    <a:gd name="connsiteX23" fmla="*/ 488511 w 2170227"/>
                    <a:gd name="connsiteY23" fmla="*/ 3498714 h 3498714"/>
                    <a:gd name="connsiteX24" fmla="*/ 327450 w 2170227"/>
                    <a:gd name="connsiteY24" fmla="*/ 3337652 h 3498714"/>
                    <a:gd name="connsiteX25" fmla="*/ 327450 w 2170227"/>
                    <a:gd name="connsiteY25" fmla="*/ 1458216 h 3498714"/>
                    <a:gd name="connsiteX26" fmla="*/ 322427 w 2170227"/>
                    <a:gd name="connsiteY26" fmla="*/ 1098205 h 3498714"/>
                    <a:gd name="connsiteX27" fmla="*/ 317058 w 2170227"/>
                    <a:gd name="connsiteY27" fmla="*/ 1092836 h 3498714"/>
                    <a:gd name="connsiteX28" fmla="*/ 263371 w 2170227"/>
                    <a:gd name="connsiteY28" fmla="*/ 1092836 h 3498714"/>
                    <a:gd name="connsiteX29" fmla="*/ 258001 w 2170227"/>
                    <a:gd name="connsiteY29" fmla="*/ 1098205 h 3498714"/>
                    <a:gd name="connsiteX30" fmla="*/ 258001 w 2170227"/>
                    <a:gd name="connsiteY30" fmla="*/ 1444446 h 3498714"/>
                    <a:gd name="connsiteX31" fmla="*/ 257700 w 2170227"/>
                    <a:gd name="connsiteY31" fmla="*/ 1444370 h 3498714"/>
                    <a:gd name="connsiteX32" fmla="*/ 257700 w 2170227"/>
                    <a:gd name="connsiteY32" fmla="*/ 1912573 h 3498714"/>
                    <a:gd name="connsiteX33" fmla="*/ 128850 w 2170227"/>
                    <a:gd name="connsiteY33" fmla="*/ 2041423 h 3498714"/>
                    <a:gd name="connsiteX34" fmla="*/ 0 w 2170227"/>
                    <a:gd name="connsiteY34" fmla="*/ 1912573 h 3498714"/>
                    <a:gd name="connsiteX35" fmla="*/ 0 w 2170227"/>
                    <a:gd name="connsiteY35" fmla="*/ 1101802 h 3498714"/>
                    <a:gd name="connsiteX36" fmla="*/ 0 w 2170227"/>
                    <a:gd name="connsiteY36" fmla="*/ 1003338 h 3498714"/>
                    <a:gd name="connsiteX37" fmla="*/ 0 w 2170227"/>
                    <a:gd name="connsiteY37" fmla="*/ 982486 h 3498714"/>
                    <a:gd name="connsiteX38" fmla="*/ 12733 w 2170227"/>
                    <a:gd name="connsiteY38" fmla="*/ 894663 h 3498714"/>
                    <a:gd name="connsiteX39" fmla="*/ 20539 w 2170227"/>
                    <a:gd name="connsiteY39" fmla="*/ 868773 h 3498714"/>
                    <a:gd name="connsiteX40" fmla="*/ 358791 w 2170227"/>
                    <a:gd name="connsiteY40" fmla="*/ 644545 h 3498714"/>
                    <a:gd name="connsiteX41" fmla="*/ 682782 w 2170227"/>
                    <a:gd name="connsiteY41" fmla="*/ 0 h 3498714"/>
                    <a:gd name="connsiteX42" fmla="*/ 966919 w 2170227"/>
                    <a:gd name="connsiteY42" fmla="*/ 284138 h 3498714"/>
                    <a:gd name="connsiteX43" fmla="*/ 682782 w 2170227"/>
                    <a:gd name="connsiteY43" fmla="*/ 568275 h 3498714"/>
                    <a:gd name="connsiteX44" fmla="*/ 398645 w 2170227"/>
                    <a:gd name="connsiteY44" fmla="*/ 284138 h 3498714"/>
                    <a:gd name="connsiteX45" fmla="*/ 682782 w 2170227"/>
                    <a:gd name="connsiteY45" fmla="*/ 0 h 3498714"/>
                    <a:gd name="connsiteX46" fmla="*/ 2170227 w 2170227"/>
                    <a:gd name="connsiteY46" fmla="*/ 3124562 h 3498714"/>
                    <a:gd name="connsiteX47" fmla="*/ 682782 w 2170227"/>
                    <a:gd name="connsiteY47"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 name="connsiteX0" fmla="*/ 358791 w 2070059"/>
                    <a:gd name="connsiteY0" fmla="*/ 644545 h 3498714"/>
                    <a:gd name="connsiteX1" fmla="*/ 1006774 w 2070059"/>
                    <a:gd name="connsiteY1" fmla="*/ 644545 h 3498714"/>
                    <a:gd name="connsiteX2" fmla="*/ 1542636 w 2070059"/>
                    <a:gd name="connsiteY2" fmla="*/ 1193969 h 3498714"/>
                    <a:gd name="connsiteX3" fmla="*/ 1929878 w 2070059"/>
                    <a:gd name="connsiteY3" fmla="*/ 1193970 h 3498714"/>
                    <a:gd name="connsiteX4" fmla="*/ 2070059 w 2070059"/>
                    <a:gd name="connsiteY4" fmla="*/ 1334152 h 3498714"/>
                    <a:gd name="connsiteX5" fmla="*/ 1929878 w 2070059"/>
                    <a:gd name="connsiteY5" fmla="*/ 1474333 h 3498714"/>
                    <a:gd name="connsiteX6" fmla="*/ 1520943 w 2070059"/>
                    <a:gd name="connsiteY6" fmla="*/ 1470388 h 3498714"/>
                    <a:gd name="connsiteX7" fmla="*/ 1332825 w 2070059"/>
                    <a:gd name="connsiteY7" fmla="*/ 1367201 h 3498714"/>
                    <a:gd name="connsiteX8" fmla="*/ 1106501 w 2070059"/>
                    <a:gd name="connsiteY8" fmla="*/ 1098289 h 3498714"/>
                    <a:gd name="connsiteX9" fmla="*/ 1101049 w 2070059"/>
                    <a:gd name="connsiteY9" fmla="*/ 1092836 h 3498714"/>
                    <a:gd name="connsiteX10" fmla="*/ 1046523 w 2070059"/>
                    <a:gd name="connsiteY10" fmla="*/ 1092836 h 3498714"/>
                    <a:gd name="connsiteX11" fmla="*/ 1041071 w 2070059"/>
                    <a:gd name="connsiteY11" fmla="*/ 1098289 h 3498714"/>
                    <a:gd name="connsiteX12" fmla="*/ 1042136 w 2070059"/>
                    <a:gd name="connsiteY12" fmla="*/ 1419754 h 3498714"/>
                    <a:gd name="connsiteX13" fmla="*/ 1042136 w 2070059"/>
                    <a:gd name="connsiteY13" fmla="*/ 3337652 h 3498714"/>
                    <a:gd name="connsiteX14" fmla="*/ 881075 w 2070059"/>
                    <a:gd name="connsiteY14" fmla="*/ 3498714 h 3498714"/>
                    <a:gd name="connsiteX15" fmla="*/ 720012 w 2070059"/>
                    <a:gd name="connsiteY15" fmla="*/ 3337652 h 3498714"/>
                    <a:gd name="connsiteX16" fmla="*/ 720012 w 2070059"/>
                    <a:gd name="connsiteY16" fmla="*/ 2125717 h 3498714"/>
                    <a:gd name="connsiteX17" fmla="*/ 718947 w 2070059"/>
                    <a:gd name="connsiteY17" fmla="*/ 2033194 h 3498714"/>
                    <a:gd name="connsiteX18" fmla="*/ 714162 w 2070059"/>
                    <a:gd name="connsiteY18" fmla="*/ 2028410 h 3498714"/>
                    <a:gd name="connsiteX19" fmla="*/ 654759 w 2070059"/>
                    <a:gd name="connsiteY19" fmla="*/ 2028410 h 3498714"/>
                    <a:gd name="connsiteX20" fmla="*/ 649974 w 2070059"/>
                    <a:gd name="connsiteY20" fmla="*/ 2033194 h 3498714"/>
                    <a:gd name="connsiteX21" fmla="*/ 649974 w 2070059"/>
                    <a:gd name="connsiteY21" fmla="*/ 2125717 h 3498714"/>
                    <a:gd name="connsiteX22" fmla="*/ 649574 w 2070059"/>
                    <a:gd name="connsiteY22" fmla="*/ 3337652 h 3498714"/>
                    <a:gd name="connsiteX23" fmla="*/ 488511 w 2070059"/>
                    <a:gd name="connsiteY23" fmla="*/ 3498714 h 3498714"/>
                    <a:gd name="connsiteX24" fmla="*/ 327450 w 2070059"/>
                    <a:gd name="connsiteY24" fmla="*/ 3337652 h 3498714"/>
                    <a:gd name="connsiteX25" fmla="*/ 327450 w 2070059"/>
                    <a:gd name="connsiteY25" fmla="*/ 1458216 h 3498714"/>
                    <a:gd name="connsiteX26" fmla="*/ 322427 w 2070059"/>
                    <a:gd name="connsiteY26" fmla="*/ 1098205 h 3498714"/>
                    <a:gd name="connsiteX27" fmla="*/ 317058 w 2070059"/>
                    <a:gd name="connsiteY27" fmla="*/ 1092836 h 3498714"/>
                    <a:gd name="connsiteX28" fmla="*/ 263371 w 2070059"/>
                    <a:gd name="connsiteY28" fmla="*/ 1092836 h 3498714"/>
                    <a:gd name="connsiteX29" fmla="*/ 258001 w 2070059"/>
                    <a:gd name="connsiteY29" fmla="*/ 1098205 h 3498714"/>
                    <a:gd name="connsiteX30" fmla="*/ 258001 w 2070059"/>
                    <a:gd name="connsiteY30" fmla="*/ 1444446 h 3498714"/>
                    <a:gd name="connsiteX31" fmla="*/ 257700 w 2070059"/>
                    <a:gd name="connsiteY31" fmla="*/ 1444370 h 3498714"/>
                    <a:gd name="connsiteX32" fmla="*/ 257700 w 2070059"/>
                    <a:gd name="connsiteY32" fmla="*/ 1912573 h 3498714"/>
                    <a:gd name="connsiteX33" fmla="*/ 128850 w 2070059"/>
                    <a:gd name="connsiteY33" fmla="*/ 2041423 h 3498714"/>
                    <a:gd name="connsiteX34" fmla="*/ 0 w 2070059"/>
                    <a:gd name="connsiteY34" fmla="*/ 1912573 h 3498714"/>
                    <a:gd name="connsiteX35" fmla="*/ 0 w 2070059"/>
                    <a:gd name="connsiteY35" fmla="*/ 1101802 h 3498714"/>
                    <a:gd name="connsiteX36" fmla="*/ 0 w 2070059"/>
                    <a:gd name="connsiteY36" fmla="*/ 1003338 h 3498714"/>
                    <a:gd name="connsiteX37" fmla="*/ 0 w 2070059"/>
                    <a:gd name="connsiteY37" fmla="*/ 982486 h 3498714"/>
                    <a:gd name="connsiteX38" fmla="*/ 12733 w 2070059"/>
                    <a:gd name="connsiteY38" fmla="*/ 894663 h 3498714"/>
                    <a:gd name="connsiteX39" fmla="*/ 20539 w 2070059"/>
                    <a:gd name="connsiteY39" fmla="*/ 868773 h 3498714"/>
                    <a:gd name="connsiteX40" fmla="*/ 358791 w 2070059"/>
                    <a:gd name="connsiteY40" fmla="*/ 644545 h 3498714"/>
                    <a:gd name="connsiteX41" fmla="*/ 682782 w 2070059"/>
                    <a:gd name="connsiteY41" fmla="*/ 0 h 3498714"/>
                    <a:gd name="connsiteX42" fmla="*/ 966919 w 2070059"/>
                    <a:gd name="connsiteY42" fmla="*/ 284138 h 3498714"/>
                    <a:gd name="connsiteX43" fmla="*/ 682782 w 2070059"/>
                    <a:gd name="connsiteY43" fmla="*/ 568275 h 3498714"/>
                    <a:gd name="connsiteX44" fmla="*/ 398645 w 2070059"/>
                    <a:gd name="connsiteY44" fmla="*/ 284138 h 3498714"/>
                    <a:gd name="connsiteX45" fmla="*/ 682782 w 2070059"/>
                    <a:gd name="connsiteY45" fmla="*/ 0 h 3498714"/>
                    <a:gd name="connsiteX46" fmla="*/ 682782 w 2070059"/>
                    <a:gd name="connsiteY46" fmla="*/ 0 h 3498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70059" h="3498714">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cubicBezTo>
                        <a:pt x="649841" y="2529695"/>
                        <a:pt x="649707" y="2933674"/>
                        <a:pt x="649574" y="3337652"/>
                      </a:cubicBez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730138" y="47356"/>
                        <a:pt x="917322" y="-43301"/>
                        <a:pt x="966919" y="284138"/>
                      </a:cubicBezTo>
                      <a:cubicBezTo>
                        <a:pt x="1016516" y="611577"/>
                        <a:pt x="839708" y="568275"/>
                        <a:pt x="682782" y="568275"/>
                      </a:cubicBezTo>
                      <a:cubicBezTo>
                        <a:pt x="525858" y="568275"/>
                        <a:pt x="398645" y="441063"/>
                        <a:pt x="398645" y="284138"/>
                      </a:cubicBezTo>
                      <a:cubicBezTo>
                        <a:pt x="398645" y="127213"/>
                        <a:pt x="525858" y="0"/>
                        <a:pt x="682782" y="0"/>
                      </a:cubicBezTo>
                      <a:lnTo>
                        <a:pt x="682782" y="0"/>
                      </a:ln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defRPr/>
                  </a:pPr>
                  <a:endParaRPr lang="en-US" sz="1200" dirty="0" err="1">
                    <a:solidFill>
                      <a:prstClr val="white"/>
                    </a:solidFill>
                  </a:endParaRPr>
                </a:p>
              </p:txBody>
            </p:sp>
          </p:grpSp>
          <p:pic>
            <p:nvPicPr>
              <p:cNvPr id="222" name="Picture 33" descr="C:\Users\sakuu\Documents\Ballmer WPC\AI\Home.png"/>
              <p:cNvPicPr>
                <a:picLocks noChangeAspect="1" noChangeArrowheads="1"/>
              </p:cNvPicPr>
              <p:nvPr/>
            </p:nvPicPr>
            <p:blipFill>
              <a:blip r:embed="rId30" cstate="print">
                <a:duotone>
                  <a:schemeClr val="accent5">
                    <a:shade val="45000"/>
                    <a:satMod val="135000"/>
                  </a:schemeClr>
                  <a:prstClr val="white"/>
                </a:duotone>
                <a:extLst>
                  <a:ext uri="{BEBA8EAE-BF5A-486C-A8C5-ECC9F3942E4B}">
                    <a14:imgProps xmlns:a14="http://schemas.microsoft.com/office/drawing/2010/main">
                      <a14:imgLayer r:embed="rId31">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black">
              <a:xfrm>
                <a:off x="6665784" y="2034523"/>
                <a:ext cx="344298" cy="294263"/>
              </a:xfrm>
              <a:prstGeom prst="rect">
                <a:avLst/>
              </a:prstGeom>
              <a:noFill/>
              <a:extLst/>
            </p:spPr>
          </p:pic>
          <p:sp>
            <p:nvSpPr>
              <p:cNvPr id="223" name="Freeform 5"/>
              <p:cNvSpPr>
                <a:spLocks noChangeAspect="1"/>
              </p:cNvSpPr>
              <p:nvPr/>
            </p:nvSpPr>
            <p:spPr bwMode="auto">
              <a:xfrm flipH="1">
                <a:off x="5052739" y="2474755"/>
                <a:ext cx="411480" cy="267727"/>
              </a:xfrm>
              <a:custGeom>
                <a:avLst/>
                <a:gdLst/>
                <a:ahLst/>
                <a:cxnLst/>
                <a:rect l="l" t="t" r="r" b="b"/>
                <a:pathLst>
                  <a:path w="6776429" h="4409039">
                    <a:moveTo>
                      <a:pt x="5567597" y="4312767"/>
                    </a:moveTo>
                    <a:lnTo>
                      <a:pt x="3745936" y="4312767"/>
                    </a:lnTo>
                    <a:lnTo>
                      <a:pt x="3745936" y="4409039"/>
                    </a:lnTo>
                    <a:lnTo>
                      <a:pt x="5567597" y="4409039"/>
                    </a:lnTo>
                    <a:close/>
                    <a:moveTo>
                      <a:pt x="2248864" y="4188766"/>
                    </a:moveTo>
                    <a:lnTo>
                      <a:pt x="7064" y="4250296"/>
                    </a:lnTo>
                    <a:lnTo>
                      <a:pt x="7064" y="4323099"/>
                    </a:lnTo>
                    <a:lnTo>
                      <a:pt x="7064" y="4409039"/>
                    </a:lnTo>
                    <a:lnTo>
                      <a:pt x="2248864" y="4409039"/>
                    </a:lnTo>
                    <a:close/>
                    <a:moveTo>
                      <a:pt x="5567597" y="4005612"/>
                    </a:moveTo>
                    <a:lnTo>
                      <a:pt x="3745936" y="4005612"/>
                    </a:lnTo>
                    <a:lnTo>
                      <a:pt x="3745936" y="4234831"/>
                    </a:lnTo>
                    <a:lnTo>
                      <a:pt x="5567597" y="4234831"/>
                    </a:lnTo>
                    <a:close/>
                    <a:moveTo>
                      <a:pt x="5567597" y="3826820"/>
                    </a:moveTo>
                    <a:lnTo>
                      <a:pt x="3745936" y="3826820"/>
                    </a:lnTo>
                    <a:lnTo>
                      <a:pt x="3745936" y="3927677"/>
                    </a:lnTo>
                    <a:lnTo>
                      <a:pt x="5567597" y="3927677"/>
                    </a:lnTo>
                    <a:close/>
                    <a:moveTo>
                      <a:pt x="2248864" y="3467092"/>
                    </a:moveTo>
                    <a:lnTo>
                      <a:pt x="7064" y="3496562"/>
                    </a:lnTo>
                    <a:lnTo>
                      <a:pt x="7064" y="3648517"/>
                    </a:lnTo>
                    <a:lnTo>
                      <a:pt x="7064" y="4072338"/>
                    </a:lnTo>
                    <a:lnTo>
                      <a:pt x="7064" y="4171229"/>
                    </a:lnTo>
                    <a:lnTo>
                      <a:pt x="7064" y="4198354"/>
                    </a:lnTo>
                    <a:lnTo>
                      <a:pt x="7064" y="4204261"/>
                    </a:lnTo>
                    <a:lnTo>
                      <a:pt x="2248864" y="4175922"/>
                    </a:lnTo>
                    <a:lnTo>
                      <a:pt x="2248864" y="4005612"/>
                    </a:lnTo>
                    <a:lnTo>
                      <a:pt x="1363292" y="4005612"/>
                    </a:lnTo>
                    <a:lnTo>
                      <a:pt x="1363292" y="3927677"/>
                    </a:lnTo>
                    <a:lnTo>
                      <a:pt x="2248864" y="3927677"/>
                    </a:lnTo>
                    <a:lnTo>
                      <a:pt x="2248864" y="3826820"/>
                    </a:lnTo>
                    <a:lnTo>
                      <a:pt x="395566" y="3826820"/>
                    </a:lnTo>
                    <a:lnTo>
                      <a:pt x="395566" y="3746593"/>
                    </a:lnTo>
                    <a:lnTo>
                      <a:pt x="2248864" y="3746593"/>
                    </a:lnTo>
                    <a:close/>
                    <a:moveTo>
                      <a:pt x="2248864" y="3327119"/>
                    </a:moveTo>
                    <a:lnTo>
                      <a:pt x="7064" y="3327119"/>
                    </a:lnTo>
                    <a:lnTo>
                      <a:pt x="7064" y="3397756"/>
                    </a:lnTo>
                    <a:lnTo>
                      <a:pt x="7064" y="3455443"/>
                    </a:lnTo>
                    <a:lnTo>
                      <a:pt x="7064" y="3464505"/>
                    </a:lnTo>
                    <a:lnTo>
                      <a:pt x="2248864" y="3450933"/>
                    </a:lnTo>
                    <a:close/>
                    <a:moveTo>
                      <a:pt x="3678126" y="3327119"/>
                    </a:moveTo>
                    <a:lnTo>
                      <a:pt x="3676646" y="3327119"/>
                    </a:lnTo>
                    <a:lnTo>
                      <a:pt x="2316674" y="3327119"/>
                    </a:lnTo>
                    <a:lnTo>
                      <a:pt x="2316674" y="3450522"/>
                    </a:lnTo>
                    <a:lnTo>
                      <a:pt x="2316674" y="3466201"/>
                    </a:lnTo>
                    <a:lnTo>
                      <a:pt x="2316674" y="3746593"/>
                    </a:lnTo>
                    <a:lnTo>
                      <a:pt x="2316674" y="3826820"/>
                    </a:lnTo>
                    <a:lnTo>
                      <a:pt x="2316674" y="3927677"/>
                    </a:lnTo>
                    <a:lnTo>
                      <a:pt x="2316674" y="4005612"/>
                    </a:lnTo>
                    <a:lnTo>
                      <a:pt x="2316674" y="4175065"/>
                    </a:lnTo>
                    <a:lnTo>
                      <a:pt x="2316674" y="4186905"/>
                    </a:lnTo>
                    <a:lnTo>
                      <a:pt x="2316674" y="4409039"/>
                    </a:lnTo>
                    <a:lnTo>
                      <a:pt x="3676646" y="4409039"/>
                    </a:lnTo>
                    <a:lnTo>
                      <a:pt x="3678126" y="4409039"/>
                    </a:lnTo>
                    <a:lnTo>
                      <a:pt x="3678126" y="4312767"/>
                    </a:lnTo>
                    <a:lnTo>
                      <a:pt x="3676646" y="4312767"/>
                    </a:lnTo>
                    <a:lnTo>
                      <a:pt x="3676646" y="4234831"/>
                    </a:lnTo>
                    <a:lnTo>
                      <a:pt x="3678126" y="4234831"/>
                    </a:lnTo>
                    <a:lnTo>
                      <a:pt x="3678126" y="4005612"/>
                    </a:lnTo>
                    <a:lnTo>
                      <a:pt x="3676646" y="4005612"/>
                    </a:lnTo>
                    <a:lnTo>
                      <a:pt x="3676646" y="3927677"/>
                    </a:lnTo>
                    <a:lnTo>
                      <a:pt x="3678126" y="3927677"/>
                    </a:lnTo>
                    <a:lnTo>
                      <a:pt x="3678126" y="3826820"/>
                    </a:lnTo>
                    <a:lnTo>
                      <a:pt x="3676646" y="3826820"/>
                    </a:lnTo>
                    <a:lnTo>
                      <a:pt x="3676646" y="3746593"/>
                    </a:lnTo>
                    <a:lnTo>
                      <a:pt x="3678126" y="3746593"/>
                    </a:lnTo>
                    <a:lnTo>
                      <a:pt x="3678126" y="3448305"/>
                    </a:lnTo>
                    <a:lnTo>
                      <a:pt x="3676646" y="3448324"/>
                    </a:lnTo>
                    <a:lnTo>
                      <a:pt x="3676646" y="3442289"/>
                    </a:lnTo>
                    <a:lnTo>
                      <a:pt x="3678126" y="3442280"/>
                    </a:lnTo>
                    <a:close/>
                    <a:moveTo>
                      <a:pt x="5567597" y="3327119"/>
                    </a:moveTo>
                    <a:lnTo>
                      <a:pt x="3745936" y="3327119"/>
                    </a:lnTo>
                    <a:lnTo>
                      <a:pt x="3745936" y="3441869"/>
                    </a:lnTo>
                    <a:lnTo>
                      <a:pt x="4527642" y="3437136"/>
                    </a:lnTo>
                    <a:lnTo>
                      <a:pt x="4567848" y="3436607"/>
                    </a:lnTo>
                    <a:lnTo>
                      <a:pt x="4614939" y="3436607"/>
                    </a:lnTo>
                    <a:lnTo>
                      <a:pt x="4527642" y="3437136"/>
                    </a:lnTo>
                    <a:lnTo>
                      <a:pt x="3745936" y="3447413"/>
                    </a:lnTo>
                    <a:lnTo>
                      <a:pt x="3745936" y="3746593"/>
                    </a:lnTo>
                    <a:lnTo>
                      <a:pt x="5567597" y="3746593"/>
                    </a:lnTo>
                    <a:close/>
                    <a:moveTo>
                      <a:pt x="233976" y="3083410"/>
                    </a:moveTo>
                    <a:lnTo>
                      <a:pt x="0" y="3296552"/>
                    </a:lnTo>
                    <a:lnTo>
                      <a:pt x="1040822" y="3288261"/>
                    </a:lnTo>
                    <a:cubicBezTo>
                      <a:pt x="651034" y="3226258"/>
                      <a:pt x="628344" y="3243118"/>
                      <a:pt x="233976" y="3083410"/>
                    </a:cubicBezTo>
                    <a:close/>
                    <a:moveTo>
                      <a:pt x="6776429" y="2826778"/>
                    </a:moveTo>
                    <a:lnTo>
                      <a:pt x="5635408" y="3963226"/>
                    </a:lnTo>
                    <a:lnTo>
                      <a:pt x="5635408" y="4196285"/>
                    </a:lnTo>
                    <a:lnTo>
                      <a:pt x="6482110" y="3349488"/>
                    </a:lnTo>
                    <a:lnTo>
                      <a:pt x="6482110" y="3434149"/>
                    </a:lnTo>
                    <a:lnTo>
                      <a:pt x="5635408" y="4276423"/>
                    </a:lnTo>
                    <a:lnTo>
                      <a:pt x="5635408" y="4373588"/>
                    </a:lnTo>
                    <a:lnTo>
                      <a:pt x="6776429" y="3234056"/>
                    </a:lnTo>
                    <a:close/>
                    <a:moveTo>
                      <a:pt x="1738028" y="2499490"/>
                    </a:moveTo>
                    <a:lnTo>
                      <a:pt x="1755660" y="2501846"/>
                    </a:lnTo>
                    <a:lnTo>
                      <a:pt x="1770940" y="2501846"/>
                    </a:lnTo>
                    <a:lnTo>
                      <a:pt x="1789746" y="2501846"/>
                    </a:lnTo>
                    <a:lnTo>
                      <a:pt x="1805028" y="2504200"/>
                    </a:lnTo>
                    <a:lnTo>
                      <a:pt x="1822658" y="2507731"/>
                    </a:lnTo>
                    <a:lnTo>
                      <a:pt x="1836764" y="2507731"/>
                    </a:lnTo>
                    <a:lnTo>
                      <a:pt x="1849694" y="2510086"/>
                    </a:lnTo>
                    <a:lnTo>
                      <a:pt x="1862622" y="2512440"/>
                    </a:lnTo>
                    <a:lnTo>
                      <a:pt x="1876728" y="2519505"/>
                    </a:lnTo>
                    <a:lnTo>
                      <a:pt x="1896710" y="2526568"/>
                    </a:lnTo>
                    <a:lnTo>
                      <a:pt x="1919042" y="2537163"/>
                    </a:lnTo>
                    <a:lnTo>
                      <a:pt x="1931974" y="2546582"/>
                    </a:lnTo>
                    <a:lnTo>
                      <a:pt x="1946078" y="2559531"/>
                    </a:lnTo>
                    <a:lnTo>
                      <a:pt x="1954306" y="2573659"/>
                    </a:lnTo>
                    <a:lnTo>
                      <a:pt x="1963710" y="2588964"/>
                    </a:lnTo>
                    <a:lnTo>
                      <a:pt x="1966060" y="2601913"/>
                    </a:lnTo>
                    <a:lnTo>
                      <a:pt x="1966060" y="2619574"/>
                    </a:lnTo>
                    <a:lnTo>
                      <a:pt x="1961358" y="2636055"/>
                    </a:lnTo>
                    <a:lnTo>
                      <a:pt x="1954306" y="2653714"/>
                    </a:lnTo>
                    <a:lnTo>
                      <a:pt x="1943728" y="2671374"/>
                    </a:lnTo>
                    <a:lnTo>
                      <a:pt x="1929622" y="2689033"/>
                    </a:lnTo>
                    <a:lnTo>
                      <a:pt x="1921394" y="2698451"/>
                    </a:lnTo>
                    <a:lnTo>
                      <a:pt x="1911990" y="2707869"/>
                    </a:lnTo>
                    <a:lnTo>
                      <a:pt x="1901412" y="2716110"/>
                    </a:lnTo>
                    <a:lnTo>
                      <a:pt x="1892008" y="2727882"/>
                    </a:lnTo>
                    <a:lnTo>
                      <a:pt x="1879078" y="2733769"/>
                    </a:lnTo>
                    <a:lnTo>
                      <a:pt x="1864974" y="2743187"/>
                    </a:lnTo>
                    <a:lnTo>
                      <a:pt x="1852044" y="2752605"/>
                    </a:lnTo>
                    <a:lnTo>
                      <a:pt x="1837940" y="2760846"/>
                    </a:lnTo>
                    <a:lnTo>
                      <a:pt x="1822658" y="2767910"/>
                    </a:lnTo>
                    <a:lnTo>
                      <a:pt x="1807378" y="2776151"/>
                    </a:lnTo>
                    <a:lnTo>
                      <a:pt x="1792096" y="2783215"/>
                    </a:lnTo>
                    <a:lnTo>
                      <a:pt x="1777992" y="2792634"/>
                    </a:lnTo>
                    <a:lnTo>
                      <a:pt x="1760360" y="2797343"/>
                    </a:lnTo>
                    <a:lnTo>
                      <a:pt x="1745080" y="2803228"/>
                    </a:lnTo>
                    <a:lnTo>
                      <a:pt x="1726272" y="2810292"/>
                    </a:lnTo>
                    <a:lnTo>
                      <a:pt x="1710992" y="2817355"/>
                    </a:lnTo>
                    <a:lnTo>
                      <a:pt x="1693360" y="2820888"/>
                    </a:lnTo>
                    <a:lnTo>
                      <a:pt x="1678082" y="2827951"/>
                    </a:lnTo>
                    <a:lnTo>
                      <a:pt x="1659274" y="2832660"/>
                    </a:lnTo>
                    <a:lnTo>
                      <a:pt x="1643992" y="2839725"/>
                    </a:lnTo>
                    <a:lnTo>
                      <a:pt x="1624012" y="2842079"/>
                    </a:lnTo>
                    <a:lnTo>
                      <a:pt x="1606380" y="2845610"/>
                    </a:lnTo>
                    <a:lnTo>
                      <a:pt x="1588748" y="2847965"/>
                    </a:lnTo>
                    <a:lnTo>
                      <a:pt x="1572292" y="2852675"/>
                    </a:lnTo>
                    <a:lnTo>
                      <a:pt x="1552310" y="2855028"/>
                    </a:lnTo>
                    <a:lnTo>
                      <a:pt x="1534678" y="2857384"/>
                    </a:lnTo>
                    <a:lnTo>
                      <a:pt x="1517046" y="2859738"/>
                    </a:lnTo>
                    <a:lnTo>
                      <a:pt x="1500590" y="2864447"/>
                    </a:lnTo>
                    <a:lnTo>
                      <a:pt x="1480608" y="2864447"/>
                    </a:lnTo>
                    <a:lnTo>
                      <a:pt x="1465328" y="2864447"/>
                    </a:lnTo>
                    <a:lnTo>
                      <a:pt x="1447696" y="2864447"/>
                    </a:lnTo>
                    <a:lnTo>
                      <a:pt x="1432416" y="2864447"/>
                    </a:lnTo>
                    <a:lnTo>
                      <a:pt x="1413610" y="2862093"/>
                    </a:lnTo>
                    <a:lnTo>
                      <a:pt x="1398328" y="2862093"/>
                    </a:lnTo>
                    <a:lnTo>
                      <a:pt x="1383048" y="2862093"/>
                    </a:lnTo>
                    <a:lnTo>
                      <a:pt x="1368944" y="2862093"/>
                    </a:lnTo>
                    <a:lnTo>
                      <a:pt x="1351312" y="2857384"/>
                    </a:lnTo>
                    <a:lnTo>
                      <a:pt x="1338382" y="2855028"/>
                    </a:lnTo>
                    <a:lnTo>
                      <a:pt x="1324276" y="2850319"/>
                    </a:lnTo>
                    <a:lnTo>
                      <a:pt x="1311346" y="2847965"/>
                    </a:lnTo>
                    <a:lnTo>
                      <a:pt x="1286664" y="2837370"/>
                    </a:lnTo>
                    <a:lnTo>
                      <a:pt x="1269032" y="2827951"/>
                    </a:lnTo>
                    <a:lnTo>
                      <a:pt x="1251400" y="2815002"/>
                    </a:lnTo>
                    <a:lnTo>
                      <a:pt x="1239646" y="2803228"/>
                    </a:lnTo>
                    <a:lnTo>
                      <a:pt x="1229066" y="2790278"/>
                    </a:lnTo>
                    <a:lnTo>
                      <a:pt x="1224364" y="2776151"/>
                    </a:lnTo>
                    <a:lnTo>
                      <a:pt x="1219664" y="2758492"/>
                    </a:lnTo>
                    <a:lnTo>
                      <a:pt x="1219664" y="2743187"/>
                    </a:lnTo>
                    <a:lnTo>
                      <a:pt x="1222014" y="2727882"/>
                    </a:lnTo>
                    <a:lnTo>
                      <a:pt x="1230242" y="2711401"/>
                    </a:lnTo>
                    <a:lnTo>
                      <a:pt x="1241996" y="2693742"/>
                    </a:lnTo>
                    <a:lnTo>
                      <a:pt x="1257276" y="2676083"/>
                    </a:lnTo>
                    <a:lnTo>
                      <a:pt x="1264330" y="2664310"/>
                    </a:lnTo>
                    <a:lnTo>
                      <a:pt x="1274908" y="2658423"/>
                    </a:lnTo>
                    <a:lnTo>
                      <a:pt x="1284312" y="2646651"/>
                    </a:lnTo>
                    <a:lnTo>
                      <a:pt x="1297242" y="2640764"/>
                    </a:lnTo>
                    <a:lnTo>
                      <a:pt x="1308996" y="2628992"/>
                    </a:lnTo>
                    <a:lnTo>
                      <a:pt x="1319576" y="2619574"/>
                    </a:lnTo>
                    <a:lnTo>
                      <a:pt x="1333680" y="2611332"/>
                    </a:lnTo>
                    <a:lnTo>
                      <a:pt x="1348960" y="2604269"/>
                    </a:lnTo>
                    <a:lnTo>
                      <a:pt x="1363066" y="2596028"/>
                    </a:lnTo>
                    <a:lnTo>
                      <a:pt x="1375996" y="2586610"/>
                    </a:lnTo>
                    <a:lnTo>
                      <a:pt x="1391276" y="2579546"/>
                    </a:lnTo>
                    <a:lnTo>
                      <a:pt x="1407732" y="2573659"/>
                    </a:lnTo>
                    <a:lnTo>
                      <a:pt x="1420662" y="2566596"/>
                    </a:lnTo>
                    <a:lnTo>
                      <a:pt x="1438292" y="2559531"/>
                    </a:lnTo>
                    <a:lnTo>
                      <a:pt x="1454748" y="2552468"/>
                    </a:lnTo>
                    <a:lnTo>
                      <a:pt x="1472380" y="2546582"/>
                    </a:lnTo>
                    <a:lnTo>
                      <a:pt x="1487660" y="2539519"/>
                    </a:lnTo>
                    <a:lnTo>
                      <a:pt x="1507644" y="2534810"/>
                    </a:lnTo>
                    <a:lnTo>
                      <a:pt x="1522924" y="2530101"/>
                    </a:lnTo>
                    <a:lnTo>
                      <a:pt x="1544080" y="2528923"/>
                    </a:lnTo>
                    <a:lnTo>
                      <a:pt x="1559362" y="2521858"/>
                    </a:lnTo>
                    <a:lnTo>
                      <a:pt x="1576992" y="2517149"/>
                    </a:lnTo>
                    <a:lnTo>
                      <a:pt x="1594624" y="2512440"/>
                    </a:lnTo>
                    <a:lnTo>
                      <a:pt x="1614608" y="2510086"/>
                    </a:lnTo>
                    <a:lnTo>
                      <a:pt x="1631064" y="2506555"/>
                    </a:lnTo>
                    <a:lnTo>
                      <a:pt x="1648694" y="2504200"/>
                    </a:lnTo>
                    <a:lnTo>
                      <a:pt x="1666326" y="2504200"/>
                    </a:lnTo>
                    <a:lnTo>
                      <a:pt x="1686308" y="2504200"/>
                    </a:lnTo>
                    <a:lnTo>
                      <a:pt x="1702764" y="2501846"/>
                    </a:lnTo>
                    <a:lnTo>
                      <a:pt x="1720396" y="2499490"/>
                    </a:lnTo>
                    <a:close/>
                    <a:moveTo>
                      <a:pt x="5716446" y="2435917"/>
                    </a:moveTo>
                    <a:lnTo>
                      <a:pt x="4527382" y="2435917"/>
                    </a:lnTo>
                    <a:lnTo>
                      <a:pt x="3977045" y="3057829"/>
                    </a:lnTo>
                    <a:lnTo>
                      <a:pt x="3979018" y="3056988"/>
                    </a:lnTo>
                    <a:lnTo>
                      <a:pt x="3996666" y="3049964"/>
                    </a:lnTo>
                    <a:lnTo>
                      <a:pt x="4011962" y="3041768"/>
                    </a:lnTo>
                    <a:lnTo>
                      <a:pt x="4030787" y="3034743"/>
                    </a:lnTo>
                    <a:lnTo>
                      <a:pt x="4046083" y="3027719"/>
                    </a:lnTo>
                    <a:lnTo>
                      <a:pt x="4063732" y="3021865"/>
                    </a:lnTo>
                    <a:lnTo>
                      <a:pt x="4079028" y="3012498"/>
                    </a:lnTo>
                    <a:lnTo>
                      <a:pt x="4095500" y="3005474"/>
                    </a:lnTo>
                    <a:lnTo>
                      <a:pt x="4110796" y="2997279"/>
                    </a:lnTo>
                    <a:lnTo>
                      <a:pt x="4128445" y="2990254"/>
                    </a:lnTo>
                    <a:lnTo>
                      <a:pt x="4142565" y="2980887"/>
                    </a:lnTo>
                    <a:lnTo>
                      <a:pt x="4160213" y="2975035"/>
                    </a:lnTo>
                    <a:lnTo>
                      <a:pt x="4173156" y="2968009"/>
                    </a:lnTo>
                    <a:lnTo>
                      <a:pt x="4190806" y="2960984"/>
                    </a:lnTo>
                    <a:lnTo>
                      <a:pt x="5628712" y="2960984"/>
                    </a:lnTo>
                    <a:lnTo>
                      <a:pt x="6084380" y="2508115"/>
                    </a:lnTo>
                    <a:lnTo>
                      <a:pt x="6071820" y="2508858"/>
                    </a:lnTo>
                    <a:lnTo>
                      <a:pt x="6056540" y="2511221"/>
                    </a:lnTo>
                    <a:lnTo>
                      <a:pt x="6036559" y="2513584"/>
                    </a:lnTo>
                    <a:lnTo>
                      <a:pt x="6020104" y="2518309"/>
                    </a:lnTo>
                    <a:lnTo>
                      <a:pt x="6002474" y="2518309"/>
                    </a:lnTo>
                    <a:lnTo>
                      <a:pt x="5987194" y="2520672"/>
                    </a:lnTo>
                    <a:lnTo>
                      <a:pt x="5969565" y="2520672"/>
                    </a:lnTo>
                    <a:lnTo>
                      <a:pt x="5953109" y="2523035"/>
                    </a:lnTo>
                    <a:lnTo>
                      <a:pt x="5933129" y="2520672"/>
                    </a:lnTo>
                    <a:lnTo>
                      <a:pt x="5917850" y="2520672"/>
                    </a:lnTo>
                    <a:lnTo>
                      <a:pt x="5900218" y="2518309"/>
                    </a:lnTo>
                    <a:lnTo>
                      <a:pt x="5886115" y="2518309"/>
                    </a:lnTo>
                    <a:lnTo>
                      <a:pt x="5870835" y="2513584"/>
                    </a:lnTo>
                    <a:lnTo>
                      <a:pt x="5855556" y="2511221"/>
                    </a:lnTo>
                    <a:lnTo>
                      <a:pt x="5841452" y="2508858"/>
                    </a:lnTo>
                    <a:lnTo>
                      <a:pt x="5830874" y="2507676"/>
                    </a:lnTo>
                    <a:lnTo>
                      <a:pt x="5816770" y="2502951"/>
                    </a:lnTo>
                    <a:lnTo>
                      <a:pt x="5803841" y="2498225"/>
                    </a:lnTo>
                    <a:lnTo>
                      <a:pt x="5793263" y="2493500"/>
                    </a:lnTo>
                    <a:lnTo>
                      <a:pt x="5781508" y="2491137"/>
                    </a:lnTo>
                    <a:lnTo>
                      <a:pt x="5761528" y="2482867"/>
                    </a:lnTo>
                    <a:lnTo>
                      <a:pt x="5748600" y="2473416"/>
                    </a:lnTo>
                    <a:lnTo>
                      <a:pt x="5732144" y="2460420"/>
                    </a:lnTo>
                    <a:lnTo>
                      <a:pt x="5723916" y="2446244"/>
                    </a:lnTo>
                    <a:close/>
                    <a:moveTo>
                      <a:pt x="3044326" y="2428965"/>
                    </a:moveTo>
                    <a:lnTo>
                      <a:pt x="3043462" y="2429229"/>
                    </a:lnTo>
                    <a:lnTo>
                      <a:pt x="3020896" y="2435645"/>
                    </a:lnTo>
                    <a:lnTo>
                      <a:pt x="3000368" y="2442784"/>
                    </a:lnTo>
                    <a:lnTo>
                      <a:pt x="2979892" y="2450765"/>
                    </a:lnTo>
                    <a:lnTo>
                      <a:pt x="2961352" y="2457785"/>
                    </a:lnTo>
                    <a:lnTo>
                      <a:pt x="2939780" y="2464142"/>
                    </a:lnTo>
                    <a:lnTo>
                      <a:pt x="2919302" y="2472121"/>
                    </a:lnTo>
                    <a:lnTo>
                      <a:pt x="2898774" y="2479261"/>
                    </a:lnTo>
                    <a:lnTo>
                      <a:pt x="2880286" y="2487122"/>
                    </a:lnTo>
                    <a:lnTo>
                      <a:pt x="2859758" y="2494261"/>
                    </a:lnTo>
                    <a:lnTo>
                      <a:pt x="2841372" y="2503805"/>
                    </a:lnTo>
                    <a:lnTo>
                      <a:pt x="2820892" y="2511786"/>
                    </a:lnTo>
                    <a:lnTo>
                      <a:pt x="2804544" y="2522053"/>
                    </a:lnTo>
                    <a:lnTo>
                      <a:pt x="2784066" y="2530034"/>
                    </a:lnTo>
                    <a:lnTo>
                      <a:pt x="2765628" y="2538737"/>
                    </a:lnTo>
                    <a:lnTo>
                      <a:pt x="2745150" y="2546717"/>
                    </a:lnTo>
                    <a:lnTo>
                      <a:pt x="2728700" y="2555301"/>
                    </a:lnTo>
                    <a:lnTo>
                      <a:pt x="2710314" y="2564846"/>
                    </a:lnTo>
                    <a:lnTo>
                      <a:pt x="2695852" y="2573310"/>
                    </a:lnTo>
                    <a:lnTo>
                      <a:pt x="2679452" y="2582736"/>
                    </a:lnTo>
                    <a:lnTo>
                      <a:pt x="2662108" y="2593062"/>
                    </a:lnTo>
                    <a:lnTo>
                      <a:pt x="2645708" y="2602487"/>
                    </a:lnTo>
                    <a:lnTo>
                      <a:pt x="2629360" y="2612756"/>
                    </a:lnTo>
                    <a:lnTo>
                      <a:pt x="2612960" y="2622180"/>
                    </a:lnTo>
                    <a:lnTo>
                      <a:pt x="2598600" y="2632328"/>
                    </a:lnTo>
                    <a:lnTo>
                      <a:pt x="2582250" y="2642596"/>
                    </a:lnTo>
                    <a:lnTo>
                      <a:pt x="2569928" y="2653466"/>
                    </a:lnTo>
                    <a:lnTo>
                      <a:pt x="2554572" y="2663673"/>
                    </a:lnTo>
                    <a:lnTo>
                      <a:pt x="2542252" y="2674544"/>
                    </a:lnTo>
                    <a:lnTo>
                      <a:pt x="2525802" y="2683128"/>
                    </a:lnTo>
                    <a:lnTo>
                      <a:pt x="2513428" y="2693158"/>
                    </a:lnTo>
                    <a:lnTo>
                      <a:pt x="2500112" y="2704087"/>
                    </a:lnTo>
                    <a:lnTo>
                      <a:pt x="2489730" y="2713998"/>
                    </a:lnTo>
                    <a:lnTo>
                      <a:pt x="2477308" y="2723185"/>
                    </a:lnTo>
                    <a:lnTo>
                      <a:pt x="2465930" y="2733155"/>
                    </a:lnTo>
                    <a:lnTo>
                      <a:pt x="2457586" y="2743788"/>
                    </a:lnTo>
                    <a:lnTo>
                      <a:pt x="2448196" y="2753638"/>
                    </a:lnTo>
                    <a:lnTo>
                      <a:pt x="2437710" y="2761865"/>
                    </a:lnTo>
                    <a:lnTo>
                      <a:pt x="2428372" y="2772557"/>
                    </a:lnTo>
                    <a:lnTo>
                      <a:pt x="2419978" y="2782349"/>
                    </a:lnTo>
                    <a:lnTo>
                      <a:pt x="2414616" y="2792803"/>
                    </a:lnTo>
                    <a:lnTo>
                      <a:pt x="2407216" y="2802535"/>
                    </a:lnTo>
                    <a:lnTo>
                      <a:pt x="2400810" y="2812207"/>
                    </a:lnTo>
                    <a:lnTo>
                      <a:pt x="2395448" y="2822661"/>
                    </a:lnTo>
                    <a:lnTo>
                      <a:pt x="2392022" y="2832155"/>
                    </a:lnTo>
                    <a:lnTo>
                      <a:pt x="2387556" y="2840867"/>
                    </a:lnTo>
                    <a:lnTo>
                      <a:pt x="2382042" y="2848798"/>
                    </a:lnTo>
                    <a:lnTo>
                      <a:pt x="2376580" y="2857569"/>
                    </a:lnTo>
                    <a:lnTo>
                      <a:pt x="2375146" y="2866944"/>
                    </a:lnTo>
                    <a:lnTo>
                      <a:pt x="2370676" y="2875655"/>
                    </a:lnTo>
                    <a:lnTo>
                      <a:pt x="2369240" y="2885030"/>
                    </a:lnTo>
                    <a:lnTo>
                      <a:pt x="2367756" y="2893565"/>
                    </a:lnTo>
                    <a:lnTo>
                      <a:pt x="2368310" y="2902820"/>
                    </a:lnTo>
                    <a:lnTo>
                      <a:pt x="2367278" y="2918927"/>
                    </a:lnTo>
                    <a:lnTo>
                      <a:pt x="2368234" y="2934914"/>
                    </a:lnTo>
                    <a:lnTo>
                      <a:pt x="2373168" y="2950664"/>
                    </a:lnTo>
                    <a:lnTo>
                      <a:pt x="2379194" y="2968038"/>
                    </a:lnTo>
                    <a:lnTo>
                      <a:pt x="2386016" y="2981986"/>
                    </a:lnTo>
                    <a:lnTo>
                      <a:pt x="2396816" y="2995695"/>
                    </a:lnTo>
                    <a:lnTo>
                      <a:pt x="2406618" y="3009465"/>
                    </a:lnTo>
                    <a:lnTo>
                      <a:pt x="2420400" y="3022998"/>
                    </a:lnTo>
                    <a:lnTo>
                      <a:pt x="2426668" y="3027689"/>
                    </a:lnTo>
                    <a:lnTo>
                      <a:pt x="2435024" y="3033945"/>
                    </a:lnTo>
                    <a:lnTo>
                      <a:pt x="2442336" y="3039420"/>
                    </a:lnTo>
                    <a:lnTo>
                      <a:pt x="2454672" y="3045437"/>
                    </a:lnTo>
                    <a:lnTo>
                      <a:pt x="2461984" y="3050912"/>
                    </a:lnTo>
                    <a:lnTo>
                      <a:pt x="2474318" y="3056930"/>
                    </a:lnTo>
                    <a:lnTo>
                      <a:pt x="2478452" y="3059145"/>
                    </a:lnTo>
                    <a:close/>
                    <a:moveTo>
                      <a:pt x="2962718" y="2121625"/>
                    </a:moveTo>
                    <a:lnTo>
                      <a:pt x="1158398" y="2122762"/>
                    </a:lnTo>
                    <a:cubicBezTo>
                      <a:pt x="1153030" y="2127110"/>
                      <a:pt x="1147662" y="2131338"/>
                      <a:pt x="1142292" y="2135685"/>
                    </a:cubicBezTo>
                    <a:cubicBezTo>
                      <a:pt x="1137596" y="2140033"/>
                      <a:pt x="1133568" y="2144380"/>
                      <a:pt x="1128872" y="2148727"/>
                    </a:cubicBezTo>
                    <a:lnTo>
                      <a:pt x="1114780" y="2162826"/>
                    </a:lnTo>
                    <a:cubicBezTo>
                      <a:pt x="1110752" y="2167173"/>
                      <a:pt x="1106056" y="2171403"/>
                      <a:pt x="1102030" y="2175751"/>
                    </a:cubicBezTo>
                    <a:cubicBezTo>
                      <a:pt x="1098004" y="2180451"/>
                      <a:pt x="1093306" y="2185268"/>
                      <a:pt x="1089280" y="2189967"/>
                    </a:cubicBezTo>
                    <a:cubicBezTo>
                      <a:pt x="1084582" y="2194314"/>
                      <a:pt x="1079884" y="2198544"/>
                      <a:pt x="1075188" y="2202892"/>
                    </a:cubicBezTo>
                    <a:cubicBezTo>
                      <a:pt x="1070490" y="2207239"/>
                      <a:pt x="1066464" y="2211469"/>
                      <a:pt x="1061768" y="2215816"/>
                    </a:cubicBezTo>
                    <a:cubicBezTo>
                      <a:pt x="1057068" y="2220515"/>
                      <a:pt x="1052372" y="2225332"/>
                      <a:pt x="1047674" y="2230032"/>
                    </a:cubicBezTo>
                    <a:cubicBezTo>
                      <a:pt x="1042976" y="2234380"/>
                      <a:pt x="1037610" y="2238610"/>
                      <a:pt x="1032912" y="2242957"/>
                    </a:cubicBezTo>
                    <a:cubicBezTo>
                      <a:pt x="1028214" y="2247656"/>
                      <a:pt x="1024188" y="2252356"/>
                      <a:pt x="1019490" y="2257056"/>
                    </a:cubicBezTo>
                    <a:lnTo>
                      <a:pt x="1005398" y="2270098"/>
                    </a:lnTo>
                    <a:cubicBezTo>
                      <a:pt x="1001372" y="2274445"/>
                      <a:pt x="996674" y="2278674"/>
                      <a:pt x="992648" y="2283021"/>
                    </a:cubicBezTo>
                    <a:cubicBezTo>
                      <a:pt x="988622" y="2287721"/>
                      <a:pt x="983926" y="2292421"/>
                      <a:pt x="979898" y="2297120"/>
                    </a:cubicBezTo>
                    <a:lnTo>
                      <a:pt x="965806" y="2310162"/>
                    </a:lnTo>
                    <a:cubicBezTo>
                      <a:pt x="961110" y="2314862"/>
                      <a:pt x="957082" y="2319562"/>
                      <a:pt x="952386" y="2324261"/>
                    </a:cubicBezTo>
                    <a:cubicBezTo>
                      <a:pt x="947688" y="2328608"/>
                      <a:pt x="942990" y="2332838"/>
                      <a:pt x="938294" y="2337185"/>
                    </a:cubicBezTo>
                    <a:cubicBezTo>
                      <a:pt x="932926" y="2341179"/>
                      <a:pt x="928228" y="2345058"/>
                      <a:pt x="922860" y="2349052"/>
                    </a:cubicBezTo>
                    <a:cubicBezTo>
                      <a:pt x="918832" y="2353399"/>
                      <a:pt x="914136" y="2357630"/>
                      <a:pt x="910110" y="2361977"/>
                    </a:cubicBezTo>
                    <a:lnTo>
                      <a:pt x="894004" y="2372550"/>
                    </a:lnTo>
                    <a:cubicBezTo>
                      <a:pt x="889306" y="2377251"/>
                      <a:pt x="885280" y="2382068"/>
                      <a:pt x="880582" y="2386767"/>
                    </a:cubicBezTo>
                    <a:cubicBezTo>
                      <a:pt x="875214" y="2390292"/>
                      <a:pt x="870518" y="2393816"/>
                      <a:pt x="865148" y="2397342"/>
                    </a:cubicBezTo>
                    <a:lnTo>
                      <a:pt x="851056" y="2411441"/>
                    </a:lnTo>
                    <a:cubicBezTo>
                      <a:pt x="847032" y="2415788"/>
                      <a:pt x="842332" y="2420135"/>
                      <a:pt x="838308" y="2424483"/>
                    </a:cubicBezTo>
                    <a:lnTo>
                      <a:pt x="824216" y="2438582"/>
                    </a:lnTo>
                    <a:cubicBezTo>
                      <a:pt x="818846" y="2442106"/>
                      <a:pt x="814150" y="2445631"/>
                      <a:pt x="808782" y="2449156"/>
                    </a:cubicBezTo>
                    <a:cubicBezTo>
                      <a:pt x="803412" y="2453503"/>
                      <a:pt x="798716" y="2457850"/>
                      <a:pt x="793348" y="2462197"/>
                    </a:cubicBezTo>
                    <a:lnTo>
                      <a:pt x="777242" y="2476296"/>
                    </a:lnTo>
                    <a:cubicBezTo>
                      <a:pt x="773214" y="2480644"/>
                      <a:pt x="768518" y="2484874"/>
                      <a:pt x="764492" y="2489221"/>
                    </a:cubicBezTo>
                    <a:cubicBezTo>
                      <a:pt x="759122" y="2493215"/>
                      <a:pt x="754426" y="2497092"/>
                      <a:pt x="749058" y="2501088"/>
                    </a:cubicBezTo>
                    <a:cubicBezTo>
                      <a:pt x="743688" y="2505435"/>
                      <a:pt x="737650" y="2509664"/>
                      <a:pt x="732282" y="2514011"/>
                    </a:cubicBezTo>
                    <a:cubicBezTo>
                      <a:pt x="726912" y="2518711"/>
                      <a:pt x="722216" y="2523411"/>
                      <a:pt x="716848" y="2528110"/>
                    </a:cubicBezTo>
                    <a:cubicBezTo>
                      <a:pt x="712820" y="2532457"/>
                      <a:pt x="708124" y="2536805"/>
                      <a:pt x="704096" y="2541152"/>
                    </a:cubicBezTo>
                    <a:cubicBezTo>
                      <a:pt x="698056" y="2545030"/>
                      <a:pt x="691348" y="2549025"/>
                      <a:pt x="685308" y="2552902"/>
                    </a:cubicBezTo>
                    <a:cubicBezTo>
                      <a:pt x="679940" y="2556427"/>
                      <a:pt x="675242" y="2559951"/>
                      <a:pt x="669874" y="2563475"/>
                    </a:cubicBezTo>
                    <a:cubicBezTo>
                      <a:pt x="663834" y="2567471"/>
                      <a:pt x="658466" y="2571348"/>
                      <a:pt x="652426" y="2575342"/>
                    </a:cubicBezTo>
                    <a:cubicBezTo>
                      <a:pt x="647058" y="2579689"/>
                      <a:pt x="642360" y="2583919"/>
                      <a:pt x="636992" y="2588267"/>
                    </a:cubicBezTo>
                    <a:cubicBezTo>
                      <a:pt x="630954" y="2591792"/>
                      <a:pt x="624242" y="2595316"/>
                      <a:pt x="618202" y="2598842"/>
                    </a:cubicBezTo>
                    <a:cubicBezTo>
                      <a:pt x="612834" y="2603541"/>
                      <a:pt x="608138" y="2608358"/>
                      <a:pt x="602768" y="2613058"/>
                    </a:cubicBezTo>
                    <a:cubicBezTo>
                      <a:pt x="596728" y="2616582"/>
                      <a:pt x="591360" y="2620108"/>
                      <a:pt x="585322" y="2623632"/>
                    </a:cubicBezTo>
                    <a:cubicBezTo>
                      <a:pt x="579952" y="2628332"/>
                      <a:pt x="575254" y="2633031"/>
                      <a:pt x="569888" y="2637731"/>
                    </a:cubicBezTo>
                    <a:lnTo>
                      <a:pt x="549756" y="2648306"/>
                    </a:lnTo>
                    <a:cubicBezTo>
                      <a:pt x="543716" y="2652300"/>
                      <a:pt x="537004" y="2656177"/>
                      <a:pt x="530966" y="2660172"/>
                    </a:cubicBezTo>
                    <a:cubicBezTo>
                      <a:pt x="524928" y="2664519"/>
                      <a:pt x="519558" y="2668749"/>
                      <a:pt x="513518" y="2673096"/>
                    </a:cubicBezTo>
                    <a:lnTo>
                      <a:pt x="495400" y="2687195"/>
                    </a:lnTo>
                    <a:cubicBezTo>
                      <a:pt x="488690" y="2690721"/>
                      <a:pt x="482650" y="2694362"/>
                      <a:pt x="475940" y="2697888"/>
                    </a:cubicBezTo>
                    <a:cubicBezTo>
                      <a:pt x="470572" y="2701765"/>
                      <a:pt x="464532" y="2705759"/>
                      <a:pt x="459164" y="2709636"/>
                    </a:cubicBezTo>
                    <a:cubicBezTo>
                      <a:pt x="453124" y="2713983"/>
                      <a:pt x="447756" y="2718213"/>
                      <a:pt x="441716" y="2722560"/>
                    </a:cubicBezTo>
                    <a:lnTo>
                      <a:pt x="421584" y="2735602"/>
                    </a:lnTo>
                    <a:cubicBezTo>
                      <a:pt x="414202" y="2739479"/>
                      <a:pt x="406822" y="2743475"/>
                      <a:pt x="399440" y="2747352"/>
                    </a:cubicBezTo>
                    <a:lnTo>
                      <a:pt x="381322" y="2757926"/>
                    </a:lnTo>
                    <a:cubicBezTo>
                      <a:pt x="374612" y="2761921"/>
                      <a:pt x="367900" y="2765798"/>
                      <a:pt x="361190" y="2769793"/>
                    </a:cubicBezTo>
                    <a:cubicBezTo>
                      <a:pt x="354480" y="2774140"/>
                      <a:pt x="348440" y="2778370"/>
                      <a:pt x="341730" y="2782717"/>
                    </a:cubicBezTo>
                    <a:cubicBezTo>
                      <a:pt x="334348" y="2786594"/>
                      <a:pt x="326296" y="2790588"/>
                      <a:pt x="318914" y="2794465"/>
                    </a:cubicBezTo>
                    <a:lnTo>
                      <a:pt x="296770" y="2805041"/>
                    </a:lnTo>
                    <a:cubicBezTo>
                      <a:pt x="289388" y="2809035"/>
                      <a:pt x="282006" y="2812912"/>
                      <a:pt x="274624" y="2816907"/>
                    </a:cubicBezTo>
                    <a:cubicBezTo>
                      <a:pt x="267914" y="2821255"/>
                      <a:pt x="261204" y="2825485"/>
                      <a:pt x="254494" y="2829831"/>
                    </a:cubicBezTo>
                    <a:cubicBezTo>
                      <a:pt x="246440" y="2833709"/>
                      <a:pt x="237716" y="2837703"/>
                      <a:pt x="229664" y="2841580"/>
                    </a:cubicBezTo>
                    <a:cubicBezTo>
                      <a:pt x="222282" y="2845106"/>
                      <a:pt x="214900" y="2848747"/>
                      <a:pt x="207520" y="2852273"/>
                    </a:cubicBezTo>
                    <a:cubicBezTo>
                      <a:pt x="200138" y="2856150"/>
                      <a:pt x="192086" y="2860144"/>
                      <a:pt x="184704" y="2864021"/>
                    </a:cubicBezTo>
                    <a:cubicBezTo>
                      <a:pt x="177322" y="2868368"/>
                      <a:pt x="169942" y="2872598"/>
                      <a:pt x="162560" y="2876945"/>
                    </a:cubicBezTo>
                    <a:cubicBezTo>
                      <a:pt x="154506" y="2880941"/>
                      <a:pt x="145782" y="2884818"/>
                      <a:pt x="137730" y="2888812"/>
                    </a:cubicBezTo>
                    <a:cubicBezTo>
                      <a:pt x="129678" y="2893160"/>
                      <a:pt x="120954" y="2897390"/>
                      <a:pt x="112902" y="2901737"/>
                    </a:cubicBezTo>
                    <a:cubicBezTo>
                      <a:pt x="104850" y="2905614"/>
                      <a:pt x="96126" y="2909608"/>
                      <a:pt x="88074" y="2913485"/>
                    </a:cubicBezTo>
                    <a:lnTo>
                      <a:pt x="65928" y="2926527"/>
                    </a:lnTo>
                    <a:cubicBezTo>
                      <a:pt x="68612" y="2928878"/>
                      <a:pt x="70626" y="2931227"/>
                      <a:pt x="73310" y="2933577"/>
                    </a:cubicBezTo>
                    <a:lnTo>
                      <a:pt x="83376" y="2944152"/>
                    </a:lnTo>
                    <a:lnTo>
                      <a:pt x="95456" y="2951201"/>
                    </a:lnTo>
                    <a:cubicBezTo>
                      <a:pt x="99480" y="2954725"/>
                      <a:pt x="104178" y="2958251"/>
                      <a:pt x="108204" y="2961775"/>
                    </a:cubicBezTo>
                    <a:lnTo>
                      <a:pt x="120284" y="2971293"/>
                    </a:lnTo>
                    <a:cubicBezTo>
                      <a:pt x="124310" y="2974465"/>
                      <a:pt x="129006" y="2977519"/>
                      <a:pt x="133034" y="2980691"/>
                    </a:cubicBezTo>
                    <a:cubicBezTo>
                      <a:pt x="138402" y="2983394"/>
                      <a:pt x="143100" y="2986213"/>
                      <a:pt x="148468" y="2988916"/>
                    </a:cubicBezTo>
                    <a:cubicBezTo>
                      <a:pt x="153836" y="2992793"/>
                      <a:pt x="159204" y="2996789"/>
                      <a:pt x="164574" y="3000666"/>
                    </a:cubicBezTo>
                    <a:cubicBezTo>
                      <a:pt x="169270" y="3002662"/>
                      <a:pt x="173296" y="3004660"/>
                      <a:pt x="177994" y="3006658"/>
                    </a:cubicBezTo>
                    <a:cubicBezTo>
                      <a:pt x="184032" y="3010535"/>
                      <a:pt x="189402" y="3014529"/>
                      <a:pt x="195442" y="3018406"/>
                    </a:cubicBezTo>
                    <a:cubicBezTo>
                      <a:pt x="200810" y="3020757"/>
                      <a:pt x="205506" y="3023106"/>
                      <a:pt x="210876" y="3025456"/>
                    </a:cubicBezTo>
                    <a:cubicBezTo>
                      <a:pt x="217586" y="3028981"/>
                      <a:pt x="224968" y="3032505"/>
                      <a:pt x="231678" y="3036031"/>
                    </a:cubicBezTo>
                    <a:cubicBezTo>
                      <a:pt x="237716" y="3038380"/>
                      <a:pt x="243756" y="3040848"/>
                      <a:pt x="249796" y="3043197"/>
                    </a:cubicBezTo>
                    <a:lnTo>
                      <a:pt x="269928" y="3053771"/>
                    </a:lnTo>
                    <a:cubicBezTo>
                      <a:pt x="276638" y="3056122"/>
                      <a:pt x="282678" y="3058471"/>
                      <a:pt x="289388" y="3060821"/>
                    </a:cubicBezTo>
                    <a:lnTo>
                      <a:pt x="309520" y="3071396"/>
                    </a:lnTo>
                    <a:lnTo>
                      <a:pt x="329650" y="3078445"/>
                    </a:lnTo>
                    <a:lnTo>
                      <a:pt x="349782" y="3087962"/>
                    </a:lnTo>
                    <a:cubicBezTo>
                      <a:pt x="356494" y="3089960"/>
                      <a:pt x="363204" y="3091839"/>
                      <a:pt x="369914" y="3093837"/>
                    </a:cubicBezTo>
                    <a:cubicBezTo>
                      <a:pt x="377296" y="3097009"/>
                      <a:pt x="384678" y="3100065"/>
                      <a:pt x="392058" y="3103236"/>
                    </a:cubicBezTo>
                    <a:cubicBezTo>
                      <a:pt x="398098" y="3105587"/>
                      <a:pt x="404808" y="3107936"/>
                      <a:pt x="410848" y="3110285"/>
                    </a:cubicBezTo>
                    <a:cubicBezTo>
                      <a:pt x="419572" y="3112988"/>
                      <a:pt x="428296" y="3115809"/>
                      <a:pt x="437018" y="3118511"/>
                    </a:cubicBezTo>
                    <a:cubicBezTo>
                      <a:pt x="444400" y="3120861"/>
                      <a:pt x="451782" y="3123327"/>
                      <a:pt x="459164" y="3125678"/>
                    </a:cubicBezTo>
                    <a:cubicBezTo>
                      <a:pt x="467216" y="3128850"/>
                      <a:pt x="474598" y="3131904"/>
                      <a:pt x="482650" y="3135077"/>
                    </a:cubicBezTo>
                    <a:cubicBezTo>
                      <a:pt x="490032" y="3137075"/>
                      <a:pt x="498084" y="3138954"/>
                      <a:pt x="505466" y="3140952"/>
                    </a:cubicBezTo>
                    <a:cubicBezTo>
                      <a:pt x="513518" y="3143301"/>
                      <a:pt x="520900" y="3145651"/>
                      <a:pt x="528952" y="3148001"/>
                    </a:cubicBezTo>
                    <a:lnTo>
                      <a:pt x="551098" y="3155051"/>
                    </a:lnTo>
                    <a:cubicBezTo>
                      <a:pt x="559150" y="3157047"/>
                      <a:pt x="567874" y="3159045"/>
                      <a:pt x="575926" y="3161043"/>
                    </a:cubicBezTo>
                    <a:cubicBezTo>
                      <a:pt x="583980" y="3163392"/>
                      <a:pt x="592704" y="3165742"/>
                      <a:pt x="600756" y="3168093"/>
                    </a:cubicBezTo>
                    <a:lnTo>
                      <a:pt x="624914" y="3175142"/>
                    </a:lnTo>
                    <a:cubicBezTo>
                      <a:pt x="632966" y="3177492"/>
                      <a:pt x="641690" y="3179841"/>
                      <a:pt x="649742" y="3182192"/>
                    </a:cubicBezTo>
                    <a:cubicBezTo>
                      <a:pt x="659136" y="3184894"/>
                      <a:pt x="667860" y="3187714"/>
                      <a:pt x="677256" y="3190416"/>
                    </a:cubicBezTo>
                    <a:cubicBezTo>
                      <a:pt x="684638" y="3191944"/>
                      <a:pt x="692018" y="3193589"/>
                      <a:pt x="699400" y="3195115"/>
                    </a:cubicBezTo>
                    <a:cubicBezTo>
                      <a:pt x="707452" y="3197466"/>
                      <a:pt x="716176" y="3199932"/>
                      <a:pt x="724228" y="3202283"/>
                    </a:cubicBezTo>
                    <a:cubicBezTo>
                      <a:pt x="732282" y="3203458"/>
                      <a:pt x="741004" y="3204632"/>
                      <a:pt x="749058" y="3205807"/>
                    </a:cubicBezTo>
                    <a:cubicBezTo>
                      <a:pt x="757780" y="3208156"/>
                      <a:pt x="767176" y="3210507"/>
                      <a:pt x="775900" y="3212857"/>
                    </a:cubicBezTo>
                    <a:cubicBezTo>
                      <a:pt x="783952" y="3214384"/>
                      <a:pt x="791334" y="3216029"/>
                      <a:pt x="799386" y="3217557"/>
                    </a:cubicBezTo>
                    <a:cubicBezTo>
                      <a:pt x="807440" y="3219906"/>
                      <a:pt x="816162" y="3222256"/>
                      <a:pt x="824216" y="3224607"/>
                    </a:cubicBezTo>
                    <a:cubicBezTo>
                      <a:pt x="832268" y="3225781"/>
                      <a:pt x="840992" y="3226956"/>
                      <a:pt x="849044" y="3228131"/>
                    </a:cubicBezTo>
                    <a:cubicBezTo>
                      <a:pt x="857768" y="3230481"/>
                      <a:pt x="867162" y="3232831"/>
                      <a:pt x="875886" y="3235180"/>
                    </a:cubicBezTo>
                    <a:cubicBezTo>
                      <a:pt x="883268" y="3236003"/>
                      <a:pt x="891320" y="3236708"/>
                      <a:pt x="898702" y="3237531"/>
                    </a:cubicBezTo>
                    <a:cubicBezTo>
                      <a:pt x="906754" y="3239880"/>
                      <a:pt x="914808" y="3242347"/>
                      <a:pt x="922860" y="3244698"/>
                    </a:cubicBezTo>
                    <a:cubicBezTo>
                      <a:pt x="930912" y="3245519"/>
                      <a:pt x="939636" y="3246225"/>
                      <a:pt x="947688" y="3247047"/>
                    </a:cubicBezTo>
                    <a:cubicBezTo>
                      <a:pt x="955740" y="3249045"/>
                      <a:pt x="964464" y="3250924"/>
                      <a:pt x="972516" y="3252922"/>
                    </a:cubicBezTo>
                    <a:cubicBezTo>
                      <a:pt x="980570" y="3253744"/>
                      <a:pt x="989292" y="3254450"/>
                      <a:pt x="997346" y="3255271"/>
                    </a:cubicBezTo>
                    <a:lnTo>
                      <a:pt x="1022176" y="3259972"/>
                    </a:lnTo>
                    <a:lnTo>
                      <a:pt x="1047004" y="3264670"/>
                    </a:lnTo>
                    <a:cubicBezTo>
                      <a:pt x="1055056" y="3266198"/>
                      <a:pt x="1062438" y="3267843"/>
                      <a:pt x="1070490" y="3269371"/>
                    </a:cubicBezTo>
                    <a:cubicBezTo>
                      <a:pt x="1077872" y="3270194"/>
                      <a:pt x="1085254" y="3270898"/>
                      <a:pt x="1092636" y="3271720"/>
                    </a:cubicBezTo>
                    <a:cubicBezTo>
                      <a:pt x="1100016" y="3272543"/>
                      <a:pt x="1107398" y="3273248"/>
                      <a:pt x="1114780" y="3274071"/>
                    </a:cubicBezTo>
                    <a:cubicBezTo>
                      <a:pt x="1122162" y="3274422"/>
                      <a:pt x="1130214" y="3274893"/>
                      <a:pt x="1137596" y="3275246"/>
                    </a:cubicBezTo>
                    <a:cubicBezTo>
                      <a:pt x="1145648" y="3276890"/>
                      <a:pt x="1154372" y="3278418"/>
                      <a:pt x="1162424" y="3280063"/>
                    </a:cubicBezTo>
                    <a:lnTo>
                      <a:pt x="1183228" y="3280063"/>
                    </a:lnTo>
                    <a:lnTo>
                      <a:pt x="1206044" y="3284762"/>
                    </a:lnTo>
                    <a:lnTo>
                      <a:pt x="1228188" y="3284762"/>
                    </a:lnTo>
                    <a:cubicBezTo>
                      <a:pt x="1235568" y="3286289"/>
                      <a:pt x="1242950" y="3287934"/>
                      <a:pt x="1250332" y="3289462"/>
                    </a:cubicBezTo>
                    <a:lnTo>
                      <a:pt x="1268450" y="3289462"/>
                    </a:lnTo>
                    <a:cubicBezTo>
                      <a:pt x="1275162" y="3290285"/>
                      <a:pt x="1281200" y="3290990"/>
                      <a:pt x="1287910" y="3291811"/>
                    </a:cubicBezTo>
                    <a:lnTo>
                      <a:pt x="1308042" y="3291811"/>
                    </a:lnTo>
                    <a:cubicBezTo>
                      <a:pt x="1314752" y="3292634"/>
                      <a:pt x="1321464" y="3293339"/>
                      <a:pt x="1328174" y="3294162"/>
                    </a:cubicBezTo>
                    <a:lnTo>
                      <a:pt x="1345622" y="3294162"/>
                    </a:lnTo>
                    <a:cubicBezTo>
                      <a:pt x="1351660" y="3294984"/>
                      <a:pt x="1357700" y="3295690"/>
                      <a:pt x="1363738" y="3296511"/>
                    </a:cubicBezTo>
                    <a:lnTo>
                      <a:pt x="1382530" y="3296511"/>
                    </a:lnTo>
                    <a:cubicBezTo>
                      <a:pt x="1388568" y="3296864"/>
                      <a:pt x="1393936" y="3297335"/>
                      <a:pt x="1399976" y="3297686"/>
                    </a:cubicBezTo>
                    <a:lnTo>
                      <a:pt x="2268844" y="3292571"/>
                    </a:lnTo>
                    <a:lnTo>
                      <a:pt x="2382300" y="3166222"/>
                    </a:lnTo>
                    <a:lnTo>
                      <a:pt x="2373598" y="3162206"/>
                    </a:lnTo>
                    <a:lnTo>
                      <a:pt x="2358278" y="3156313"/>
                    </a:lnTo>
                    <a:lnTo>
                      <a:pt x="2344136" y="3149241"/>
                    </a:lnTo>
                    <a:lnTo>
                      <a:pt x="2333528" y="3142170"/>
                    </a:lnTo>
                    <a:lnTo>
                      <a:pt x="2319384" y="3133920"/>
                    </a:lnTo>
                    <a:lnTo>
                      <a:pt x="2306420" y="3124491"/>
                    </a:lnTo>
                    <a:lnTo>
                      <a:pt x="2292278" y="3115063"/>
                    </a:lnTo>
                    <a:lnTo>
                      <a:pt x="2284028" y="3106812"/>
                    </a:lnTo>
                    <a:lnTo>
                      <a:pt x="2269886" y="3097383"/>
                    </a:lnTo>
                    <a:lnTo>
                      <a:pt x="2261636" y="3089134"/>
                    </a:lnTo>
                    <a:lnTo>
                      <a:pt x="2252208" y="3079703"/>
                    </a:lnTo>
                    <a:lnTo>
                      <a:pt x="2245136" y="3072633"/>
                    </a:lnTo>
                    <a:lnTo>
                      <a:pt x="2229814" y="3052596"/>
                    </a:lnTo>
                    <a:lnTo>
                      <a:pt x="2219208" y="3032560"/>
                    </a:lnTo>
                    <a:lnTo>
                      <a:pt x="2207422" y="3012524"/>
                    </a:lnTo>
                    <a:lnTo>
                      <a:pt x="2200350" y="2992487"/>
                    </a:lnTo>
                    <a:lnTo>
                      <a:pt x="2194458" y="2967737"/>
                    </a:lnTo>
                    <a:lnTo>
                      <a:pt x="2189742" y="2945344"/>
                    </a:lnTo>
                    <a:lnTo>
                      <a:pt x="2189742" y="2922951"/>
                    </a:lnTo>
                    <a:lnTo>
                      <a:pt x="2192100" y="2900558"/>
                    </a:lnTo>
                    <a:lnTo>
                      <a:pt x="2192100" y="2887593"/>
                    </a:lnTo>
                    <a:lnTo>
                      <a:pt x="2194458" y="2875806"/>
                    </a:lnTo>
                    <a:lnTo>
                      <a:pt x="2196814" y="2862842"/>
                    </a:lnTo>
                    <a:lnTo>
                      <a:pt x="2202708" y="2851056"/>
                    </a:lnTo>
                    <a:lnTo>
                      <a:pt x="2205064" y="2838092"/>
                    </a:lnTo>
                    <a:lnTo>
                      <a:pt x="2212136" y="2826306"/>
                    </a:lnTo>
                    <a:lnTo>
                      <a:pt x="2219208" y="2815699"/>
                    </a:lnTo>
                    <a:lnTo>
                      <a:pt x="2225100" y="2803912"/>
                    </a:lnTo>
                    <a:lnTo>
                      <a:pt x="2229814" y="2790947"/>
                    </a:lnTo>
                    <a:lnTo>
                      <a:pt x="2236886" y="2776805"/>
                    </a:lnTo>
                    <a:lnTo>
                      <a:pt x="2245136" y="2763841"/>
                    </a:lnTo>
                    <a:lnTo>
                      <a:pt x="2254564" y="2750876"/>
                    </a:lnTo>
                    <a:lnTo>
                      <a:pt x="2261636" y="2736732"/>
                    </a:lnTo>
                    <a:lnTo>
                      <a:pt x="2272242" y="2723768"/>
                    </a:lnTo>
                    <a:lnTo>
                      <a:pt x="2284028" y="2709624"/>
                    </a:lnTo>
                    <a:lnTo>
                      <a:pt x="2296992" y="2699018"/>
                    </a:lnTo>
                    <a:lnTo>
                      <a:pt x="2308778" y="2686053"/>
                    </a:lnTo>
                    <a:lnTo>
                      <a:pt x="2319384" y="2671910"/>
                    </a:lnTo>
                    <a:lnTo>
                      <a:pt x="2333528" y="2658945"/>
                    </a:lnTo>
                    <a:lnTo>
                      <a:pt x="2348850" y="2647160"/>
                    </a:lnTo>
                    <a:lnTo>
                      <a:pt x="2361814" y="2634195"/>
                    </a:lnTo>
                    <a:lnTo>
                      <a:pt x="2378314" y="2620051"/>
                    </a:lnTo>
                    <a:lnTo>
                      <a:pt x="2393636" y="2607087"/>
                    </a:lnTo>
                    <a:lnTo>
                      <a:pt x="2413670" y="2596479"/>
                    </a:lnTo>
                    <a:lnTo>
                      <a:pt x="2428992" y="2582337"/>
                    </a:lnTo>
                    <a:lnTo>
                      <a:pt x="2447848" y="2569372"/>
                    </a:lnTo>
                    <a:lnTo>
                      <a:pt x="2463170" y="2555229"/>
                    </a:lnTo>
                    <a:lnTo>
                      <a:pt x="2483206" y="2542264"/>
                    </a:lnTo>
                    <a:lnTo>
                      <a:pt x="2500884" y="2529300"/>
                    </a:lnTo>
                    <a:lnTo>
                      <a:pt x="2520920" y="2517514"/>
                    </a:lnTo>
                    <a:lnTo>
                      <a:pt x="2540956" y="2504550"/>
                    </a:lnTo>
                    <a:lnTo>
                      <a:pt x="2560992" y="2492763"/>
                    </a:lnTo>
                    <a:lnTo>
                      <a:pt x="2582206" y="2479798"/>
                    </a:lnTo>
                    <a:lnTo>
                      <a:pt x="2602240" y="2468013"/>
                    </a:lnTo>
                    <a:lnTo>
                      <a:pt x="2619920" y="2457405"/>
                    </a:lnTo>
                    <a:lnTo>
                      <a:pt x="2642312" y="2445620"/>
                    </a:lnTo>
                    <a:lnTo>
                      <a:pt x="2662348" y="2435012"/>
                    </a:lnTo>
                    <a:lnTo>
                      <a:pt x="2687098" y="2425583"/>
                    </a:lnTo>
                    <a:lnTo>
                      <a:pt x="2709490" y="2414975"/>
                    </a:lnTo>
                    <a:lnTo>
                      <a:pt x="2734240" y="2405547"/>
                    </a:lnTo>
                    <a:lnTo>
                      <a:pt x="2754276" y="2392582"/>
                    </a:lnTo>
                    <a:lnTo>
                      <a:pt x="2779026" y="2383154"/>
                    </a:lnTo>
                    <a:lnTo>
                      <a:pt x="2801418" y="2371368"/>
                    </a:lnTo>
                    <a:lnTo>
                      <a:pt x="2826168" y="2363117"/>
                    </a:lnTo>
                    <a:lnTo>
                      <a:pt x="2848562" y="2353689"/>
                    </a:lnTo>
                    <a:lnTo>
                      <a:pt x="2873312" y="2345439"/>
                    </a:lnTo>
                    <a:lnTo>
                      <a:pt x="2898062" y="2336009"/>
                    </a:lnTo>
                    <a:lnTo>
                      <a:pt x="2923990" y="2328939"/>
                    </a:lnTo>
                    <a:lnTo>
                      <a:pt x="2946382" y="2320688"/>
                    </a:lnTo>
                    <a:lnTo>
                      <a:pt x="2971132" y="2311259"/>
                    </a:lnTo>
                    <a:lnTo>
                      <a:pt x="2995882" y="2303010"/>
                    </a:lnTo>
                    <a:lnTo>
                      <a:pt x="3022988" y="2295938"/>
                    </a:lnTo>
                    <a:lnTo>
                      <a:pt x="3047738" y="2288866"/>
                    </a:lnTo>
                    <a:lnTo>
                      <a:pt x="3074846" y="2281794"/>
                    </a:lnTo>
                    <a:lnTo>
                      <a:pt x="3087902" y="2278956"/>
                    </a:lnTo>
                    <a:lnTo>
                      <a:pt x="3047092" y="2227665"/>
                    </a:lnTo>
                    <a:lnTo>
                      <a:pt x="3043272" y="2228678"/>
                    </a:lnTo>
                    <a:lnTo>
                      <a:pt x="3025612" y="2233361"/>
                    </a:lnTo>
                    <a:lnTo>
                      <a:pt x="3007954" y="2239215"/>
                    </a:lnTo>
                    <a:lnTo>
                      <a:pt x="2987940" y="2243899"/>
                    </a:lnTo>
                    <a:lnTo>
                      <a:pt x="2969104" y="2248583"/>
                    </a:lnTo>
                    <a:lnTo>
                      <a:pt x="2951444" y="2255607"/>
                    </a:lnTo>
                    <a:lnTo>
                      <a:pt x="2933786" y="2261461"/>
                    </a:lnTo>
                    <a:lnTo>
                      <a:pt x="2913772" y="2266145"/>
                    </a:lnTo>
                    <a:lnTo>
                      <a:pt x="2898466" y="2273169"/>
                    </a:lnTo>
                    <a:lnTo>
                      <a:pt x="2878452" y="2280195"/>
                    </a:lnTo>
                    <a:lnTo>
                      <a:pt x="2861972" y="2286049"/>
                    </a:lnTo>
                    <a:lnTo>
                      <a:pt x="2844312" y="2293074"/>
                    </a:lnTo>
                    <a:lnTo>
                      <a:pt x="2829008" y="2300100"/>
                    </a:lnTo>
                    <a:lnTo>
                      <a:pt x="2810170" y="2305954"/>
                    </a:lnTo>
                    <a:lnTo>
                      <a:pt x="2794866" y="2312978"/>
                    </a:lnTo>
                    <a:lnTo>
                      <a:pt x="2774852" y="2320004"/>
                    </a:lnTo>
                    <a:lnTo>
                      <a:pt x="2759548" y="2327028"/>
                    </a:lnTo>
                    <a:lnTo>
                      <a:pt x="2741888" y="2332883"/>
                    </a:lnTo>
                    <a:lnTo>
                      <a:pt x="2725406" y="2339908"/>
                    </a:lnTo>
                    <a:lnTo>
                      <a:pt x="2707748" y="2346933"/>
                    </a:lnTo>
                    <a:lnTo>
                      <a:pt x="2692442" y="2352787"/>
                    </a:lnTo>
                    <a:lnTo>
                      <a:pt x="2674784" y="2362153"/>
                    </a:lnTo>
                    <a:lnTo>
                      <a:pt x="2660656" y="2371521"/>
                    </a:lnTo>
                    <a:lnTo>
                      <a:pt x="2642996" y="2377375"/>
                    </a:lnTo>
                    <a:lnTo>
                      <a:pt x="2627692" y="2384400"/>
                    </a:lnTo>
                    <a:lnTo>
                      <a:pt x="2613564" y="2393766"/>
                    </a:lnTo>
                    <a:lnTo>
                      <a:pt x="2595904" y="2401962"/>
                    </a:lnTo>
                    <a:lnTo>
                      <a:pt x="2582956" y="2408988"/>
                    </a:lnTo>
                    <a:lnTo>
                      <a:pt x="2564118" y="2417184"/>
                    </a:lnTo>
                    <a:lnTo>
                      <a:pt x="2553522" y="2426550"/>
                    </a:lnTo>
                    <a:lnTo>
                      <a:pt x="2539396" y="2435917"/>
                    </a:lnTo>
                    <a:lnTo>
                      <a:pt x="1235476" y="2435917"/>
                    </a:lnTo>
                    <a:lnTo>
                      <a:pt x="1230972" y="2439450"/>
                    </a:lnTo>
                    <a:lnTo>
                      <a:pt x="1217996" y="2453577"/>
                    </a:lnTo>
                    <a:lnTo>
                      <a:pt x="1202662" y="2464173"/>
                    </a:lnTo>
                    <a:lnTo>
                      <a:pt x="1186146" y="2478300"/>
                    </a:lnTo>
                    <a:lnTo>
                      <a:pt x="1170810" y="2488895"/>
                    </a:lnTo>
                    <a:lnTo>
                      <a:pt x="1157834" y="2503022"/>
                    </a:lnTo>
                    <a:lnTo>
                      <a:pt x="1141318" y="2513618"/>
                    </a:lnTo>
                    <a:lnTo>
                      <a:pt x="1125982" y="2527745"/>
                    </a:lnTo>
                    <a:lnTo>
                      <a:pt x="1110648" y="2540695"/>
                    </a:lnTo>
                    <a:lnTo>
                      <a:pt x="1096490" y="2553646"/>
                    </a:lnTo>
                    <a:lnTo>
                      <a:pt x="1078796" y="2565418"/>
                    </a:lnTo>
                    <a:lnTo>
                      <a:pt x="1063460" y="2578368"/>
                    </a:lnTo>
                    <a:lnTo>
                      <a:pt x="1048124" y="2590141"/>
                    </a:lnTo>
                    <a:lnTo>
                      <a:pt x="1033968" y="2603091"/>
                    </a:lnTo>
                    <a:lnTo>
                      <a:pt x="1016274" y="2614863"/>
                    </a:lnTo>
                    <a:lnTo>
                      <a:pt x="1000938" y="2627814"/>
                    </a:lnTo>
                    <a:lnTo>
                      <a:pt x="984422" y="2641942"/>
                    </a:lnTo>
                    <a:lnTo>
                      <a:pt x="971446" y="2654891"/>
                    </a:lnTo>
                    <a:lnTo>
                      <a:pt x="953752" y="2665487"/>
                    </a:lnTo>
                    <a:lnTo>
                      <a:pt x="934876" y="2677259"/>
                    </a:lnTo>
                    <a:lnTo>
                      <a:pt x="917182" y="2687855"/>
                    </a:lnTo>
                    <a:lnTo>
                      <a:pt x="901846" y="2701983"/>
                    </a:lnTo>
                    <a:lnTo>
                      <a:pt x="884152" y="2712579"/>
                    </a:lnTo>
                    <a:lnTo>
                      <a:pt x="867634" y="2726706"/>
                    </a:lnTo>
                    <a:lnTo>
                      <a:pt x="849940" y="2737300"/>
                    </a:lnTo>
                    <a:lnTo>
                      <a:pt x="834604" y="2751428"/>
                    </a:lnTo>
                    <a:lnTo>
                      <a:pt x="816910" y="2762024"/>
                    </a:lnTo>
                    <a:lnTo>
                      <a:pt x="799214" y="2773797"/>
                    </a:lnTo>
                    <a:lnTo>
                      <a:pt x="780340" y="2784392"/>
                    </a:lnTo>
                    <a:lnTo>
                      <a:pt x="765004" y="2798519"/>
                    </a:lnTo>
                    <a:lnTo>
                      <a:pt x="744950" y="2809115"/>
                    </a:lnTo>
                    <a:lnTo>
                      <a:pt x="729614" y="2820888"/>
                    </a:lnTo>
                    <a:lnTo>
                      <a:pt x="709560" y="2831483"/>
                    </a:lnTo>
                    <a:lnTo>
                      <a:pt x="693044" y="2844434"/>
                    </a:lnTo>
                    <a:lnTo>
                      <a:pt x="672990" y="2853852"/>
                    </a:lnTo>
                    <a:lnTo>
                      <a:pt x="655296" y="2867980"/>
                    </a:lnTo>
                    <a:lnTo>
                      <a:pt x="635240" y="2876220"/>
                    </a:lnTo>
                    <a:lnTo>
                      <a:pt x="617546" y="2890348"/>
                    </a:lnTo>
                    <a:lnTo>
                      <a:pt x="596312" y="2898588"/>
                    </a:lnTo>
                    <a:lnTo>
                      <a:pt x="576258" y="2912715"/>
                    </a:lnTo>
                    <a:lnTo>
                      <a:pt x="556202" y="2920956"/>
                    </a:lnTo>
                    <a:lnTo>
                      <a:pt x="538508" y="2935083"/>
                    </a:lnTo>
                    <a:lnTo>
                      <a:pt x="516094" y="2943326"/>
                    </a:lnTo>
                    <a:lnTo>
                      <a:pt x="496040" y="2955098"/>
                    </a:lnTo>
                    <a:lnTo>
                      <a:pt x="484898" y="2960984"/>
                    </a:lnTo>
                    <a:lnTo>
                      <a:pt x="2069548" y="2960984"/>
                    </a:lnTo>
                    <a:lnTo>
                      <a:pt x="2069548" y="2975035"/>
                    </a:lnTo>
                    <a:lnTo>
                      <a:pt x="2074260" y="2990254"/>
                    </a:lnTo>
                    <a:lnTo>
                      <a:pt x="2078972" y="3005474"/>
                    </a:lnTo>
                    <a:lnTo>
                      <a:pt x="2086040" y="3021865"/>
                    </a:lnTo>
                    <a:lnTo>
                      <a:pt x="2091930" y="3034743"/>
                    </a:lnTo>
                    <a:lnTo>
                      <a:pt x="2101354" y="3047622"/>
                    </a:lnTo>
                    <a:lnTo>
                      <a:pt x="2109600" y="3061672"/>
                    </a:lnTo>
                    <a:lnTo>
                      <a:pt x="2123734" y="3076891"/>
                    </a:lnTo>
                    <a:lnTo>
                      <a:pt x="2134336" y="3088600"/>
                    </a:lnTo>
                    <a:lnTo>
                      <a:pt x="2148472" y="3101478"/>
                    </a:lnTo>
                    <a:lnTo>
                      <a:pt x="2161432" y="3114357"/>
                    </a:lnTo>
                    <a:lnTo>
                      <a:pt x="2179100" y="3128406"/>
                    </a:lnTo>
                    <a:lnTo>
                      <a:pt x="2195592" y="3138944"/>
                    </a:lnTo>
                    <a:lnTo>
                      <a:pt x="2215618" y="3150650"/>
                    </a:lnTo>
                    <a:lnTo>
                      <a:pt x="2235644" y="3161188"/>
                    </a:lnTo>
                    <a:lnTo>
                      <a:pt x="2258026" y="3172895"/>
                    </a:lnTo>
                    <a:lnTo>
                      <a:pt x="893914" y="3172895"/>
                    </a:lnTo>
                    <a:lnTo>
                      <a:pt x="878602" y="3170555"/>
                    </a:lnTo>
                    <a:lnTo>
                      <a:pt x="863288" y="3168213"/>
                    </a:lnTo>
                    <a:lnTo>
                      <a:pt x="844440" y="3165871"/>
                    </a:lnTo>
                    <a:lnTo>
                      <a:pt x="829126" y="3165871"/>
                    </a:lnTo>
                    <a:lnTo>
                      <a:pt x="811456" y="3163529"/>
                    </a:lnTo>
                    <a:lnTo>
                      <a:pt x="793786" y="3161188"/>
                    </a:lnTo>
                    <a:lnTo>
                      <a:pt x="776118" y="3158846"/>
                    </a:lnTo>
                    <a:lnTo>
                      <a:pt x="757268" y="3157675"/>
                    </a:lnTo>
                    <a:lnTo>
                      <a:pt x="737242" y="3152992"/>
                    </a:lnTo>
                    <a:lnTo>
                      <a:pt x="717216" y="3148310"/>
                    </a:lnTo>
                    <a:lnTo>
                      <a:pt x="697190" y="3143626"/>
                    </a:lnTo>
                    <a:lnTo>
                      <a:pt x="677166" y="3141284"/>
                    </a:lnTo>
                    <a:lnTo>
                      <a:pt x="654784" y="3135431"/>
                    </a:lnTo>
                    <a:lnTo>
                      <a:pt x="634758" y="3133089"/>
                    </a:lnTo>
                    <a:lnTo>
                      <a:pt x="614732" y="3126065"/>
                    </a:lnTo>
                    <a:lnTo>
                      <a:pt x="594706" y="3123723"/>
                    </a:lnTo>
                    <a:lnTo>
                      <a:pt x="572324" y="3116699"/>
                    </a:lnTo>
                    <a:lnTo>
                      <a:pt x="549942" y="3110845"/>
                    </a:lnTo>
                    <a:lnTo>
                      <a:pt x="527562" y="3103820"/>
                    </a:lnTo>
                    <a:lnTo>
                      <a:pt x="506358" y="3096796"/>
                    </a:lnTo>
                    <a:lnTo>
                      <a:pt x="486332" y="3090942"/>
                    </a:lnTo>
                    <a:lnTo>
                      <a:pt x="466306" y="3083917"/>
                    </a:lnTo>
                    <a:lnTo>
                      <a:pt x="448636" y="3076891"/>
                    </a:lnTo>
                    <a:lnTo>
                      <a:pt x="430966" y="3069867"/>
                    </a:lnTo>
                    <a:lnTo>
                      <a:pt x="410940" y="3061672"/>
                    </a:lnTo>
                    <a:lnTo>
                      <a:pt x="390914" y="3052306"/>
                    </a:lnTo>
                    <a:lnTo>
                      <a:pt x="372066" y="3044110"/>
                    </a:lnTo>
                    <a:lnTo>
                      <a:pt x="356754" y="3034743"/>
                    </a:lnTo>
                    <a:lnTo>
                      <a:pt x="339082" y="3025377"/>
                    </a:lnTo>
                    <a:lnTo>
                      <a:pt x="323768" y="3017182"/>
                    </a:lnTo>
                    <a:lnTo>
                      <a:pt x="309634" y="3007816"/>
                    </a:lnTo>
                    <a:lnTo>
                      <a:pt x="297256" y="2999988"/>
                    </a:lnTo>
                    <a:lnTo>
                      <a:pt x="296676" y="2999833"/>
                    </a:lnTo>
                    <a:lnTo>
                      <a:pt x="296848" y="2999728"/>
                    </a:lnTo>
                    <a:lnTo>
                      <a:pt x="296676" y="2999620"/>
                    </a:lnTo>
                    <a:lnTo>
                      <a:pt x="297238" y="2999489"/>
                    </a:lnTo>
                    <a:lnTo>
                      <a:pt x="312012" y="2990415"/>
                    </a:lnTo>
                    <a:lnTo>
                      <a:pt x="329706" y="2980997"/>
                    </a:lnTo>
                    <a:lnTo>
                      <a:pt x="346220" y="2972756"/>
                    </a:lnTo>
                    <a:lnTo>
                      <a:pt x="363916" y="2965693"/>
                    </a:lnTo>
                    <a:lnTo>
                      <a:pt x="379252" y="2957453"/>
                    </a:lnTo>
                    <a:lnTo>
                      <a:pt x="399308" y="2950388"/>
                    </a:lnTo>
                    <a:lnTo>
                      <a:pt x="414642" y="2940970"/>
                    </a:lnTo>
                    <a:lnTo>
                      <a:pt x="433516" y="2935083"/>
                    </a:lnTo>
                    <a:lnTo>
                      <a:pt x="451212" y="2923311"/>
                    </a:lnTo>
                    <a:lnTo>
                      <a:pt x="466548" y="2913893"/>
                    </a:lnTo>
                    <a:lnTo>
                      <a:pt x="483062" y="2903297"/>
                    </a:lnTo>
                    <a:lnTo>
                      <a:pt x="503118" y="2893879"/>
                    </a:lnTo>
                    <a:lnTo>
                      <a:pt x="516094" y="2883283"/>
                    </a:lnTo>
                    <a:lnTo>
                      <a:pt x="536148" y="2873865"/>
                    </a:lnTo>
                    <a:lnTo>
                      <a:pt x="551484" y="2865624"/>
                    </a:lnTo>
                    <a:lnTo>
                      <a:pt x="572718" y="2856206"/>
                    </a:lnTo>
                    <a:lnTo>
                      <a:pt x="588054" y="2844434"/>
                    </a:lnTo>
                    <a:lnTo>
                      <a:pt x="605750" y="2833838"/>
                    </a:lnTo>
                    <a:lnTo>
                      <a:pt x="623444" y="2822065"/>
                    </a:lnTo>
                    <a:lnTo>
                      <a:pt x="641138" y="2813824"/>
                    </a:lnTo>
                    <a:lnTo>
                      <a:pt x="657654" y="2799697"/>
                    </a:lnTo>
                    <a:lnTo>
                      <a:pt x="675350" y="2791456"/>
                    </a:lnTo>
                    <a:lnTo>
                      <a:pt x="693044" y="2777329"/>
                    </a:lnTo>
                    <a:lnTo>
                      <a:pt x="710740" y="2769088"/>
                    </a:lnTo>
                    <a:lnTo>
                      <a:pt x="727256" y="2754961"/>
                    </a:lnTo>
                    <a:lnTo>
                      <a:pt x="744950" y="2744365"/>
                    </a:lnTo>
                    <a:lnTo>
                      <a:pt x="762644" y="2732591"/>
                    </a:lnTo>
                    <a:lnTo>
                      <a:pt x="780340" y="2721997"/>
                    </a:lnTo>
                    <a:lnTo>
                      <a:pt x="796856" y="2709046"/>
                    </a:lnTo>
                    <a:lnTo>
                      <a:pt x="816910" y="2697274"/>
                    </a:lnTo>
                    <a:lnTo>
                      <a:pt x="832246" y="2686678"/>
                    </a:lnTo>
                    <a:lnTo>
                      <a:pt x="852300" y="2674906"/>
                    </a:lnTo>
                    <a:lnTo>
                      <a:pt x="867634" y="2661954"/>
                    </a:lnTo>
                    <a:lnTo>
                      <a:pt x="884152" y="2647827"/>
                    </a:lnTo>
                    <a:lnTo>
                      <a:pt x="899486" y="2634877"/>
                    </a:lnTo>
                    <a:lnTo>
                      <a:pt x="917182" y="2623105"/>
                    </a:lnTo>
                    <a:lnTo>
                      <a:pt x="933698" y="2610156"/>
                    </a:lnTo>
                    <a:lnTo>
                      <a:pt x="951392" y="2598382"/>
                    </a:lnTo>
                    <a:lnTo>
                      <a:pt x="966728" y="2585432"/>
                    </a:lnTo>
                    <a:lnTo>
                      <a:pt x="984422" y="2574836"/>
                    </a:lnTo>
                    <a:lnTo>
                      <a:pt x="1000938" y="2560709"/>
                    </a:lnTo>
                    <a:lnTo>
                      <a:pt x="1016274" y="2547759"/>
                    </a:lnTo>
                    <a:lnTo>
                      <a:pt x="1031610" y="2533632"/>
                    </a:lnTo>
                    <a:lnTo>
                      <a:pt x="1049304" y="2523036"/>
                    </a:lnTo>
                    <a:lnTo>
                      <a:pt x="1065820" y="2508909"/>
                    </a:lnTo>
                    <a:lnTo>
                      <a:pt x="1083514" y="2495959"/>
                    </a:lnTo>
                    <a:lnTo>
                      <a:pt x="1098850" y="2483009"/>
                    </a:lnTo>
                    <a:lnTo>
                      <a:pt x="1116544" y="2471236"/>
                    </a:lnTo>
                    <a:lnTo>
                      <a:pt x="1130702" y="2458286"/>
                    </a:lnTo>
                    <a:lnTo>
                      <a:pt x="1148396" y="2444159"/>
                    </a:lnTo>
                    <a:lnTo>
                      <a:pt x="1161372" y="2431209"/>
                    </a:lnTo>
                    <a:lnTo>
                      <a:pt x="1180248" y="2417082"/>
                    </a:lnTo>
                    <a:lnTo>
                      <a:pt x="1195584" y="2404130"/>
                    </a:lnTo>
                    <a:lnTo>
                      <a:pt x="1210918" y="2391181"/>
                    </a:lnTo>
                    <a:lnTo>
                      <a:pt x="1227434" y="2377053"/>
                    </a:lnTo>
                    <a:lnTo>
                      <a:pt x="1245130" y="2366457"/>
                    </a:lnTo>
                    <a:lnTo>
                      <a:pt x="1258106" y="2352330"/>
                    </a:lnTo>
                    <a:lnTo>
                      <a:pt x="1275800" y="2339380"/>
                    </a:lnTo>
                    <a:lnTo>
                      <a:pt x="1289956" y="2326431"/>
                    </a:lnTo>
                    <a:lnTo>
                      <a:pt x="1296212" y="2322267"/>
                    </a:lnTo>
                    <a:lnTo>
                      <a:pt x="1405674" y="2221652"/>
                    </a:lnTo>
                    <a:lnTo>
                      <a:pt x="3042306" y="2221652"/>
                    </a:lnTo>
                    <a:close/>
                    <a:moveTo>
                      <a:pt x="4742645" y="2120503"/>
                    </a:moveTo>
                    <a:lnTo>
                      <a:pt x="4511920" y="2120649"/>
                    </a:lnTo>
                    <a:cubicBezTo>
                      <a:pt x="4304727" y="2331630"/>
                      <a:pt x="4106824" y="2548586"/>
                      <a:pt x="3904354" y="2783741"/>
                    </a:cubicBezTo>
                    <a:cubicBezTo>
                      <a:pt x="3791201" y="2956610"/>
                      <a:pt x="3615816" y="3016738"/>
                      <a:pt x="3463059" y="2795016"/>
                    </a:cubicBezTo>
                    <a:cubicBezTo>
                      <a:pt x="3362750" y="2649534"/>
                      <a:pt x="3261400" y="2507423"/>
                      <a:pt x="3155651" y="2368626"/>
                    </a:cubicBezTo>
                    <a:cubicBezTo>
                      <a:pt x="2891338" y="2672175"/>
                      <a:pt x="2579518" y="3025677"/>
                      <a:pt x="2347038" y="3292111"/>
                    </a:cubicBezTo>
                    <a:lnTo>
                      <a:pt x="3709764" y="3284087"/>
                    </a:lnTo>
                    <a:close/>
                    <a:moveTo>
                      <a:pt x="6776429" y="2120407"/>
                    </a:moveTo>
                    <a:lnTo>
                      <a:pt x="5635408" y="3272708"/>
                    </a:lnTo>
                    <a:lnTo>
                      <a:pt x="5635408" y="3693807"/>
                    </a:lnTo>
                    <a:lnTo>
                      <a:pt x="5980589" y="3351844"/>
                    </a:lnTo>
                    <a:lnTo>
                      <a:pt x="5980589" y="3436608"/>
                    </a:lnTo>
                    <a:lnTo>
                      <a:pt x="5635408" y="3777499"/>
                    </a:lnTo>
                    <a:lnTo>
                      <a:pt x="5635408" y="3880680"/>
                    </a:lnTo>
                    <a:lnTo>
                      <a:pt x="6776429" y="2739659"/>
                    </a:lnTo>
                    <a:lnTo>
                      <a:pt x="6776429" y="2352374"/>
                    </a:lnTo>
                    <a:lnTo>
                      <a:pt x="5933493" y="3178782"/>
                    </a:lnTo>
                    <a:lnTo>
                      <a:pt x="6776429" y="2322828"/>
                    </a:lnTo>
                    <a:close/>
                    <a:moveTo>
                      <a:pt x="6751600" y="2119237"/>
                    </a:moveTo>
                    <a:lnTo>
                      <a:pt x="4806532" y="2120463"/>
                    </a:lnTo>
                    <a:lnTo>
                      <a:pt x="4716988" y="2221652"/>
                    </a:lnTo>
                    <a:lnTo>
                      <a:pt x="5942928" y="2221652"/>
                    </a:lnTo>
                    <a:lnTo>
                      <a:pt x="5957811" y="2217050"/>
                    </a:lnTo>
                    <a:lnTo>
                      <a:pt x="5975442" y="2213505"/>
                    </a:lnTo>
                    <a:lnTo>
                      <a:pt x="5991896" y="2206417"/>
                    </a:lnTo>
                    <a:lnTo>
                      <a:pt x="6009526" y="2204054"/>
                    </a:lnTo>
                    <a:lnTo>
                      <a:pt x="6024806" y="2199329"/>
                    </a:lnTo>
                    <a:lnTo>
                      <a:pt x="6044786" y="2196966"/>
                    </a:lnTo>
                    <a:lnTo>
                      <a:pt x="6061242" y="2192241"/>
                    </a:lnTo>
                    <a:lnTo>
                      <a:pt x="6078872" y="2191059"/>
                    </a:lnTo>
                    <a:lnTo>
                      <a:pt x="6094152" y="2188696"/>
                    </a:lnTo>
                    <a:lnTo>
                      <a:pt x="6114133" y="2188696"/>
                    </a:lnTo>
                    <a:lnTo>
                      <a:pt x="6130588" y="2186333"/>
                    </a:lnTo>
                    <a:lnTo>
                      <a:pt x="6148218" y="2186333"/>
                    </a:lnTo>
                    <a:lnTo>
                      <a:pt x="6165848" y="2186333"/>
                    </a:lnTo>
                    <a:lnTo>
                      <a:pt x="6185829" y="2186333"/>
                    </a:lnTo>
                    <a:lnTo>
                      <a:pt x="6201108" y="2186333"/>
                    </a:lnTo>
                    <a:lnTo>
                      <a:pt x="6217563" y="2186333"/>
                    </a:lnTo>
                    <a:lnTo>
                      <a:pt x="6232843" y="2186333"/>
                    </a:lnTo>
                    <a:lnTo>
                      <a:pt x="6250472" y="2188696"/>
                    </a:lnTo>
                    <a:lnTo>
                      <a:pt x="6264577" y="2188696"/>
                    </a:lnTo>
                    <a:lnTo>
                      <a:pt x="6277506" y="2191059"/>
                    </a:lnTo>
                    <a:lnTo>
                      <a:pt x="6290435" y="2192241"/>
                    </a:lnTo>
                    <a:lnTo>
                      <a:pt x="6306890" y="2196966"/>
                    </a:lnTo>
                    <a:lnTo>
                      <a:pt x="6317468" y="2199329"/>
                    </a:lnTo>
                    <a:lnTo>
                      <a:pt x="6331572" y="2204054"/>
                    </a:lnTo>
                    <a:lnTo>
                      <a:pt x="6342150" y="2206417"/>
                    </a:lnTo>
                    <a:lnTo>
                      <a:pt x="6353904" y="2213505"/>
                    </a:lnTo>
                    <a:lnTo>
                      <a:pt x="6371533" y="2221775"/>
                    </a:lnTo>
                    <a:lnTo>
                      <a:pt x="6389164" y="2235953"/>
                    </a:lnTo>
                    <a:lnTo>
                      <a:pt x="6400918" y="2244222"/>
                    </a:lnTo>
                    <a:lnTo>
                      <a:pt x="6411496" y="2258400"/>
                    </a:lnTo>
                    <a:lnTo>
                      <a:pt x="6418547" y="2271395"/>
                    </a:lnTo>
                    <a:lnTo>
                      <a:pt x="6425600" y="2286752"/>
                    </a:lnTo>
                    <a:lnTo>
                      <a:pt x="6423248" y="2300930"/>
                    </a:lnTo>
                    <a:lnTo>
                      <a:pt x="6423248" y="2318651"/>
                    </a:lnTo>
                    <a:lnTo>
                      <a:pt x="6413847" y="2334010"/>
                    </a:lnTo>
                    <a:lnTo>
                      <a:pt x="6406794" y="2354094"/>
                    </a:lnTo>
                    <a:lnTo>
                      <a:pt x="6391514" y="2370633"/>
                    </a:lnTo>
                    <a:lnTo>
                      <a:pt x="6373884" y="2385991"/>
                    </a:lnTo>
                    <a:lnTo>
                      <a:pt x="6362131" y="2393081"/>
                    </a:lnTo>
                    <a:lnTo>
                      <a:pt x="6353904" y="2401349"/>
                    </a:lnTo>
                    <a:lnTo>
                      <a:pt x="6342150" y="2410802"/>
                    </a:lnTo>
                    <a:lnTo>
                      <a:pt x="6333922" y="2419071"/>
                    </a:lnTo>
                    <a:lnTo>
                      <a:pt x="6319818" y="2426160"/>
                    </a:lnTo>
                    <a:lnTo>
                      <a:pt x="6306890" y="2433248"/>
                    </a:lnTo>
                    <a:lnTo>
                      <a:pt x="6292786" y="2439154"/>
                    </a:lnTo>
                    <a:lnTo>
                      <a:pt x="6282208" y="2446244"/>
                    </a:lnTo>
                    <a:lnTo>
                      <a:pt x="6266928" y="2453332"/>
                    </a:lnTo>
                    <a:lnTo>
                      <a:pt x="6252823" y="2460420"/>
                    </a:lnTo>
                    <a:lnTo>
                      <a:pt x="6237544" y="2466328"/>
                    </a:lnTo>
                    <a:lnTo>
                      <a:pt x="6223440" y="2473416"/>
                    </a:lnTo>
                    <a:lnTo>
                      <a:pt x="6205810" y="2478141"/>
                    </a:lnTo>
                    <a:lnTo>
                      <a:pt x="6196356" y="2481065"/>
                    </a:lnTo>
                    <a:lnTo>
                      <a:pt x="5499197" y="3172895"/>
                    </a:lnTo>
                    <a:lnTo>
                      <a:pt x="5439174" y="3172895"/>
                    </a:lnTo>
                    <a:lnTo>
                      <a:pt x="5415492" y="3172895"/>
                    </a:lnTo>
                    <a:lnTo>
                      <a:pt x="3875223" y="3172895"/>
                    </a:lnTo>
                    <a:lnTo>
                      <a:pt x="3777180" y="3283691"/>
                    </a:lnTo>
                    <a:lnTo>
                      <a:pt x="5590683" y="3273013"/>
                    </a:lnTo>
                    <a:close/>
                    <a:moveTo>
                      <a:pt x="2112844" y="510"/>
                    </a:moveTo>
                    <a:cubicBezTo>
                      <a:pt x="2064192" y="4407"/>
                      <a:pt x="2011858" y="31095"/>
                      <a:pt x="1953160" y="96624"/>
                    </a:cubicBezTo>
                    <a:lnTo>
                      <a:pt x="1726854" y="412297"/>
                    </a:lnTo>
                    <a:cubicBezTo>
                      <a:pt x="1694796" y="468666"/>
                      <a:pt x="1526950" y="558861"/>
                      <a:pt x="1732512" y="767430"/>
                    </a:cubicBezTo>
                    <a:cubicBezTo>
                      <a:pt x="2511380" y="1361195"/>
                      <a:pt x="3001710" y="1966236"/>
                      <a:pt x="3469409" y="2644557"/>
                    </a:cubicBezTo>
                    <a:cubicBezTo>
                      <a:pt x="3622166" y="2866279"/>
                      <a:pt x="3797551" y="2806151"/>
                      <a:pt x="3910704" y="2633282"/>
                    </a:cubicBezTo>
                    <a:cubicBezTo>
                      <a:pt x="4229418" y="2263118"/>
                      <a:pt x="4536816" y="1938049"/>
                      <a:pt x="4883818" y="1607344"/>
                    </a:cubicBezTo>
                    <a:cubicBezTo>
                      <a:pt x="4964913" y="1475813"/>
                      <a:pt x="4978111" y="1423203"/>
                      <a:pt x="4804613" y="1212754"/>
                    </a:cubicBezTo>
                    <a:lnTo>
                      <a:pt x="4600937" y="1009822"/>
                    </a:lnTo>
                    <a:cubicBezTo>
                      <a:pt x="4500985" y="925266"/>
                      <a:pt x="4321827" y="902718"/>
                      <a:pt x="4216218" y="1077466"/>
                    </a:cubicBezTo>
                    <a:lnTo>
                      <a:pt x="3752290" y="1539700"/>
                    </a:lnTo>
                    <a:cubicBezTo>
                      <a:pt x="3410947" y="1143228"/>
                      <a:pt x="3092232" y="583288"/>
                      <a:pt x="2337880" y="96624"/>
                    </a:cubicBezTo>
                    <a:cubicBezTo>
                      <a:pt x="2264802" y="50824"/>
                      <a:pt x="2193934" y="-5986"/>
                      <a:pt x="2112844" y="51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defTabSz="914400">
                  <a:defRPr/>
                </a:pPr>
                <a:endParaRPr lang="en-US" sz="1800" kern="0">
                  <a:solidFill>
                    <a:srgbClr val="505050"/>
                  </a:solidFill>
                </a:endParaRPr>
              </a:p>
            </p:txBody>
          </p:sp>
          <p:pic>
            <p:nvPicPr>
              <p:cNvPr id="224" name="Picture 2" descr="\\MAGNUM\Projects\Microsoft\Cloud Power FY12\Design\ICONS_PNG\Pie.png"/>
              <p:cNvPicPr>
                <a:picLocks noChangeAspect="1" noChangeArrowheads="1"/>
              </p:cNvPicPr>
              <p:nvPr/>
            </p:nvPicPr>
            <p:blipFill>
              <a:blip r:embed="rId32" cstate="print">
                <a:duotone>
                  <a:schemeClr val="accent5">
                    <a:shade val="45000"/>
                    <a:satMod val="135000"/>
                  </a:schemeClr>
                  <a:prstClr val="white"/>
                </a:duotone>
                <a:extLst>
                  <a:ext uri="{BEBA8EAE-BF5A-486C-A8C5-ECC9F3942E4B}">
                    <a14:imgProps xmlns:a14="http://schemas.microsoft.com/office/drawing/2010/main">
                      <a14:imgLayer r:embed="rId33">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5171816" y="1973963"/>
                <a:ext cx="457200" cy="457200"/>
              </a:xfrm>
              <a:prstGeom prst="rect">
                <a:avLst/>
              </a:prstGeom>
              <a:noFill/>
            </p:spPr>
          </p:pic>
          <p:pic>
            <p:nvPicPr>
              <p:cNvPr id="227" name="Picture 2" descr="\\MAGNUM\Projects\Microsoft\Cloud Power FY12\Design\ICONS_PNG\Devices.png"/>
              <p:cNvPicPr>
                <a:picLocks noChangeAspect="1" noChangeArrowheads="1"/>
              </p:cNvPicPr>
              <p:nvPr/>
            </p:nvPicPr>
            <p:blipFill>
              <a:blip r:embed="rId34" cstate="print">
                <a:duotone>
                  <a:schemeClr val="accent5">
                    <a:shade val="45000"/>
                    <a:satMod val="135000"/>
                  </a:schemeClr>
                  <a:prstClr val="white"/>
                </a:duotone>
                <a:extLst>
                  <a:ext uri="{BEBA8EAE-BF5A-486C-A8C5-ECC9F3942E4B}">
                    <a14:imgProps xmlns:a14="http://schemas.microsoft.com/office/drawing/2010/main">
                      <a14:imgLayer r:embed="rId35">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bwMode="auto">
              <a:xfrm>
                <a:off x="6435193" y="2918951"/>
                <a:ext cx="411480" cy="411480"/>
              </a:xfrm>
              <a:prstGeom prst="rect">
                <a:avLst/>
              </a:prstGeom>
              <a:noFill/>
              <a:ln>
                <a:noFill/>
              </a:ln>
            </p:spPr>
          </p:pic>
          <p:sp>
            <p:nvSpPr>
              <p:cNvPr id="232" name="Freeform 18"/>
              <p:cNvSpPr>
                <a:spLocks noChangeAspect="1" noEditPoints="1"/>
              </p:cNvSpPr>
              <p:nvPr/>
            </p:nvSpPr>
            <p:spPr bwMode="black">
              <a:xfrm>
                <a:off x="5231995" y="2894405"/>
                <a:ext cx="299805" cy="3657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lumMod val="50000"/>
                </a:schemeClr>
              </a:solidFill>
              <a:ln>
                <a:noFill/>
              </a:ln>
            </p:spPr>
            <p:txBody>
              <a:bodyPr vert="horz" wrap="square" lIns="82305" tIns="41153" rIns="82305" bIns="41153" numCol="1" anchor="t" anchorCtr="0" compatLnSpc="1">
                <a:prstTxWarp prst="textNoShape">
                  <a:avLst/>
                </a:prstTxWarp>
              </a:bodyPr>
              <a:lstStyle/>
              <a:p>
                <a:pPr defTabSz="914400">
                  <a:defRPr/>
                </a:pPr>
                <a:endParaRPr lang="en-US" sz="1600" kern="0">
                  <a:solidFill>
                    <a:srgbClr val="505050"/>
                  </a:solidFill>
                </a:endParaRPr>
              </a:p>
            </p:txBody>
          </p:sp>
          <p:pic>
            <p:nvPicPr>
              <p:cNvPr id="233" name="Picture 3" descr="\\MAGNUM\Projects\Microsoft\Cloud Power FY12\Design\Icons\PNGs\Scalable_Elastic_4.png"/>
              <p:cNvPicPr>
                <a:picLocks noChangeAspect="1" noChangeArrowheads="1"/>
              </p:cNvPicPr>
              <p:nvPr/>
            </p:nvPicPr>
            <p:blipFill>
              <a:blip r:embed="rId36" cstate="print">
                <a:duotone>
                  <a:schemeClr val="accent5">
                    <a:shade val="45000"/>
                    <a:satMod val="135000"/>
                  </a:schemeClr>
                  <a:prstClr val="white"/>
                </a:duotone>
                <a:extLst>
                  <a:ext uri="{BEBA8EAE-BF5A-486C-A8C5-ECC9F3942E4B}">
                    <a14:imgProps xmlns:a14="http://schemas.microsoft.com/office/drawing/2010/main">
                      <a14:imgLayer r:embed="rId37">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740362" y="2390723"/>
                <a:ext cx="452389" cy="452389"/>
              </a:xfrm>
              <a:prstGeom prst="rect">
                <a:avLst/>
              </a:prstGeom>
              <a:noFill/>
            </p:spPr>
          </p:pic>
        </p:grpSp>
      </p:grpSp>
      <p:cxnSp>
        <p:nvCxnSpPr>
          <p:cNvPr id="269" name="Straight Arrow Connector 268"/>
          <p:cNvCxnSpPr>
            <a:cxnSpLocks/>
          </p:cNvCxnSpPr>
          <p:nvPr/>
        </p:nvCxnSpPr>
        <p:spPr>
          <a:xfrm>
            <a:off x="10590275" y="1239562"/>
            <a:ext cx="161158" cy="313016"/>
          </a:xfrm>
          <a:prstGeom prst="straightConnector1">
            <a:avLst/>
          </a:prstGeom>
          <a:ln w="1905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70" name="Straight Arrow Connector 269"/>
          <p:cNvCxnSpPr>
            <a:cxnSpLocks/>
          </p:cNvCxnSpPr>
          <p:nvPr/>
        </p:nvCxnSpPr>
        <p:spPr>
          <a:xfrm>
            <a:off x="11048586" y="2623492"/>
            <a:ext cx="34123" cy="403314"/>
          </a:xfrm>
          <a:prstGeom prst="straightConnector1">
            <a:avLst/>
          </a:prstGeom>
          <a:ln w="1905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376373" y="4612214"/>
            <a:ext cx="833597" cy="1124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4400">
              <a:defRPr/>
            </a:pPr>
            <a:r>
              <a:rPr lang="en-US" sz="1200" kern="0" dirty="0">
                <a:solidFill>
                  <a:sysClr val="windowText" lastClr="000000"/>
                </a:solidFill>
              </a:rPr>
              <a:t>Traffic,</a:t>
            </a:r>
          </a:p>
          <a:p>
            <a:pPr algn="r" defTabSz="914400">
              <a:defRPr/>
            </a:pPr>
            <a:r>
              <a:rPr lang="en-US" sz="1200" kern="0" dirty="0">
                <a:solidFill>
                  <a:sysClr val="windowText" lastClr="000000"/>
                </a:solidFill>
              </a:rPr>
              <a:t>Flights,</a:t>
            </a:r>
          </a:p>
          <a:p>
            <a:pPr algn="r" defTabSz="914400">
              <a:defRPr/>
            </a:pPr>
            <a:r>
              <a:rPr lang="en-US" sz="1200" kern="0" dirty="0">
                <a:solidFill>
                  <a:sysClr val="windowText" lastClr="000000"/>
                </a:solidFill>
              </a:rPr>
              <a:t>weather, crowds, Events</a:t>
            </a:r>
          </a:p>
        </p:txBody>
      </p:sp>
      <p:sp>
        <p:nvSpPr>
          <p:cNvPr id="204" name="Text Placeholder 5"/>
          <p:cNvSpPr>
            <a:spLocks noGrp="1"/>
          </p:cNvSpPr>
          <p:nvPr>
            <p:ph type="body" sz="quarter" idx="13"/>
          </p:nvPr>
        </p:nvSpPr>
        <p:spPr>
          <a:xfrm>
            <a:off x="3634061" y="144212"/>
            <a:ext cx="3995787" cy="346295"/>
          </a:xfrm>
        </p:spPr>
        <p:txBody>
          <a:bodyPr/>
          <a:lstStyle/>
          <a:p>
            <a:r>
              <a:rPr lang="en-US" dirty="0"/>
              <a:t>Technology Storyboard</a:t>
            </a:r>
            <a:endParaRPr lang="en-IN" dirty="0"/>
          </a:p>
        </p:txBody>
      </p:sp>
    </p:spTree>
    <p:extLst>
      <p:ext uri="{BB962C8B-B14F-4D97-AF65-F5344CB8AC3E}">
        <p14:creationId xmlns:p14="http://schemas.microsoft.com/office/powerpoint/2010/main" val="1479732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F3CBC-745D-4EE0-AABB-BE8A28AC4E47}"/>
              </a:ext>
            </a:extLst>
          </p:cNvPr>
          <p:cNvSpPr>
            <a:spLocks noGrp="1"/>
          </p:cNvSpPr>
          <p:nvPr>
            <p:ph type="title"/>
          </p:nvPr>
        </p:nvSpPr>
        <p:spPr/>
        <p:txBody>
          <a:bodyPr/>
          <a:lstStyle/>
          <a:p>
            <a:r>
              <a:rPr lang="en-US" dirty="0"/>
              <a:t>Threats</a:t>
            </a:r>
          </a:p>
        </p:txBody>
      </p:sp>
      <p:sp>
        <p:nvSpPr>
          <p:cNvPr id="3" name="Slide Number Placeholder 2">
            <a:extLst>
              <a:ext uri="{FF2B5EF4-FFF2-40B4-BE49-F238E27FC236}">
                <a16:creationId xmlns:a16="http://schemas.microsoft.com/office/drawing/2014/main" id="{408DD499-2E08-465E-9B3F-3A1F0BAB510E}"/>
              </a:ext>
            </a:extLst>
          </p:cNvPr>
          <p:cNvSpPr>
            <a:spLocks noGrp="1"/>
          </p:cNvSpPr>
          <p:nvPr>
            <p:ph type="sldNum" sz="quarter" idx="12"/>
          </p:nvPr>
        </p:nvSpPr>
        <p:spPr/>
        <p:txBody>
          <a:bodyPr/>
          <a:lstStyle/>
          <a:p>
            <a:fld id="{6A4C1A4A-E5E6-4CC1-B72C-A20A4EB3E2D2}" type="slidenum">
              <a:rPr lang="en-US" smtClean="0">
                <a:solidFill>
                  <a:srgbClr val="505050"/>
                </a:solidFill>
              </a:rPr>
              <a:pPr/>
              <a:t>9</a:t>
            </a:fld>
            <a:endParaRPr lang="en-US" dirty="0">
              <a:solidFill>
                <a:srgbClr val="505050"/>
              </a:solidFill>
            </a:endParaRPr>
          </a:p>
        </p:txBody>
      </p:sp>
      <p:sp>
        <p:nvSpPr>
          <p:cNvPr id="4" name="Text Placeholder 3">
            <a:extLst>
              <a:ext uri="{FF2B5EF4-FFF2-40B4-BE49-F238E27FC236}">
                <a16:creationId xmlns:a16="http://schemas.microsoft.com/office/drawing/2014/main" id="{323798A5-B33D-4867-82DD-ACB4ADEABDD0}"/>
              </a:ext>
            </a:extLst>
          </p:cNvPr>
          <p:cNvSpPr>
            <a:spLocks noGrp="1"/>
          </p:cNvSpPr>
          <p:nvPr>
            <p:ph type="body" sz="quarter" idx="13"/>
          </p:nvPr>
        </p:nvSpPr>
        <p:spPr>
          <a:xfrm>
            <a:off x="0" y="1362644"/>
            <a:ext cx="12192000" cy="4971788"/>
          </a:xfrm>
        </p:spPr>
        <p:txBody>
          <a:bodyPr/>
          <a:lstStyle/>
          <a:p>
            <a:pPr marL="514350" indent="-514350">
              <a:buAutoNum type="arabicPeriod"/>
            </a:pPr>
            <a:r>
              <a:rPr lang="en-US" dirty="0"/>
              <a:t>Data Privacy of Citizens – think of what can someone know about you, just by having access to your phone. About your family, by having access to all your phones and browsing data.</a:t>
            </a:r>
          </a:p>
          <a:p>
            <a:pPr marL="514350" indent="-514350">
              <a:buAutoNum type="arabicPeriod"/>
            </a:pPr>
            <a:r>
              <a:rPr lang="en-US" dirty="0"/>
              <a:t>What contracting is city thinking about ? From builder/vendor </a:t>
            </a:r>
            <a:r>
              <a:rPr lang="en-US" dirty="0" err="1"/>
              <a:t>prespective</a:t>
            </a:r>
            <a:r>
              <a:rPr lang="en-US" dirty="0"/>
              <a:t>.</a:t>
            </a:r>
          </a:p>
          <a:p>
            <a:pPr marL="796024" lvl="1" indent="-514350">
              <a:buAutoNum type="arabicPeriod"/>
            </a:pPr>
            <a:r>
              <a:rPr lang="en-US" dirty="0"/>
              <a:t>budget values/contracting values</a:t>
            </a:r>
          </a:p>
          <a:p>
            <a:pPr marL="796024" lvl="1" indent="-514350">
              <a:buAutoNum type="arabicPeriod"/>
            </a:pPr>
            <a:r>
              <a:rPr lang="en-US" dirty="0"/>
              <a:t>Vendor list</a:t>
            </a:r>
          </a:p>
          <a:p>
            <a:pPr marL="514350" indent="-514350">
              <a:buAutoNum type="arabicPeriod"/>
            </a:pPr>
            <a:r>
              <a:rPr lang="en-US" dirty="0"/>
              <a:t>Citizen Services errors</a:t>
            </a:r>
          </a:p>
          <a:p>
            <a:pPr marL="796024" lvl="1" indent="-514350">
              <a:buAutoNum type="arabicPeriod"/>
            </a:pPr>
            <a:r>
              <a:rPr lang="en-US" dirty="0"/>
              <a:t>Passport errors and impacts </a:t>
            </a:r>
          </a:p>
          <a:p>
            <a:pPr marL="796024" lvl="1" indent="-514350">
              <a:buAutoNum type="arabicPeriod"/>
            </a:pPr>
            <a:r>
              <a:rPr lang="en-US" dirty="0"/>
              <a:t>License errors</a:t>
            </a:r>
          </a:p>
          <a:p>
            <a:pPr marL="796024" lvl="1" indent="-514350">
              <a:buAutoNum type="arabicPeriod"/>
            </a:pPr>
            <a:r>
              <a:rPr lang="en-US" dirty="0"/>
              <a:t>Ration distribution errors ( subsidy frauds)</a:t>
            </a:r>
          </a:p>
          <a:p>
            <a:pPr marL="796024" lvl="1" indent="-514350">
              <a:buAutoNum type="arabicPeriod"/>
            </a:pPr>
            <a:r>
              <a:rPr lang="en-US" dirty="0"/>
              <a:t>Birth/death certificate related financial/insurance frauds</a:t>
            </a:r>
          </a:p>
          <a:p>
            <a:pPr marL="514350" indent="-514350">
              <a:buAutoNum type="arabicPeriod"/>
            </a:pPr>
            <a:r>
              <a:rPr lang="en-US" dirty="0"/>
              <a:t>DDOS/Ethical AI and </a:t>
            </a:r>
            <a:r>
              <a:rPr lang="en-US" dirty="0" err="1"/>
              <a:t>LAw</a:t>
            </a:r>
            <a:endParaRPr lang="en-US" dirty="0"/>
          </a:p>
          <a:p>
            <a:pPr marL="514350" indent="-514350">
              <a:buAutoNum type="arabicPeriod"/>
            </a:pPr>
            <a:endParaRPr lang="en-US" dirty="0"/>
          </a:p>
        </p:txBody>
      </p:sp>
    </p:spTree>
    <p:extLst>
      <p:ext uri="{BB962C8B-B14F-4D97-AF65-F5344CB8AC3E}">
        <p14:creationId xmlns:p14="http://schemas.microsoft.com/office/powerpoint/2010/main" val="34836393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KAxCXKGOkKQW1miIihT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OukXnggMEOo2B2TKZNSw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OukXnggMEOo2B2TKZNSwQ"/>
</p:tagLst>
</file>

<file path=ppt/theme/theme1.xml><?xml version="1.0" encoding="utf-8"?>
<a:theme xmlns:a="http://schemas.openxmlformats.org/drawingml/2006/main" name="5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10.xml><?xml version="1.0" encoding="utf-8"?>
<a:theme xmlns:a="http://schemas.openxmlformats.org/drawingml/2006/main" name="23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11.xml><?xml version="1.0" encoding="utf-8"?>
<a:theme xmlns:a="http://schemas.openxmlformats.org/drawingml/2006/main" name="26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2.xml><?xml version="1.0" encoding="utf-8"?>
<a:theme xmlns:a="http://schemas.openxmlformats.org/drawingml/2006/main" name="29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13.xml><?xml version="1.0" encoding="utf-8"?>
<a:theme xmlns:a="http://schemas.openxmlformats.org/drawingml/2006/main" name="MS Brand White 16-9_Dec-2013">
  <a:themeElements>
    <a:clrScheme name="Custom 4">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2050"/>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14.xml><?xml version="1.0" encoding="utf-8"?>
<a:theme xmlns:a="http://schemas.openxmlformats.org/drawingml/2006/main" name="30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15.xml><?xml version="1.0" encoding="utf-8"?>
<a:theme xmlns:a="http://schemas.openxmlformats.org/drawingml/2006/main" name="Metro">
  <a:themeElements>
    <a:clrScheme name="MCS">
      <a:dk1>
        <a:srgbClr val="595959"/>
      </a:dk1>
      <a:lt1>
        <a:srgbClr val="FFFFFF"/>
      </a:lt1>
      <a:dk2>
        <a:srgbClr val="0070C0"/>
      </a:dk2>
      <a:lt2>
        <a:srgbClr val="DDDDDD"/>
      </a:lt2>
      <a:accent1>
        <a:srgbClr val="5191CD"/>
      </a:accent1>
      <a:accent2>
        <a:srgbClr val="2D86E7"/>
      </a:accent2>
      <a:accent3>
        <a:srgbClr val="A4D7F4"/>
      </a:accent3>
      <a:accent4>
        <a:srgbClr val="7AA23A"/>
      </a:accent4>
      <a:accent5>
        <a:srgbClr val="FFC211"/>
      </a:accent5>
      <a:accent6>
        <a:srgbClr val="C94409"/>
      </a:accent6>
      <a:hlink>
        <a:srgbClr val="5191CD"/>
      </a:hlink>
      <a:folHlink>
        <a:srgbClr val="595959"/>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defPPr>
      </a:lstStyle>
    </a:txDef>
  </a:objectDefaults>
  <a:extraClrSchemeLst/>
</a:theme>
</file>

<file path=ppt/theme/theme16.xml><?xml version="1.0" encoding="utf-8"?>
<a:theme xmlns:a="http://schemas.openxmlformats.org/drawingml/2006/main" name="1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7.xml><?xml version="1.0" encoding="utf-8"?>
<a:theme xmlns:a="http://schemas.openxmlformats.org/drawingml/2006/main" name="20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3.xml><?xml version="1.0" encoding="utf-8"?>
<a:theme xmlns:a="http://schemas.openxmlformats.org/drawingml/2006/main" name="16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4.xml><?xml version="1.0" encoding="utf-8"?>
<a:theme xmlns:a="http://schemas.openxmlformats.org/drawingml/2006/main" name="17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18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2_DynamicsTemplate_LIGHT_16x9 v04">
  <a:themeElements>
    <a:clrScheme name="Dynamics Template 2011">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00AEEF"/>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7.xml><?xml version="1.0" encoding="utf-8"?>
<a:theme xmlns:a="http://schemas.openxmlformats.org/drawingml/2006/main" name="5_DynamicsTemplate_LIGHT_16x9 v04">
  <a:themeElements>
    <a:clrScheme name="Dynamics Template 2011">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00AEEF"/>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8.xml><?xml version="1.0" encoding="utf-8"?>
<a:theme xmlns:a="http://schemas.openxmlformats.org/drawingml/2006/main" name="6_Metro Template Light 16x9">
  <a:themeElements>
    <a:clrScheme name="Microsoft Corp Colors">
      <a:dk1>
        <a:srgbClr val="000000"/>
      </a:dk1>
      <a:lt1>
        <a:srgbClr val="FFFFFF"/>
      </a:lt1>
      <a:dk2>
        <a:srgbClr val="3F3F3F"/>
      </a:dk2>
      <a:lt2>
        <a:srgbClr val="F2F2F2"/>
      </a:lt2>
      <a:accent1>
        <a:srgbClr val="00BCF2"/>
      </a:accent1>
      <a:accent2>
        <a:srgbClr val="BAD80A"/>
      </a:accent2>
      <a:accent3>
        <a:srgbClr val="FF8C00"/>
      </a:accent3>
      <a:accent4>
        <a:srgbClr val="EC008C"/>
      </a:accent4>
      <a:accent5>
        <a:srgbClr val="00198F"/>
      </a:accent5>
      <a:accent6>
        <a:srgbClr val="68217A"/>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9.xml><?xml version="1.0" encoding="utf-8"?>
<a:theme xmlns:a="http://schemas.openxmlformats.org/drawingml/2006/main" name="21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83622543AFFD468CA7B06CCDE273A2" ma:contentTypeVersion="11" ma:contentTypeDescription="Create a new document." ma:contentTypeScope="" ma:versionID="3eecbfca2aa1ebf6c7b3d331ffdd087d">
  <xsd:schema xmlns:xsd="http://www.w3.org/2001/XMLSchema" xmlns:xs="http://www.w3.org/2001/XMLSchema" xmlns:p="http://schemas.microsoft.com/office/2006/metadata/properties" xmlns:ns2="f17c353e-4bd7-425e-87a9-d98cbd787a81" xmlns:ns3="e9b3e3c9-3ed3-4829-b7bb-15ea4e30cbc3" targetNamespace="http://schemas.microsoft.com/office/2006/metadata/properties" ma:root="true" ma:fieldsID="b853fb2c07ced72f0d8afd6bec41a468" ns2:_="" ns3:_="">
    <xsd:import namespace="f17c353e-4bd7-425e-87a9-d98cbd787a81"/>
    <xsd:import namespace="e9b3e3c9-3ed3-4829-b7bb-15ea4e30cbc3"/>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7c353e-4bd7-425e-87a9-d98cbd787a8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9b3e3c9-3ed3-4829-b7bb-15ea4e30cbc3"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astSharedByUser xmlns="f17c353e-4bd7-425e-87a9-d98cbd787a81">elwilson@microsoft.com</LastSharedByUser>
    <LastSharedByTime xmlns="f17c353e-4bd7-425e-87a9-d98cbd787a81">2016-10-21T17:00:27+00:00</LastSharedByTime>
    <SharedWithUsers xmlns="f17c353e-4bd7-425e-87a9-d98cbd787a81">
      <UserInfo>
        <DisplayName>David Turcotte</DisplayName>
        <AccountId>60772</AccountId>
        <AccountType/>
      </UserInfo>
      <UserInfo>
        <DisplayName>PS TeamArg</DisplayName>
        <AccountId>92813</AccountId>
        <AccountType/>
      </UserInfo>
      <UserInfo>
        <DisplayName>Anders Løvendal</DisplayName>
        <AccountId>81603</AccountId>
        <AccountType/>
      </UserInfo>
      <UserInfo>
        <DisplayName>Kristian Brorup Siim</DisplayName>
        <AccountId>9301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34ECD2-E3F6-4243-AE30-7E6A6D6519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7c353e-4bd7-425e-87a9-d98cbd787a81"/>
    <ds:schemaRef ds:uri="e9b3e3c9-3ed3-4829-b7bb-15ea4e30cb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31086C9-00DD-4B0A-868B-0266308098DA}">
  <ds:schemaRefs>
    <ds:schemaRef ds:uri="http://www.w3.org/XML/1998/namespace"/>
    <ds:schemaRef ds:uri="http://purl.org/dc/terms/"/>
    <ds:schemaRef ds:uri="http://purl.org/dc/dcmitype/"/>
    <ds:schemaRef ds:uri="http://schemas.microsoft.com/office/2006/documentManagement/types"/>
    <ds:schemaRef ds:uri="f17c353e-4bd7-425e-87a9-d98cbd787a81"/>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e9b3e3c9-3ed3-4829-b7bb-15ea4e30cbc3"/>
  </ds:schemaRefs>
</ds:datastoreItem>
</file>

<file path=customXml/itemProps3.xml><?xml version="1.0" encoding="utf-8"?>
<ds:datastoreItem xmlns:ds="http://schemas.openxmlformats.org/officeDocument/2006/customXml" ds:itemID="{9C5890E3-1DAC-4865-81EF-78F5FF0A4D4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433</TotalTime>
  <Words>1961</Words>
  <Application>Microsoft Office PowerPoint</Application>
  <PresentationFormat>Widescreen</PresentationFormat>
  <Paragraphs>464</Paragraphs>
  <Slides>18</Slides>
  <Notes>14</Notes>
  <HiddenSlides>0</HiddenSlides>
  <MMClips>0</MMClips>
  <ScaleCrop>false</ScaleCrop>
  <HeadingPairs>
    <vt:vector size="8" baseType="variant">
      <vt:variant>
        <vt:lpstr>Fonts Used</vt:lpstr>
      </vt:variant>
      <vt:variant>
        <vt:i4>11</vt:i4>
      </vt:variant>
      <vt:variant>
        <vt:lpstr>Theme</vt:lpstr>
      </vt:variant>
      <vt:variant>
        <vt:i4>17</vt:i4>
      </vt:variant>
      <vt:variant>
        <vt:lpstr>Embedded OLE Servers</vt:lpstr>
      </vt:variant>
      <vt:variant>
        <vt:i4>1</vt:i4>
      </vt:variant>
      <vt:variant>
        <vt:lpstr>Slide Titles</vt:lpstr>
      </vt:variant>
      <vt:variant>
        <vt:i4>18</vt:i4>
      </vt:variant>
    </vt:vector>
  </HeadingPairs>
  <TitlesOfParts>
    <vt:vector size="47" baseType="lpstr">
      <vt:lpstr>Arial</vt:lpstr>
      <vt:lpstr>Calibri</vt:lpstr>
      <vt:lpstr>Courier New</vt:lpstr>
      <vt:lpstr>Segoe</vt:lpstr>
      <vt:lpstr>Segoe Light</vt:lpstr>
      <vt:lpstr>Segoe Pro Light</vt:lpstr>
      <vt:lpstr>Segoe UI</vt:lpstr>
      <vt:lpstr>Segoe UI Light</vt:lpstr>
      <vt:lpstr>Segoe UI Semibold</vt:lpstr>
      <vt:lpstr>Verdana</vt:lpstr>
      <vt:lpstr>Wingdings</vt:lpstr>
      <vt:lpstr>5_FY15 Enterprise identity theme</vt:lpstr>
      <vt:lpstr>FY15 Enterprise identity theme</vt:lpstr>
      <vt:lpstr>16_FY15 Enterprise identity theme</vt:lpstr>
      <vt:lpstr>17_FY15 Enterprise identity theme</vt:lpstr>
      <vt:lpstr>18_FY15 Enterprise identity theme</vt:lpstr>
      <vt:lpstr>2_DynamicsTemplate_LIGHT_16x9 v04</vt:lpstr>
      <vt:lpstr>5_DynamicsTemplate_LIGHT_16x9 v04</vt:lpstr>
      <vt:lpstr>6_Metro Template Light 16x9</vt:lpstr>
      <vt:lpstr>21_FY15 Enterprise identity theme</vt:lpstr>
      <vt:lpstr>23_FY15 Enterprise identity theme</vt:lpstr>
      <vt:lpstr>26_FY15 Enterprise identity theme</vt:lpstr>
      <vt:lpstr>29_FY15 Enterprise identity theme</vt:lpstr>
      <vt:lpstr>MS Brand White 16-9_Dec-2013</vt:lpstr>
      <vt:lpstr>30_FY15 Enterprise identity theme</vt:lpstr>
      <vt:lpstr>Metro</vt:lpstr>
      <vt:lpstr>1_FY15 Enterprise identity theme</vt:lpstr>
      <vt:lpstr>20_FY15 Enterprise identity theme</vt:lpstr>
      <vt:lpstr>think-cell Slide</vt:lpstr>
      <vt:lpstr>PowerPoint Presentation</vt:lpstr>
      <vt:lpstr>Digitally Transforming City Services – Better Governance</vt:lpstr>
      <vt:lpstr>Imagine if…( from Cyber)</vt:lpstr>
      <vt:lpstr>Constituent experience journey map</vt:lpstr>
      <vt:lpstr>Smart City – its all about </vt:lpstr>
      <vt:lpstr>Engage with Citizens</vt:lpstr>
      <vt:lpstr>Citizen Services</vt:lpstr>
      <vt:lpstr>Citizen Services</vt:lpstr>
      <vt:lpstr>Threats</vt:lpstr>
      <vt:lpstr>Empower City Employees</vt:lpstr>
      <vt:lpstr>Smart Buildings</vt:lpstr>
      <vt:lpstr>Smart Buildings</vt:lpstr>
      <vt:lpstr>Threats</vt:lpstr>
      <vt:lpstr>Optimize City Operations and Infrastructure</vt:lpstr>
      <vt:lpstr>City Insights</vt:lpstr>
      <vt:lpstr>City Insights</vt:lpstr>
      <vt:lpstr>Threa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tyNext Book of Dreams v1</dc:title>
  <dc:creator>Ashish Kumar (ADHIKARI)</dc:creator>
  <cp:lastModifiedBy>Ashish Kumar (ADHIKARI)</cp:lastModifiedBy>
  <cp:revision>698</cp:revision>
  <cp:lastPrinted>2013-03-25T17:32:22Z</cp:lastPrinted>
  <dcterms:created xsi:type="dcterms:W3CDTF">2012-12-13T05:59:44Z</dcterms:created>
  <dcterms:modified xsi:type="dcterms:W3CDTF">2018-06-29T09:3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83622543AFFD468CA7B06CCDE273A2</vt:lpwstr>
  </property>
  <property fmtid="{D5CDD505-2E9C-101B-9397-08002B2CF9AE}" pid="3" name="DocVizMetadataToken">
    <vt:lpwstr>600x600x1</vt:lpwstr>
  </property>
  <property fmtid="{D5CDD505-2E9C-101B-9397-08002B2CF9AE}" pid="4" name="bc28b5f076654a3b96073bbbebfeb8c9">
    <vt:lpwstr>English|cb91f272-ce4d-4a7e-9bbf-78b58e3d188d</vt:lpwstr>
  </property>
  <property fmtid="{D5CDD505-2E9C-101B-9397-08002B2CF9AE}" pid="5" name="_dlc_DocIdItemGuid">
    <vt:lpwstr>9fccdba1-2d84-425b-bdbb-c3c2389966e3</vt:lpwstr>
  </property>
  <property fmtid="{D5CDD505-2E9C-101B-9397-08002B2CF9AE}" pid="6" name="ServicesDomain">
    <vt:lpwstr/>
  </property>
  <property fmtid="{D5CDD505-2E9C-101B-9397-08002B2CF9AE}" pid="7" name="ie6d2fd56e2d423f9ae5744f65e04598">
    <vt:lpwstr/>
  </property>
  <property fmtid="{D5CDD505-2E9C-101B-9397-08002B2CF9AE}" pid="8" name="VerticalIndustries">
    <vt:lpwstr>674;#government industry|0a090a42-8fcf-4c58-8d4f-10b57a9eafc0</vt:lpwstr>
  </property>
  <property fmtid="{D5CDD505-2E9C-101B-9397-08002B2CF9AE}" pid="9" name="pd049fc9a23847ae8834a0b282b603a1">
    <vt:lpwstr/>
  </property>
  <property fmtid="{D5CDD505-2E9C-101B-9397-08002B2CF9AE}" pid="10" name="MS Language">
    <vt:lpwstr>3;#English|cb91f272-ce4d-4a7e-9bbf-78b58e3d188d</vt:lpwstr>
  </property>
  <property fmtid="{D5CDD505-2E9C-101B-9397-08002B2CF9AE}" pid="11" name="SalesGeography">
    <vt:lpwstr/>
  </property>
  <property fmtid="{D5CDD505-2E9C-101B-9397-08002B2CF9AE}" pid="12" name="l56d15105ae648fdac87f06e9633001e">
    <vt:lpwstr/>
  </property>
  <property fmtid="{D5CDD505-2E9C-101B-9397-08002B2CF9AE}" pid="13" name="MSProducts">
    <vt:lpwstr/>
  </property>
  <property fmtid="{D5CDD505-2E9C-101B-9397-08002B2CF9AE}" pid="14" name="EnterpriseServices">
    <vt:lpwstr/>
  </property>
  <property fmtid="{D5CDD505-2E9C-101B-9397-08002B2CF9AE}" pid="15" name="ServicesIPTypes">
    <vt:lpwstr>86;#scenarios|5dc5e6e5-18a4-4ff8-85dc-71a9ecf4b47b</vt:lpwstr>
  </property>
  <property fmtid="{D5CDD505-2E9C-101B-9397-08002B2CF9AE}" pid="16" name="Services Marketing Audience">
    <vt:lpwstr/>
  </property>
  <property fmtid="{D5CDD505-2E9C-101B-9397-08002B2CF9AE}" pid="17" name="ServicesLifecycleStage">
    <vt:lpwstr/>
  </property>
  <property fmtid="{D5CDD505-2E9C-101B-9397-08002B2CF9AE}" pid="18" name="ServicesCommunities">
    <vt:lpwstr>479;#WW Enterprise Strategy Community|abb82a59-d8e1-44bf-b680-43fada6eee29</vt:lpwstr>
  </property>
  <property fmtid="{D5CDD505-2E9C-101B-9397-08002B2CF9AE}" pid="19" name="MSLanguage">
    <vt:lpwstr>3;#English|cb91f272-ce4d-4a7e-9bbf-78b58e3d188d</vt:lpwstr>
  </property>
  <property fmtid="{D5CDD505-2E9C-101B-9397-08002B2CF9AE}" pid="20" name="Services Megatrends">
    <vt:lpwstr/>
  </property>
  <property fmtid="{D5CDD505-2E9C-101B-9397-08002B2CF9AE}" pid="21" name="RatedBy">
    <vt:lpwstr>6838;#Kurt Allebach</vt:lpwstr>
  </property>
  <property fmtid="{D5CDD505-2E9C-101B-9397-08002B2CF9AE}" pid="22" name="AverageRating">
    <vt:r8>5</vt:r8>
  </property>
  <property fmtid="{D5CDD505-2E9C-101B-9397-08002B2CF9AE}" pid="23" name="Ratings">
    <vt:lpwstr>5,</vt:lpwstr>
  </property>
  <property fmtid="{D5CDD505-2E9C-101B-9397-08002B2CF9AE}" pid="24" name="RatingCount">
    <vt:i4>1</vt:i4>
  </property>
  <property fmtid="{D5CDD505-2E9C-101B-9397-08002B2CF9AE}" pid="25" name="SharedWithUsers">
    <vt:lpwstr>60772;#David Turcotte;#92813;#PS TeamArg;#81603;#Anders Løvendal;#93010;#Kristian Brorup Siim</vt:lpwstr>
  </property>
  <property fmtid="{D5CDD505-2E9C-101B-9397-08002B2CF9AE}" pid="26" name="campustrv">
    <vt:lpwstr>;#Sales Excellence;#Solution Sales;#Architecture Delivery;#</vt:lpwstr>
  </property>
  <property fmtid="{D5CDD505-2E9C-101B-9397-08002B2CF9AE}" pid="27" name="p920f6992caa4adbaa1880c7ef19b02a">
    <vt:lpwstr/>
  </property>
  <property fmtid="{D5CDD505-2E9C-101B-9397-08002B2CF9AE}" pid="28" name="MSIP_Label_f42aa342-8706-4288-bd11-ebb85995028c_Enabled">
    <vt:lpwstr>True</vt:lpwstr>
  </property>
  <property fmtid="{D5CDD505-2E9C-101B-9397-08002B2CF9AE}" pid="29" name="MSIP_Label_f42aa342-8706-4288-bd11-ebb85995028c_SiteId">
    <vt:lpwstr>72f988bf-86f1-41af-91ab-2d7cd011db47</vt:lpwstr>
  </property>
  <property fmtid="{D5CDD505-2E9C-101B-9397-08002B2CF9AE}" pid="30" name="MSIP_Label_f42aa342-8706-4288-bd11-ebb85995028c_Owner">
    <vt:lpwstr>ashkum@microsoft.com</vt:lpwstr>
  </property>
  <property fmtid="{D5CDD505-2E9C-101B-9397-08002B2CF9AE}" pid="31" name="MSIP_Label_f42aa342-8706-4288-bd11-ebb85995028c_SetDate">
    <vt:lpwstr>2018-06-29T06:23:42.4304437Z</vt:lpwstr>
  </property>
  <property fmtid="{D5CDD505-2E9C-101B-9397-08002B2CF9AE}" pid="32" name="MSIP_Label_f42aa342-8706-4288-bd11-ebb85995028c_Name">
    <vt:lpwstr>General</vt:lpwstr>
  </property>
  <property fmtid="{D5CDD505-2E9C-101B-9397-08002B2CF9AE}" pid="33" name="MSIP_Label_f42aa342-8706-4288-bd11-ebb85995028c_Application">
    <vt:lpwstr>Microsoft Azure Information Protection</vt:lpwstr>
  </property>
  <property fmtid="{D5CDD505-2E9C-101B-9397-08002B2CF9AE}" pid="34" name="MSIP_Label_f42aa342-8706-4288-bd11-ebb85995028c_Extended_MSFT_Method">
    <vt:lpwstr>Automatic</vt:lpwstr>
  </property>
  <property fmtid="{D5CDD505-2E9C-101B-9397-08002B2CF9AE}" pid="35" name="Sensitivity">
    <vt:lpwstr>General</vt:lpwstr>
  </property>
</Properties>
</file>